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notesSlides/notesSlide2.xml" ContentType="application/vnd.openxmlformats-officedocument.presentationml.notesSl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3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4.xml" ContentType="application/vnd.openxmlformats-officedocument.presentationml.notesSlid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notesSlides/notesSlide5.xml" ContentType="application/vnd.openxmlformats-officedocument.presentationml.notesSlid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6.xml" ContentType="application/vnd.openxmlformats-officedocument.presentationml.notesSlid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7.xml" ContentType="application/vnd.openxmlformats-officedocument.presentationml.notesSlide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notesSlides/notesSlide8.xml" ContentType="application/vnd.openxmlformats-officedocument.presentationml.notesSl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9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notesSlides/notesSlide10.xml" ContentType="application/vnd.openxmlformats-officedocument.presentationml.notesSlide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notesSlides/notesSlide11.xml" ContentType="application/vnd.openxmlformats-officedocument.presentationml.notesSlide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</p:sldMasterIdLst>
  <p:notesMasterIdLst>
    <p:notesMasterId r:id="rId27"/>
  </p:notesMasterIdLst>
  <p:sldIdLst>
    <p:sldId id="287" r:id="rId3"/>
    <p:sldId id="288" r:id="rId4"/>
    <p:sldId id="301" r:id="rId5"/>
    <p:sldId id="290" r:id="rId6"/>
    <p:sldId id="267" r:id="rId7"/>
    <p:sldId id="323" r:id="rId8"/>
    <p:sldId id="322" r:id="rId9"/>
    <p:sldId id="291" r:id="rId10"/>
    <p:sldId id="269" r:id="rId11"/>
    <p:sldId id="293" r:id="rId12"/>
    <p:sldId id="294" r:id="rId13"/>
    <p:sldId id="272" r:id="rId14"/>
    <p:sldId id="273" r:id="rId15"/>
    <p:sldId id="274" r:id="rId16"/>
    <p:sldId id="275" r:id="rId17"/>
    <p:sldId id="276" r:id="rId18"/>
    <p:sldId id="277" r:id="rId19"/>
    <p:sldId id="299" r:id="rId20"/>
    <p:sldId id="279" r:id="rId21"/>
    <p:sldId id="324" r:id="rId22"/>
    <p:sldId id="297" r:id="rId23"/>
    <p:sldId id="283" r:id="rId24"/>
    <p:sldId id="298" r:id="rId25"/>
    <p:sldId id="300" r:id="rId2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2" clrIdx="0"/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987" autoAdjust="0"/>
    <p:restoredTop sz="94660"/>
  </p:normalViewPr>
  <p:slideViewPr>
    <p:cSldViewPr snapToGrid="0">
      <p:cViewPr>
        <p:scale>
          <a:sx n="90" d="100"/>
          <a:sy n="90" d="100"/>
        </p:scale>
        <p:origin x="-1146" y="-5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2721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029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01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501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22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254175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2226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52227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23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934539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4274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 b="1" dirty="0">
              <a:solidFill>
                <a:srgbClr val="0070C0"/>
              </a:solidFill>
            </a:endParaRPr>
          </a:p>
          <a:p>
            <a:pPr lvl="0"/>
            <a:endParaRPr lang="zh-CN" altLang="en-US" dirty="0"/>
          </a:p>
        </p:txBody>
      </p:sp>
      <p:sp>
        <p:nvSpPr>
          <p:cNvPr id="54275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24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03728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8674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28675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0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46347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0722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30723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1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15971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481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3481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4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11694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6866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36867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5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4329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8914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38915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6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289208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1986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r>
              <a:rPr lang="zh-CN" altLang="en-US" b="1" dirty="0"/>
              <a:t>温馨提示：</a:t>
            </a:r>
            <a:endParaRPr lang="en-US" altLang="zh-CN" b="1" dirty="0"/>
          </a:p>
          <a:p>
            <a:pPr lvl="0"/>
            <a:r>
              <a:rPr lang="en-US" altLang="zh-CN" dirty="0"/>
              <a:t>     1.</a:t>
            </a:r>
            <a:r>
              <a:rPr lang="zh-CN" altLang="en-US" dirty="0"/>
              <a:t>可以将更换为您的</a:t>
            </a:r>
            <a:r>
              <a:rPr lang="en-US" altLang="zh-CN" dirty="0"/>
              <a:t>LOGO</a:t>
            </a:r>
            <a:r>
              <a:rPr lang="zh-CN" altLang="en-US" dirty="0"/>
              <a:t>（用右键选择“更改图片”），如果不需要，可以删除。</a:t>
            </a:r>
            <a:endParaRPr lang="en-US" altLang="zh-CN" dirty="0"/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dirty="0"/>
              <a:t>     2.</a:t>
            </a:r>
            <a:r>
              <a:rPr lang="zh-CN" altLang="en-US" dirty="0"/>
              <a:t>更改图片：如要替换图片，只需要选中图片，然后右键找到</a:t>
            </a:r>
            <a:r>
              <a:rPr lang="en-US" altLang="zh-CN" dirty="0"/>
              <a:t>【</a:t>
            </a:r>
            <a:r>
              <a:rPr lang="zh-CN" altLang="en-US" dirty="0"/>
              <a:t>填充形状</a:t>
            </a:r>
            <a:r>
              <a:rPr lang="en-US" altLang="zh-CN" dirty="0"/>
              <a:t>】-【</a:t>
            </a:r>
            <a:r>
              <a:rPr lang="zh-CN" altLang="en-US" dirty="0"/>
              <a:t>照片</a:t>
            </a:r>
            <a:r>
              <a:rPr lang="en-US" altLang="zh-CN" dirty="0"/>
              <a:t>】</a:t>
            </a:r>
            <a:r>
              <a:rPr lang="zh-CN" altLang="en-US" dirty="0"/>
              <a:t>，就可以更换为您的照片。</a:t>
            </a:r>
            <a:r>
              <a:rPr lang="zh-CN" altLang="en-US" b="1" dirty="0">
                <a:solidFill>
                  <a:srgbClr val="FF0000"/>
                </a:solidFill>
              </a:rPr>
              <a:t>（要修改组合状态的照片，你需要点击要更改的图片两次，确认选中后再修改。）</a:t>
            </a:r>
            <a:endParaRPr lang="en-US" altLang="zh-CN" b="1" dirty="0">
              <a:solidFill>
                <a:srgbClr val="FF0000"/>
              </a:solidFill>
            </a:endParaRPr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dirty="0"/>
              <a:t>     3.</a:t>
            </a:r>
            <a:r>
              <a:rPr lang="zh-CN" altLang="en-US" dirty="0"/>
              <a:t> 组合式文字：当小标题和正文组合时，如果不需要小标题或正文，可以将文字删除，但是不要直接删除对应</a:t>
            </a:r>
            <a:r>
              <a:rPr lang="zh-CN" altLang="en-US" baseline="0" dirty="0"/>
              <a:t>的文本框，那样动画效果会消失哦。</a:t>
            </a:r>
            <a:endParaRPr lang="en-US" altLang="zh-CN" baseline="0" dirty="0"/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baseline="0" dirty="0"/>
              <a:t>     4. </a:t>
            </a:r>
            <a:r>
              <a:rPr lang="zh-CN" altLang="en-US" baseline="0" dirty="0"/>
              <a:t>如果你需要设置自动换片，或取消自动换片，可在菜单栏中点击</a:t>
            </a:r>
            <a:r>
              <a:rPr lang="en-US" altLang="zh-CN" baseline="0" dirty="0"/>
              <a:t>【</a:t>
            </a:r>
            <a:r>
              <a:rPr lang="zh-CN" altLang="en-US" baseline="0" dirty="0"/>
              <a:t>切换</a:t>
            </a:r>
            <a:r>
              <a:rPr lang="en-US" altLang="zh-CN" baseline="0" dirty="0"/>
              <a:t>】</a:t>
            </a:r>
            <a:r>
              <a:rPr lang="zh-CN" altLang="en-US" baseline="0" dirty="0"/>
              <a:t>找到</a:t>
            </a:r>
            <a:r>
              <a:rPr lang="en-US" altLang="zh-CN" baseline="0" dirty="0"/>
              <a:t>【</a:t>
            </a:r>
            <a:r>
              <a:rPr lang="zh-CN" altLang="en-US" baseline="0" dirty="0"/>
              <a:t>换片方式</a:t>
            </a:r>
            <a:r>
              <a:rPr lang="en-US" altLang="zh-CN" baseline="0" dirty="0"/>
              <a:t>】</a:t>
            </a:r>
            <a:r>
              <a:rPr lang="zh-CN" altLang="en-US" baseline="0" dirty="0"/>
              <a:t>，在</a:t>
            </a:r>
            <a:r>
              <a:rPr lang="en-US" altLang="zh-CN" baseline="0" dirty="0"/>
              <a:t>【</a:t>
            </a:r>
            <a:r>
              <a:rPr lang="zh-CN" altLang="en-US" baseline="0" dirty="0"/>
              <a:t>设置自动换片时间</a:t>
            </a:r>
            <a:r>
              <a:rPr lang="en-US" altLang="zh-CN" baseline="0" dirty="0"/>
              <a:t>】</a:t>
            </a:r>
            <a:r>
              <a:rPr lang="zh-CN" altLang="en-US" baseline="0" dirty="0"/>
              <a:t>前的小方块内打勾，或取消打勾即可。</a:t>
            </a:r>
            <a:endParaRPr lang="zh-CN" altLang="en-US" b="1" dirty="0">
              <a:solidFill>
                <a:srgbClr val="0070C0"/>
              </a:solidFill>
            </a:endParaRPr>
          </a:p>
          <a:p>
            <a:pPr lvl="0"/>
            <a:endParaRPr lang="zh-CN" altLang="en-US" dirty="0"/>
          </a:p>
        </p:txBody>
      </p:sp>
      <p:sp>
        <p:nvSpPr>
          <p:cNvPr id="41987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8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4935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4034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/>
          </a:p>
        </p:txBody>
      </p:sp>
      <p:sp>
        <p:nvSpPr>
          <p:cNvPr id="44035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19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43853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8130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r>
              <a:rPr lang="zh-CN" altLang="en-US" b="1" dirty="0"/>
              <a:t>温馨提示：</a:t>
            </a:r>
            <a:endParaRPr lang="en-US" altLang="zh-CN" b="1" dirty="0"/>
          </a:p>
          <a:p>
            <a:pPr lvl="0"/>
            <a:r>
              <a:rPr lang="en-US" altLang="zh-CN" dirty="0"/>
              <a:t>     1.</a:t>
            </a:r>
            <a:r>
              <a:rPr lang="zh-CN" altLang="en-US" dirty="0"/>
              <a:t>可以将</a:t>
            </a:r>
            <a:r>
              <a:rPr lang="en-US" altLang="zh-CN" dirty="0"/>
              <a:t>LOGO</a:t>
            </a:r>
            <a:r>
              <a:rPr lang="zh-CN" altLang="en-US" dirty="0"/>
              <a:t>更换为您的</a:t>
            </a:r>
            <a:r>
              <a:rPr lang="en-US" altLang="zh-CN" dirty="0"/>
              <a:t>LOGO</a:t>
            </a:r>
            <a:r>
              <a:rPr lang="zh-CN" altLang="en-US" dirty="0"/>
              <a:t>（用右键选择“更改图片”），如果不需要，可以删除。</a:t>
            </a:r>
            <a:endParaRPr lang="en-US" altLang="zh-CN" dirty="0"/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dirty="0"/>
              <a:t>     2.</a:t>
            </a:r>
            <a:r>
              <a:rPr lang="zh-CN" altLang="en-US" dirty="0"/>
              <a:t>更改图片：如要替换图片，只需要选中图片，然后右键找到</a:t>
            </a:r>
            <a:r>
              <a:rPr lang="en-US" altLang="zh-CN" dirty="0"/>
              <a:t>【</a:t>
            </a:r>
            <a:r>
              <a:rPr lang="zh-CN" altLang="en-US" dirty="0"/>
              <a:t>填充形状</a:t>
            </a:r>
            <a:r>
              <a:rPr lang="en-US" altLang="zh-CN" dirty="0"/>
              <a:t>】-【</a:t>
            </a:r>
            <a:r>
              <a:rPr lang="zh-CN" altLang="en-US" dirty="0"/>
              <a:t>照片</a:t>
            </a:r>
            <a:r>
              <a:rPr lang="en-US" altLang="zh-CN" dirty="0"/>
              <a:t>】</a:t>
            </a:r>
            <a:r>
              <a:rPr lang="zh-CN" altLang="en-US" dirty="0"/>
              <a:t>，就可以更换为您的照片。</a:t>
            </a:r>
            <a:r>
              <a:rPr lang="zh-CN" altLang="en-US" b="1" dirty="0">
                <a:solidFill>
                  <a:srgbClr val="FF0000"/>
                </a:solidFill>
              </a:rPr>
              <a:t>（要修改组合状态的照片，你需要点击要更改的图片两次，确认选中后再修改。）</a:t>
            </a:r>
            <a:endParaRPr lang="en-US" altLang="zh-CN" b="1" dirty="0">
              <a:solidFill>
                <a:srgbClr val="FF0000"/>
              </a:solidFill>
            </a:endParaRPr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dirty="0"/>
              <a:t>     3.</a:t>
            </a:r>
            <a:r>
              <a:rPr lang="zh-CN" altLang="en-US" dirty="0"/>
              <a:t> 组合式文字：当小标题和正文组合时，如果不需要小标题或正文，可以将文字删除，但是不要直接删除对应</a:t>
            </a:r>
            <a:r>
              <a:rPr lang="zh-CN" altLang="en-US" baseline="0" dirty="0"/>
              <a:t>的文本框，那样动画效果会消失哦。</a:t>
            </a:r>
            <a:endParaRPr lang="en-US" altLang="zh-CN" baseline="0" dirty="0"/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zh-CN" baseline="0" dirty="0"/>
              <a:t>     4. </a:t>
            </a:r>
            <a:r>
              <a:rPr lang="zh-CN" altLang="en-US" baseline="0" dirty="0"/>
              <a:t>如果你需要设置自动</a:t>
            </a:r>
            <a:r>
              <a:rPr lang="zh-CN" altLang="en-US" b="1" baseline="0" dirty="0"/>
              <a:t>换片</a:t>
            </a:r>
            <a:r>
              <a:rPr lang="zh-CN" altLang="en-US" baseline="0" dirty="0"/>
              <a:t>，或取消自动换片，可在菜单栏中点击</a:t>
            </a:r>
            <a:r>
              <a:rPr lang="en-US" altLang="zh-CN" baseline="0" dirty="0"/>
              <a:t>【</a:t>
            </a:r>
            <a:r>
              <a:rPr lang="zh-CN" altLang="en-US" baseline="0" dirty="0"/>
              <a:t>切换</a:t>
            </a:r>
            <a:r>
              <a:rPr lang="en-US" altLang="zh-CN" baseline="0" dirty="0"/>
              <a:t>】</a:t>
            </a:r>
            <a:r>
              <a:rPr lang="zh-CN" altLang="en-US" baseline="0" dirty="0"/>
              <a:t>找到</a:t>
            </a:r>
            <a:r>
              <a:rPr lang="en-US" altLang="zh-CN" baseline="0" dirty="0"/>
              <a:t>【</a:t>
            </a:r>
            <a:r>
              <a:rPr lang="zh-CN" altLang="en-US" baseline="0" dirty="0"/>
              <a:t>换片方式</a:t>
            </a:r>
            <a:r>
              <a:rPr lang="en-US" altLang="zh-CN" baseline="0" dirty="0"/>
              <a:t>】</a:t>
            </a:r>
            <a:r>
              <a:rPr lang="zh-CN" altLang="en-US" baseline="0" dirty="0"/>
              <a:t>，在</a:t>
            </a:r>
            <a:r>
              <a:rPr lang="en-US" altLang="zh-CN" baseline="0" dirty="0"/>
              <a:t>【</a:t>
            </a:r>
            <a:r>
              <a:rPr lang="zh-CN" altLang="en-US" baseline="0" dirty="0"/>
              <a:t>设置自动换片时间</a:t>
            </a:r>
            <a:r>
              <a:rPr lang="en-US" altLang="zh-CN" baseline="0" dirty="0"/>
              <a:t>】</a:t>
            </a:r>
            <a:r>
              <a:rPr lang="zh-CN" altLang="en-US" baseline="0" dirty="0"/>
              <a:t>前的小方块内打勾，或取消打勾即可。</a:t>
            </a:r>
            <a:endParaRPr lang="zh-CN" altLang="en-US" dirty="0"/>
          </a:p>
          <a:p>
            <a:pPr lvl="0"/>
            <a:endParaRPr lang="zh-CN" altLang="en-US" b="1" dirty="0">
              <a:solidFill>
                <a:srgbClr val="0070C0"/>
              </a:solidFill>
            </a:endParaRPr>
          </a:p>
          <a:p>
            <a:pPr lvl="0"/>
            <a:endParaRPr lang="zh-CN" altLang="en-US" dirty="0"/>
          </a:p>
        </p:txBody>
      </p:sp>
      <p:sp>
        <p:nvSpPr>
          <p:cNvPr id="48131" name="灯片编号占位符 3"/>
          <p:cNvSpPr>
            <a:spLocks noGrp="1"/>
          </p:cNvSpPr>
          <p:nvPr>
            <p:ph type="sldNum" sz="quarter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marL="0" lvl="0" indent="0" algn="r" eaLnBrk="1" latinLnBrk="0" hangingPunct="1"/>
            <a:fld id="{9A0DB2DC-4C9A-4742-B13C-FB6460FD3503}" type="slidenum">
              <a:rPr lang="zh-CN" altLang="en-US" sz="1200">
                <a:latin typeface="Calibri" panose="020F0502020204030204" charset="0"/>
                <a:ea typeface="宋体" panose="02010600030101010101" pitchFamily="2" charset="-122"/>
              </a:rPr>
              <a:t>21</a:t>
            </a:fld>
            <a:endParaRPr lang="zh-CN" altLang="en-US" sz="120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03150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image" Target="../media/image2.jpeg"/><Relationship Id="rId5" Type="http://schemas.openxmlformats.org/officeDocument/2006/relationships/tags" Target="../tags/tag2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2.jpeg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2.jpe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2.jpeg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685800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2651530" y="975122"/>
            <a:ext cx="6888939" cy="1200329"/>
          </a:xfrm>
        </p:spPr>
        <p:txBody>
          <a:bodyPr anchor="b">
            <a:norm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704739" y="331800"/>
            <a:ext cx="6782524" cy="52322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b="1" i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838200" y="551543"/>
            <a:ext cx="10515600" cy="5558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685800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838200" y="988292"/>
            <a:ext cx="10596418" cy="2576944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 marL="0" marR="0" algn="ctr" defTabSz="914400" rtl="0" eaLnBrk="1" fontAlgn="auto" latinLnBrk="0" hangingPunct="1">
              <a:lnSpc>
                <a:spcPct val="90000"/>
              </a:lnSpc>
              <a:buNone/>
              <a:defRPr kumimoji="0" lang="zh-CN" altLang="en-US" sz="7200" b="0" i="0" u="none" strike="noStrike" kern="1200" cap="none" spc="0" normalizeH="0" baseline="0" noProof="1" dirty="0">
                <a:solidFill>
                  <a:schemeClr val="bg1"/>
                </a:solidFill>
                <a:uFillTx/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/>
          <a:srcRect t="-1"/>
          <a:stretch>
            <a:fillRect/>
          </a:stretch>
        </p:blipFill>
        <p:spPr>
          <a:xfrm flipH="1">
            <a:off x="3695700" y="0"/>
            <a:ext cx="8496300" cy="68580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0" y="0"/>
            <a:ext cx="514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zh-CN" altLang="en-US" b="1" dirty="0"/>
          </a:p>
        </p:txBody>
      </p:sp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27573" y="2195047"/>
            <a:ext cx="4288353" cy="1569660"/>
          </a:xfrm>
        </p:spPr>
        <p:txBody>
          <a:bodyPr anchor="b">
            <a:normAutofit/>
          </a:bodyPr>
          <a:lstStyle>
            <a:lvl1pPr algn="l"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编辑标题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27573" y="3774539"/>
            <a:ext cx="4288353" cy="535531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>
            <p:custDataLst>
              <p:tags r:id="rId1"/>
            </p:custDataLst>
          </p:nvPr>
        </p:nvSpPr>
        <p:spPr>
          <a:xfrm>
            <a:off x="-10391" y="680612"/>
            <a:ext cx="402032" cy="7148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椭圆 3"/>
          <p:cNvSpPr/>
          <p:nvPr/>
        </p:nvSpPr>
        <p:spPr>
          <a:xfrm>
            <a:off x="2747542" y="2951378"/>
            <a:ext cx="1354557" cy="135455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>
          <a:xfrm>
            <a:off x="4246903" y="2931243"/>
            <a:ext cx="5277408" cy="904863"/>
          </a:xfrm>
        </p:spPr>
        <p:txBody>
          <a:bodyPr anchor="b">
            <a:norm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/>
          </p:nvPr>
        </p:nvSpPr>
        <p:spPr>
          <a:xfrm>
            <a:off x="4246563" y="3841443"/>
            <a:ext cx="5278437" cy="4540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>
            <p:custDataLst>
              <p:tags r:id="rId1"/>
            </p:custDataLst>
          </p:nvPr>
        </p:nvSpPr>
        <p:spPr>
          <a:xfrm>
            <a:off x="0" y="670221"/>
            <a:ext cx="402032" cy="7148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276636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71331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71331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print"/>
          <a:srcRect t="-3" r="-55"/>
          <a:stretch>
            <a:fillRect/>
          </a:stretch>
        </p:blipFill>
        <p:spPr>
          <a:xfrm>
            <a:off x="1" y="1686750"/>
            <a:ext cx="12207240" cy="520173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229336" y="1726411"/>
            <a:ext cx="6340197" cy="1569660"/>
          </a:xfrm>
        </p:spPr>
        <p:txBody>
          <a:bodyPr lIns="90000" tIns="46800" rIns="90000" bIns="46800" anchor="b">
            <a:normAutofit/>
          </a:bodyPr>
          <a:lstStyle>
            <a:lvl1pPr algn="ctr">
              <a:defRPr sz="8000" b="1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标题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 lIns="90000" tIns="46800" rIns="90000" bIns="46800"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 lIns="90000" tIns="46800" rIns="90000" bIns="46800"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 lIns="90000" tIns="46800" rIns="90000" bIns="46800"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/>
          </p:nvPr>
        </p:nvSpPr>
        <p:spPr>
          <a:xfrm>
            <a:off x="3228975" y="3299491"/>
            <a:ext cx="6340475" cy="537712"/>
          </a:xfrm>
        </p:spPr>
        <p:txBody>
          <a:bodyPr lIns="90000" tIns="46800" rIns="90000" bIns="46800" anchor="ctr">
            <a:normAutofit/>
          </a:bodyPr>
          <a:lstStyle>
            <a:lvl1pPr marL="0" indent="0" algn="ctr">
              <a:buNone/>
              <a:defRPr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>
            <p:custDataLst>
              <p:tags r:id="rId1"/>
            </p:custDataLst>
          </p:nvPr>
        </p:nvSpPr>
        <p:spPr>
          <a:xfrm>
            <a:off x="0" y="181844"/>
            <a:ext cx="402032" cy="7148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>
            <p:custDataLst>
              <p:tags r:id="rId1"/>
            </p:custDataLst>
          </p:nvPr>
        </p:nvSpPr>
        <p:spPr>
          <a:xfrm>
            <a:off x="0" y="618266"/>
            <a:ext cx="402032" cy="11066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7" y="457200"/>
            <a:ext cx="4165200" cy="1600200"/>
          </a:xfrm>
        </p:spPr>
        <p:txBody>
          <a:bodyPr anchor="t" anchorCtr="0">
            <a:normAutofit/>
          </a:bodyPr>
          <a:lstStyle>
            <a:lvl1pPr>
              <a:defRPr sz="36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 noChangeAspect="1"/>
          </p:cNvSpPr>
          <p:nvPr>
            <p:ph type="pic" idx="1"/>
          </p:nvPr>
        </p:nvSpPr>
        <p:spPr>
          <a:xfrm>
            <a:off x="5184000" y="457200"/>
            <a:ext cx="6170400" cy="540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7" y="2057400"/>
            <a:ext cx="4165200" cy="381158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  <a:t>2021/4/13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0373032" y="365125"/>
            <a:ext cx="980768" cy="5811838"/>
          </a:xfrm>
        </p:spPr>
        <p:txBody>
          <a:bodyPr vert="eaVert">
            <a:normAutofit/>
          </a:bodyPr>
          <a:lstStyle>
            <a:lvl1pPr>
              <a:defRPr sz="36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9446342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7F810-8A80-4AFF-84EB-8753EAA497A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838200" y="551543"/>
            <a:ext cx="10515600" cy="5558971"/>
          </a:xfrm>
        </p:spPr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8" name="矩形 7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矩形 8"/>
          <p:cNvSpPr/>
          <p:nvPr>
            <p:custDataLst>
              <p:tags r:id="rId6"/>
            </p:custDataLst>
          </p:nvPr>
        </p:nvSpPr>
        <p:spPr>
          <a:xfrm>
            <a:off x="3754687" y="1069848"/>
            <a:ext cx="4680023" cy="4727448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>
            <p:custDataLst>
              <p:tags r:id="rId7"/>
            </p:custDataLst>
          </p:nvPr>
        </p:nvSpPr>
        <p:spPr>
          <a:xfrm>
            <a:off x="4157468" y="1399945"/>
            <a:ext cx="38770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754687" y="2415609"/>
            <a:ext cx="4680024" cy="89909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3754686" y="3383281"/>
            <a:ext cx="4680024" cy="60578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839788" y="1744961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839788" y="2615609"/>
            <a:ext cx="5157787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  <p:custDataLst>
              <p:tags r:id="rId4"/>
            </p:custDataLst>
          </p:nvPr>
        </p:nvSpPr>
        <p:spPr>
          <a:xfrm>
            <a:off x="6172200" y="1744961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172200" y="2615609"/>
            <a:ext cx="5183188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10" name="矩形 9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6" name="矩形 5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39787" y="457200"/>
            <a:ext cx="4165200" cy="1600200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图片占位符 2"/>
          <p:cNvSpPr>
            <a:spLocks noGrp="1" noChangeAspect="1"/>
          </p:cNvSpPr>
          <p:nvPr>
            <p:ph type="pic" idx="1"/>
            <p:custDataLst>
              <p:tags r:id="rId4"/>
            </p:custDataLst>
          </p:nvPr>
        </p:nvSpPr>
        <p:spPr>
          <a:xfrm>
            <a:off x="5184000" y="457200"/>
            <a:ext cx="6170400" cy="5403600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839787" y="2057400"/>
            <a:ext cx="4165200" cy="38115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FD9D74-47D9-4702-A33C-335B63B48DBF}" type="datetimeFigureOut">
              <a:rPr lang="zh-CN" altLang="en-US" smtClean="0"/>
              <a:t>2021/4/13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9824484" y="365125"/>
            <a:ext cx="1529316" cy="5811838"/>
          </a:xfrm>
        </p:spPr>
        <p:txBody>
          <a:bodyPr vert="eaVert"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>
          <a:xfrm>
            <a:off x="838200" y="365125"/>
            <a:ext cx="8879958" cy="5811838"/>
          </a:xfrm>
        </p:spPr>
        <p:txBody>
          <a:bodyPr vert="eaVert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80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8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KSO_TEMPLATE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lnSpc>
                <a:spcPct val="12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17898D2-FB04-4AED-988A-2DBA29323B85}" type="datetimeFigureOut">
              <a:rPr lang="zh-CN" altLang="en-US" smtClean="0"/>
              <a:t>2021/4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12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lnSpc>
                <a:spcPct val="12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B47F810-8A80-4AFF-84EB-8753EAA497AD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7" name="KSO_TEMPLATE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12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5.jpeg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9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13" Type="http://schemas.openxmlformats.org/officeDocument/2006/relationships/tags" Target="../tags/tag255.xml"/><Relationship Id="rId18" Type="http://schemas.openxmlformats.org/officeDocument/2006/relationships/tags" Target="../tags/tag260.xml"/><Relationship Id="rId3" Type="http://schemas.openxmlformats.org/officeDocument/2006/relationships/tags" Target="../tags/tag245.xml"/><Relationship Id="rId21" Type="http://schemas.openxmlformats.org/officeDocument/2006/relationships/tags" Target="../tags/tag263.xml"/><Relationship Id="rId7" Type="http://schemas.openxmlformats.org/officeDocument/2006/relationships/tags" Target="../tags/tag249.xml"/><Relationship Id="rId12" Type="http://schemas.openxmlformats.org/officeDocument/2006/relationships/tags" Target="../tags/tag254.xml"/><Relationship Id="rId17" Type="http://schemas.openxmlformats.org/officeDocument/2006/relationships/tags" Target="../tags/tag259.xml"/><Relationship Id="rId2" Type="http://schemas.openxmlformats.org/officeDocument/2006/relationships/tags" Target="../tags/tag244.xml"/><Relationship Id="rId16" Type="http://schemas.openxmlformats.org/officeDocument/2006/relationships/tags" Target="../tags/tag258.xml"/><Relationship Id="rId20" Type="http://schemas.openxmlformats.org/officeDocument/2006/relationships/tags" Target="../tags/tag262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tags" Target="../tags/tag253.xml"/><Relationship Id="rId24" Type="http://schemas.openxmlformats.org/officeDocument/2006/relationships/image" Target="../media/image24.jpeg"/><Relationship Id="rId5" Type="http://schemas.openxmlformats.org/officeDocument/2006/relationships/tags" Target="../tags/tag247.xml"/><Relationship Id="rId15" Type="http://schemas.openxmlformats.org/officeDocument/2006/relationships/tags" Target="../tags/tag257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252.xml"/><Relationship Id="rId19" Type="http://schemas.openxmlformats.org/officeDocument/2006/relationships/tags" Target="../tags/tag261.xml"/><Relationship Id="rId4" Type="http://schemas.openxmlformats.org/officeDocument/2006/relationships/tags" Target="../tags/tag246.xml"/><Relationship Id="rId9" Type="http://schemas.openxmlformats.org/officeDocument/2006/relationships/tags" Target="../tags/tag251.xml"/><Relationship Id="rId14" Type="http://schemas.openxmlformats.org/officeDocument/2006/relationships/tags" Target="../tags/tag256.xml"/><Relationship Id="rId22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image" Target="../media/image26.png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image" Target="../media/image25.jpe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68.xml"/><Relationship Id="rId15" Type="http://schemas.openxmlformats.org/officeDocument/2006/relationships/image" Target="../media/image28.jpe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267.xml"/><Relationship Id="rId9" Type="http://schemas.openxmlformats.org/officeDocument/2006/relationships/tags" Target="../tags/tag272.xml"/><Relationship Id="rId1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image" Target="../media/image29.jpeg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12" Type="http://schemas.openxmlformats.org/officeDocument/2006/relationships/slideLayout" Target="../slideLayouts/slideLayout18.xml"/><Relationship Id="rId2" Type="http://schemas.openxmlformats.org/officeDocument/2006/relationships/tags" Target="../tags/tag274.xml"/><Relationship Id="rId16" Type="http://schemas.openxmlformats.org/officeDocument/2006/relationships/image" Target="../media/image32.jpeg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5" Type="http://schemas.openxmlformats.org/officeDocument/2006/relationships/tags" Target="../tags/tag277.xml"/><Relationship Id="rId15" Type="http://schemas.openxmlformats.org/officeDocument/2006/relationships/image" Target="../media/image31.jpeg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6.xml"/><Relationship Id="rId18" Type="http://schemas.openxmlformats.org/officeDocument/2006/relationships/image" Target="../media/image33.jpeg"/><Relationship Id="rId3" Type="http://schemas.openxmlformats.org/officeDocument/2006/relationships/tags" Target="../tags/tag286.xml"/><Relationship Id="rId21" Type="http://schemas.openxmlformats.org/officeDocument/2006/relationships/image" Target="../media/image36.jpeg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slideLayout" Target="../slideLayouts/slideLayout18.xml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20" Type="http://schemas.openxmlformats.org/officeDocument/2006/relationships/image" Target="../media/image35.jpeg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5" Type="http://schemas.openxmlformats.org/officeDocument/2006/relationships/tags" Target="../tags/tag288.xml"/><Relationship Id="rId15" Type="http://schemas.openxmlformats.org/officeDocument/2006/relationships/tags" Target="../tags/tag298.xml"/><Relationship Id="rId23" Type="http://schemas.openxmlformats.org/officeDocument/2006/relationships/image" Target="../media/image38.jpeg"/><Relationship Id="rId10" Type="http://schemas.openxmlformats.org/officeDocument/2006/relationships/tags" Target="../tags/tag293.xml"/><Relationship Id="rId19" Type="http://schemas.openxmlformats.org/officeDocument/2006/relationships/image" Target="../media/image34.jpeg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Relationship Id="rId22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tags" Target="../tags/tag312.xml"/><Relationship Id="rId18" Type="http://schemas.openxmlformats.org/officeDocument/2006/relationships/image" Target="../media/image40.png"/><Relationship Id="rId3" Type="http://schemas.openxmlformats.org/officeDocument/2006/relationships/tags" Target="../tags/tag302.xml"/><Relationship Id="rId21" Type="http://schemas.openxmlformats.org/officeDocument/2006/relationships/image" Target="../media/image43.jpeg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image" Target="../media/image39.png"/><Relationship Id="rId2" Type="http://schemas.openxmlformats.org/officeDocument/2006/relationships/tags" Target="../tags/tag301.xml"/><Relationship Id="rId16" Type="http://schemas.openxmlformats.org/officeDocument/2006/relationships/notesSlide" Target="../notesSlides/notesSlide4.xml"/><Relationship Id="rId20" Type="http://schemas.openxmlformats.org/officeDocument/2006/relationships/image" Target="../media/image42.jpeg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5" Type="http://schemas.openxmlformats.org/officeDocument/2006/relationships/tags" Target="../tags/tag304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45.jpeg"/><Relationship Id="rId10" Type="http://schemas.openxmlformats.org/officeDocument/2006/relationships/tags" Target="../tags/tag309.xml"/><Relationship Id="rId19" Type="http://schemas.openxmlformats.org/officeDocument/2006/relationships/image" Target="../media/image41.png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Relationship Id="rId22" Type="http://schemas.openxmlformats.org/officeDocument/2006/relationships/image" Target="../media/image4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tags" Target="../tags/tag326.xml"/><Relationship Id="rId18" Type="http://schemas.openxmlformats.org/officeDocument/2006/relationships/tags" Target="../tags/tag331.xml"/><Relationship Id="rId26" Type="http://schemas.openxmlformats.org/officeDocument/2006/relationships/tags" Target="../tags/tag339.xml"/><Relationship Id="rId3" Type="http://schemas.openxmlformats.org/officeDocument/2006/relationships/tags" Target="../tags/tag316.xml"/><Relationship Id="rId21" Type="http://schemas.openxmlformats.org/officeDocument/2006/relationships/tags" Target="../tags/tag334.xml"/><Relationship Id="rId7" Type="http://schemas.openxmlformats.org/officeDocument/2006/relationships/tags" Target="../tags/tag320.xml"/><Relationship Id="rId12" Type="http://schemas.openxmlformats.org/officeDocument/2006/relationships/tags" Target="../tags/tag325.xml"/><Relationship Id="rId17" Type="http://schemas.openxmlformats.org/officeDocument/2006/relationships/tags" Target="../tags/tag330.xml"/><Relationship Id="rId25" Type="http://schemas.openxmlformats.org/officeDocument/2006/relationships/tags" Target="../tags/tag338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315.xml"/><Relationship Id="rId16" Type="http://schemas.openxmlformats.org/officeDocument/2006/relationships/tags" Target="../tags/tag329.xml"/><Relationship Id="rId20" Type="http://schemas.openxmlformats.org/officeDocument/2006/relationships/tags" Target="../tags/tag333.xml"/><Relationship Id="rId29" Type="http://schemas.openxmlformats.org/officeDocument/2006/relationships/tags" Target="../tags/tag342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tags" Target="../tags/tag324.xml"/><Relationship Id="rId24" Type="http://schemas.openxmlformats.org/officeDocument/2006/relationships/tags" Target="../tags/tag337.xml"/><Relationship Id="rId32" Type="http://schemas.openxmlformats.org/officeDocument/2006/relationships/slideLayout" Target="../slideLayouts/slideLayout18.xml"/><Relationship Id="rId5" Type="http://schemas.openxmlformats.org/officeDocument/2006/relationships/tags" Target="../tags/tag318.xml"/><Relationship Id="rId15" Type="http://schemas.openxmlformats.org/officeDocument/2006/relationships/tags" Target="../tags/tag328.xml"/><Relationship Id="rId23" Type="http://schemas.openxmlformats.org/officeDocument/2006/relationships/tags" Target="../tags/tag336.xml"/><Relationship Id="rId28" Type="http://schemas.openxmlformats.org/officeDocument/2006/relationships/tags" Target="../tags/tag341.xml"/><Relationship Id="rId10" Type="http://schemas.openxmlformats.org/officeDocument/2006/relationships/tags" Target="../tags/tag323.xml"/><Relationship Id="rId19" Type="http://schemas.openxmlformats.org/officeDocument/2006/relationships/tags" Target="../tags/tag332.xml"/><Relationship Id="rId31" Type="http://schemas.openxmlformats.org/officeDocument/2006/relationships/tags" Target="../tags/tag344.xml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4" Type="http://schemas.openxmlformats.org/officeDocument/2006/relationships/tags" Target="../tags/tag327.xml"/><Relationship Id="rId22" Type="http://schemas.openxmlformats.org/officeDocument/2006/relationships/tags" Target="../tags/tag335.xml"/><Relationship Id="rId27" Type="http://schemas.openxmlformats.org/officeDocument/2006/relationships/tags" Target="../tags/tag340.xml"/><Relationship Id="rId30" Type="http://schemas.openxmlformats.org/officeDocument/2006/relationships/tags" Target="../tags/tag34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13" Type="http://schemas.openxmlformats.org/officeDocument/2006/relationships/tags" Target="../tags/tag357.xml"/><Relationship Id="rId18" Type="http://schemas.openxmlformats.org/officeDocument/2006/relationships/tags" Target="../tags/tag362.xml"/><Relationship Id="rId3" Type="http://schemas.openxmlformats.org/officeDocument/2006/relationships/tags" Target="../tags/tag347.xml"/><Relationship Id="rId21" Type="http://schemas.openxmlformats.org/officeDocument/2006/relationships/image" Target="../media/image46.png"/><Relationship Id="rId7" Type="http://schemas.openxmlformats.org/officeDocument/2006/relationships/tags" Target="../tags/tag351.xml"/><Relationship Id="rId12" Type="http://schemas.openxmlformats.org/officeDocument/2006/relationships/tags" Target="../tags/tag356.xml"/><Relationship Id="rId17" Type="http://schemas.openxmlformats.org/officeDocument/2006/relationships/tags" Target="../tags/tag361.xml"/><Relationship Id="rId2" Type="http://schemas.openxmlformats.org/officeDocument/2006/relationships/tags" Target="../tags/tag346.xml"/><Relationship Id="rId16" Type="http://schemas.openxmlformats.org/officeDocument/2006/relationships/tags" Target="../tags/tag360.xml"/><Relationship Id="rId20" Type="http://schemas.openxmlformats.org/officeDocument/2006/relationships/notesSlide" Target="../notesSlides/notesSlide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11" Type="http://schemas.openxmlformats.org/officeDocument/2006/relationships/tags" Target="../tags/tag355.xml"/><Relationship Id="rId5" Type="http://schemas.openxmlformats.org/officeDocument/2006/relationships/tags" Target="../tags/tag349.xml"/><Relationship Id="rId15" Type="http://schemas.openxmlformats.org/officeDocument/2006/relationships/tags" Target="../tags/tag359.xml"/><Relationship Id="rId10" Type="http://schemas.openxmlformats.org/officeDocument/2006/relationships/tags" Target="../tags/tag354.xml"/><Relationship Id="rId19" Type="http://schemas.openxmlformats.org/officeDocument/2006/relationships/slideLayout" Target="../slideLayouts/slideLayout18.xml"/><Relationship Id="rId4" Type="http://schemas.openxmlformats.org/officeDocument/2006/relationships/tags" Target="../tags/tag348.xml"/><Relationship Id="rId9" Type="http://schemas.openxmlformats.org/officeDocument/2006/relationships/tags" Target="../tags/tag353.xml"/><Relationship Id="rId14" Type="http://schemas.openxmlformats.org/officeDocument/2006/relationships/tags" Target="../tags/tag35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tags" Target="../tags/tag375.xml"/><Relationship Id="rId18" Type="http://schemas.openxmlformats.org/officeDocument/2006/relationships/tags" Target="../tags/tag380.xml"/><Relationship Id="rId26" Type="http://schemas.openxmlformats.org/officeDocument/2006/relationships/tags" Target="../tags/tag388.xml"/><Relationship Id="rId3" Type="http://schemas.openxmlformats.org/officeDocument/2006/relationships/tags" Target="../tags/tag365.xml"/><Relationship Id="rId21" Type="http://schemas.openxmlformats.org/officeDocument/2006/relationships/tags" Target="../tags/tag383.xml"/><Relationship Id="rId34" Type="http://schemas.openxmlformats.org/officeDocument/2006/relationships/slideLayout" Target="../slideLayouts/slideLayout18.xml"/><Relationship Id="rId7" Type="http://schemas.openxmlformats.org/officeDocument/2006/relationships/tags" Target="../tags/tag369.xml"/><Relationship Id="rId12" Type="http://schemas.openxmlformats.org/officeDocument/2006/relationships/tags" Target="../tags/tag374.xml"/><Relationship Id="rId17" Type="http://schemas.openxmlformats.org/officeDocument/2006/relationships/tags" Target="../tags/tag379.xml"/><Relationship Id="rId25" Type="http://schemas.openxmlformats.org/officeDocument/2006/relationships/tags" Target="../tags/tag387.xml"/><Relationship Id="rId33" Type="http://schemas.openxmlformats.org/officeDocument/2006/relationships/tags" Target="../tags/tag395.xml"/><Relationship Id="rId2" Type="http://schemas.openxmlformats.org/officeDocument/2006/relationships/tags" Target="../tags/tag364.xml"/><Relationship Id="rId16" Type="http://schemas.openxmlformats.org/officeDocument/2006/relationships/tags" Target="../tags/tag378.xml"/><Relationship Id="rId20" Type="http://schemas.openxmlformats.org/officeDocument/2006/relationships/tags" Target="../tags/tag382.xml"/><Relationship Id="rId29" Type="http://schemas.openxmlformats.org/officeDocument/2006/relationships/tags" Target="../tags/tag391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24" Type="http://schemas.openxmlformats.org/officeDocument/2006/relationships/tags" Target="../tags/tag386.xml"/><Relationship Id="rId32" Type="http://schemas.openxmlformats.org/officeDocument/2006/relationships/tags" Target="../tags/tag394.xml"/><Relationship Id="rId5" Type="http://schemas.openxmlformats.org/officeDocument/2006/relationships/tags" Target="../tags/tag367.xml"/><Relationship Id="rId15" Type="http://schemas.openxmlformats.org/officeDocument/2006/relationships/tags" Target="../tags/tag377.xml"/><Relationship Id="rId23" Type="http://schemas.openxmlformats.org/officeDocument/2006/relationships/tags" Target="../tags/tag385.xml"/><Relationship Id="rId28" Type="http://schemas.openxmlformats.org/officeDocument/2006/relationships/tags" Target="../tags/tag390.xml"/><Relationship Id="rId10" Type="http://schemas.openxmlformats.org/officeDocument/2006/relationships/tags" Target="../tags/tag372.xml"/><Relationship Id="rId19" Type="http://schemas.openxmlformats.org/officeDocument/2006/relationships/tags" Target="../tags/tag381.xml"/><Relationship Id="rId31" Type="http://schemas.openxmlformats.org/officeDocument/2006/relationships/tags" Target="../tags/tag393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tags" Target="../tags/tag376.xml"/><Relationship Id="rId22" Type="http://schemas.openxmlformats.org/officeDocument/2006/relationships/tags" Target="../tags/tag384.xml"/><Relationship Id="rId27" Type="http://schemas.openxmlformats.org/officeDocument/2006/relationships/tags" Target="../tags/tag389.xml"/><Relationship Id="rId30" Type="http://schemas.openxmlformats.org/officeDocument/2006/relationships/tags" Target="../tags/tag39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tags" Target="../tags/tag39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0.xml"/><Relationship Id="rId4" Type="http://schemas.openxmlformats.org/officeDocument/2006/relationships/tags" Target="../tags/tag39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tags" Target="../tags/tag413.xml"/><Relationship Id="rId18" Type="http://schemas.openxmlformats.org/officeDocument/2006/relationships/tags" Target="../tags/tag418.xml"/><Relationship Id="rId26" Type="http://schemas.openxmlformats.org/officeDocument/2006/relationships/tags" Target="../tags/tag426.xml"/><Relationship Id="rId3" Type="http://schemas.openxmlformats.org/officeDocument/2006/relationships/tags" Target="../tags/tag403.xml"/><Relationship Id="rId21" Type="http://schemas.openxmlformats.org/officeDocument/2006/relationships/tags" Target="../tags/tag421.xml"/><Relationship Id="rId7" Type="http://schemas.openxmlformats.org/officeDocument/2006/relationships/tags" Target="../tags/tag407.xml"/><Relationship Id="rId12" Type="http://schemas.openxmlformats.org/officeDocument/2006/relationships/tags" Target="../tags/tag412.xml"/><Relationship Id="rId17" Type="http://schemas.openxmlformats.org/officeDocument/2006/relationships/tags" Target="../tags/tag417.xml"/><Relationship Id="rId25" Type="http://schemas.openxmlformats.org/officeDocument/2006/relationships/tags" Target="../tags/tag425.xml"/><Relationship Id="rId2" Type="http://schemas.openxmlformats.org/officeDocument/2006/relationships/tags" Target="../tags/tag402.xml"/><Relationship Id="rId16" Type="http://schemas.openxmlformats.org/officeDocument/2006/relationships/tags" Target="../tags/tag416.xml"/><Relationship Id="rId20" Type="http://schemas.openxmlformats.org/officeDocument/2006/relationships/tags" Target="../tags/tag420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tags" Target="../tags/tag411.xml"/><Relationship Id="rId24" Type="http://schemas.openxmlformats.org/officeDocument/2006/relationships/tags" Target="../tags/tag424.xml"/><Relationship Id="rId5" Type="http://schemas.openxmlformats.org/officeDocument/2006/relationships/tags" Target="../tags/tag405.xml"/><Relationship Id="rId15" Type="http://schemas.openxmlformats.org/officeDocument/2006/relationships/tags" Target="../tags/tag415.xml"/><Relationship Id="rId23" Type="http://schemas.openxmlformats.org/officeDocument/2006/relationships/tags" Target="../tags/tag423.xml"/><Relationship Id="rId28" Type="http://schemas.openxmlformats.org/officeDocument/2006/relationships/notesSlide" Target="../notesSlides/notesSlide8.xml"/><Relationship Id="rId10" Type="http://schemas.openxmlformats.org/officeDocument/2006/relationships/tags" Target="../tags/tag410.xml"/><Relationship Id="rId19" Type="http://schemas.openxmlformats.org/officeDocument/2006/relationships/tags" Target="../tags/tag419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tags" Target="../tags/tag414.xml"/><Relationship Id="rId22" Type="http://schemas.openxmlformats.org/officeDocument/2006/relationships/tags" Target="../tags/tag422.xml"/><Relationship Id="rId27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9.jpe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8.png"/><Relationship Id="rId5" Type="http://schemas.openxmlformats.org/officeDocument/2006/relationships/tags" Target="../tags/tag95.xml"/><Relationship Id="rId10" Type="http://schemas.openxmlformats.org/officeDocument/2006/relationships/image" Target="../media/image7.jpeg"/><Relationship Id="rId4" Type="http://schemas.openxmlformats.org/officeDocument/2006/relationships/tags" Target="../tags/tag94.xml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28.xml"/><Relationship Id="rId1" Type="http://schemas.openxmlformats.org/officeDocument/2006/relationships/tags" Target="../tags/tag42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tags" Target="../tags/tag431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33.xml"/><Relationship Id="rId4" Type="http://schemas.openxmlformats.org/officeDocument/2006/relationships/tags" Target="../tags/tag4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tags" Target="../tags/tag446.xml"/><Relationship Id="rId18" Type="http://schemas.openxmlformats.org/officeDocument/2006/relationships/tags" Target="../tags/tag451.xml"/><Relationship Id="rId26" Type="http://schemas.openxmlformats.org/officeDocument/2006/relationships/tags" Target="../tags/tag459.xml"/><Relationship Id="rId39" Type="http://schemas.openxmlformats.org/officeDocument/2006/relationships/image" Target="../media/image49.png"/><Relationship Id="rId3" Type="http://schemas.openxmlformats.org/officeDocument/2006/relationships/tags" Target="../tags/tag436.xml"/><Relationship Id="rId21" Type="http://schemas.openxmlformats.org/officeDocument/2006/relationships/tags" Target="../tags/tag454.xml"/><Relationship Id="rId34" Type="http://schemas.openxmlformats.org/officeDocument/2006/relationships/tags" Target="../tags/tag467.xm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tags" Target="../tags/tag450.xml"/><Relationship Id="rId25" Type="http://schemas.openxmlformats.org/officeDocument/2006/relationships/tags" Target="../tags/tag458.xml"/><Relationship Id="rId33" Type="http://schemas.openxmlformats.org/officeDocument/2006/relationships/tags" Target="../tags/tag466.xml"/><Relationship Id="rId38" Type="http://schemas.openxmlformats.org/officeDocument/2006/relationships/notesSlide" Target="../notesSlides/notesSlide10.xml"/><Relationship Id="rId2" Type="http://schemas.openxmlformats.org/officeDocument/2006/relationships/tags" Target="../tags/tag435.xml"/><Relationship Id="rId16" Type="http://schemas.openxmlformats.org/officeDocument/2006/relationships/tags" Target="../tags/tag449.xml"/><Relationship Id="rId20" Type="http://schemas.openxmlformats.org/officeDocument/2006/relationships/tags" Target="../tags/tag453.xml"/><Relationship Id="rId29" Type="http://schemas.openxmlformats.org/officeDocument/2006/relationships/tags" Target="../tags/tag462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24" Type="http://schemas.openxmlformats.org/officeDocument/2006/relationships/tags" Target="../tags/tag457.xml"/><Relationship Id="rId32" Type="http://schemas.openxmlformats.org/officeDocument/2006/relationships/tags" Target="../tags/tag465.xml"/><Relationship Id="rId37" Type="http://schemas.openxmlformats.org/officeDocument/2006/relationships/slideLayout" Target="../slideLayouts/slideLayout18.xml"/><Relationship Id="rId40" Type="http://schemas.openxmlformats.org/officeDocument/2006/relationships/image" Target="../media/image50.png"/><Relationship Id="rId5" Type="http://schemas.openxmlformats.org/officeDocument/2006/relationships/tags" Target="../tags/tag438.xml"/><Relationship Id="rId15" Type="http://schemas.openxmlformats.org/officeDocument/2006/relationships/tags" Target="../tags/tag448.xml"/><Relationship Id="rId23" Type="http://schemas.openxmlformats.org/officeDocument/2006/relationships/tags" Target="../tags/tag456.xml"/><Relationship Id="rId28" Type="http://schemas.openxmlformats.org/officeDocument/2006/relationships/tags" Target="../tags/tag461.xml"/><Relationship Id="rId36" Type="http://schemas.openxmlformats.org/officeDocument/2006/relationships/tags" Target="../tags/tag469.xml"/><Relationship Id="rId10" Type="http://schemas.openxmlformats.org/officeDocument/2006/relationships/tags" Target="../tags/tag443.xml"/><Relationship Id="rId19" Type="http://schemas.openxmlformats.org/officeDocument/2006/relationships/tags" Target="../tags/tag452.xml"/><Relationship Id="rId31" Type="http://schemas.openxmlformats.org/officeDocument/2006/relationships/tags" Target="../tags/tag464.xm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tags" Target="../tags/tag447.xml"/><Relationship Id="rId22" Type="http://schemas.openxmlformats.org/officeDocument/2006/relationships/tags" Target="../tags/tag455.xml"/><Relationship Id="rId27" Type="http://schemas.openxmlformats.org/officeDocument/2006/relationships/tags" Target="../tags/tag460.xml"/><Relationship Id="rId30" Type="http://schemas.openxmlformats.org/officeDocument/2006/relationships/tags" Target="../tags/tag463.xml"/><Relationship Id="rId35" Type="http://schemas.openxmlformats.org/officeDocument/2006/relationships/tags" Target="../tags/tag46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13" Type="http://schemas.openxmlformats.org/officeDocument/2006/relationships/tags" Target="../tags/tag482.xml"/><Relationship Id="rId18" Type="http://schemas.openxmlformats.org/officeDocument/2006/relationships/tags" Target="../tags/tag487.xml"/><Relationship Id="rId3" Type="http://schemas.openxmlformats.org/officeDocument/2006/relationships/tags" Target="../tags/tag472.xml"/><Relationship Id="rId21" Type="http://schemas.openxmlformats.org/officeDocument/2006/relationships/tags" Target="../tags/tag490.xml"/><Relationship Id="rId7" Type="http://schemas.openxmlformats.org/officeDocument/2006/relationships/tags" Target="../tags/tag476.xml"/><Relationship Id="rId12" Type="http://schemas.openxmlformats.org/officeDocument/2006/relationships/tags" Target="../tags/tag481.xml"/><Relationship Id="rId17" Type="http://schemas.openxmlformats.org/officeDocument/2006/relationships/tags" Target="../tags/tag486.xml"/><Relationship Id="rId2" Type="http://schemas.openxmlformats.org/officeDocument/2006/relationships/tags" Target="../tags/tag471.xml"/><Relationship Id="rId16" Type="http://schemas.openxmlformats.org/officeDocument/2006/relationships/tags" Target="../tags/tag485.xml"/><Relationship Id="rId20" Type="http://schemas.openxmlformats.org/officeDocument/2006/relationships/tags" Target="../tags/tag489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tags" Target="../tags/tag480.xml"/><Relationship Id="rId24" Type="http://schemas.openxmlformats.org/officeDocument/2006/relationships/notesSlide" Target="../notesSlides/notesSlide11.xml"/><Relationship Id="rId5" Type="http://schemas.openxmlformats.org/officeDocument/2006/relationships/tags" Target="../tags/tag474.xml"/><Relationship Id="rId15" Type="http://schemas.openxmlformats.org/officeDocument/2006/relationships/tags" Target="../tags/tag484.xml"/><Relationship Id="rId23" Type="http://schemas.openxmlformats.org/officeDocument/2006/relationships/slideLayout" Target="../slideLayouts/slideLayout18.xml"/><Relationship Id="rId10" Type="http://schemas.openxmlformats.org/officeDocument/2006/relationships/tags" Target="../tags/tag479.xml"/><Relationship Id="rId19" Type="http://schemas.openxmlformats.org/officeDocument/2006/relationships/tags" Target="../tags/tag488.xml"/><Relationship Id="rId4" Type="http://schemas.openxmlformats.org/officeDocument/2006/relationships/tags" Target="../tags/tag473.xml"/><Relationship Id="rId9" Type="http://schemas.openxmlformats.org/officeDocument/2006/relationships/tags" Target="../tags/tag478.xml"/><Relationship Id="rId14" Type="http://schemas.openxmlformats.org/officeDocument/2006/relationships/tags" Target="../tags/tag483.xml"/><Relationship Id="rId22" Type="http://schemas.openxmlformats.org/officeDocument/2006/relationships/tags" Target="../tags/tag49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499.xml"/><Relationship Id="rId13" Type="http://schemas.openxmlformats.org/officeDocument/2006/relationships/image" Target="../media/image53.png"/><Relationship Id="rId3" Type="http://schemas.openxmlformats.org/officeDocument/2006/relationships/tags" Target="../tags/tag494.xml"/><Relationship Id="rId7" Type="http://schemas.openxmlformats.org/officeDocument/2006/relationships/tags" Target="../tags/tag498.xml"/><Relationship Id="rId12" Type="http://schemas.openxmlformats.org/officeDocument/2006/relationships/image" Target="../media/image52.png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tags" Target="../tags/tag497.xml"/><Relationship Id="rId11" Type="http://schemas.openxmlformats.org/officeDocument/2006/relationships/image" Target="../media/image51.png"/><Relationship Id="rId5" Type="http://schemas.openxmlformats.org/officeDocument/2006/relationships/tags" Target="../tags/tag496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495.xml"/><Relationship Id="rId9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0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tags" Target="../tags/tag105.xml"/><Relationship Id="rId21" Type="http://schemas.openxmlformats.org/officeDocument/2006/relationships/slideLayout" Target="../slideLayouts/slideLayout18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30.xml"/><Relationship Id="rId7" Type="http://schemas.openxmlformats.org/officeDocument/2006/relationships/image" Target="../media/image14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tags" Target="../tags/tag169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42" Type="http://schemas.openxmlformats.org/officeDocument/2006/relationships/tags" Target="../tags/tag172.xml"/><Relationship Id="rId47" Type="http://schemas.openxmlformats.org/officeDocument/2006/relationships/tags" Target="../tags/tag177.xml"/><Relationship Id="rId50" Type="http://schemas.openxmlformats.org/officeDocument/2006/relationships/tags" Target="../tags/tag180.xml"/><Relationship Id="rId55" Type="http://schemas.openxmlformats.org/officeDocument/2006/relationships/tags" Target="../tags/tag185.xml"/><Relationship Id="rId63" Type="http://schemas.openxmlformats.org/officeDocument/2006/relationships/tags" Target="../tags/tag193.xml"/><Relationship Id="rId68" Type="http://schemas.openxmlformats.org/officeDocument/2006/relationships/tags" Target="../tags/tag198.xml"/><Relationship Id="rId76" Type="http://schemas.openxmlformats.org/officeDocument/2006/relationships/tags" Target="../tags/tag206.xml"/><Relationship Id="rId84" Type="http://schemas.openxmlformats.org/officeDocument/2006/relationships/tags" Target="../tags/tag214.xml"/><Relationship Id="rId89" Type="http://schemas.openxmlformats.org/officeDocument/2006/relationships/tags" Target="../tags/tag219.xml"/><Relationship Id="rId7" Type="http://schemas.openxmlformats.org/officeDocument/2006/relationships/tags" Target="../tags/tag137.xml"/><Relationship Id="rId71" Type="http://schemas.openxmlformats.org/officeDocument/2006/relationships/tags" Target="../tags/tag201.xml"/><Relationship Id="rId92" Type="http://schemas.openxmlformats.org/officeDocument/2006/relationships/slideLayout" Target="../slideLayouts/slideLayout18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9" Type="http://schemas.openxmlformats.org/officeDocument/2006/relationships/tags" Target="../tags/tag159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tags" Target="../tags/tag170.xml"/><Relationship Id="rId45" Type="http://schemas.openxmlformats.org/officeDocument/2006/relationships/tags" Target="../tags/tag175.xml"/><Relationship Id="rId53" Type="http://schemas.openxmlformats.org/officeDocument/2006/relationships/tags" Target="../tags/tag183.xml"/><Relationship Id="rId58" Type="http://schemas.openxmlformats.org/officeDocument/2006/relationships/tags" Target="../tags/tag188.xml"/><Relationship Id="rId66" Type="http://schemas.openxmlformats.org/officeDocument/2006/relationships/tags" Target="../tags/tag196.xml"/><Relationship Id="rId74" Type="http://schemas.openxmlformats.org/officeDocument/2006/relationships/tags" Target="../tags/tag204.xml"/><Relationship Id="rId79" Type="http://schemas.openxmlformats.org/officeDocument/2006/relationships/tags" Target="../tags/tag209.xml"/><Relationship Id="rId87" Type="http://schemas.openxmlformats.org/officeDocument/2006/relationships/tags" Target="../tags/tag217.xml"/><Relationship Id="rId5" Type="http://schemas.openxmlformats.org/officeDocument/2006/relationships/tags" Target="../tags/tag135.xml"/><Relationship Id="rId61" Type="http://schemas.openxmlformats.org/officeDocument/2006/relationships/tags" Target="../tags/tag191.xml"/><Relationship Id="rId82" Type="http://schemas.openxmlformats.org/officeDocument/2006/relationships/tags" Target="../tags/tag212.xml"/><Relationship Id="rId90" Type="http://schemas.openxmlformats.org/officeDocument/2006/relationships/tags" Target="../tags/tag220.xml"/><Relationship Id="rId95" Type="http://schemas.openxmlformats.org/officeDocument/2006/relationships/image" Target="../media/image18.jpeg"/><Relationship Id="rId19" Type="http://schemas.openxmlformats.org/officeDocument/2006/relationships/tags" Target="../tags/tag14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43" Type="http://schemas.openxmlformats.org/officeDocument/2006/relationships/tags" Target="../tags/tag173.xml"/><Relationship Id="rId48" Type="http://schemas.openxmlformats.org/officeDocument/2006/relationships/tags" Target="../tags/tag178.xml"/><Relationship Id="rId56" Type="http://schemas.openxmlformats.org/officeDocument/2006/relationships/tags" Target="../tags/tag186.xml"/><Relationship Id="rId64" Type="http://schemas.openxmlformats.org/officeDocument/2006/relationships/tags" Target="../tags/tag194.xml"/><Relationship Id="rId69" Type="http://schemas.openxmlformats.org/officeDocument/2006/relationships/tags" Target="../tags/tag199.xml"/><Relationship Id="rId77" Type="http://schemas.openxmlformats.org/officeDocument/2006/relationships/tags" Target="../tags/tag207.xml"/><Relationship Id="rId8" Type="http://schemas.openxmlformats.org/officeDocument/2006/relationships/tags" Target="../tags/tag138.xml"/><Relationship Id="rId51" Type="http://schemas.openxmlformats.org/officeDocument/2006/relationships/tags" Target="../tags/tag181.xml"/><Relationship Id="rId72" Type="http://schemas.openxmlformats.org/officeDocument/2006/relationships/tags" Target="../tags/tag202.xml"/><Relationship Id="rId80" Type="http://schemas.openxmlformats.org/officeDocument/2006/relationships/tags" Target="../tags/tag210.xml"/><Relationship Id="rId85" Type="http://schemas.openxmlformats.org/officeDocument/2006/relationships/tags" Target="../tags/tag215.xml"/><Relationship Id="rId93" Type="http://schemas.openxmlformats.org/officeDocument/2006/relationships/image" Target="../media/image16.jpeg"/><Relationship Id="rId3" Type="http://schemas.openxmlformats.org/officeDocument/2006/relationships/tags" Target="../tags/tag133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46" Type="http://schemas.openxmlformats.org/officeDocument/2006/relationships/tags" Target="../tags/tag176.xml"/><Relationship Id="rId59" Type="http://schemas.openxmlformats.org/officeDocument/2006/relationships/tags" Target="../tags/tag189.xml"/><Relationship Id="rId67" Type="http://schemas.openxmlformats.org/officeDocument/2006/relationships/tags" Target="../tags/tag197.xml"/><Relationship Id="rId20" Type="http://schemas.openxmlformats.org/officeDocument/2006/relationships/tags" Target="../tags/tag150.xml"/><Relationship Id="rId41" Type="http://schemas.openxmlformats.org/officeDocument/2006/relationships/tags" Target="../tags/tag171.xml"/><Relationship Id="rId54" Type="http://schemas.openxmlformats.org/officeDocument/2006/relationships/tags" Target="../tags/tag184.xml"/><Relationship Id="rId62" Type="http://schemas.openxmlformats.org/officeDocument/2006/relationships/tags" Target="../tags/tag192.xml"/><Relationship Id="rId70" Type="http://schemas.openxmlformats.org/officeDocument/2006/relationships/tags" Target="../tags/tag200.xml"/><Relationship Id="rId75" Type="http://schemas.openxmlformats.org/officeDocument/2006/relationships/tags" Target="../tags/tag205.xml"/><Relationship Id="rId83" Type="http://schemas.openxmlformats.org/officeDocument/2006/relationships/tags" Target="../tags/tag213.xml"/><Relationship Id="rId88" Type="http://schemas.openxmlformats.org/officeDocument/2006/relationships/tags" Target="../tags/tag218.xml"/><Relationship Id="rId91" Type="http://schemas.openxmlformats.org/officeDocument/2006/relationships/tags" Target="../tags/tag221.xml"/><Relationship Id="rId96" Type="http://schemas.openxmlformats.org/officeDocument/2006/relationships/image" Target="../media/image19.jpeg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49" Type="http://schemas.openxmlformats.org/officeDocument/2006/relationships/tags" Target="../tags/tag179.xml"/><Relationship Id="rId57" Type="http://schemas.openxmlformats.org/officeDocument/2006/relationships/tags" Target="../tags/tag187.xml"/><Relationship Id="rId10" Type="http://schemas.openxmlformats.org/officeDocument/2006/relationships/tags" Target="../tags/tag140.xml"/><Relationship Id="rId31" Type="http://schemas.openxmlformats.org/officeDocument/2006/relationships/tags" Target="../tags/tag161.xml"/><Relationship Id="rId44" Type="http://schemas.openxmlformats.org/officeDocument/2006/relationships/tags" Target="../tags/tag174.xml"/><Relationship Id="rId52" Type="http://schemas.openxmlformats.org/officeDocument/2006/relationships/tags" Target="../tags/tag182.xml"/><Relationship Id="rId60" Type="http://schemas.openxmlformats.org/officeDocument/2006/relationships/tags" Target="../tags/tag190.xml"/><Relationship Id="rId65" Type="http://schemas.openxmlformats.org/officeDocument/2006/relationships/tags" Target="../tags/tag195.xml"/><Relationship Id="rId73" Type="http://schemas.openxmlformats.org/officeDocument/2006/relationships/tags" Target="../tags/tag203.xml"/><Relationship Id="rId78" Type="http://schemas.openxmlformats.org/officeDocument/2006/relationships/tags" Target="../tags/tag208.xml"/><Relationship Id="rId81" Type="http://schemas.openxmlformats.org/officeDocument/2006/relationships/tags" Target="../tags/tag211.xml"/><Relationship Id="rId86" Type="http://schemas.openxmlformats.org/officeDocument/2006/relationships/tags" Target="../tags/tag216.xml"/><Relationship Id="rId94" Type="http://schemas.openxmlformats.org/officeDocument/2006/relationships/image" Target="../media/image17.jpeg"/><Relationship Id="rId4" Type="http://schemas.openxmlformats.org/officeDocument/2006/relationships/tags" Target="../tags/tag134.xml"/><Relationship Id="rId9" Type="http://schemas.openxmlformats.org/officeDocument/2006/relationships/tags" Target="../tags/tag13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24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5" Type="http://schemas.openxmlformats.org/officeDocument/2006/relationships/tags" Target="../tags/tag226.xml"/><Relationship Id="rId10" Type="http://schemas.openxmlformats.org/officeDocument/2006/relationships/image" Target="../media/image19.jpeg"/><Relationship Id="rId4" Type="http://schemas.openxmlformats.org/officeDocument/2006/relationships/tags" Target="../tags/tag225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tags" Target="../tags/tag240.xml"/><Relationship Id="rId18" Type="http://schemas.openxmlformats.org/officeDocument/2006/relationships/image" Target="../media/image22.png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17" Type="http://schemas.openxmlformats.org/officeDocument/2006/relationships/image" Target="../media/image19.jpeg"/><Relationship Id="rId2" Type="http://schemas.openxmlformats.org/officeDocument/2006/relationships/tags" Target="../tags/tag229.xml"/><Relationship Id="rId16" Type="http://schemas.openxmlformats.org/officeDocument/2006/relationships/slideLayout" Target="../slideLayouts/slideLayout18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5" Type="http://schemas.openxmlformats.org/officeDocument/2006/relationships/tags" Target="../tags/tag232.xml"/><Relationship Id="rId15" Type="http://schemas.openxmlformats.org/officeDocument/2006/relationships/tags" Target="../tags/tag242.xml"/><Relationship Id="rId10" Type="http://schemas.openxmlformats.org/officeDocument/2006/relationships/tags" Target="../tags/tag237.xml"/><Relationship Id="rId19" Type="http://schemas.openxmlformats.org/officeDocument/2006/relationships/image" Target="../media/image23.jpeg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tags" Target="../tags/tag2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图片 40" descr="D:\meihua_service_cache\jpg/691329ee228e93475a8b9f1bb53eeed0.jpg691329ee228e93475a8b9f1bb53eeed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rcRect/>
          <a:stretch>
            <a:fillRect/>
          </a:stretch>
        </p:blipFill>
        <p:spPr>
          <a:xfrm>
            <a:off x="4044" y="58"/>
            <a:ext cx="12183911" cy="4112076"/>
          </a:xfrm>
          <a:custGeom>
            <a:avLst/>
            <a:gdLst>
              <a:gd name="connsiteX0" fmla="*/ 0 w 12192000"/>
              <a:gd name="connsiteY0" fmla="*/ 0 h 4114806"/>
              <a:gd name="connsiteX1" fmla="*/ 12192000 w 12192000"/>
              <a:gd name="connsiteY1" fmla="*/ 0 h 4114806"/>
              <a:gd name="connsiteX2" fmla="*/ 12192000 w 12192000"/>
              <a:gd name="connsiteY2" fmla="*/ 4114806 h 4114806"/>
              <a:gd name="connsiteX3" fmla="*/ 0 w 12192000"/>
              <a:gd name="connsiteY3" fmla="*/ 4114806 h 411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114806">
                <a:moveTo>
                  <a:pt x="0" y="0"/>
                </a:moveTo>
                <a:lnTo>
                  <a:pt x="12192000" y="0"/>
                </a:lnTo>
                <a:lnTo>
                  <a:pt x="12192000" y="4114806"/>
                </a:lnTo>
                <a:lnTo>
                  <a:pt x="0" y="4114806"/>
                </a:lnTo>
                <a:close/>
              </a:path>
            </a:pathLst>
          </a:custGeom>
        </p:spPr>
      </p:pic>
      <p:sp>
        <p:nvSpPr>
          <p:cNvPr id="38" name="Isosceles Triangle 8"/>
          <p:cNvSpPr/>
          <p:nvPr>
            <p:custDataLst>
              <p:tags r:id="rId3"/>
            </p:custDataLst>
          </p:nvPr>
        </p:nvSpPr>
        <p:spPr>
          <a:xfrm>
            <a:off x="5239587" y="0"/>
            <a:ext cx="1894022" cy="725714"/>
          </a:xfrm>
          <a:custGeom>
            <a:avLst/>
            <a:gdLst>
              <a:gd name="connsiteX0" fmla="*/ 0 w 1895279"/>
              <a:gd name="connsiteY0" fmla="*/ 0 h 726196"/>
              <a:gd name="connsiteX1" fmla="*/ 1895279 w 1895279"/>
              <a:gd name="connsiteY1" fmla="*/ 0 h 726196"/>
              <a:gd name="connsiteX2" fmla="*/ 947639 w 1895279"/>
              <a:gd name="connsiteY2" fmla="*/ 726196 h 72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95279" h="726196">
                <a:moveTo>
                  <a:pt x="0" y="0"/>
                </a:moveTo>
                <a:lnTo>
                  <a:pt x="1895279" y="0"/>
                </a:lnTo>
                <a:lnTo>
                  <a:pt x="947639" y="726196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>
            <p:custDataLst>
              <p:tags r:id="rId4"/>
            </p:custDataLst>
          </p:nvPr>
        </p:nvSpPr>
        <p:spPr>
          <a:xfrm>
            <a:off x="1219162" y="4724438"/>
            <a:ext cx="9753676" cy="1524076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7200" b="1" spc="300" dirty="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央企直聘，</a:t>
            </a:r>
            <a:r>
              <a:rPr lang="zh-CN" altLang="en-US" sz="7200" b="1" spc="300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+mn-ea"/>
              </a:rPr>
              <a:t>海纳英才！</a:t>
            </a:r>
            <a:endParaRPr lang="zh-CN" altLang="en-US" sz="7200" b="1" spc="300" dirty="0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7200" b="1" spc="300" dirty="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以梦为马，</a:t>
            </a:r>
            <a:r>
              <a:rPr lang="zh-CN" altLang="en-US" sz="7200" b="1" spc="300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+mn-ea"/>
              </a:rPr>
              <a:t>不负韶华！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>
            <p:custDataLst>
              <p:tags r:id="rId2"/>
            </p:custDataLst>
          </p:nvPr>
        </p:nvSpPr>
        <p:spPr>
          <a:xfrm>
            <a:off x="680396" y="340823"/>
            <a:ext cx="2546430" cy="2496274"/>
          </a:xfrm>
          <a:prstGeom prst="rect">
            <a:avLst/>
          </a:prstGeom>
          <a:solidFill>
            <a:schemeClr val="lt1"/>
          </a:solidFill>
          <a:ln w="317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cxnSp>
        <p:nvCxnSpPr>
          <p:cNvPr id="4" name="直接连接符 3"/>
          <p:cNvCxnSpPr/>
          <p:nvPr>
            <p:custDataLst>
              <p:tags r:id="rId3"/>
            </p:custDataLst>
          </p:nvPr>
        </p:nvCxnSpPr>
        <p:spPr>
          <a:xfrm>
            <a:off x="3505228" y="2286018"/>
            <a:ext cx="792486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>
            <p:custDataLst>
              <p:tags r:id="rId4"/>
            </p:custDataLst>
          </p:nvPr>
        </p:nvSpPr>
        <p:spPr>
          <a:xfrm>
            <a:off x="3505200" y="1066809"/>
            <a:ext cx="7924864" cy="9144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4400" b="1" spc="16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人才理念</a:t>
            </a:r>
          </a:p>
        </p:txBody>
      </p:sp>
      <p:cxnSp>
        <p:nvCxnSpPr>
          <p:cNvPr id="29699" name="直接连接符 7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6812122" y="4015023"/>
            <a:ext cx="543563" cy="0"/>
          </a:xfrm>
          <a:prstGeom prst="line">
            <a:avLst/>
          </a:prstGeom>
          <a:noFill/>
          <a:ln w="3175" cmpd="sng">
            <a:solidFill>
              <a:schemeClr val="bg1">
                <a:lumMod val="75000"/>
              </a:schemeClr>
            </a:solidFill>
            <a:prstDash val="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00" name="椭圆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429808" y="3860601"/>
            <a:ext cx="307299" cy="307298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spc="60">
                <a:solidFill>
                  <a:schemeClr val="bg1"/>
                </a:solidFill>
                <a:latin typeface="+mn-lt"/>
                <a:ea typeface="+mn-ea"/>
              </a:rPr>
              <a:t>1</a:t>
            </a:r>
            <a:endParaRPr lang="en-US" altLang="en-US" sz="1400" spc="6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9701" name="文本框 2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141691" y="3443663"/>
            <a:ext cx="2629355" cy="112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just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{"/>
              <a:defRPr sz="24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charset="-122"/>
              </a:defRPr>
            </a:lvl1pPr>
            <a:lvl2pPr marL="742950" indent="-285750" algn="just">
              <a:lnSpc>
                <a:spcPct val="120000"/>
              </a:lnSpc>
              <a:buClr>
                <a:srgbClr val="DABE8B"/>
              </a:buClr>
              <a:buFont typeface="幼圆" panose="02010509060101010101" pitchFamily="49" charset="-122"/>
              <a:buChar char=" "/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lv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None/>
            </a:pPr>
            <a:r>
              <a:rPr lang="zh-CN" altLang="en-US" sz="2000" b="1" spc="300" dirty="0">
                <a:solidFill>
                  <a:schemeClr val="tx1"/>
                </a:solidFill>
                <a:latin typeface="+mn-lt"/>
                <a:ea typeface="+mn-ea"/>
                <a:sym typeface="Arial" panose="020B0604020202020204"/>
              </a:rPr>
              <a:t>人人皆人才</a:t>
            </a:r>
          </a:p>
        </p:txBody>
      </p:sp>
      <p:sp>
        <p:nvSpPr>
          <p:cNvPr id="29703" name="任意多边形 23"/>
          <p:cNvSpPr/>
          <p:nvPr>
            <p:custDataLst>
              <p:tags r:id="rId8"/>
            </p:custDataLst>
          </p:nvPr>
        </p:nvSpPr>
        <p:spPr bwMode="auto">
          <a:xfrm>
            <a:off x="5604547" y="3462194"/>
            <a:ext cx="1158161" cy="580625"/>
          </a:xfrm>
          <a:custGeom>
            <a:avLst/>
            <a:gdLst>
              <a:gd name="T0" fmla="*/ 1213505 w 1391850"/>
              <a:gd name="T1" fmla="*/ 0 h 696292"/>
              <a:gd name="T2" fmla="*/ 1391850 w 1391850"/>
              <a:gd name="T3" fmla="*/ 680523 h 696292"/>
              <a:gd name="T4" fmla="*/ 664395 w 1391850"/>
              <a:gd name="T5" fmla="*/ 679784 h 696292"/>
              <a:gd name="T6" fmla="*/ 810270 w 1391850"/>
              <a:gd name="T7" fmla="*/ 476062 h 696292"/>
              <a:gd name="T8" fmla="*/ 0 w 1391850"/>
              <a:gd name="T9" fmla="*/ 696292 h 696292"/>
              <a:gd name="T10" fmla="*/ 1084978 w 1391850"/>
              <a:gd name="T11" fmla="*/ 149640 h 696292"/>
              <a:gd name="T12" fmla="*/ 1213505 w 1391850"/>
              <a:gd name="T13" fmla="*/ 0 h 696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lnTo>
                  <a:pt x="121350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algn="ctr"/>
            <a:endParaRPr lang="zh-CN" altLang="en-US"/>
          </a:p>
        </p:txBody>
      </p:sp>
      <p:sp>
        <p:nvSpPr>
          <p:cNvPr id="29704" name="任意多边形 24"/>
          <p:cNvSpPr/>
          <p:nvPr>
            <p:custDataLst>
              <p:tags r:id="rId9"/>
            </p:custDataLst>
          </p:nvPr>
        </p:nvSpPr>
        <p:spPr bwMode="auto">
          <a:xfrm rot="5400000">
            <a:off x="6654613" y="4478287"/>
            <a:ext cx="1158161" cy="577536"/>
          </a:xfrm>
          <a:custGeom>
            <a:avLst/>
            <a:gdLst>
              <a:gd name="T0" fmla="*/ 1213505 w 1391850"/>
              <a:gd name="T1" fmla="*/ 0 h 696292"/>
              <a:gd name="T2" fmla="*/ 1391850 w 1391850"/>
              <a:gd name="T3" fmla="*/ 680523 h 696292"/>
              <a:gd name="T4" fmla="*/ 664395 w 1391850"/>
              <a:gd name="T5" fmla="*/ 679784 h 696292"/>
              <a:gd name="T6" fmla="*/ 810270 w 1391850"/>
              <a:gd name="T7" fmla="*/ 476062 h 696292"/>
              <a:gd name="T8" fmla="*/ 0 w 1391850"/>
              <a:gd name="T9" fmla="*/ 696292 h 696292"/>
              <a:gd name="T10" fmla="*/ 1084978 w 1391850"/>
              <a:gd name="T11" fmla="*/ 149640 h 696292"/>
              <a:gd name="T12" fmla="*/ 1213505 w 1391850"/>
              <a:gd name="T13" fmla="*/ 0 h 696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lnTo>
                  <a:pt x="121350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pPr algn="ctr"/>
            <a:endParaRPr lang="zh-CN" altLang="en-US"/>
          </a:p>
        </p:txBody>
      </p:sp>
      <p:cxnSp>
        <p:nvCxnSpPr>
          <p:cNvPr id="29706" name="直接连接符 18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>
            <a:off x="6969632" y="5381653"/>
            <a:ext cx="543563" cy="0"/>
          </a:xfrm>
          <a:prstGeom prst="line">
            <a:avLst/>
          </a:prstGeom>
          <a:noFill/>
          <a:ln w="3175" cmpd="sng">
            <a:solidFill>
              <a:schemeClr val="bg1">
                <a:lumMod val="75000"/>
              </a:schemeClr>
            </a:solidFill>
            <a:prstDash val="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07" name="椭圆 1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85774" y="5228775"/>
            <a:ext cx="307298" cy="307299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spc="60">
                <a:solidFill>
                  <a:schemeClr val="bg1"/>
                </a:solidFill>
                <a:latin typeface="+mn-lt"/>
                <a:ea typeface="+mn-ea"/>
              </a:rPr>
              <a:t>2</a:t>
            </a:r>
            <a:endParaRPr lang="en-US" altLang="en-US" sz="1400" spc="6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9708" name="文本框 2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141691" y="4810293"/>
            <a:ext cx="2629355" cy="1125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just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{"/>
              <a:defRPr sz="24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charset="-122"/>
              </a:defRPr>
            </a:lvl1pPr>
            <a:lvl2pPr marL="742950" indent="-285750" algn="just">
              <a:lnSpc>
                <a:spcPct val="120000"/>
              </a:lnSpc>
              <a:buClr>
                <a:srgbClr val="DABE8B"/>
              </a:buClr>
              <a:buFont typeface="幼圆" panose="02010509060101010101" pitchFamily="49" charset="-122"/>
              <a:buChar char=" "/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lv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None/>
            </a:pPr>
            <a:r>
              <a:rPr lang="zh-CN" altLang="en-US" sz="2000" b="1" spc="120" dirty="0">
                <a:solidFill>
                  <a:schemeClr val="tx1"/>
                </a:solidFill>
                <a:latin typeface="+mn-lt"/>
                <a:ea typeface="+mn-ea"/>
                <a:sym typeface="+mn-ea"/>
              </a:rPr>
              <a:t>想干事的人有机会</a:t>
            </a:r>
          </a:p>
        </p:txBody>
      </p:sp>
      <p:sp>
        <p:nvSpPr>
          <p:cNvPr id="29702" name="任意多边形 22"/>
          <p:cNvSpPr/>
          <p:nvPr>
            <p:custDataLst>
              <p:tags r:id="rId13"/>
            </p:custDataLst>
          </p:nvPr>
        </p:nvSpPr>
        <p:spPr bwMode="auto">
          <a:xfrm rot="16200000">
            <a:off x="4554481" y="4513803"/>
            <a:ext cx="1158161" cy="577536"/>
          </a:xfrm>
          <a:custGeom>
            <a:avLst/>
            <a:gdLst>
              <a:gd name="T0" fmla="*/ 1213505 w 1391850"/>
              <a:gd name="T1" fmla="*/ 0 h 696292"/>
              <a:gd name="T2" fmla="*/ 1391850 w 1391850"/>
              <a:gd name="T3" fmla="*/ 680523 h 696292"/>
              <a:gd name="T4" fmla="*/ 664395 w 1391850"/>
              <a:gd name="T5" fmla="*/ 679784 h 696292"/>
              <a:gd name="T6" fmla="*/ 810270 w 1391850"/>
              <a:gd name="T7" fmla="*/ 476062 h 696292"/>
              <a:gd name="T8" fmla="*/ 0 w 1391850"/>
              <a:gd name="T9" fmla="*/ 696292 h 696292"/>
              <a:gd name="T10" fmla="*/ 1084978 w 1391850"/>
              <a:gd name="T11" fmla="*/ 149640 h 696292"/>
              <a:gd name="T12" fmla="*/ 1213505 w 1391850"/>
              <a:gd name="T13" fmla="*/ 0 h 696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lnTo>
                  <a:pt x="121350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pPr algn="ctr"/>
            <a:endParaRPr lang="zh-CN" altLang="en-US"/>
          </a:p>
        </p:txBody>
      </p:sp>
      <p:cxnSp>
        <p:nvCxnSpPr>
          <p:cNvPr id="29709" name="直接连接符 25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 flipH="1">
            <a:off x="4918916" y="4033553"/>
            <a:ext cx="543563" cy="0"/>
          </a:xfrm>
          <a:prstGeom prst="line">
            <a:avLst/>
          </a:prstGeom>
          <a:noFill/>
          <a:ln w="3175" cmpd="sng">
            <a:solidFill>
              <a:schemeClr val="bg1">
                <a:lumMod val="75000"/>
              </a:schemeClr>
            </a:solidFill>
            <a:prstDash val="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10" name="椭圆 2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flipH="1">
            <a:off x="4537495" y="3880676"/>
            <a:ext cx="307298" cy="307299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spc="60">
                <a:solidFill>
                  <a:schemeClr val="bg1"/>
                </a:solidFill>
                <a:latin typeface="+mn-lt"/>
                <a:ea typeface="+mn-ea"/>
              </a:rPr>
              <a:t>4</a:t>
            </a:r>
            <a:endParaRPr lang="en-US" altLang="en-US" sz="1400" spc="6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9711" name="文本框 2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 flipH="1">
            <a:off x="1573696" y="3462194"/>
            <a:ext cx="2665765" cy="1125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just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{"/>
              <a:defRPr sz="24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charset="-122"/>
              </a:defRPr>
            </a:lvl1pPr>
            <a:lvl2pPr marL="742950" indent="-285750" algn="just">
              <a:lnSpc>
                <a:spcPct val="120000"/>
              </a:lnSpc>
              <a:buClr>
                <a:srgbClr val="DABE8B"/>
              </a:buClr>
              <a:buFont typeface="幼圆" panose="02010509060101010101" pitchFamily="49" charset="-122"/>
              <a:buChar char=" "/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lvl="0" indent="0" algn="ctr" eaLnBrk="1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None/>
            </a:pPr>
            <a:r>
              <a:rPr lang="zh-CN" altLang="en-US" sz="2000" b="1" spc="220" dirty="0">
                <a:solidFill>
                  <a:schemeClr val="tx1"/>
                </a:solidFill>
                <a:latin typeface="+mn-lt"/>
                <a:ea typeface="+mn-ea"/>
              </a:rPr>
              <a:t>干成事的人有地位</a:t>
            </a:r>
          </a:p>
        </p:txBody>
      </p:sp>
      <p:sp>
        <p:nvSpPr>
          <p:cNvPr id="29705" name="任意多边形 14"/>
          <p:cNvSpPr/>
          <p:nvPr>
            <p:custDataLst>
              <p:tags r:id="rId17"/>
            </p:custDataLst>
          </p:nvPr>
        </p:nvSpPr>
        <p:spPr bwMode="auto">
          <a:xfrm rot="10800000">
            <a:off x="5604547" y="5563869"/>
            <a:ext cx="1158161" cy="579081"/>
          </a:xfrm>
          <a:custGeom>
            <a:avLst/>
            <a:gdLst>
              <a:gd name="T0" fmla="*/ 1213505 w 1391850"/>
              <a:gd name="T1" fmla="*/ 0 h 696292"/>
              <a:gd name="T2" fmla="*/ 1391850 w 1391850"/>
              <a:gd name="T3" fmla="*/ 680523 h 696292"/>
              <a:gd name="T4" fmla="*/ 664395 w 1391850"/>
              <a:gd name="T5" fmla="*/ 679784 h 696292"/>
              <a:gd name="T6" fmla="*/ 810270 w 1391850"/>
              <a:gd name="T7" fmla="*/ 476062 h 696292"/>
              <a:gd name="T8" fmla="*/ 0 w 1391850"/>
              <a:gd name="T9" fmla="*/ 696292 h 696292"/>
              <a:gd name="T10" fmla="*/ 1084978 w 1391850"/>
              <a:gd name="T11" fmla="*/ 149640 h 696292"/>
              <a:gd name="T12" fmla="*/ 1213505 w 1391850"/>
              <a:gd name="T13" fmla="*/ 0 h 696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lnTo>
                  <a:pt x="121350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pPr algn="ctr"/>
            <a:endParaRPr lang="zh-CN" altLang="en-US"/>
          </a:p>
        </p:txBody>
      </p:sp>
      <p:cxnSp>
        <p:nvCxnSpPr>
          <p:cNvPr id="29712" name="直接连接符 32"/>
          <p:cNvCxnSpPr>
            <a:cxnSpLocks noChangeShapeType="1"/>
          </p:cNvCxnSpPr>
          <p:nvPr>
            <p:custDataLst>
              <p:tags r:id="rId18"/>
            </p:custDataLst>
          </p:nvPr>
        </p:nvCxnSpPr>
        <p:spPr bwMode="auto">
          <a:xfrm flipH="1">
            <a:off x="5008480" y="5571591"/>
            <a:ext cx="543563" cy="0"/>
          </a:xfrm>
          <a:prstGeom prst="line">
            <a:avLst/>
          </a:prstGeom>
          <a:noFill/>
          <a:ln w="3175" cmpd="sng">
            <a:solidFill>
              <a:schemeClr val="bg1">
                <a:lumMod val="75000"/>
              </a:schemeClr>
            </a:solidFill>
            <a:prstDash val="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13" name="椭圆 3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flipH="1">
            <a:off x="4627060" y="5417169"/>
            <a:ext cx="307298" cy="307298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0" algn="ctr" eaLnBrk="1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spc="60">
                <a:solidFill>
                  <a:schemeClr val="bg1"/>
                </a:solidFill>
                <a:latin typeface="+mn-lt"/>
                <a:ea typeface="+mn-ea"/>
              </a:rPr>
              <a:t>3</a:t>
            </a:r>
            <a:endParaRPr lang="en-US" altLang="en-US" sz="1400" spc="6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9714" name="文本框 3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flipH="1">
            <a:off x="1698397" y="4820526"/>
            <a:ext cx="2641048" cy="112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just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{"/>
              <a:defRPr sz="24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charset="-122"/>
              </a:defRPr>
            </a:lvl1pPr>
            <a:lvl2pPr marL="742950" indent="-285750" algn="just">
              <a:lnSpc>
                <a:spcPct val="120000"/>
              </a:lnSpc>
              <a:buClr>
                <a:srgbClr val="DABE8B"/>
              </a:buClr>
              <a:buFont typeface="幼圆" panose="02010509060101010101" pitchFamily="49" charset="-122"/>
              <a:buChar char=" "/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幼圆" panose="02010509060101010101" pitchFamily="49" charset="-122"/>
              </a:defRPr>
            </a:lvl9pPr>
          </a:lstStyle>
          <a:p>
            <a:pPr marL="355600" lvl="0" indent="-355600" algn="l" eaLnBrk="1" fontAlgn="ctr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Char char="l"/>
            </a:pPr>
            <a:endParaRPr lang="zh-CN" altLang="en-US" sz="2000" b="1" spc="120" dirty="0">
              <a:solidFill>
                <a:schemeClr val="tx1"/>
              </a:solidFill>
              <a:latin typeface="+mn-lt"/>
              <a:ea typeface="+mn-ea"/>
            </a:endParaRPr>
          </a:p>
          <a:p>
            <a:pPr marL="355600" lvl="1" indent="0" algn="l" eaLnBrk="1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None/>
            </a:pPr>
            <a:r>
              <a:rPr lang="zh-CN" altLang="en-US" b="1" spc="100" dirty="0">
                <a:solidFill>
                  <a:schemeClr val="tx1"/>
                </a:solidFill>
                <a:latin typeface="+mn-lt"/>
                <a:ea typeface="+mn-ea"/>
              </a:rPr>
              <a:t>能干事的人有平台</a:t>
            </a:r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4"/>
          <a:srcRect/>
          <a:stretch>
            <a:fillRect/>
          </a:stretch>
        </p:blipFill>
        <p:spPr>
          <a:xfrm>
            <a:off x="810602" y="445951"/>
            <a:ext cx="2286013" cy="2286013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600" h="3600">
                <a:moveTo>
                  <a:pt x="0" y="0"/>
                </a:moveTo>
                <a:lnTo>
                  <a:pt x="3600" y="0"/>
                </a:lnTo>
                <a:lnTo>
                  <a:pt x="3600" y="3600"/>
                </a:lnTo>
                <a:lnTo>
                  <a:pt x="0" y="3600"/>
                </a:lnTo>
                <a:lnTo>
                  <a:pt x="0" y="0"/>
                </a:lnTo>
                <a:close/>
              </a:path>
            </a:pathLst>
          </a:custGeom>
        </p:spPr>
      </p:pic>
    </p:spTree>
    <p:custDataLst>
      <p:tags r:id="rId1"/>
    </p:custDataLst>
  </p:cSld>
  <p:clrMapOvr>
    <a:masterClrMapping/>
  </p:clrMapOvr>
  <p:transition spd="slow" advTm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placingpictureplaceholder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>
          <a:xfrm>
            <a:off x="5468620" y="10160"/>
            <a:ext cx="6081696" cy="2819299"/>
          </a:xfrm>
          <a:prstGeom prst="rect">
            <a:avLst/>
          </a:prstGeom>
        </p:spPr>
      </p:pic>
      <p:pic>
        <p:nvPicPr>
          <p:cNvPr id="7" name="图片 6" descr="placingpictureplaceholder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/>
          <a:srcRect/>
          <a:stretch>
            <a:fillRect/>
          </a:stretch>
        </p:blipFill>
        <p:spPr>
          <a:xfrm>
            <a:off x="8039906" y="2922117"/>
            <a:ext cx="3510410" cy="3759364"/>
          </a:xfrm>
          <a:prstGeom prst="rect">
            <a:avLst/>
          </a:prstGeom>
        </p:spPr>
      </p:pic>
      <p:pic>
        <p:nvPicPr>
          <p:cNvPr id="6" name="图片 5" descr="placingpictureplaceholder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rcRect/>
          <a:stretch>
            <a:fillRect/>
          </a:stretch>
        </p:blipFill>
        <p:spPr>
          <a:xfrm>
            <a:off x="5468620" y="2922117"/>
            <a:ext cx="2478629" cy="1833354"/>
          </a:xfrm>
          <a:prstGeom prst="rect">
            <a:avLst/>
          </a:prstGeom>
        </p:spPr>
      </p:pic>
      <p:pic>
        <p:nvPicPr>
          <p:cNvPr id="8" name="图片 7" descr="placingpictureplaceholder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/>
          <a:srcRect/>
          <a:stretch>
            <a:fillRect/>
          </a:stretch>
        </p:blipFill>
        <p:spPr>
          <a:xfrm>
            <a:off x="5468620" y="4848127"/>
            <a:ext cx="2478629" cy="1833354"/>
          </a:xfrm>
          <a:prstGeom prst="rect">
            <a:avLst/>
          </a:prstGeom>
        </p:spPr>
      </p:pic>
      <p:sp>
        <p:nvSpPr>
          <p:cNvPr id="31748" name="矩形 10"/>
          <p:cNvSpPr/>
          <p:nvPr>
            <p:custDataLst>
              <p:tags r:id="rId6"/>
            </p:custDataLst>
          </p:nvPr>
        </p:nvSpPr>
        <p:spPr>
          <a:xfrm>
            <a:off x="439420" y="217170"/>
            <a:ext cx="4834255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的工作环境</a:t>
            </a:r>
          </a:p>
        </p:txBody>
      </p:sp>
      <p:sp>
        <p:nvSpPr>
          <p:cNvPr id="14" name="文本框 13"/>
          <p:cNvSpPr txBox="1"/>
          <p:nvPr>
            <p:custDataLst>
              <p:tags r:id="rId7"/>
            </p:custDataLst>
          </p:nvPr>
        </p:nvSpPr>
        <p:spPr>
          <a:xfrm>
            <a:off x="3048636" y="2197735"/>
            <a:ext cx="625475" cy="1943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400" b="1" noProof="1" smtClean="0">
                <a:solidFill>
                  <a:schemeClr val="accent5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办公大楼</a:t>
            </a:r>
            <a:endParaRPr lang="en-US" altLang="zh-CN" sz="2400" b="1" noProof="1">
              <a:solidFill>
                <a:schemeClr val="accent5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 rot="16200000">
            <a:off x="2982233" y="2962322"/>
            <a:ext cx="2054073" cy="361714"/>
            <a:chOff x="4951664" y="2276872"/>
            <a:chExt cx="1717673" cy="216024"/>
          </a:xfrm>
          <a:solidFill>
            <a:srgbClr val="FAB300"/>
          </a:solidFill>
        </p:grpSpPr>
        <p:sp>
          <p:nvSpPr>
            <p:cNvPr id="16" name="矩形 15"/>
            <p:cNvSpPr/>
            <p:nvPr>
              <p:custDataLst>
                <p:tags r:id="rId8"/>
              </p:custDataLst>
            </p:nvPr>
          </p:nvSpPr>
          <p:spPr>
            <a:xfrm>
              <a:off x="4951664" y="2276872"/>
              <a:ext cx="1717673" cy="720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  <p:sp>
          <p:nvSpPr>
            <p:cNvPr id="17" name="等腰三角形 16"/>
            <p:cNvSpPr/>
            <p:nvPr>
              <p:custDataLst>
                <p:tags r:id="rId9"/>
              </p:custDataLst>
            </p:nvPr>
          </p:nvSpPr>
          <p:spPr>
            <a:xfrm rot="10800000">
              <a:off x="5660851" y="2302769"/>
              <a:ext cx="334117" cy="19012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</p:grpSp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897293" y="1227182"/>
            <a:ext cx="7775068" cy="4835814"/>
            <a:chOff x="386350" y="1357952"/>
            <a:chExt cx="6276738" cy="4835814"/>
          </a:xfrm>
        </p:grpSpPr>
        <p:pic>
          <p:nvPicPr>
            <p:cNvPr id="4" name="图片 3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9615" y="1357952"/>
              <a:ext cx="2803473" cy="224189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5" name="图片 4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350" y="3811592"/>
              <a:ext cx="3253659" cy="238188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6" name="图片 5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5933" y="3811794"/>
              <a:ext cx="2807155" cy="238197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7" name="文本框 6"/>
          <p:cNvSpPr txBox="1"/>
          <p:nvPr>
            <p:custDataLst>
              <p:tags r:id="rId2"/>
            </p:custDataLst>
          </p:nvPr>
        </p:nvSpPr>
        <p:spPr>
          <a:xfrm>
            <a:off x="10374313" y="2730500"/>
            <a:ext cx="627063" cy="1943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400" b="1" noProof="1" smtClean="0">
                <a:solidFill>
                  <a:schemeClr val="accent5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员工食堂</a:t>
            </a:r>
            <a:endParaRPr lang="en-US" altLang="zh-CN" sz="2400" b="1" noProof="1">
              <a:solidFill>
                <a:schemeClr val="accent5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 rot="5400000">
            <a:off x="8831853" y="3500167"/>
            <a:ext cx="2054073" cy="361714"/>
            <a:chOff x="4951664" y="2276872"/>
            <a:chExt cx="1717673" cy="216024"/>
          </a:xfrm>
          <a:solidFill>
            <a:srgbClr val="FAB300"/>
          </a:solidFill>
        </p:grpSpPr>
        <p:sp>
          <p:nvSpPr>
            <p:cNvPr id="9" name="矩形 8"/>
            <p:cNvSpPr/>
            <p:nvPr>
              <p:custDataLst>
                <p:tags r:id="rId7"/>
              </p:custDataLst>
            </p:nvPr>
          </p:nvSpPr>
          <p:spPr>
            <a:xfrm>
              <a:off x="4951664" y="2276872"/>
              <a:ext cx="1717673" cy="720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  <p:sp>
          <p:nvSpPr>
            <p:cNvPr id="10" name="等腰三角形 9"/>
            <p:cNvSpPr/>
            <p:nvPr>
              <p:custDataLst>
                <p:tags r:id="rId8"/>
              </p:custDataLst>
            </p:nvPr>
          </p:nvSpPr>
          <p:spPr>
            <a:xfrm rot="10800000">
              <a:off x="5660851" y="2302769"/>
              <a:ext cx="334117" cy="19012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</p:grpSp>
      <p:sp>
        <p:nvSpPr>
          <p:cNvPr id="31748" name="矩形 10"/>
          <p:cNvSpPr/>
          <p:nvPr>
            <p:custDataLst>
              <p:tags r:id="rId3"/>
            </p:custDataLst>
          </p:nvPr>
        </p:nvSpPr>
        <p:spPr>
          <a:xfrm>
            <a:off x="1784350" y="276225"/>
            <a:ext cx="4834255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algn="l"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工作环境</a:t>
            </a:r>
            <a:endParaRPr lang="zh-CN" altLang="en-US" sz="2800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箭头: 五边形 26"/>
          <p:cNvSpPr/>
          <p:nvPr>
            <p:custDataLst>
              <p:tags r:id="rId4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13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pic>
        <p:nvPicPr>
          <p:cNvPr id="265240" name="图片 10" descr="DSC05209 - 副本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897890" y="1227455"/>
            <a:ext cx="4030345" cy="216281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25"/>
          <p:cNvSpPr txBox="1"/>
          <p:nvPr>
            <p:custDataLst>
              <p:tags r:id="rId2"/>
            </p:custDataLst>
          </p:nvPr>
        </p:nvSpPr>
        <p:spPr>
          <a:xfrm>
            <a:off x="2419350" y="6127750"/>
            <a:ext cx="2468563" cy="534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400" b="1" noProof="1" smtClean="0">
                <a:solidFill>
                  <a:schemeClr val="accent5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员工宿舍</a:t>
            </a:r>
            <a:endParaRPr lang="en-US" altLang="zh-CN" sz="2400" b="1" noProof="1">
              <a:solidFill>
                <a:schemeClr val="accent5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618244" y="5694163"/>
            <a:ext cx="2054075" cy="361714"/>
            <a:chOff x="4951664" y="2276872"/>
            <a:chExt cx="1717673" cy="216024"/>
          </a:xfrm>
          <a:solidFill>
            <a:srgbClr val="00B0F0"/>
          </a:solidFill>
        </p:grpSpPr>
        <p:sp>
          <p:nvSpPr>
            <p:cNvPr id="5" name="矩形 4"/>
            <p:cNvSpPr/>
            <p:nvPr>
              <p:custDataLst>
                <p:tags r:id="rId15"/>
              </p:custDataLst>
            </p:nvPr>
          </p:nvSpPr>
          <p:spPr>
            <a:xfrm>
              <a:off x="4951664" y="2276872"/>
              <a:ext cx="1717673" cy="720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  <p:sp>
          <p:nvSpPr>
            <p:cNvPr id="6" name="等腰三角形 5"/>
            <p:cNvSpPr/>
            <p:nvPr>
              <p:custDataLst>
                <p:tags r:id="rId16"/>
              </p:custDataLst>
            </p:nvPr>
          </p:nvSpPr>
          <p:spPr>
            <a:xfrm rot="10800000">
              <a:off x="5660851" y="2302769"/>
              <a:ext cx="334117" cy="19012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</p:grpSp>
      <p:sp>
        <p:nvSpPr>
          <p:cNvPr id="7" name="文本框 6"/>
          <p:cNvSpPr txBox="1"/>
          <p:nvPr>
            <p:custDataLst>
              <p:tags r:id="rId3"/>
            </p:custDataLst>
          </p:nvPr>
        </p:nvSpPr>
        <p:spPr>
          <a:xfrm>
            <a:off x="7993063" y="6127750"/>
            <a:ext cx="2470150" cy="534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400" b="1" noProof="1" smtClean="0">
                <a:solidFill>
                  <a:schemeClr val="accent5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员工出行</a:t>
            </a:r>
            <a:endParaRPr lang="en-US" altLang="zh-CN" sz="2400" b="1" noProof="1">
              <a:solidFill>
                <a:schemeClr val="accent5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192754" y="5694164"/>
            <a:ext cx="2054075" cy="361714"/>
            <a:chOff x="4951664" y="2276872"/>
            <a:chExt cx="1717673" cy="216024"/>
          </a:xfrm>
          <a:solidFill>
            <a:srgbClr val="FAB300"/>
          </a:solidFill>
        </p:grpSpPr>
        <p:sp>
          <p:nvSpPr>
            <p:cNvPr id="10" name="矩形 9"/>
            <p:cNvSpPr/>
            <p:nvPr>
              <p:custDataLst>
                <p:tags r:id="rId13"/>
              </p:custDataLst>
            </p:nvPr>
          </p:nvSpPr>
          <p:spPr>
            <a:xfrm>
              <a:off x="4951664" y="2276872"/>
              <a:ext cx="1717673" cy="720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  <p:sp>
          <p:nvSpPr>
            <p:cNvPr id="11" name="等腰三角形 10"/>
            <p:cNvSpPr/>
            <p:nvPr>
              <p:custDataLst>
                <p:tags r:id="rId14"/>
              </p:custDataLst>
            </p:nvPr>
          </p:nvSpPr>
          <p:spPr>
            <a:xfrm rot="10800000">
              <a:off x="5660851" y="2302769"/>
              <a:ext cx="334117" cy="19012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trike="noStrike" noProof="1"/>
            </a:p>
          </p:txBody>
        </p:sp>
      </p:grpSp>
      <p:sp>
        <p:nvSpPr>
          <p:cNvPr id="32773" name="矩形 16"/>
          <p:cNvSpPr/>
          <p:nvPr>
            <p:custDataLst>
              <p:tags r:id="rId4"/>
            </p:custDataLst>
          </p:nvPr>
        </p:nvSpPr>
        <p:spPr>
          <a:xfrm>
            <a:off x="1784350" y="276225"/>
            <a:ext cx="4834255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algn="l"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工作环境</a:t>
            </a:r>
            <a:endParaRPr lang="zh-CN" altLang="en-US" sz="2800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19" name="箭头: 五边形 26"/>
          <p:cNvSpPr/>
          <p:nvPr>
            <p:custDataLst>
              <p:tags r:id="rId6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pic>
        <p:nvPicPr>
          <p:cNvPr id="32776" name="图片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969963" y="1120775"/>
            <a:ext cx="2198687" cy="42132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777" name="图片 20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3602038" y="1120775"/>
            <a:ext cx="2130425" cy="42132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2" name="图片 21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877" y="1120878"/>
            <a:ext cx="2871019" cy="43572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779" name="图片 22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5872163" y="1139825"/>
            <a:ext cx="1993900" cy="141763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780" name="图片 23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872163" y="2595563"/>
            <a:ext cx="1993900" cy="138588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2781" name="图片 24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5872163" y="4021138"/>
            <a:ext cx="1993900" cy="1312862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>
            <p:custDataLst>
              <p:tags r:id="rId2"/>
            </p:custDataLst>
          </p:nvPr>
        </p:nvSpPr>
        <p:spPr>
          <a:xfrm>
            <a:off x="1473200" y="5613400"/>
            <a:ext cx="3709988" cy="66516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base" hangingPunct="1">
              <a:defRPr/>
            </a:pPr>
            <a:r>
              <a:rPr lang="zh-CN" altLang="en-US" sz="3600" strike="noStrike" noProof="1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有梦想，有活力</a:t>
            </a:r>
            <a:endParaRPr lang="en-US" altLang="zh-CN" sz="3600" strike="noStrike" noProof="1">
              <a:solidFill>
                <a:schemeClr val="bg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cxnSp>
        <p:nvCxnSpPr>
          <p:cNvPr id="3" name="直接连接符 2"/>
          <p:cNvCxnSpPr/>
          <p:nvPr>
            <p:custDataLst>
              <p:tags r:id="rId3"/>
            </p:custDataLst>
          </p:nvPr>
        </p:nvCxnSpPr>
        <p:spPr>
          <a:xfrm>
            <a:off x="4578350" y="6261100"/>
            <a:ext cx="329565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8234363" y="4340225"/>
            <a:ext cx="3952875" cy="25717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矩形 6"/>
          <p:cNvSpPr/>
          <p:nvPr>
            <p:custDataLst>
              <p:tags r:id="rId5"/>
            </p:custDataLst>
          </p:nvPr>
        </p:nvSpPr>
        <p:spPr>
          <a:xfrm>
            <a:off x="8293100" y="4830763"/>
            <a:ext cx="1231900" cy="652462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charset="-122"/>
                <a:ea typeface="微软雅黑" panose="020B0503020204020204" charset="-122"/>
              </a:rPr>
              <a:t>我们</a:t>
            </a:r>
          </a:p>
        </p:txBody>
      </p:sp>
      <p:pic>
        <p:nvPicPr>
          <p:cNvPr id="13" name="图片 1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89" y="2086945"/>
            <a:ext cx="3239310" cy="248724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  <a:headEnd/>
            <a:tailEnd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4" name="图片 1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2862047" y="1075432"/>
            <a:ext cx="2470350" cy="175753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  <a:headEnd/>
            <a:tailEnd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图片 1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5182944" y="1563658"/>
            <a:ext cx="2824808" cy="188582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16" name="图片 1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7335946" y="1288614"/>
            <a:ext cx="3836073" cy="243590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7" name="图片 16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048191" y="4080743"/>
            <a:ext cx="2748887" cy="183259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3802" name="矩形 17"/>
          <p:cNvSpPr/>
          <p:nvPr>
            <p:custDataLst>
              <p:tags r:id="rId11"/>
            </p:custDataLst>
          </p:nvPr>
        </p:nvSpPr>
        <p:spPr>
          <a:xfrm>
            <a:off x="1784350" y="276225"/>
            <a:ext cx="4834255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algn="l"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工作环境</a:t>
            </a:r>
            <a:endParaRPr lang="zh-CN" altLang="en-US" sz="2800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箭头: 五边形 26"/>
          <p:cNvSpPr/>
          <p:nvPr>
            <p:custDataLst>
              <p:tags r:id="rId12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20" name="箭头: 五边形 26"/>
          <p:cNvSpPr/>
          <p:nvPr>
            <p:custDataLst>
              <p:tags r:id="rId13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pic>
        <p:nvPicPr>
          <p:cNvPr id="21" name="图片 20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1996115" y="3872333"/>
            <a:ext cx="2167082" cy="182934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custDataLst>
      <p:tags r:id="rId1"/>
    </p:custData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3914775" y="3078163"/>
            <a:ext cx="3863975" cy="3636962"/>
            <a:chOff x="1643955" y="1968688"/>
            <a:chExt cx="3863975" cy="3636962"/>
          </a:xfrm>
        </p:grpSpPr>
        <p:sp>
          <p:nvSpPr>
            <p:cNvPr id="35842" name="熊猫儿小白白(http://dwz.cn/Wu2UP)"/>
            <p:cNvSpPr/>
            <p:nvPr>
              <p:custDataLst>
                <p:tags r:id="rId17"/>
              </p:custDataLst>
            </p:nvPr>
          </p:nvSpPr>
          <p:spPr>
            <a:xfrm rot="900000">
              <a:off x="3164780" y="3606988"/>
              <a:ext cx="1006475" cy="1998662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252" h="499">
                  <a:moveTo>
                    <a:pt x="187" y="221"/>
                  </a:moveTo>
                  <a:cubicBezTo>
                    <a:pt x="206" y="174"/>
                    <a:pt x="240" y="179"/>
                    <a:pt x="252" y="182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3" y="81"/>
                    <a:pt x="180" y="56"/>
                    <a:pt x="179" y="42"/>
                  </a:cubicBezTo>
                  <a:cubicBezTo>
                    <a:pt x="179" y="23"/>
                    <a:pt x="179" y="0"/>
                    <a:pt x="145" y="2"/>
                  </a:cubicBezTo>
                  <a:cubicBezTo>
                    <a:pt x="114" y="4"/>
                    <a:pt x="108" y="40"/>
                    <a:pt x="109" y="56"/>
                  </a:cubicBezTo>
                  <a:cubicBezTo>
                    <a:pt x="110" y="74"/>
                    <a:pt x="123" y="98"/>
                    <a:pt x="129" y="108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499"/>
                    <a:pt x="0" y="499"/>
                    <a:pt x="0" y="499"/>
                  </a:cubicBezTo>
                  <a:cubicBezTo>
                    <a:pt x="252" y="350"/>
                    <a:pt x="252" y="350"/>
                    <a:pt x="252" y="350"/>
                  </a:cubicBezTo>
                  <a:cubicBezTo>
                    <a:pt x="252" y="239"/>
                    <a:pt x="252" y="239"/>
                    <a:pt x="252" y="239"/>
                  </a:cubicBezTo>
                  <a:cubicBezTo>
                    <a:pt x="227" y="290"/>
                    <a:pt x="167" y="272"/>
                    <a:pt x="187" y="221"/>
                  </a:cubicBezTo>
                  <a:close/>
                </a:path>
              </a:pathLst>
            </a:cu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3" name="熊猫儿小白白(http://dwz.cn/Wu2UP)"/>
            <p:cNvSpPr/>
            <p:nvPr>
              <p:custDataLst>
                <p:tags r:id="rId18"/>
              </p:custDataLst>
            </p:nvPr>
          </p:nvSpPr>
          <p:spPr>
            <a:xfrm rot="900000">
              <a:off x="2059880" y="2013138"/>
              <a:ext cx="763588" cy="234950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0" y="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382" h="117">
                  <a:moveTo>
                    <a:pt x="382" y="117"/>
                  </a:moveTo>
                  <a:lnTo>
                    <a:pt x="0" y="0"/>
                  </a:lnTo>
                  <a:lnTo>
                    <a:pt x="378" y="117"/>
                  </a:lnTo>
                  <a:lnTo>
                    <a:pt x="382" y="117"/>
                  </a:lnTo>
                  <a:close/>
                </a:path>
              </a:pathLst>
            </a:custGeom>
            <a:solidFill>
              <a:srgbClr val="63CFF6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4" name="熊猫儿小白白(http://dwz.cn/Wu2UP)"/>
            <p:cNvSpPr/>
            <p:nvPr>
              <p:custDataLst>
                <p:tags r:id="rId19"/>
              </p:custDataLst>
            </p:nvPr>
          </p:nvSpPr>
          <p:spPr>
            <a:xfrm rot="900000">
              <a:off x="2726630" y="2459225"/>
              <a:ext cx="939800" cy="295275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0" y="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0" y="0"/>
                </a:cxn>
              </a:cxnLst>
              <a:rect l="0" t="0" r="0" b="0"/>
              <a:pathLst>
                <a:path w="470" h="148">
                  <a:moveTo>
                    <a:pt x="0" y="0"/>
                  </a:moveTo>
                  <a:lnTo>
                    <a:pt x="0" y="2"/>
                  </a:lnTo>
                  <a:lnTo>
                    <a:pt x="470" y="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3CFF6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5" name="熊猫儿小白白(http://dwz.cn/Wu2UP)"/>
            <p:cNvSpPr/>
            <p:nvPr>
              <p:custDataLst>
                <p:tags r:id="rId20"/>
              </p:custDataLst>
            </p:nvPr>
          </p:nvSpPr>
          <p:spPr>
            <a:xfrm rot="900000">
              <a:off x="3761680" y="2422713"/>
              <a:ext cx="1746250" cy="404812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437" h="101">
                  <a:moveTo>
                    <a:pt x="188" y="33"/>
                  </a:moveTo>
                  <a:cubicBezTo>
                    <a:pt x="164" y="45"/>
                    <a:pt x="122" y="35"/>
                    <a:pt x="111" y="2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59" y="68"/>
                    <a:pt x="29" y="76"/>
                    <a:pt x="57" y="84"/>
                  </a:cubicBezTo>
                  <a:cubicBezTo>
                    <a:pt x="86" y="92"/>
                    <a:pt x="107" y="82"/>
                    <a:pt x="119" y="73"/>
                  </a:cubicBezTo>
                  <a:cubicBezTo>
                    <a:pt x="239" y="101"/>
                    <a:pt x="239" y="101"/>
                    <a:pt x="239" y="101"/>
                  </a:cubicBezTo>
                  <a:cubicBezTo>
                    <a:pt x="239" y="101"/>
                    <a:pt x="239" y="101"/>
                    <a:pt x="239" y="101"/>
                  </a:cubicBezTo>
                  <a:cubicBezTo>
                    <a:pt x="437" y="42"/>
                    <a:pt x="437" y="42"/>
                    <a:pt x="437" y="42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76" y="15"/>
                    <a:pt x="208" y="23"/>
                    <a:pt x="188" y="33"/>
                  </a:cubicBezTo>
                  <a:close/>
                </a:path>
              </a:pathLst>
            </a:custGeom>
            <a:solidFill>
              <a:srgbClr val="FAB30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6" name="熊猫儿小白白(http://dwz.cn/Wu2UP)"/>
            <p:cNvSpPr/>
            <p:nvPr>
              <p:custDataLst>
                <p:tags r:id="rId21"/>
              </p:custDataLst>
            </p:nvPr>
          </p:nvSpPr>
          <p:spPr>
            <a:xfrm rot="900000">
              <a:off x="2066230" y="1968688"/>
              <a:ext cx="1754188" cy="409575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439" h="102">
                  <a:moveTo>
                    <a:pt x="340" y="23"/>
                  </a:moveTo>
                  <a:cubicBezTo>
                    <a:pt x="354" y="20"/>
                    <a:pt x="373" y="14"/>
                    <a:pt x="365" y="9"/>
                  </a:cubicBezTo>
                  <a:cubicBezTo>
                    <a:pt x="349" y="0"/>
                    <a:pt x="319" y="11"/>
                    <a:pt x="308" y="15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91" y="102"/>
                    <a:pt x="191" y="102"/>
                    <a:pt x="191" y="102"/>
                  </a:cubicBezTo>
                  <a:cubicBezTo>
                    <a:pt x="308" y="75"/>
                    <a:pt x="308" y="75"/>
                    <a:pt x="308" y="75"/>
                  </a:cubicBezTo>
                  <a:cubicBezTo>
                    <a:pt x="284" y="72"/>
                    <a:pt x="241" y="63"/>
                    <a:pt x="273" y="50"/>
                  </a:cubicBezTo>
                  <a:cubicBezTo>
                    <a:pt x="309" y="37"/>
                    <a:pt x="333" y="57"/>
                    <a:pt x="343" y="67"/>
                  </a:cubicBezTo>
                  <a:cubicBezTo>
                    <a:pt x="439" y="46"/>
                    <a:pt x="439" y="46"/>
                    <a:pt x="439" y="46"/>
                  </a:cubicBezTo>
                  <a:lnTo>
                    <a:pt x="340" y="23"/>
                  </a:lnTo>
                  <a:close/>
                </a:path>
              </a:pathLst>
            </a:cu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7" name="熊猫儿小白白(http://dwz.cn/Wu2UP)"/>
            <p:cNvSpPr/>
            <p:nvPr>
              <p:custDataLst>
                <p:tags r:id="rId22"/>
              </p:custDataLst>
            </p:nvPr>
          </p:nvSpPr>
          <p:spPr>
            <a:xfrm rot="900000">
              <a:off x="3099693" y="2086163"/>
              <a:ext cx="1566862" cy="311150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392" h="78">
                  <a:moveTo>
                    <a:pt x="110" y="41"/>
                  </a:moveTo>
                  <a:cubicBezTo>
                    <a:pt x="118" y="46"/>
                    <a:pt x="99" y="52"/>
                    <a:pt x="85" y="55"/>
                  </a:cubicBezTo>
                  <a:cubicBezTo>
                    <a:pt x="184" y="78"/>
                    <a:pt x="184" y="78"/>
                    <a:pt x="184" y="78"/>
                  </a:cubicBezTo>
                  <a:cubicBezTo>
                    <a:pt x="295" y="52"/>
                    <a:pt x="295" y="52"/>
                    <a:pt x="295" y="52"/>
                  </a:cubicBezTo>
                  <a:cubicBezTo>
                    <a:pt x="306" y="67"/>
                    <a:pt x="348" y="77"/>
                    <a:pt x="372" y="65"/>
                  </a:cubicBezTo>
                  <a:cubicBezTo>
                    <a:pt x="392" y="55"/>
                    <a:pt x="360" y="47"/>
                    <a:pt x="338" y="43"/>
                  </a:cubicBezTo>
                  <a:cubicBezTo>
                    <a:pt x="386" y="32"/>
                    <a:pt x="386" y="32"/>
                    <a:pt x="386" y="32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64" y="43"/>
                    <a:pt x="94" y="32"/>
                    <a:pt x="110" y="41"/>
                  </a:cubicBezTo>
                  <a:close/>
                </a:path>
              </a:pathLst>
            </a:custGeom>
            <a:solidFill>
              <a:srgbClr val="DE3F0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8" name="熊猫儿小白白(http://dwz.cn/Wu2UP)"/>
            <p:cNvSpPr/>
            <p:nvPr>
              <p:custDataLst>
                <p:tags r:id="rId23"/>
              </p:custDataLst>
            </p:nvPr>
          </p:nvSpPr>
          <p:spPr>
            <a:xfrm rot="900000">
              <a:off x="2742505" y="2332225"/>
              <a:ext cx="1946275" cy="557213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G0" y="G0"/>
                </a:cxn>
              </a:cxnLst>
              <a:rect l="0" t="0" r="0" b="0"/>
              <a:pathLst>
                <a:path w="487" h="139">
                  <a:moveTo>
                    <a:pt x="235" y="139"/>
                  </a:moveTo>
                  <a:cubicBezTo>
                    <a:pt x="487" y="64"/>
                    <a:pt x="487" y="64"/>
                    <a:pt x="487" y="64"/>
                  </a:cubicBezTo>
                  <a:cubicBezTo>
                    <a:pt x="367" y="36"/>
                    <a:pt x="367" y="36"/>
                    <a:pt x="367" y="36"/>
                  </a:cubicBezTo>
                  <a:cubicBezTo>
                    <a:pt x="355" y="45"/>
                    <a:pt x="334" y="55"/>
                    <a:pt x="305" y="47"/>
                  </a:cubicBezTo>
                  <a:cubicBezTo>
                    <a:pt x="277" y="39"/>
                    <a:pt x="307" y="31"/>
                    <a:pt x="328" y="27"/>
                  </a:cubicBezTo>
                  <a:cubicBezTo>
                    <a:pt x="248" y="9"/>
                    <a:pt x="248" y="9"/>
                    <a:pt x="248" y="9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42" y="20"/>
                    <a:pt x="118" y="0"/>
                    <a:pt x="82" y="13"/>
                  </a:cubicBezTo>
                  <a:cubicBezTo>
                    <a:pt x="50" y="26"/>
                    <a:pt x="93" y="35"/>
                    <a:pt x="117" y="38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235" y="139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9" name="熊猫儿小白白(http://dwz.cn/Wu2UP)"/>
            <p:cNvSpPr/>
            <p:nvPr>
              <p:custDataLst>
                <p:tags r:id="rId24"/>
              </p:custDataLst>
            </p:nvPr>
          </p:nvSpPr>
          <p:spPr>
            <a:xfrm rot="900000">
              <a:off x="2059880" y="2011550"/>
              <a:ext cx="755650" cy="234950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0" y="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378" h="117">
                  <a:moveTo>
                    <a:pt x="378" y="117"/>
                  </a:moveTo>
                  <a:lnTo>
                    <a:pt x="0" y="0"/>
                  </a:lnTo>
                  <a:lnTo>
                    <a:pt x="378" y="117"/>
                  </a:lnTo>
                  <a:close/>
                </a:path>
              </a:pathLst>
            </a:custGeom>
            <a:solidFill>
              <a:srgbClr val="63CFF6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50" name="熊猫儿小白白(http://dwz.cn/Wu2UP)"/>
            <p:cNvSpPr/>
            <p:nvPr>
              <p:custDataLst>
                <p:tags r:id="rId25"/>
              </p:custDataLst>
            </p:nvPr>
          </p:nvSpPr>
          <p:spPr>
            <a:xfrm rot="900000">
              <a:off x="1902718" y="2029013"/>
              <a:ext cx="1047750" cy="1417637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262" h="354">
                  <a:moveTo>
                    <a:pt x="82" y="218"/>
                  </a:moveTo>
                  <a:cubicBezTo>
                    <a:pt x="120" y="210"/>
                    <a:pt x="118" y="288"/>
                    <a:pt x="102" y="314"/>
                  </a:cubicBezTo>
                  <a:cubicBezTo>
                    <a:pt x="191" y="354"/>
                    <a:pt x="191" y="354"/>
                    <a:pt x="191" y="354"/>
                  </a:cubicBezTo>
                  <a:cubicBezTo>
                    <a:pt x="191" y="233"/>
                    <a:pt x="191" y="233"/>
                    <a:pt x="191" y="233"/>
                  </a:cubicBezTo>
                  <a:cubicBezTo>
                    <a:pt x="218" y="251"/>
                    <a:pt x="262" y="270"/>
                    <a:pt x="262" y="223"/>
                  </a:cubicBezTo>
                  <a:cubicBezTo>
                    <a:pt x="262" y="166"/>
                    <a:pt x="214" y="172"/>
                    <a:pt x="191" y="178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66" y="298"/>
                    <a:pt x="66" y="298"/>
                    <a:pt x="66" y="298"/>
                  </a:cubicBezTo>
                  <a:cubicBezTo>
                    <a:pt x="60" y="277"/>
                    <a:pt x="47" y="226"/>
                    <a:pt x="82" y="218"/>
                  </a:cubicBezTo>
                  <a:close/>
                </a:path>
              </a:pathLst>
            </a:custGeom>
            <a:solidFill>
              <a:srgbClr val="FAB30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51" name="熊猫儿小白白(http://dwz.cn/Wu2UP)"/>
            <p:cNvSpPr/>
            <p:nvPr>
              <p:custDataLst>
                <p:tags r:id="rId26"/>
              </p:custDataLst>
            </p:nvPr>
          </p:nvSpPr>
          <p:spPr>
            <a:xfrm rot="900000">
              <a:off x="2523430" y="2435413"/>
              <a:ext cx="939800" cy="1849437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0" y="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0"/>
                </a:cxn>
              </a:cxnLst>
              <a:rect l="0" t="0" r="0" b="0"/>
              <a:pathLst>
                <a:path w="235" h="462">
                  <a:moveTo>
                    <a:pt x="0" y="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23" y="113"/>
                    <a:pt x="71" y="107"/>
                    <a:pt x="71" y="164"/>
                  </a:cubicBezTo>
                  <a:cubicBezTo>
                    <a:pt x="71" y="211"/>
                    <a:pt x="27" y="192"/>
                    <a:pt x="0" y="174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98" y="339"/>
                    <a:pt x="98" y="339"/>
                    <a:pt x="98" y="339"/>
                  </a:cubicBezTo>
                  <a:cubicBezTo>
                    <a:pt x="87" y="365"/>
                    <a:pt x="65" y="430"/>
                    <a:pt x="117" y="447"/>
                  </a:cubicBezTo>
                  <a:cubicBezTo>
                    <a:pt x="161" y="462"/>
                    <a:pt x="151" y="400"/>
                    <a:pt x="140" y="358"/>
                  </a:cubicBezTo>
                  <a:cubicBezTo>
                    <a:pt x="235" y="401"/>
                    <a:pt x="235" y="401"/>
                    <a:pt x="235" y="401"/>
                  </a:cubicBezTo>
                  <a:cubicBezTo>
                    <a:pt x="235" y="73"/>
                    <a:pt x="235" y="73"/>
                    <a:pt x="235" y="7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52" name="熊猫儿小白白(http://dwz.cn/Wu2UP)"/>
            <p:cNvSpPr/>
            <p:nvPr>
              <p:custDataLst>
                <p:tags r:id="rId27"/>
              </p:custDataLst>
            </p:nvPr>
          </p:nvSpPr>
          <p:spPr>
            <a:xfrm rot="900000">
              <a:off x="3458468" y="2727513"/>
              <a:ext cx="1350962" cy="1612900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0"/>
                </a:cxn>
                <a:cxn ang="0">
                  <a:pos x="G0" y="0"/>
                </a:cxn>
                <a:cxn ang="0">
                  <a:pos x="0" y="G0"/>
                </a:cxn>
              </a:cxnLst>
              <a:rect l="0" t="0" r="0" b="0"/>
              <a:pathLst>
                <a:path w="338" h="403">
                  <a:moveTo>
                    <a:pt x="0" y="75"/>
                  </a:moveTo>
                  <a:cubicBezTo>
                    <a:pt x="0" y="403"/>
                    <a:pt x="0" y="403"/>
                    <a:pt x="0" y="403"/>
                  </a:cubicBezTo>
                  <a:cubicBezTo>
                    <a:pt x="129" y="349"/>
                    <a:pt x="129" y="349"/>
                    <a:pt x="129" y="349"/>
                  </a:cubicBezTo>
                  <a:cubicBezTo>
                    <a:pt x="123" y="339"/>
                    <a:pt x="110" y="315"/>
                    <a:pt x="109" y="297"/>
                  </a:cubicBezTo>
                  <a:cubicBezTo>
                    <a:pt x="108" y="281"/>
                    <a:pt x="114" y="245"/>
                    <a:pt x="145" y="243"/>
                  </a:cubicBezTo>
                  <a:cubicBezTo>
                    <a:pt x="179" y="241"/>
                    <a:pt x="179" y="264"/>
                    <a:pt x="179" y="283"/>
                  </a:cubicBezTo>
                  <a:cubicBezTo>
                    <a:pt x="180" y="297"/>
                    <a:pt x="173" y="322"/>
                    <a:pt x="170" y="332"/>
                  </a:cubicBezTo>
                  <a:cubicBezTo>
                    <a:pt x="252" y="298"/>
                    <a:pt x="252" y="298"/>
                    <a:pt x="252" y="298"/>
                  </a:cubicBezTo>
                  <a:cubicBezTo>
                    <a:pt x="252" y="170"/>
                    <a:pt x="252" y="170"/>
                    <a:pt x="252" y="170"/>
                  </a:cubicBezTo>
                  <a:cubicBezTo>
                    <a:pt x="281" y="173"/>
                    <a:pt x="338" y="175"/>
                    <a:pt x="331" y="121"/>
                  </a:cubicBezTo>
                  <a:cubicBezTo>
                    <a:pt x="325" y="74"/>
                    <a:pt x="275" y="109"/>
                    <a:pt x="252" y="127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52" y="0"/>
                    <a:pt x="252" y="0"/>
                    <a:pt x="25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0070C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53" name="熊猫儿小白白(http://dwz.cn/Wu2UP)"/>
            <p:cNvSpPr/>
            <p:nvPr>
              <p:custDataLst>
                <p:tags r:id="rId28"/>
              </p:custDataLst>
            </p:nvPr>
          </p:nvSpPr>
          <p:spPr>
            <a:xfrm rot="900000">
              <a:off x="3896618" y="3705413"/>
              <a:ext cx="1135062" cy="1504950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284" h="376">
                  <a:moveTo>
                    <a:pt x="199" y="126"/>
                  </a:moveTo>
                  <a:cubicBezTo>
                    <a:pt x="157" y="127"/>
                    <a:pt x="170" y="73"/>
                    <a:pt x="180" y="44"/>
                  </a:cubicBezTo>
                  <a:cubicBezTo>
                    <a:pt x="85" y="83"/>
                    <a:pt x="85" y="83"/>
                    <a:pt x="85" y="83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6" y="208"/>
                    <a:pt x="87" y="209"/>
                    <a:pt x="87" y="209"/>
                  </a:cubicBezTo>
                  <a:cubicBezTo>
                    <a:pt x="87" y="209"/>
                    <a:pt x="86" y="208"/>
                    <a:pt x="85" y="208"/>
                  </a:cubicBezTo>
                  <a:cubicBezTo>
                    <a:pt x="73" y="205"/>
                    <a:pt x="39" y="200"/>
                    <a:pt x="20" y="247"/>
                  </a:cubicBezTo>
                  <a:cubicBezTo>
                    <a:pt x="0" y="298"/>
                    <a:pt x="60" y="316"/>
                    <a:pt x="85" y="265"/>
                  </a:cubicBezTo>
                  <a:cubicBezTo>
                    <a:pt x="87" y="261"/>
                    <a:pt x="87" y="260"/>
                    <a:pt x="87" y="260"/>
                  </a:cubicBezTo>
                  <a:cubicBezTo>
                    <a:pt x="87" y="260"/>
                    <a:pt x="87" y="261"/>
                    <a:pt x="85" y="265"/>
                  </a:cubicBezTo>
                  <a:cubicBezTo>
                    <a:pt x="85" y="376"/>
                    <a:pt x="85" y="376"/>
                    <a:pt x="85" y="376"/>
                  </a:cubicBezTo>
                  <a:cubicBezTo>
                    <a:pt x="284" y="258"/>
                    <a:pt x="284" y="258"/>
                    <a:pt x="284" y="258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14" y="30"/>
                    <a:pt x="214" y="30"/>
                    <a:pt x="214" y="30"/>
                  </a:cubicBezTo>
                  <a:cubicBezTo>
                    <a:pt x="224" y="60"/>
                    <a:pt x="245" y="124"/>
                    <a:pt x="199" y="126"/>
                  </a:cubicBezTo>
                  <a:close/>
                </a:path>
              </a:pathLst>
            </a:custGeom>
            <a:solidFill>
              <a:srgbClr val="DE3F0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6" name="熊猫儿小白白(http://dwz.cn/Wu2UP)"/>
            <p:cNvSpPr/>
            <p:nvPr>
              <p:custDataLst>
                <p:tags r:id="rId29"/>
              </p:custDataLst>
            </p:nvPr>
          </p:nvSpPr>
          <p:spPr bwMode="auto">
            <a:xfrm rot="900000">
              <a:off x="4501455" y="2686238"/>
              <a:ext cx="795338" cy="1608137"/>
            </a:xfrm>
            <a:custGeom>
              <a:avLst/>
              <a:gdLst>
                <a:gd name="T0" fmla="*/ 2147483646 w 199"/>
                <a:gd name="T1" fmla="*/ 0 h 401"/>
                <a:gd name="T2" fmla="*/ 2147483646 w 199"/>
                <a:gd name="T3" fmla="*/ 0 h 401"/>
                <a:gd name="T4" fmla="*/ 0 w 199"/>
                <a:gd name="T5" fmla="*/ 948877026 h 401"/>
                <a:gd name="T6" fmla="*/ 0 w 199"/>
                <a:gd name="T7" fmla="*/ 948877026 h 401"/>
                <a:gd name="T8" fmla="*/ 0 w 199"/>
                <a:gd name="T9" fmla="*/ 2147483646 h 401"/>
                <a:gd name="T10" fmla="*/ 1261897659 w 199"/>
                <a:gd name="T11" fmla="*/ 2147483646 h 401"/>
                <a:gd name="T12" fmla="*/ 0 w 199"/>
                <a:gd name="T13" fmla="*/ 2147483646 h 401"/>
                <a:gd name="T14" fmla="*/ 0 w 199"/>
                <a:gd name="T15" fmla="*/ 2147483646 h 401"/>
                <a:gd name="T16" fmla="*/ 1517472931 w 199"/>
                <a:gd name="T17" fmla="*/ 2147483646 h 401"/>
                <a:gd name="T18" fmla="*/ 1820968316 w 199"/>
                <a:gd name="T19" fmla="*/ 2147483646 h 401"/>
                <a:gd name="T20" fmla="*/ 2060568884 w 199"/>
                <a:gd name="T21" fmla="*/ 2147483646 h 401"/>
                <a:gd name="T22" fmla="*/ 2147483646 w 199"/>
                <a:gd name="T23" fmla="*/ 2147483646 h 401"/>
                <a:gd name="T24" fmla="*/ 2147483646 w 199"/>
                <a:gd name="T25" fmla="*/ 0 h 401"/>
                <a:gd name="T26" fmla="*/ 2147483646 w 199"/>
                <a:gd name="T27" fmla="*/ 0 h 40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9" h="401">
                  <a:moveTo>
                    <a:pt x="198" y="0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23" y="168"/>
                    <a:pt x="73" y="133"/>
                    <a:pt x="79" y="180"/>
                  </a:cubicBezTo>
                  <a:cubicBezTo>
                    <a:pt x="86" y="234"/>
                    <a:pt x="29" y="232"/>
                    <a:pt x="0" y="229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95" y="318"/>
                    <a:pt x="95" y="318"/>
                    <a:pt x="95" y="318"/>
                  </a:cubicBezTo>
                  <a:cubicBezTo>
                    <a:pt x="85" y="347"/>
                    <a:pt x="72" y="401"/>
                    <a:pt x="114" y="400"/>
                  </a:cubicBezTo>
                  <a:cubicBezTo>
                    <a:pt x="160" y="398"/>
                    <a:pt x="139" y="334"/>
                    <a:pt x="129" y="304"/>
                  </a:cubicBezTo>
                  <a:cubicBezTo>
                    <a:pt x="199" y="274"/>
                    <a:pt x="199" y="274"/>
                    <a:pt x="199" y="274"/>
                  </a:cubicBezTo>
                  <a:cubicBezTo>
                    <a:pt x="199" y="0"/>
                    <a:pt x="199" y="0"/>
                    <a:pt x="199" y="0"/>
                  </a:cubicBezTo>
                  <a:lnTo>
                    <a:pt x="198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fontAlgn="base"/>
              <a:endParaRPr lang="zh-CN" altLang="en-US" strike="noStrike" noProof="1"/>
            </a:p>
          </p:txBody>
        </p:sp>
        <p:sp>
          <p:nvSpPr>
            <p:cNvPr id="35855" name="熊猫儿小白白(http://dwz.cn/Wu2UP)"/>
            <p:cNvSpPr/>
            <p:nvPr>
              <p:custDataLst>
                <p:tags r:id="rId30"/>
              </p:custDataLst>
            </p:nvPr>
          </p:nvSpPr>
          <p:spPr>
            <a:xfrm rot="900000">
              <a:off x="1643955" y="2798950"/>
              <a:ext cx="763588" cy="1770063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0" y="G0"/>
                </a:cxn>
                <a:cxn ang="0">
                  <a:pos x="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191" h="442">
                  <a:moveTo>
                    <a:pt x="122" y="253"/>
                  </a:moveTo>
                  <a:cubicBezTo>
                    <a:pt x="137" y="210"/>
                    <a:pt x="175" y="248"/>
                    <a:pt x="191" y="268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18" y="78"/>
                    <a:pt x="120" y="0"/>
                    <a:pt x="82" y="8"/>
                  </a:cubicBezTo>
                  <a:cubicBezTo>
                    <a:pt x="47" y="16"/>
                    <a:pt x="60" y="67"/>
                    <a:pt x="66" y="8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191" y="442"/>
                    <a:pt x="191" y="442"/>
                    <a:pt x="191" y="442"/>
                  </a:cubicBezTo>
                  <a:cubicBezTo>
                    <a:pt x="191" y="316"/>
                    <a:pt x="191" y="316"/>
                    <a:pt x="191" y="316"/>
                  </a:cubicBezTo>
                  <a:cubicBezTo>
                    <a:pt x="167" y="322"/>
                    <a:pt x="105" y="299"/>
                    <a:pt x="122" y="253"/>
                  </a:cubicBezTo>
                  <a:close/>
                </a:path>
              </a:pathLst>
            </a:custGeom>
            <a:solidFill>
              <a:srgbClr val="DE3F00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56" name="熊猫儿小白白(http://dwz.cn/Wu2UP)"/>
            <p:cNvSpPr/>
            <p:nvPr>
              <p:custDataLst>
                <p:tags r:id="rId31"/>
              </p:custDataLst>
            </p:nvPr>
          </p:nvSpPr>
          <p:spPr>
            <a:xfrm rot="900000">
              <a:off x="1890018" y="3530788"/>
              <a:ext cx="1284287" cy="1774825"/>
            </a:xfrm>
            <a:custGeom>
              <a:avLst/>
              <a:gdLst>
                <a:gd name="G0" fmla="val 0"/>
              </a:gdLst>
              <a:ahLst/>
              <a:cxnLst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  <a:cxn ang="0">
                  <a:pos x="G0" y="G0"/>
                </a:cxn>
              </a:cxnLst>
              <a:rect l="0" t="0" r="0" b="0"/>
              <a:pathLst>
                <a:path w="321" h="443">
                  <a:moveTo>
                    <a:pt x="226" y="63"/>
                  </a:moveTo>
                  <a:cubicBezTo>
                    <a:pt x="237" y="105"/>
                    <a:pt x="247" y="167"/>
                    <a:pt x="203" y="152"/>
                  </a:cubicBezTo>
                  <a:cubicBezTo>
                    <a:pt x="151" y="135"/>
                    <a:pt x="173" y="70"/>
                    <a:pt x="184" y="4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70" y="104"/>
                    <a:pt x="32" y="66"/>
                    <a:pt x="17" y="109"/>
                  </a:cubicBezTo>
                  <a:cubicBezTo>
                    <a:pt x="0" y="155"/>
                    <a:pt x="62" y="178"/>
                    <a:pt x="86" y="172"/>
                  </a:cubicBezTo>
                  <a:cubicBezTo>
                    <a:pt x="86" y="298"/>
                    <a:pt x="86" y="298"/>
                    <a:pt x="86" y="298"/>
                  </a:cubicBezTo>
                  <a:cubicBezTo>
                    <a:pt x="321" y="443"/>
                    <a:pt x="321" y="443"/>
                    <a:pt x="321" y="443"/>
                  </a:cubicBezTo>
                  <a:cubicBezTo>
                    <a:pt x="321" y="106"/>
                    <a:pt x="321" y="106"/>
                    <a:pt x="321" y="106"/>
                  </a:cubicBezTo>
                  <a:lnTo>
                    <a:pt x="226" y="63"/>
                  </a:lnTo>
                  <a:close/>
                </a:path>
              </a:pathLst>
            </a:cu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9" name="熊猫儿小白白(http://dwz.cn/Wu2UP)"/>
          <p:cNvGrpSpPr/>
          <p:nvPr/>
        </p:nvGrpSpPr>
        <p:grpSpPr>
          <a:xfrm flipH="1">
            <a:off x="2889250" y="4071938"/>
            <a:ext cx="1830388" cy="515937"/>
            <a:chOff x="0" y="0"/>
            <a:chExt cx="1606953" cy="515155"/>
          </a:xfrm>
        </p:grpSpPr>
        <p:cxnSp>
          <p:nvCxnSpPr>
            <p:cNvPr id="35858" name="熊猫儿小白白(http://dwz.cn/Wu2UP)@|9FFC:0|FBC:0|LFC:14277081|LBC:16777215"/>
            <p:cNvCxnSpPr/>
            <p:nvPr>
              <p:custDataLst>
                <p:tags r:id="rId15"/>
              </p:custDataLst>
            </p:nvPr>
          </p:nvCxnSpPr>
          <p:spPr>
            <a:xfrm flipV="1">
              <a:off x="0" y="0"/>
              <a:ext cx="220663" cy="515155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none" w="med" len="med"/>
            </a:ln>
          </p:spPr>
        </p:cxnSp>
        <p:cxnSp>
          <p:nvCxnSpPr>
            <p:cNvPr id="35859" name="熊猫儿小白白(http://dwz.cn/Wu2UP)@|9FFC:0|FBC:0|LFC:14277081|LBC:16777215"/>
            <p:cNvCxnSpPr/>
            <p:nvPr>
              <p:custDataLst>
                <p:tags r:id="rId16"/>
              </p:custDataLst>
            </p:nvPr>
          </p:nvCxnSpPr>
          <p:spPr>
            <a:xfrm>
              <a:off x="220663" y="3591"/>
              <a:ext cx="1386290" cy="0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oval" w="med" len="med"/>
            </a:ln>
          </p:spPr>
        </p:cxnSp>
      </p:grpSp>
      <p:grpSp>
        <p:nvGrpSpPr>
          <p:cNvPr id="22" name="熊猫儿小白白(http://dwz.cn/Wu2UP)"/>
          <p:cNvGrpSpPr/>
          <p:nvPr/>
        </p:nvGrpSpPr>
        <p:grpSpPr>
          <a:xfrm>
            <a:off x="6262688" y="3211513"/>
            <a:ext cx="1606550" cy="514350"/>
            <a:chOff x="0" y="0"/>
            <a:chExt cx="1606953" cy="515155"/>
          </a:xfrm>
        </p:grpSpPr>
        <p:cxnSp>
          <p:nvCxnSpPr>
            <p:cNvPr id="35861" name="熊猫儿小白白(http://dwz.cn/Wu2UP)@|9FFC:0|FBC:0|LFC:14277081|LBC:16777215"/>
            <p:cNvCxnSpPr/>
            <p:nvPr>
              <p:custDataLst>
                <p:tags r:id="rId13"/>
              </p:custDataLst>
            </p:nvPr>
          </p:nvCxnSpPr>
          <p:spPr>
            <a:xfrm flipV="1">
              <a:off x="0" y="0"/>
              <a:ext cx="220663" cy="515155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none" w="med" len="med"/>
            </a:ln>
          </p:spPr>
        </p:cxnSp>
        <p:cxnSp>
          <p:nvCxnSpPr>
            <p:cNvPr id="35862" name="熊猫儿小白白(http://dwz.cn/Wu2UP)@|9FFC:0|FBC:0|LFC:14277081|LBC:16777215"/>
            <p:cNvCxnSpPr/>
            <p:nvPr>
              <p:custDataLst>
                <p:tags r:id="rId14"/>
              </p:custDataLst>
            </p:nvPr>
          </p:nvCxnSpPr>
          <p:spPr>
            <a:xfrm>
              <a:off x="220663" y="3591"/>
              <a:ext cx="1386290" cy="0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oval" w="med" len="med"/>
            </a:ln>
          </p:spPr>
        </p:cxnSp>
      </p:grpSp>
      <p:grpSp>
        <p:nvGrpSpPr>
          <p:cNvPr id="25" name="组合 24"/>
          <p:cNvGrpSpPr/>
          <p:nvPr/>
        </p:nvGrpSpPr>
        <p:grpSpPr>
          <a:xfrm>
            <a:off x="8108950" y="2930525"/>
            <a:ext cx="2433638" cy="539750"/>
            <a:chOff x="9626669" y="3991003"/>
            <a:chExt cx="2022332" cy="539642"/>
          </a:xfrm>
        </p:grpSpPr>
        <p:sp>
          <p:nvSpPr>
            <p:cNvPr id="35864" name="熊猫儿小白白(http://dwz.cn/Wu2UP)"/>
            <p:cNvSpPr txBox="1"/>
            <p:nvPr>
              <p:custDataLst>
                <p:tags r:id="rId11"/>
              </p:custDataLst>
            </p:nvPr>
          </p:nvSpPr>
          <p:spPr>
            <a:xfrm>
              <a:off x="9626669" y="3991003"/>
              <a:ext cx="1459311" cy="43088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anchor="t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zh-CN" altLang="en-US" sz="2800" b="1" dirty="0">
                  <a:solidFill>
                    <a:srgbClr val="005392"/>
                  </a:solidFill>
                  <a:latin typeface="Arial" panose="020B0604020202020204" pitchFamily="34" charset="0"/>
                  <a:ea typeface="微软雅黑" panose="020B0503020204020204" charset="-122"/>
                  <a:sym typeface="Arial" panose="020B0604020202020204" pitchFamily="34" charset="0"/>
                </a:rPr>
                <a:t>月度绩效</a:t>
              </a:r>
              <a:endParaRPr lang="en-US" altLang="zh-CN" sz="2800" b="1" dirty="0">
                <a:solidFill>
                  <a:srgbClr val="005392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  <p:sp>
          <p:nvSpPr>
            <p:cNvPr id="35865" name="矩形 26"/>
            <p:cNvSpPr/>
            <p:nvPr>
              <p:custDataLst>
                <p:tags r:id="rId12"/>
              </p:custDataLst>
            </p:nvPr>
          </p:nvSpPr>
          <p:spPr>
            <a:xfrm>
              <a:off x="9657139" y="4237038"/>
              <a:ext cx="1991862" cy="29360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</a:pPr>
              <a:endParaRPr lang="zh-CN" altLang="en-US" sz="1200" dirty="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5866" name="熊猫儿小白白(http://dwz.cn/Wu2UP)"/>
          <p:cNvSpPr txBox="1"/>
          <p:nvPr>
            <p:custDataLst>
              <p:tags r:id="rId2"/>
            </p:custDataLst>
          </p:nvPr>
        </p:nvSpPr>
        <p:spPr>
          <a:xfrm>
            <a:off x="1058863" y="3778250"/>
            <a:ext cx="1655762" cy="4318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t">
            <a:spAutoFit/>
          </a:bodyPr>
          <a:lstStyle/>
          <a:p>
            <a:pPr algn="r">
              <a:spcBef>
                <a:spcPct val="20000"/>
              </a:spcBef>
            </a:pPr>
            <a:r>
              <a:rPr lang="zh-CN" altLang="en-US" sz="2800" b="1" dirty="0">
                <a:solidFill>
                  <a:srgbClr val="005392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固定薪酬</a:t>
            </a:r>
            <a:endParaRPr lang="en-US" altLang="zh-CN" sz="2800" b="1" dirty="0">
              <a:solidFill>
                <a:srgbClr val="005392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5867" name="熊猫儿小白白(http://dwz.cn/Wu2UP)"/>
          <p:cNvSpPr txBox="1"/>
          <p:nvPr>
            <p:custDataLst>
              <p:tags r:id="rId3"/>
            </p:custDataLst>
          </p:nvPr>
        </p:nvSpPr>
        <p:spPr>
          <a:xfrm>
            <a:off x="8518525" y="5187950"/>
            <a:ext cx="1655763" cy="4318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t"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sz="2800" b="1" dirty="0">
                <a:solidFill>
                  <a:srgbClr val="005392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年度绩效</a:t>
            </a:r>
            <a:endParaRPr lang="en-US" altLang="zh-CN" sz="2800" b="1" dirty="0">
              <a:solidFill>
                <a:srgbClr val="005392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grpSp>
        <p:nvGrpSpPr>
          <p:cNvPr id="34" name="熊猫儿小白白(http://dwz.cn/Wu2UP)"/>
          <p:cNvGrpSpPr/>
          <p:nvPr/>
        </p:nvGrpSpPr>
        <p:grpSpPr>
          <a:xfrm flipV="1">
            <a:off x="6613525" y="5202238"/>
            <a:ext cx="1606550" cy="587375"/>
            <a:chOff x="0" y="0"/>
            <a:chExt cx="1606953" cy="515155"/>
          </a:xfrm>
        </p:grpSpPr>
        <p:cxnSp>
          <p:nvCxnSpPr>
            <p:cNvPr id="35869" name="熊猫儿小白白(http://dwz.cn/Wu2UP)@|9FFC:0|FBC:0|LFC:14277081|LBC:16777215"/>
            <p:cNvCxnSpPr/>
            <p:nvPr>
              <p:custDataLst>
                <p:tags r:id="rId9"/>
              </p:custDataLst>
            </p:nvPr>
          </p:nvCxnSpPr>
          <p:spPr>
            <a:xfrm flipV="1">
              <a:off x="0" y="0"/>
              <a:ext cx="220663" cy="515155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none" w="med" len="med"/>
            </a:ln>
          </p:spPr>
        </p:cxnSp>
        <p:cxnSp>
          <p:nvCxnSpPr>
            <p:cNvPr id="35870" name="熊猫儿小白白(http://dwz.cn/Wu2UP)@|9FFC:0|FBC:0|LFC:14277081|LBC:16777215"/>
            <p:cNvCxnSpPr/>
            <p:nvPr>
              <p:custDataLst>
                <p:tags r:id="rId10"/>
              </p:custDataLst>
            </p:nvPr>
          </p:nvCxnSpPr>
          <p:spPr>
            <a:xfrm>
              <a:off x="220663" y="3591"/>
              <a:ext cx="1386290" cy="0"/>
            </a:xfrm>
            <a:prstGeom prst="line">
              <a:avLst/>
            </a:prstGeom>
            <a:ln w="6350" cap="flat" cmpd="sng">
              <a:solidFill>
                <a:srgbClr val="595959"/>
              </a:solidFill>
              <a:prstDash val="sysDash"/>
              <a:round/>
              <a:headEnd type="none" w="med" len="med"/>
              <a:tailEnd type="oval" w="med" len="med"/>
            </a:ln>
          </p:spPr>
        </p:cxnSp>
      </p:grpSp>
      <p:sp>
        <p:nvSpPr>
          <p:cNvPr id="37" name="Oval 65"/>
          <p:cNvSpPr/>
          <p:nvPr>
            <p:custDataLst>
              <p:tags r:id="rId4"/>
            </p:custDataLst>
          </p:nvPr>
        </p:nvSpPr>
        <p:spPr>
          <a:xfrm>
            <a:off x="3240088" y="5351463"/>
            <a:ext cx="4445000" cy="731837"/>
          </a:xfrm>
          <a:prstGeom prst="ellipse">
            <a:avLst/>
          </a:prstGeom>
          <a:gradFill rotWithShape="1">
            <a:gsLst>
              <a:gs pos="0">
                <a:srgbClr val="404040"/>
              </a:gs>
              <a:gs pos="100000">
                <a:srgbClr val="EEECE1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9525">
            <a:noFill/>
          </a:ln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zh-CN" altLang="en-US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8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39" name="箭头: 五边形 26"/>
          <p:cNvSpPr/>
          <p:nvPr>
            <p:custDataLst>
              <p:tags r:id="rId6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35874" name="矩形 39"/>
          <p:cNvSpPr/>
          <p:nvPr>
            <p:custDataLst>
              <p:tags r:id="rId7"/>
            </p:custDataLst>
          </p:nvPr>
        </p:nvSpPr>
        <p:spPr>
          <a:xfrm>
            <a:off x="1783715" y="207010"/>
            <a:ext cx="5215255" cy="73723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薪酬结构</a:t>
            </a:r>
          </a:p>
        </p:txBody>
      </p:sp>
      <p:sp>
        <p:nvSpPr>
          <p:cNvPr id="35875" name="矩形 42"/>
          <p:cNvSpPr/>
          <p:nvPr>
            <p:custDataLst>
              <p:tags r:id="rId8"/>
            </p:custDataLst>
          </p:nvPr>
        </p:nvSpPr>
        <p:spPr>
          <a:xfrm>
            <a:off x="1208088" y="1290638"/>
            <a:ext cx="9715500" cy="1754326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lvl="1" indent="360680">
              <a:lnSpc>
                <a:spcPct val="150000"/>
              </a:lnSpc>
              <a:spcBef>
                <a:spcPct val="0"/>
              </a:spcBef>
              <a:buNone/>
            </a:pP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瑞恒员工薪酬由固定薪酬、月度和年度绩效工资、骨干奖励、项目奖励</a:t>
            </a:r>
            <a:r>
              <a:rPr lang="zh-CN" altLang="en-US" sz="2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中夜</a:t>
            </a: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班费、运转</a:t>
            </a:r>
            <a:r>
              <a:rPr lang="zh-CN" altLang="en-US" sz="2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班津贴、生产岗位津贴、保密</a:t>
            </a: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费、技能等级津贴、 </a:t>
            </a:r>
            <a:r>
              <a:rPr lang="zh-CN" altLang="en-US" sz="24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动态激励薪酬、购房贴息补贴、总经理特别奖励</a:t>
            </a: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等组成。</a:t>
            </a:r>
          </a:p>
        </p:txBody>
      </p:sp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8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2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50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bldLvl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>
            <p:custDataLst>
              <p:tags r:id="rId2"/>
            </p:custDataLst>
          </p:nvPr>
        </p:nvSpPr>
        <p:spPr>
          <a:xfrm>
            <a:off x="3108325" y="4991100"/>
            <a:ext cx="1141413" cy="1054100"/>
          </a:xfrm>
          <a:prstGeom prst="ellipse">
            <a:avLst/>
          </a:prstGeom>
          <a:solidFill>
            <a:srgbClr val="FAB300"/>
          </a:solidFill>
          <a:ln>
            <a:noFill/>
          </a:ln>
          <a:effectLst>
            <a:outerShdw blurRad="3556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2400" b="1" strike="noStrike" noProof="1">
                <a:latin typeface="微软雅黑" panose="020B0503020204020204" charset="-122"/>
                <a:ea typeface="微软雅黑" panose="020B0503020204020204" charset="-122"/>
              </a:rPr>
              <a:t>住房补贴</a:t>
            </a:r>
          </a:p>
        </p:txBody>
      </p:sp>
      <p:grpSp>
        <p:nvGrpSpPr>
          <p:cNvPr id="37890" name="组合 3"/>
          <p:cNvGrpSpPr/>
          <p:nvPr/>
        </p:nvGrpSpPr>
        <p:grpSpPr>
          <a:xfrm>
            <a:off x="630238" y="1927225"/>
            <a:ext cx="6183312" cy="4110038"/>
            <a:chOff x="793915" y="856025"/>
            <a:chExt cx="9773234" cy="5600571"/>
          </a:xfrm>
        </p:grpSpPr>
        <p:pic>
          <p:nvPicPr>
            <p:cNvPr id="37891" name="图片 2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1"/>
            <a:stretch>
              <a:fillRect/>
            </a:stretch>
          </p:blipFill>
          <p:spPr>
            <a:xfrm rot="1200461">
              <a:off x="793915" y="3607663"/>
              <a:ext cx="2848933" cy="2848933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8" name="椭圆 7"/>
            <p:cNvSpPr/>
            <p:nvPr>
              <p:custDataLst>
                <p:tags r:id="rId9"/>
              </p:custDataLst>
            </p:nvPr>
          </p:nvSpPr>
          <p:spPr>
            <a:xfrm>
              <a:off x="2891644" y="3038466"/>
              <a:ext cx="665834" cy="665834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16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椭圆 10"/>
            <p:cNvSpPr/>
            <p:nvPr>
              <p:custDataLst>
                <p:tags r:id="rId10"/>
              </p:custDataLst>
            </p:nvPr>
          </p:nvSpPr>
          <p:spPr>
            <a:xfrm>
              <a:off x="3224561" y="1772816"/>
              <a:ext cx="881858" cy="881858"/>
            </a:xfrm>
            <a:prstGeom prst="ellipse">
              <a:avLst/>
            </a:prstGeom>
            <a:solidFill>
              <a:srgbClr val="005392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16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椭圆 11"/>
            <p:cNvSpPr/>
            <p:nvPr>
              <p:custDataLst>
                <p:tags r:id="rId11"/>
              </p:custDataLst>
            </p:nvPr>
          </p:nvSpPr>
          <p:spPr>
            <a:xfrm>
              <a:off x="3985419" y="2699559"/>
              <a:ext cx="1368152" cy="1368152"/>
            </a:xfrm>
            <a:prstGeom prst="ellipse">
              <a:avLst/>
            </a:prstGeom>
            <a:solidFill>
              <a:srgbClr val="DE3F0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>
                  <a:latin typeface="微软雅黑" panose="020B0503020204020204" charset="-122"/>
                  <a:ea typeface="微软雅黑" panose="020B0503020204020204" charset="-122"/>
                </a:rPr>
                <a:t>工龄工资</a:t>
              </a:r>
            </a:p>
          </p:txBody>
        </p:sp>
        <p:sp>
          <p:nvSpPr>
            <p:cNvPr id="13" name="椭圆 12"/>
            <p:cNvSpPr/>
            <p:nvPr>
              <p:custDataLst>
                <p:tags r:id="rId12"/>
              </p:custDataLst>
            </p:nvPr>
          </p:nvSpPr>
          <p:spPr>
            <a:xfrm>
              <a:off x="4439816" y="1109129"/>
              <a:ext cx="1327374" cy="1327374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>
                  <a:latin typeface="微软雅黑" panose="020B0503020204020204" charset="-122"/>
                  <a:ea typeface="微软雅黑" panose="020B0503020204020204" charset="-122"/>
                </a:rPr>
                <a:t>交通补贴</a:t>
              </a:r>
            </a:p>
          </p:txBody>
        </p:sp>
        <p:sp>
          <p:nvSpPr>
            <p:cNvPr id="14" name="椭圆 13"/>
            <p:cNvSpPr/>
            <p:nvPr>
              <p:custDataLst>
                <p:tags r:id="rId13"/>
              </p:custDataLst>
            </p:nvPr>
          </p:nvSpPr>
          <p:spPr>
            <a:xfrm>
              <a:off x="5767189" y="2018483"/>
              <a:ext cx="1809081" cy="1809081"/>
            </a:xfrm>
            <a:prstGeom prst="ellipse">
              <a:avLst/>
            </a:prstGeom>
            <a:solidFill>
              <a:srgbClr val="005392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>
                  <a:latin typeface="微软雅黑" panose="020B0503020204020204" charset="-122"/>
                  <a:ea typeface="微软雅黑" panose="020B0503020204020204" charset="-122"/>
                </a:rPr>
                <a:t>员工食堂</a:t>
              </a:r>
            </a:p>
          </p:txBody>
        </p:sp>
        <p:sp>
          <p:nvSpPr>
            <p:cNvPr id="15" name="椭圆 14"/>
            <p:cNvSpPr/>
            <p:nvPr>
              <p:custDataLst>
                <p:tags r:id="rId14"/>
              </p:custDataLst>
            </p:nvPr>
          </p:nvSpPr>
          <p:spPr>
            <a:xfrm>
              <a:off x="2309098" y="1321267"/>
              <a:ext cx="881859" cy="881858"/>
            </a:xfrm>
            <a:prstGeom prst="ellipse">
              <a:avLst/>
            </a:prstGeom>
            <a:solidFill>
              <a:srgbClr val="FAB30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>
                  <a:latin typeface="微软雅黑" panose="020B0503020204020204" charset="-122"/>
                  <a:ea typeface="微软雅黑" panose="020B0503020204020204" charset="-122"/>
                </a:rPr>
                <a:t>体检</a:t>
              </a:r>
            </a:p>
          </p:txBody>
        </p:sp>
        <p:sp>
          <p:nvSpPr>
            <p:cNvPr id="16" name="椭圆 15"/>
            <p:cNvSpPr/>
            <p:nvPr>
              <p:custDataLst>
                <p:tags r:id="rId15"/>
              </p:custDataLst>
            </p:nvPr>
          </p:nvSpPr>
          <p:spPr>
            <a:xfrm>
              <a:off x="7765703" y="856025"/>
              <a:ext cx="2515359" cy="25153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>
                  <a:latin typeface="微软雅黑" panose="020B0503020204020204" charset="-122"/>
                  <a:ea typeface="微软雅黑" panose="020B0503020204020204" charset="-122"/>
                </a:rPr>
                <a:t>六险两金</a:t>
              </a:r>
            </a:p>
          </p:txBody>
        </p:sp>
        <p:sp>
          <p:nvSpPr>
            <p:cNvPr id="17" name="椭圆 16"/>
            <p:cNvSpPr/>
            <p:nvPr>
              <p:custDataLst>
                <p:tags r:id="rId16"/>
              </p:custDataLst>
            </p:nvPr>
          </p:nvSpPr>
          <p:spPr>
            <a:xfrm>
              <a:off x="7055820" y="3968350"/>
              <a:ext cx="1809081" cy="180908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 smtClean="0">
                  <a:latin typeface="微软雅黑" panose="020B0503020204020204" charset="-122"/>
                  <a:ea typeface="微软雅黑" panose="020B0503020204020204" charset="-122"/>
                </a:rPr>
                <a:t>培训</a:t>
              </a:r>
              <a:endParaRPr lang="en-US" altLang="zh-CN" sz="1600" b="1" strike="noStrike" noProof="1" smtClean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 fontAlgn="base"/>
              <a:r>
                <a:rPr lang="zh-CN" altLang="en-US" sz="1600" b="1" strike="noStrike" noProof="1" smtClean="0">
                  <a:latin typeface="微软雅黑" panose="020B0503020204020204" charset="-122"/>
                  <a:ea typeface="微软雅黑" panose="020B0503020204020204" charset="-122"/>
                </a:rPr>
                <a:t>学习</a:t>
              </a:r>
              <a:endParaRPr lang="zh-CN" altLang="en-US" sz="16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椭圆 18"/>
            <p:cNvSpPr/>
            <p:nvPr>
              <p:custDataLst>
                <p:tags r:id="rId17"/>
              </p:custDataLst>
            </p:nvPr>
          </p:nvSpPr>
          <p:spPr>
            <a:xfrm>
              <a:off x="8804674" y="3268887"/>
              <a:ext cx="1762475" cy="1763243"/>
            </a:xfrm>
            <a:prstGeom prst="ellipse">
              <a:avLst/>
            </a:prstGeom>
            <a:solidFill>
              <a:srgbClr val="DE3F0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r>
                <a:rPr lang="zh-CN" altLang="en-US" sz="1600" b="1" strike="noStrike" noProof="1" smtClean="0">
                  <a:latin typeface="微软雅黑" panose="020B0503020204020204" charset="-122"/>
                  <a:ea typeface="微软雅黑" panose="020B0503020204020204" charset="-122"/>
                </a:rPr>
                <a:t>通讯补贴</a:t>
              </a:r>
              <a:endParaRPr lang="zh-CN" altLang="en-US" sz="16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椭圆 19"/>
            <p:cNvSpPr/>
            <p:nvPr>
              <p:custDataLst>
                <p:tags r:id="rId18"/>
              </p:custDataLst>
            </p:nvPr>
          </p:nvSpPr>
          <p:spPr>
            <a:xfrm>
              <a:off x="8866575" y="5180167"/>
              <a:ext cx="547828" cy="547829"/>
            </a:xfrm>
            <a:prstGeom prst="ellipse">
              <a:avLst/>
            </a:prstGeom>
            <a:solidFill>
              <a:srgbClr val="FAB300"/>
            </a:solidFill>
            <a:ln>
              <a:noFill/>
            </a:ln>
            <a:effectLst>
              <a:outerShdw blurRad="355600" dist="304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16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37902" name="矩形 20"/>
          <p:cNvSpPr/>
          <p:nvPr>
            <p:custDataLst>
              <p:tags r:id="rId3"/>
            </p:custDataLst>
          </p:nvPr>
        </p:nvSpPr>
        <p:spPr>
          <a:xfrm>
            <a:off x="6686550" y="958215"/>
            <a:ext cx="5598795" cy="37846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342900" lvl="1" indent="-342900">
              <a:lnSpc>
                <a:spcPct val="150000"/>
              </a:lnSpc>
              <a:spcBef>
                <a:spcPct val="0"/>
              </a:spcBef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为劳动合同制员工足额缴纳“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六险两金</a:t>
            </a: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”（包含补充医疗保险及企业年金），额外提供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6%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住房补助</a:t>
            </a: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</a:p>
          <a:p>
            <a:pPr marL="342900" lvl="1" indent="-342900">
              <a:lnSpc>
                <a:spcPct val="150000"/>
              </a:lnSpc>
              <a:spcBef>
                <a:spcPct val="0"/>
              </a:spcBef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发放节日慰问、书报费、防暑降温费、疗养费等。</a:t>
            </a:r>
          </a:p>
          <a:p>
            <a:pPr marL="342900" lvl="1" indent="-342900">
              <a:lnSpc>
                <a:spcPct val="150000"/>
              </a:lnSpc>
              <a:spcBef>
                <a:spcPct val="0"/>
              </a:spcBef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在班期间为员工提供工作餐。</a:t>
            </a:r>
          </a:p>
          <a:p>
            <a:pPr marL="342900" lvl="1" indent="-342900">
              <a:lnSpc>
                <a:spcPct val="150000"/>
              </a:lnSpc>
              <a:spcBef>
                <a:spcPct val="0"/>
              </a:spcBef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为员工提供集体宿舍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,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租房补助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500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月</a:t>
            </a:r>
            <a:endParaRPr lang="zh-CN" altLang="zh-CN" sz="2000" b="1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lvl="1" indent="-342900">
              <a:lnSpc>
                <a:spcPct val="150000"/>
              </a:lnSpc>
              <a:spcBef>
                <a:spcPct val="0"/>
              </a:spcBef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为员工上下班提供定点厂车等。</a:t>
            </a:r>
          </a:p>
        </p:txBody>
      </p:sp>
      <p:sp>
        <p:nvSpPr>
          <p:cNvPr id="22" name="箭头: 五边形 26"/>
          <p:cNvSpPr/>
          <p:nvPr>
            <p:custDataLst>
              <p:tags r:id="rId4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23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37905" name="矩形 23"/>
          <p:cNvSpPr/>
          <p:nvPr>
            <p:custDataLst>
              <p:tags r:id="rId6"/>
            </p:custDataLst>
          </p:nvPr>
        </p:nvSpPr>
        <p:spPr>
          <a:xfrm>
            <a:off x="1784350" y="276225"/>
            <a:ext cx="5203190" cy="73723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的员工福利</a:t>
            </a:r>
          </a:p>
        </p:txBody>
      </p:sp>
      <p:sp>
        <p:nvSpPr>
          <p:cNvPr id="37906" name="矩形 4"/>
          <p:cNvSpPr/>
          <p:nvPr>
            <p:custDataLst>
              <p:tags r:id="rId7"/>
            </p:custDataLst>
          </p:nvPr>
        </p:nvSpPr>
        <p:spPr>
          <a:xfrm>
            <a:off x="6700520" y="4324985"/>
            <a:ext cx="5090160" cy="156845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ct val="12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endParaRPr lang="en-US" altLang="zh-CN" sz="2000" b="1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sym typeface="Calibri" panose="020F0502020204030204" charset="0"/>
            </a:endParaRPr>
          </a:p>
          <a:p>
            <a:pPr marL="342900" indent="-342900">
              <a:lnSpc>
                <a:spcPct val="12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Calibri" panose="020F0502020204030204" charset="0"/>
              </a:rPr>
              <a:t>意外伤害险。</a:t>
            </a:r>
            <a:endParaRPr lang="en-US" altLang="zh-CN" sz="2000" b="1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Calibri" panose="020F0502020204030204" charset="0"/>
            </a:endParaRPr>
          </a:p>
          <a:p>
            <a:pPr marL="342900" indent="-342900">
              <a:lnSpc>
                <a:spcPct val="12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en-US" sz="2000" b="1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Calibri" panose="020F0502020204030204" charset="0"/>
              </a:rPr>
              <a:t>入职体检及每年健康体检</a:t>
            </a:r>
            <a:endParaRPr lang="en-US" altLang="zh-CN" sz="2000" b="1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Calibri" panose="020F0502020204030204" charset="0"/>
            </a:endParaRPr>
          </a:p>
          <a:p>
            <a:pPr>
              <a:lnSpc>
                <a:spcPct val="120000"/>
              </a:lnSpc>
              <a:buClr>
                <a:srgbClr val="009944"/>
              </a:buClr>
              <a:buFont typeface="Wingdings" panose="05000000000000000000" pitchFamily="2" charset="2"/>
            </a:pPr>
            <a:endParaRPr lang="en-US" altLang="zh-CN" sz="2000" b="1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Calibri" panose="020F0502020204030204" charset="0"/>
            </a:endParaRPr>
          </a:p>
        </p:txBody>
      </p:sp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箭头: 五边形 26"/>
          <p:cNvSpPr/>
          <p:nvPr>
            <p:custDataLst>
              <p:tags r:id="rId2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3" name="箭头: 五边形 26"/>
          <p:cNvSpPr/>
          <p:nvPr>
            <p:custDataLst>
              <p:tags r:id="rId3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39939" name="矩形 3"/>
          <p:cNvSpPr/>
          <p:nvPr>
            <p:custDataLst>
              <p:tags r:id="rId4"/>
            </p:custDataLst>
          </p:nvPr>
        </p:nvSpPr>
        <p:spPr>
          <a:xfrm>
            <a:off x="1784350" y="276225"/>
            <a:ext cx="7334250" cy="73723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未来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—”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您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“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的晋升发展渠道</a:t>
            </a:r>
          </a:p>
        </p:txBody>
      </p:sp>
      <p:grpSp>
        <p:nvGrpSpPr>
          <p:cNvPr id="5" name="组 3"/>
          <p:cNvGrpSpPr/>
          <p:nvPr/>
        </p:nvGrpSpPr>
        <p:grpSpPr>
          <a:xfrm>
            <a:off x="830263" y="1978025"/>
            <a:ext cx="3424237" cy="3395663"/>
            <a:chOff x="836142" y="2356202"/>
            <a:chExt cx="2354275" cy="2333859"/>
          </a:xfrm>
        </p:grpSpPr>
        <p:sp>
          <p:nvSpPr>
            <p:cNvPr id="6" name="Freeform 5"/>
            <p:cNvSpPr/>
            <p:nvPr>
              <p:custDataLst>
                <p:tags r:id="rId18"/>
              </p:custDataLst>
            </p:nvPr>
          </p:nvSpPr>
          <p:spPr bwMode="auto">
            <a:xfrm>
              <a:off x="1627280" y="2824505"/>
              <a:ext cx="537208" cy="381533"/>
            </a:xfrm>
            <a:custGeom>
              <a:avLst/>
              <a:gdLst>
                <a:gd name="T0" fmla="*/ 9 w 55"/>
                <a:gd name="T1" fmla="*/ 0 h 39"/>
                <a:gd name="T2" fmla="*/ 33 w 55"/>
                <a:gd name="T3" fmla="*/ 13 h 39"/>
                <a:gd name="T4" fmla="*/ 54 w 55"/>
                <a:gd name="T5" fmla="*/ 33 h 39"/>
                <a:gd name="T6" fmla="*/ 36 w 55"/>
                <a:gd name="T7" fmla="*/ 39 h 39"/>
                <a:gd name="T8" fmla="*/ 9 w 55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9">
                  <a:moveTo>
                    <a:pt x="9" y="0"/>
                  </a:moveTo>
                  <a:cubicBezTo>
                    <a:pt x="9" y="12"/>
                    <a:pt x="24" y="11"/>
                    <a:pt x="33" y="13"/>
                  </a:cubicBezTo>
                  <a:cubicBezTo>
                    <a:pt x="55" y="18"/>
                    <a:pt x="54" y="33"/>
                    <a:pt x="54" y="33"/>
                  </a:cubicBezTo>
                  <a:cubicBezTo>
                    <a:pt x="54" y="33"/>
                    <a:pt x="47" y="39"/>
                    <a:pt x="36" y="39"/>
                  </a:cubicBezTo>
                  <a:cubicBezTo>
                    <a:pt x="23" y="39"/>
                    <a:pt x="0" y="23"/>
                    <a:pt x="9" y="0"/>
                  </a:cubicBezTo>
                  <a:close/>
                </a:path>
              </a:pathLst>
            </a:custGeom>
            <a:solidFill>
              <a:srgbClr val="009944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2000" strike="noStrike" noProof="1">
                <a:solidFill>
                  <a:schemeClr val="bg1"/>
                </a:solidFill>
                <a:latin typeface="+mn-ea"/>
                <a:cs typeface="+mn-ea"/>
              </a:endParaRPr>
            </a:p>
          </p:txBody>
        </p:sp>
        <p:sp>
          <p:nvSpPr>
            <p:cNvPr id="7" name="Freeform 6"/>
            <p:cNvSpPr/>
            <p:nvPr>
              <p:custDataLst>
                <p:tags r:id="rId19"/>
              </p:custDataLst>
            </p:nvPr>
          </p:nvSpPr>
          <p:spPr bwMode="auto">
            <a:xfrm>
              <a:off x="2350790" y="2922759"/>
              <a:ext cx="507860" cy="468303"/>
            </a:xfrm>
            <a:custGeom>
              <a:avLst/>
              <a:gdLst>
                <a:gd name="T0" fmla="*/ 42 w 52"/>
                <a:gd name="T1" fmla="*/ 0 h 48"/>
                <a:gd name="T2" fmla="*/ 45 w 52"/>
                <a:gd name="T3" fmla="*/ 31 h 48"/>
                <a:gd name="T4" fmla="*/ 6 w 52"/>
                <a:gd name="T5" fmla="*/ 45 h 48"/>
                <a:gd name="T6" fmla="*/ 5 w 52"/>
                <a:gd name="T7" fmla="*/ 26 h 48"/>
                <a:gd name="T8" fmla="*/ 42 w 52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8">
                  <a:moveTo>
                    <a:pt x="42" y="0"/>
                  </a:moveTo>
                  <a:cubicBezTo>
                    <a:pt x="42" y="0"/>
                    <a:pt x="52" y="20"/>
                    <a:pt x="45" y="31"/>
                  </a:cubicBezTo>
                  <a:cubicBezTo>
                    <a:pt x="34" y="48"/>
                    <a:pt x="23" y="41"/>
                    <a:pt x="6" y="45"/>
                  </a:cubicBezTo>
                  <a:cubicBezTo>
                    <a:pt x="6" y="45"/>
                    <a:pt x="0" y="35"/>
                    <a:pt x="5" y="26"/>
                  </a:cubicBezTo>
                  <a:cubicBezTo>
                    <a:pt x="14" y="10"/>
                    <a:pt x="39" y="15"/>
                    <a:pt x="42" y="0"/>
                  </a:cubicBezTo>
                  <a:close/>
                </a:path>
              </a:pathLst>
            </a:custGeom>
            <a:solidFill>
              <a:srgbClr val="009944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2000" strike="noStrike" noProof="1">
                <a:solidFill>
                  <a:schemeClr val="bg1"/>
                </a:solidFill>
                <a:latin typeface="+mn-ea"/>
                <a:cs typeface="+mn-ea"/>
              </a:endParaRPr>
            </a:p>
          </p:txBody>
        </p:sp>
        <p:sp>
          <p:nvSpPr>
            <p:cNvPr id="8" name="Freeform 7"/>
            <p:cNvSpPr/>
            <p:nvPr>
              <p:custDataLst>
                <p:tags r:id="rId20"/>
              </p:custDataLst>
            </p:nvPr>
          </p:nvSpPr>
          <p:spPr bwMode="auto">
            <a:xfrm>
              <a:off x="1969256" y="2356202"/>
              <a:ext cx="303695" cy="410882"/>
            </a:xfrm>
            <a:custGeom>
              <a:avLst/>
              <a:gdLst>
                <a:gd name="T0" fmla="*/ 14 w 31"/>
                <a:gd name="T1" fmla="*/ 42 h 42"/>
                <a:gd name="T2" fmla="*/ 29 w 31"/>
                <a:gd name="T3" fmla="*/ 22 h 42"/>
                <a:gd name="T4" fmla="*/ 30 w 31"/>
                <a:gd name="T5" fmla="*/ 0 h 42"/>
                <a:gd name="T6" fmla="*/ 10 w 31"/>
                <a:gd name="T7" fmla="*/ 13 h 42"/>
                <a:gd name="T8" fmla="*/ 14 w 31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2">
                  <a:moveTo>
                    <a:pt x="14" y="42"/>
                  </a:moveTo>
                  <a:cubicBezTo>
                    <a:pt x="26" y="42"/>
                    <a:pt x="31" y="33"/>
                    <a:pt x="29" y="22"/>
                  </a:cubicBezTo>
                  <a:cubicBezTo>
                    <a:pt x="28" y="13"/>
                    <a:pt x="25" y="8"/>
                    <a:pt x="30" y="0"/>
                  </a:cubicBezTo>
                  <a:cubicBezTo>
                    <a:pt x="30" y="0"/>
                    <a:pt x="16" y="2"/>
                    <a:pt x="10" y="13"/>
                  </a:cubicBezTo>
                  <a:cubicBezTo>
                    <a:pt x="0" y="31"/>
                    <a:pt x="14" y="42"/>
                    <a:pt x="14" y="42"/>
                  </a:cubicBezTo>
                  <a:close/>
                </a:path>
              </a:pathLst>
            </a:custGeom>
            <a:solidFill>
              <a:srgbClr val="009944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2000" strike="noStrike" noProof="1">
                <a:solidFill>
                  <a:schemeClr val="bg1"/>
                </a:solidFill>
                <a:latin typeface="+mn-ea"/>
                <a:cs typeface="+mn-ea"/>
              </a:endParaRPr>
            </a:p>
          </p:txBody>
        </p:sp>
        <p:sp>
          <p:nvSpPr>
            <p:cNvPr id="39944" name="Oval 14"/>
            <p:cNvSpPr/>
            <p:nvPr>
              <p:custDataLst>
                <p:tags r:id="rId21"/>
              </p:custDataLst>
            </p:nvPr>
          </p:nvSpPr>
          <p:spPr>
            <a:xfrm>
              <a:off x="2380138" y="3791736"/>
              <a:ext cx="234789" cy="234789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45" name="Oval 16"/>
            <p:cNvSpPr/>
            <p:nvPr>
              <p:custDataLst>
                <p:tags r:id="rId22"/>
              </p:custDataLst>
            </p:nvPr>
          </p:nvSpPr>
          <p:spPr>
            <a:xfrm>
              <a:off x="2027954" y="3772595"/>
              <a:ext cx="322835" cy="321560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46" name="Oval 17"/>
            <p:cNvSpPr/>
            <p:nvPr>
              <p:custDataLst>
                <p:tags r:id="rId23"/>
              </p:custDataLst>
            </p:nvPr>
          </p:nvSpPr>
          <p:spPr>
            <a:xfrm>
              <a:off x="2233395" y="3743247"/>
              <a:ext cx="195232" cy="185025"/>
            </a:xfrm>
            <a:prstGeom prst="ellipse">
              <a:avLst/>
            </a:prstGeom>
            <a:solidFill>
              <a:srgbClr val="404040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47" name="Oval 18"/>
            <p:cNvSpPr/>
            <p:nvPr>
              <p:custDataLst>
                <p:tags r:id="rId24"/>
              </p:custDataLst>
            </p:nvPr>
          </p:nvSpPr>
          <p:spPr>
            <a:xfrm>
              <a:off x="2243603" y="3782803"/>
              <a:ext cx="185024" cy="185025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48" name="Oval 19"/>
            <p:cNvSpPr/>
            <p:nvPr>
              <p:custDataLst>
                <p:tags r:id="rId25"/>
              </p:custDataLst>
            </p:nvPr>
          </p:nvSpPr>
          <p:spPr>
            <a:xfrm>
              <a:off x="2243603" y="3879782"/>
              <a:ext cx="195232" cy="195233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49" name="Oval 20"/>
            <p:cNvSpPr/>
            <p:nvPr>
              <p:custDataLst>
                <p:tags r:id="rId26"/>
              </p:custDataLst>
            </p:nvPr>
          </p:nvSpPr>
          <p:spPr>
            <a:xfrm>
              <a:off x="1960325" y="3889990"/>
              <a:ext cx="185024" cy="195233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50" name="Oval 21"/>
            <p:cNvSpPr/>
            <p:nvPr>
              <p:custDataLst>
                <p:tags r:id="rId27"/>
              </p:custDataLst>
            </p:nvPr>
          </p:nvSpPr>
          <p:spPr>
            <a:xfrm>
              <a:off x="1832722" y="3821084"/>
              <a:ext cx="224581" cy="224581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51" name="Oval 22"/>
            <p:cNvSpPr/>
            <p:nvPr>
              <p:custDataLst>
                <p:tags r:id="rId28"/>
              </p:custDataLst>
            </p:nvPr>
          </p:nvSpPr>
          <p:spPr>
            <a:xfrm>
              <a:off x="1960325" y="3733039"/>
              <a:ext cx="185024" cy="176092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39952" name="Oval 23"/>
            <p:cNvSpPr/>
            <p:nvPr>
              <p:custDataLst>
                <p:tags r:id="rId29"/>
              </p:custDataLst>
            </p:nvPr>
          </p:nvSpPr>
          <p:spPr>
            <a:xfrm>
              <a:off x="1744675" y="3919339"/>
              <a:ext cx="176092" cy="174816"/>
            </a:xfrm>
            <a:prstGeom prst="ellipse">
              <a:avLst/>
            </a:prstGeom>
            <a:solidFill>
              <a:srgbClr val="A6A6A6"/>
            </a:solidFill>
            <a:ln w="9525">
              <a:noFill/>
            </a:ln>
          </p:spPr>
          <p:txBody>
            <a:bodyPr wrap="square" lIns="121920" tIns="60960" rIns="121920" bIns="60960" anchor="t"/>
            <a:lstStyle/>
            <a:p>
              <a:endParaRPr lang="zh-CN" altLang="en-US" sz="2400">
                <a:solidFill>
                  <a:srgbClr val="40404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8" name="Freeform 24"/>
            <p:cNvSpPr/>
            <p:nvPr>
              <p:custDataLst>
                <p:tags r:id="rId30"/>
              </p:custDataLst>
            </p:nvPr>
          </p:nvSpPr>
          <p:spPr bwMode="auto">
            <a:xfrm>
              <a:off x="1051791" y="3703690"/>
              <a:ext cx="2138626" cy="585698"/>
            </a:xfrm>
            <a:custGeom>
              <a:avLst/>
              <a:gdLst>
                <a:gd name="T0" fmla="*/ 14 w 219"/>
                <a:gd name="T1" fmla="*/ 60 h 60"/>
                <a:gd name="T2" fmla="*/ 129 w 219"/>
                <a:gd name="T3" fmla="*/ 60 h 60"/>
                <a:gd name="T4" fmla="*/ 209 w 219"/>
                <a:gd name="T5" fmla="*/ 27 h 60"/>
                <a:gd name="T6" fmla="*/ 216 w 219"/>
                <a:gd name="T7" fmla="*/ 10 h 60"/>
                <a:gd name="T8" fmla="*/ 198 w 219"/>
                <a:gd name="T9" fmla="*/ 3 h 60"/>
                <a:gd name="T10" fmla="*/ 124 w 219"/>
                <a:gd name="T11" fmla="*/ 34 h 60"/>
                <a:gd name="T12" fmla="*/ 14 w 219"/>
                <a:gd name="T13" fmla="*/ 34 h 60"/>
                <a:gd name="T14" fmla="*/ 0 w 219"/>
                <a:gd name="T15" fmla="*/ 47 h 60"/>
                <a:gd name="T16" fmla="*/ 14 w 219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60">
                  <a:moveTo>
                    <a:pt x="14" y="60"/>
                  </a:moveTo>
                  <a:cubicBezTo>
                    <a:pt x="129" y="60"/>
                    <a:pt x="129" y="60"/>
                    <a:pt x="129" y="6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15" y="25"/>
                    <a:pt x="219" y="17"/>
                    <a:pt x="216" y="10"/>
                  </a:cubicBezTo>
                  <a:cubicBezTo>
                    <a:pt x="213" y="3"/>
                    <a:pt x="205" y="0"/>
                    <a:pt x="198" y="3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6" y="34"/>
                    <a:pt x="0" y="40"/>
                    <a:pt x="0" y="47"/>
                  </a:cubicBezTo>
                  <a:cubicBezTo>
                    <a:pt x="0" y="54"/>
                    <a:pt x="6" y="60"/>
                    <a:pt x="14" y="6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fontAlgn="base"/>
              <a:endParaRPr lang="zh-CN" altLang="en-US" sz="2400" strike="noStrike" noProof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</a:endParaRPr>
            </a:p>
          </p:txBody>
        </p:sp>
        <p:sp>
          <p:nvSpPr>
            <p:cNvPr id="19" name="Freeform 25"/>
            <p:cNvSpPr/>
            <p:nvPr>
              <p:custDataLst>
                <p:tags r:id="rId31"/>
              </p:custDataLst>
            </p:nvPr>
          </p:nvSpPr>
          <p:spPr bwMode="auto">
            <a:xfrm>
              <a:off x="1060723" y="3674341"/>
              <a:ext cx="948090" cy="586974"/>
            </a:xfrm>
            <a:custGeom>
              <a:avLst/>
              <a:gdLst>
                <a:gd name="T0" fmla="*/ 15 w 97"/>
                <a:gd name="T1" fmla="*/ 60 h 60"/>
                <a:gd name="T2" fmla="*/ 20 w 97"/>
                <a:gd name="T3" fmla="*/ 59 h 60"/>
                <a:gd name="T4" fmla="*/ 88 w 97"/>
                <a:gd name="T5" fmla="*/ 27 h 60"/>
                <a:gd name="T6" fmla="*/ 94 w 97"/>
                <a:gd name="T7" fmla="*/ 9 h 60"/>
                <a:gd name="T8" fmla="*/ 76 w 97"/>
                <a:gd name="T9" fmla="*/ 3 h 60"/>
                <a:gd name="T10" fmla="*/ 10 w 97"/>
                <a:gd name="T11" fmla="*/ 35 h 60"/>
                <a:gd name="T12" fmla="*/ 3 w 97"/>
                <a:gd name="T13" fmla="*/ 52 h 60"/>
                <a:gd name="T14" fmla="*/ 15 w 97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60">
                  <a:moveTo>
                    <a:pt x="15" y="60"/>
                  </a:moveTo>
                  <a:cubicBezTo>
                    <a:pt x="17" y="60"/>
                    <a:pt x="19" y="60"/>
                    <a:pt x="20" y="59"/>
                  </a:cubicBezTo>
                  <a:cubicBezTo>
                    <a:pt x="46" y="49"/>
                    <a:pt x="87" y="28"/>
                    <a:pt x="88" y="27"/>
                  </a:cubicBezTo>
                  <a:cubicBezTo>
                    <a:pt x="95" y="24"/>
                    <a:pt x="97" y="16"/>
                    <a:pt x="94" y="9"/>
                  </a:cubicBezTo>
                  <a:cubicBezTo>
                    <a:pt x="91" y="2"/>
                    <a:pt x="83" y="0"/>
                    <a:pt x="76" y="3"/>
                  </a:cubicBezTo>
                  <a:cubicBezTo>
                    <a:pt x="76" y="3"/>
                    <a:pt x="34" y="25"/>
                    <a:pt x="10" y="35"/>
                  </a:cubicBezTo>
                  <a:cubicBezTo>
                    <a:pt x="3" y="38"/>
                    <a:pt x="0" y="45"/>
                    <a:pt x="3" y="52"/>
                  </a:cubicBezTo>
                  <a:cubicBezTo>
                    <a:pt x="5" y="57"/>
                    <a:pt x="10" y="60"/>
                    <a:pt x="15" y="6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fontAlgn="base"/>
              <a:endParaRPr lang="zh-CN" altLang="en-US" sz="2400" strike="noStrike" noProof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</a:endParaRPr>
            </a:p>
          </p:txBody>
        </p:sp>
        <p:sp>
          <p:nvSpPr>
            <p:cNvPr id="20" name="Freeform 26"/>
            <p:cNvSpPr/>
            <p:nvPr>
              <p:custDataLst>
                <p:tags r:id="rId32"/>
              </p:custDataLst>
            </p:nvPr>
          </p:nvSpPr>
          <p:spPr bwMode="auto">
            <a:xfrm>
              <a:off x="836142" y="3948687"/>
              <a:ext cx="987647" cy="741374"/>
            </a:xfrm>
            <a:custGeom>
              <a:avLst/>
              <a:gdLst>
                <a:gd name="T0" fmla="*/ 48 w 101"/>
                <a:gd name="T1" fmla="*/ 3 h 76"/>
                <a:gd name="T2" fmla="*/ 22 w 101"/>
                <a:gd name="T3" fmla="*/ 18 h 76"/>
                <a:gd name="T4" fmla="*/ 0 w 101"/>
                <a:gd name="T5" fmla="*/ 50 h 76"/>
                <a:gd name="T6" fmla="*/ 49 w 101"/>
                <a:gd name="T7" fmla="*/ 76 h 76"/>
                <a:gd name="T8" fmla="*/ 75 w 101"/>
                <a:gd name="T9" fmla="*/ 32 h 76"/>
                <a:gd name="T10" fmla="*/ 84 w 101"/>
                <a:gd name="T11" fmla="*/ 20 h 76"/>
                <a:gd name="T12" fmla="*/ 65 w 101"/>
                <a:gd name="T13" fmla="*/ 22 h 76"/>
                <a:gd name="T14" fmla="*/ 48 w 101"/>
                <a:gd name="T15" fmla="*/ 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76">
                  <a:moveTo>
                    <a:pt x="48" y="3"/>
                  </a:moveTo>
                  <a:cubicBezTo>
                    <a:pt x="48" y="3"/>
                    <a:pt x="36" y="0"/>
                    <a:pt x="22" y="18"/>
                  </a:cubicBezTo>
                  <a:cubicBezTo>
                    <a:pt x="15" y="26"/>
                    <a:pt x="7" y="38"/>
                    <a:pt x="0" y="50"/>
                  </a:cubicBezTo>
                  <a:cubicBezTo>
                    <a:pt x="18" y="66"/>
                    <a:pt x="49" y="76"/>
                    <a:pt x="49" y="76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101" y="20"/>
                    <a:pt x="84" y="20"/>
                  </a:cubicBezTo>
                  <a:cubicBezTo>
                    <a:pt x="77" y="20"/>
                    <a:pt x="59" y="22"/>
                    <a:pt x="65" y="22"/>
                  </a:cubicBezTo>
                  <a:cubicBezTo>
                    <a:pt x="75" y="22"/>
                    <a:pt x="72" y="3"/>
                    <a:pt x="48" y="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pPr fontAlgn="base"/>
              <a:endParaRPr lang="zh-CN" altLang="en-US" sz="2400" strike="noStrike" noProof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</a:endParaRPr>
            </a:p>
          </p:txBody>
        </p:sp>
        <p:sp>
          <p:nvSpPr>
            <p:cNvPr id="21" name="任意多边形 28"/>
            <p:cNvSpPr/>
            <p:nvPr>
              <p:custDataLst>
                <p:tags r:id="rId33"/>
              </p:custDataLst>
            </p:nvPr>
          </p:nvSpPr>
          <p:spPr>
            <a:xfrm>
              <a:off x="1908007" y="2496564"/>
              <a:ext cx="854940" cy="1324519"/>
            </a:xfrm>
            <a:custGeom>
              <a:avLst/>
              <a:gdLst>
                <a:gd name="connsiteX0" fmla="*/ 384175 w 1063625"/>
                <a:gd name="connsiteY0" fmla="*/ 1076325 h 1092200"/>
                <a:gd name="connsiteX1" fmla="*/ 409575 w 1063625"/>
                <a:gd name="connsiteY1" fmla="*/ 276225 h 1092200"/>
                <a:gd name="connsiteX2" fmla="*/ 0 w 1063625"/>
                <a:gd name="connsiteY2" fmla="*/ 127000 h 1092200"/>
                <a:gd name="connsiteX3" fmla="*/ 390525 w 1063625"/>
                <a:gd name="connsiteY3" fmla="*/ 231775 h 1092200"/>
                <a:gd name="connsiteX4" fmla="*/ 317500 w 1063625"/>
                <a:gd name="connsiteY4" fmla="*/ 0 h 1092200"/>
                <a:gd name="connsiteX5" fmla="*/ 527050 w 1063625"/>
                <a:gd name="connsiteY5" fmla="*/ 571500 h 1092200"/>
                <a:gd name="connsiteX6" fmla="*/ 1063625 w 1063625"/>
                <a:gd name="connsiteY6" fmla="*/ 114300 h 1092200"/>
                <a:gd name="connsiteX7" fmla="*/ 536575 w 1063625"/>
                <a:gd name="connsiteY7" fmla="*/ 631825 h 1092200"/>
                <a:gd name="connsiteX8" fmla="*/ 476250 w 1063625"/>
                <a:gd name="connsiteY8" fmla="*/ 1092200 h 1092200"/>
                <a:gd name="connsiteX9" fmla="*/ 384175 w 1063625"/>
                <a:gd name="connsiteY9" fmla="*/ 1076325 h 1092200"/>
                <a:gd name="connsiteX0-1" fmla="*/ 384175 w 1063625"/>
                <a:gd name="connsiteY0-2" fmla="*/ 1631950 h 1647825"/>
                <a:gd name="connsiteX1-3" fmla="*/ 409575 w 1063625"/>
                <a:gd name="connsiteY1-4" fmla="*/ 831850 h 1647825"/>
                <a:gd name="connsiteX2-5" fmla="*/ 0 w 1063625"/>
                <a:gd name="connsiteY2-6" fmla="*/ 682625 h 1647825"/>
                <a:gd name="connsiteX3-7" fmla="*/ 390525 w 1063625"/>
                <a:gd name="connsiteY3-8" fmla="*/ 787400 h 1647825"/>
                <a:gd name="connsiteX4-9" fmla="*/ 292100 w 1063625"/>
                <a:gd name="connsiteY4-10" fmla="*/ 0 h 1647825"/>
                <a:gd name="connsiteX5-11" fmla="*/ 527050 w 1063625"/>
                <a:gd name="connsiteY5-12" fmla="*/ 1127125 h 1647825"/>
                <a:gd name="connsiteX6-13" fmla="*/ 1063625 w 1063625"/>
                <a:gd name="connsiteY6-14" fmla="*/ 669925 h 1647825"/>
                <a:gd name="connsiteX7-15" fmla="*/ 536575 w 1063625"/>
                <a:gd name="connsiteY7-16" fmla="*/ 1187450 h 1647825"/>
                <a:gd name="connsiteX8-17" fmla="*/ 476250 w 1063625"/>
                <a:gd name="connsiteY8-18" fmla="*/ 1647825 h 1647825"/>
                <a:gd name="connsiteX9-19" fmla="*/ 384175 w 1063625"/>
                <a:gd name="connsiteY9-20" fmla="*/ 1631950 h 1647825"/>
                <a:gd name="connsiteX0-21" fmla="*/ 384175 w 1063625"/>
                <a:gd name="connsiteY0-22" fmla="*/ 1631950 h 1647825"/>
                <a:gd name="connsiteX1-23" fmla="*/ 409575 w 1063625"/>
                <a:gd name="connsiteY1-24" fmla="*/ 831850 h 1647825"/>
                <a:gd name="connsiteX2-25" fmla="*/ 0 w 1063625"/>
                <a:gd name="connsiteY2-26" fmla="*/ 682625 h 1647825"/>
                <a:gd name="connsiteX3-27" fmla="*/ 390525 w 1063625"/>
                <a:gd name="connsiteY3-28" fmla="*/ 787400 h 1647825"/>
                <a:gd name="connsiteX4-29" fmla="*/ 292100 w 1063625"/>
                <a:gd name="connsiteY4-30" fmla="*/ 0 h 1647825"/>
                <a:gd name="connsiteX5-31" fmla="*/ 527050 w 1063625"/>
                <a:gd name="connsiteY5-32" fmla="*/ 1127125 h 1647825"/>
                <a:gd name="connsiteX6-33" fmla="*/ 1063625 w 1063625"/>
                <a:gd name="connsiteY6-34" fmla="*/ 669925 h 1647825"/>
                <a:gd name="connsiteX7-35" fmla="*/ 536575 w 1063625"/>
                <a:gd name="connsiteY7-36" fmla="*/ 1187450 h 1647825"/>
                <a:gd name="connsiteX8-37" fmla="*/ 476250 w 1063625"/>
                <a:gd name="connsiteY8-38" fmla="*/ 1647825 h 1647825"/>
                <a:gd name="connsiteX9-39" fmla="*/ 384175 w 1063625"/>
                <a:gd name="connsiteY9-40" fmla="*/ 1631950 h 1647825"/>
                <a:gd name="connsiteX0-41" fmla="*/ 384175 w 1063625"/>
                <a:gd name="connsiteY0-42" fmla="*/ 1631950 h 1647825"/>
                <a:gd name="connsiteX1-43" fmla="*/ 409575 w 1063625"/>
                <a:gd name="connsiteY1-44" fmla="*/ 831850 h 1647825"/>
                <a:gd name="connsiteX2-45" fmla="*/ 0 w 1063625"/>
                <a:gd name="connsiteY2-46" fmla="*/ 682625 h 1647825"/>
                <a:gd name="connsiteX3-47" fmla="*/ 390525 w 1063625"/>
                <a:gd name="connsiteY3-48" fmla="*/ 787400 h 1647825"/>
                <a:gd name="connsiteX4-49" fmla="*/ 292100 w 1063625"/>
                <a:gd name="connsiteY4-50" fmla="*/ 0 h 1647825"/>
                <a:gd name="connsiteX5-51" fmla="*/ 527050 w 1063625"/>
                <a:gd name="connsiteY5-52" fmla="*/ 1127125 h 1647825"/>
                <a:gd name="connsiteX6-53" fmla="*/ 1063625 w 1063625"/>
                <a:gd name="connsiteY6-54" fmla="*/ 669925 h 1647825"/>
                <a:gd name="connsiteX7-55" fmla="*/ 536575 w 1063625"/>
                <a:gd name="connsiteY7-56" fmla="*/ 1187450 h 1647825"/>
                <a:gd name="connsiteX8-57" fmla="*/ 476250 w 1063625"/>
                <a:gd name="connsiteY8-58" fmla="*/ 1647825 h 1647825"/>
                <a:gd name="connsiteX9-59" fmla="*/ 384175 w 1063625"/>
                <a:gd name="connsiteY9-60" fmla="*/ 1631950 h 1647825"/>
                <a:gd name="connsiteX0-61" fmla="*/ 384175 w 1063625"/>
                <a:gd name="connsiteY0-62" fmla="*/ 1631950 h 1647825"/>
                <a:gd name="connsiteX1-63" fmla="*/ 409575 w 1063625"/>
                <a:gd name="connsiteY1-64" fmla="*/ 831850 h 1647825"/>
                <a:gd name="connsiteX2-65" fmla="*/ 0 w 1063625"/>
                <a:gd name="connsiteY2-66" fmla="*/ 682625 h 1647825"/>
                <a:gd name="connsiteX3-67" fmla="*/ 390525 w 1063625"/>
                <a:gd name="connsiteY3-68" fmla="*/ 787400 h 1647825"/>
                <a:gd name="connsiteX4-69" fmla="*/ 292100 w 1063625"/>
                <a:gd name="connsiteY4-70" fmla="*/ 0 h 1647825"/>
                <a:gd name="connsiteX5-71" fmla="*/ 527050 w 1063625"/>
                <a:gd name="connsiteY5-72" fmla="*/ 1127125 h 1647825"/>
                <a:gd name="connsiteX6-73" fmla="*/ 1063625 w 1063625"/>
                <a:gd name="connsiteY6-74" fmla="*/ 669925 h 1647825"/>
                <a:gd name="connsiteX7-75" fmla="*/ 536575 w 1063625"/>
                <a:gd name="connsiteY7-76" fmla="*/ 1187450 h 1647825"/>
                <a:gd name="connsiteX8-77" fmla="*/ 476250 w 1063625"/>
                <a:gd name="connsiteY8-78" fmla="*/ 1647825 h 1647825"/>
                <a:gd name="connsiteX9-79" fmla="*/ 384175 w 1063625"/>
                <a:gd name="connsiteY9-80" fmla="*/ 1631950 h 1647825"/>
                <a:gd name="connsiteX0-81" fmla="*/ 384175 w 1063625"/>
                <a:gd name="connsiteY0-82" fmla="*/ 1631950 h 1647825"/>
                <a:gd name="connsiteX1-83" fmla="*/ 409575 w 1063625"/>
                <a:gd name="connsiteY1-84" fmla="*/ 831850 h 1647825"/>
                <a:gd name="connsiteX2-85" fmla="*/ 0 w 1063625"/>
                <a:gd name="connsiteY2-86" fmla="*/ 682625 h 1647825"/>
                <a:gd name="connsiteX3-87" fmla="*/ 390525 w 1063625"/>
                <a:gd name="connsiteY3-88" fmla="*/ 787400 h 1647825"/>
                <a:gd name="connsiteX4-89" fmla="*/ 292100 w 1063625"/>
                <a:gd name="connsiteY4-90" fmla="*/ 0 h 1647825"/>
                <a:gd name="connsiteX5-91" fmla="*/ 527050 w 1063625"/>
                <a:gd name="connsiteY5-92" fmla="*/ 1127125 h 1647825"/>
                <a:gd name="connsiteX6-93" fmla="*/ 1063625 w 1063625"/>
                <a:gd name="connsiteY6-94" fmla="*/ 669925 h 1647825"/>
                <a:gd name="connsiteX7-95" fmla="*/ 536575 w 1063625"/>
                <a:gd name="connsiteY7-96" fmla="*/ 1187450 h 1647825"/>
                <a:gd name="connsiteX8-97" fmla="*/ 476250 w 1063625"/>
                <a:gd name="connsiteY8-98" fmla="*/ 1647825 h 1647825"/>
                <a:gd name="connsiteX9-99" fmla="*/ 384175 w 1063625"/>
                <a:gd name="connsiteY9-100" fmla="*/ 1631950 h 1647825"/>
                <a:gd name="connsiteX0-101" fmla="*/ 384175 w 1063625"/>
                <a:gd name="connsiteY0-102" fmla="*/ 1631950 h 1647825"/>
                <a:gd name="connsiteX1-103" fmla="*/ 409575 w 1063625"/>
                <a:gd name="connsiteY1-104" fmla="*/ 831850 h 1647825"/>
                <a:gd name="connsiteX2-105" fmla="*/ 0 w 1063625"/>
                <a:gd name="connsiteY2-106" fmla="*/ 682625 h 1647825"/>
                <a:gd name="connsiteX3-107" fmla="*/ 390525 w 1063625"/>
                <a:gd name="connsiteY3-108" fmla="*/ 787400 h 1647825"/>
                <a:gd name="connsiteX4-109" fmla="*/ 292100 w 1063625"/>
                <a:gd name="connsiteY4-110" fmla="*/ 0 h 1647825"/>
                <a:gd name="connsiteX5-111" fmla="*/ 527050 w 1063625"/>
                <a:gd name="connsiteY5-112" fmla="*/ 1127125 h 1647825"/>
                <a:gd name="connsiteX6-113" fmla="*/ 1063625 w 1063625"/>
                <a:gd name="connsiteY6-114" fmla="*/ 669925 h 1647825"/>
                <a:gd name="connsiteX7-115" fmla="*/ 536575 w 1063625"/>
                <a:gd name="connsiteY7-116" fmla="*/ 1187450 h 1647825"/>
                <a:gd name="connsiteX8-117" fmla="*/ 476250 w 1063625"/>
                <a:gd name="connsiteY8-118" fmla="*/ 1647825 h 1647825"/>
                <a:gd name="connsiteX9-119" fmla="*/ 384175 w 1063625"/>
                <a:gd name="connsiteY9-120" fmla="*/ 1631950 h 1647825"/>
                <a:gd name="connsiteX0-121" fmla="*/ 384175 w 1063625"/>
                <a:gd name="connsiteY0-122" fmla="*/ 1631950 h 1647825"/>
                <a:gd name="connsiteX1-123" fmla="*/ 409575 w 1063625"/>
                <a:gd name="connsiteY1-124" fmla="*/ 831850 h 1647825"/>
                <a:gd name="connsiteX2-125" fmla="*/ 0 w 1063625"/>
                <a:gd name="connsiteY2-126" fmla="*/ 682625 h 1647825"/>
                <a:gd name="connsiteX3-127" fmla="*/ 390525 w 1063625"/>
                <a:gd name="connsiteY3-128" fmla="*/ 787400 h 1647825"/>
                <a:gd name="connsiteX4-129" fmla="*/ 292100 w 1063625"/>
                <a:gd name="connsiteY4-130" fmla="*/ 0 h 1647825"/>
                <a:gd name="connsiteX5-131" fmla="*/ 527050 w 1063625"/>
                <a:gd name="connsiteY5-132" fmla="*/ 1127125 h 1647825"/>
                <a:gd name="connsiteX6-133" fmla="*/ 1063625 w 1063625"/>
                <a:gd name="connsiteY6-134" fmla="*/ 669925 h 1647825"/>
                <a:gd name="connsiteX7-135" fmla="*/ 536575 w 1063625"/>
                <a:gd name="connsiteY7-136" fmla="*/ 1187450 h 1647825"/>
                <a:gd name="connsiteX8-137" fmla="*/ 476250 w 1063625"/>
                <a:gd name="connsiteY8-138" fmla="*/ 1647825 h 1647825"/>
                <a:gd name="connsiteX9-139" fmla="*/ 384175 w 1063625"/>
                <a:gd name="connsiteY9-140" fmla="*/ 1631950 h 1647825"/>
                <a:gd name="connsiteX0-141" fmla="*/ 384175 w 1063625"/>
                <a:gd name="connsiteY0-142" fmla="*/ 1631950 h 1647825"/>
                <a:gd name="connsiteX1-143" fmla="*/ 409575 w 1063625"/>
                <a:gd name="connsiteY1-144" fmla="*/ 831850 h 1647825"/>
                <a:gd name="connsiteX2-145" fmla="*/ 0 w 1063625"/>
                <a:gd name="connsiteY2-146" fmla="*/ 682625 h 1647825"/>
                <a:gd name="connsiteX3-147" fmla="*/ 390525 w 1063625"/>
                <a:gd name="connsiteY3-148" fmla="*/ 787400 h 1647825"/>
                <a:gd name="connsiteX4-149" fmla="*/ 292100 w 1063625"/>
                <a:gd name="connsiteY4-150" fmla="*/ 0 h 1647825"/>
                <a:gd name="connsiteX5-151" fmla="*/ 527050 w 1063625"/>
                <a:gd name="connsiteY5-152" fmla="*/ 1127125 h 1647825"/>
                <a:gd name="connsiteX6-153" fmla="*/ 1063625 w 1063625"/>
                <a:gd name="connsiteY6-154" fmla="*/ 669925 h 1647825"/>
                <a:gd name="connsiteX7-155" fmla="*/ 536575 w 1063625"/>
                <a:gd name="connsiteY7-156" fmla="*/ 1187450 h 1647825"/>
                <a:gd name="connsiteX8-157" fmla="*/ 476250 w 1063625"/>
                <a:gd name="connsiteY8-158" fmla="*/ 1647825 h 1647825"/>
                <a:gd name="connsiteX9-159" fmla="*/ 384175 w 1063625"/>
                <a:gd name="connsiteY9-160" fmla="*/ 1631950 h 1647825"/>
                <a:gd name="connsiteX0-161" fmla="*/ 384175 w 1063625"/>
                <a:gd name="connsiteY0-162" fmla="*/ 1631950 h 1647825"/>
                <a:gd name="connsiteX1-163" fmla="*/ 409575 w 1063625"/>
                <a:gd name="connsiteY1-164" fmla="*/ 831850 h 1647825"/>
                <a:gd name="connsiteX2-165" fmla="*/ 0 w 1063625"/>
                <a:gd name="connsiteY2-166" fmla="*/ 682625 h 1647825"/>
                <a:gd name="connsiteX3-167" fmla="*/ 390525 w 1063625"/>
                <a:gd name="connsiteY3-168" fmla="*/ 787400 h 1647825"/>
                <a:gd name="connsiteX4-169" fmla="*/ 292100 w 1063625"/>
                <a:gd name="connsiteY4-170" fmla="*/ 0 h 1647825"/>
                <a:gd name="connsiteX5-171" fmla="*/ 527050 w 1063625"/>
                <a:gd name="connsiteY5-172" fmla="*/ 1127125 h 1647825"/>
                <a:gd name="connsiteX6-173" fmla="*/ 1063625 w 1063625"/>
                <a:gd name="connsiteY6-174" fmla="*/ 669925 h 1647825"/>
                <a:gd name="connsiteX7-175" fmla="*/ 536575 w 1063625"/>
                <a:gd name="connsiteY7-176" fmla="*/ 1187450 h 1647825"/>
                <a:gd name="connsiteX8-177" fmla="*/ 476250 w 1063625"/>
                <a:gd name="connsiteY8-178" fmla="*/ 1647825 h 1647825"/>
                <a:gd name="connsiteX9-179" fmla="*/ 384175 w 1063625"/>
                <a:gd name="connsiteY9-180" fmla="*/ 1631950 h 1647825"/>
                <a:gd name="connsiteX0-181" fmla="*/ 384175 w 1063625"/>
                <a:gd name="connsiteY0-182" fmla="*/ 1631950 h 1647825"/>
                <a:gd name="connsiteX1-183" fmla="*/ 409575 w 1063625"/>
                <a:gd name="connsiteY1-184" fmla="*/ 831850 h 1647825"/>
                <a:gd name="connsiteX2-185" fmla="*/ 0 w 1063625"/>
                <a:gd name="connsiteY2-186" fmla="*/ 682625 h 1647825"/>
                <a:gd name="connsiteX3-187" fmla="*/ 390525 w 1063625"/>
                <a:gd name="connsiteY3-188" fmla="*/ 787400 h 1647825"/>
                <a:gd name="connsiteX4-189" fmla="*/ 292100 w 1063625"/>
                <a:gd name="connsiteY4-190" fmla="*/ 0 h 1647825"/>
                <a:gd name="connsiteX5-191" fmla="*/ 527050 w 1063625"/>
                <a:gd name="connsiteY5-192" fmla="*/ 1127125 h 1647825"/>
                <a:gd name="connsiteX6-193" fmla="*/ 1063625 w 1063625"/>
                <a:gd name="connsiteY6-194" fmla="*/ 669925 h 1647825"/>
                <a:gd name="connsiteX7-195" fmla="*/ 536575 w 1063625"/>
                <a:gd name="connsiteY7-196" fmla="*/ 1187450 h 1647825"/>
                <a:gd name="connsiteX8-197" fmla="*/ 476250 w 1063625"/>
                <a:gd name="connsiteY8-198" fmla="*/ 1647825 h 1647825"/>
                <a:gd name="connsiteX9-199" fmla="*/ 384175 w 1063625"/>
                <a:gd name="connsiteY9-200" fmla="*/ 1631950 h 1647825"/>
                <a:gd name="connsiteX0-201" fmla="*/ 384175 w 1063625"/>
                <a:gd name="connsiteY0-202" fmla="*/ 1631950 h 1647825"/>
                <a:gd name="connsiteX1-203" fmla="*/ 409575 w 1063625"/>
                <a:gd name="connsiteY1-204" fmla="*/ 831850 h 1647825"/>
                <a:gd name="connsiteX2-205" fmla="*/ 0 w 1063625"/>
                <a:gd name="connsiteY2-206" fmla="*/ 682625 h 1647825"/>
                <a:gd name="connsiteX3-207" fmla="*/ 390525 w 1063625"/>
                <a:gd name="connsiteY3-208" fmla="*/ 787400 h 1647825"/>
                <a:gd name="connsiteX4-209" fmla="*/ 292100 w 1063625"/>
                <a:gd name="connsiteY4-210" fmla="*/ 0 h 1647825"/>
                <a:gd name="connsiteX5-211" fmla="*/ 527050 w 1063625"/>
                <a:gd name="connsiteY5-212" fmla="*/ 1127125 h 1647825"/>
                <a:gd name="connsiteX6-213" fmla="*/ 1063625 w 1063625"/>
                <a:gd name="connsiteY6-214" fmla="*/ 669925 h 1647825"/>
                <a:gd name="connsiteX7-215" fmla="*/ 536575 w 1063625"/>
                <a:gd name="connsiteY7-216" fmla="*/ 1187450 h 1647825"/>
                <a:gd name="connsiteX8-217" fmla="*/ 476250 w 1063625"/>
                <a:gd name="connsiteY8-218" fmla="*/ 1647825 h 1647825"/>
                <a:gd name="connsiteX9-219" fmla="*/ 384175 w 1063625"/>
                <a:gd name="connsiteY9-220" fmla="*/ 1631950 h 1647825"/>
                <a:gd name="connsiteX0-221" fmla="*/ 384175 w 1063625"/>
                <a:gd name="connsiteY0-222" fmla="*/ 1631950 h 1647825"/>
                <a:gd name="connsiteX1-223" fmla="*/ 409575 w 1063625"/>
                <a:gd name="connsiteY1-224" fmla="*/ 831850 h 1647825"/>
                <a:gd name="connsiteX2-225" fmla="*/ 0 w 1063625"/>
                <a:gd name="connsiteY2-226" fmla="*/ 682625 h 1647825"/>
                <a:gd name="connsiteX3-227" fmla="*/ 390525 w 1063625"/>
                <a:gd name="connsiteY3-228" fmla="*/ 787400 h 1647825"/>
                <a:gd name="connsiteX4-229" fmla="*/ 292100 w 1063625"/>
                <a:gd name="connsiteY4-230" fmla="*/ 0 h 1647825"/>
                <a:gd name="connsiteX5-231" fmla="*/ 527050 w 1063625"/>
                <a:gd name="connsiteY5-232" fmla="*/ 1127125 h 1647825"/>
                <a:gd name="connsiteX6-233" fmla="*/ 1063625 w 1063625"/>
                <a:gd name="connsiteY6-234" fmla="*/ 669925 h 1647825"/>
                <a:gd name="connsiteX7-235" fmla="*/ 536575 w 1063625"/>
                <a:gd name="connsiteY7-236" fmla="*/ 1187450 h 1647825"/>
                <a:gd name="connsiteX8-237" fmla="*/ 476250 w 1063625"/>
                <a:gd name="connsiteY8-238" fmla="*/ 1647825 h 1647825"/>
                <a:gd name="connsiteX9-239" fmla="*/ 384175 w 1063625"/>
                <a:gd name="connsiteY9-240" fmla="*/ 1631950 h 1647825"/>
                <a:gd name="connsiteX0-241" fmla="*/ 384175 w 1063625"/>
                <a:gd name="connsiteY0-242" fmla="*/ 1631950 h 1647825"/>
                <a:gd name="connsiteX1-243" fmla="*/ 409575 w 1063625"/>
                <a:gd name="connsiteY1-244" fmla="*/ 831850 h 1647825"/>
                <a:gd name="connsiteX2-245" fmla="*/ 0 w 1063625"/>
                <a:gd name="connsiteY2-246" fmla="*/ 682625 h 1647825"/>
                <a:gd name="connsiteX3-247" fmla="*/ 390525 w 1063625"/>
                <a:gd name="connsiteY3-248" fmla="*/ 787400 h 1647825"/>
                <a:gd name="connsiteX4-249" fmla="*/ 292100 w 1063625"/>
                <a:gd name="connsiteY4-250" fmla="*/ 0 h 1647825"/>
                <a:gd name="connsiteX5-251" fmla="*/ 527050 w 1063625"/>
                <a:gd name="connsiteY5-252" fmla="*/ 1127125 h 1647825"/>
                <a:gd name="connsiteX6-253" fmla="*/ 1063625 w 1063625"/>
                <a:gd name="connsiteY6-254" fmla="*/ 669925 h 1647825"/>
                <a:gd name="connsiteX7-255" fmla="*/ 536575 w 1063625"/>
                <a:gd name="connsiteY7-256" fmla="*/ 1187450 h 1647825"/>
                <a:gd name="connsiteX8-257" fmla="*/ 476250 w 1063625"/>
                <a:gd name="connsiteY8-258" fmla="*/ 1647825 h 1647825"/>
                <a:gd name="connsiteX9-259" fmla="*/ 384175 w 1063625"/>
                <a:gd name="connsiteY9-260" fmla="*/ 1631950 h 1647825"/>
                <a:gd name="connsiteX0-261" fmla="*/ 384175 w 1063625"/>
                <a:gd name="connsiteY0-262" fmla="*/ 1631950 h 1647825"/>
                <a:gd name="connsiteX1-263" fmla="*/ 409575 w 1063625"/>
                <a:gd name="connsiteY1-264" fmla="*/ 831850 h 1647825"/>
                <a:gd name="connsiteX2-265" fmla="*/ 0 w 1063625"/>
                <a:gd name="connsiteY2-266" fmla="*/ 682625 h 1647825"/>
                <a:gd name="connsiteX3-267" fmla="*/ 390525 w 1063625"/>
                <a:gd name="connsiteY3-268" fmla="*/ 794543 h 1647825"/>
                <a:gd name="connsiteX4-269" fmla="*/ 292100 w 1063625"/>
                <a:gd name="connsiteY4-270" fmla="*/ 0 h 1647825"/>
                <a:gd name="connsiteX5-271" fmla="*/ 527050 w 1063625"/>
                <a:gd name="connsiteY5-272" fmla="*/ 1127125 h 1647825"/>
                <a:gd name="connsiteX6-273" fmla="*/ 1063625 w 1063625"/>
                <a:gd name="connsiteY6-274" fmla="*/ 669925 h 1647825"/>
                <a:gd name="connsiteX7-275" fmla="*/ 536575 w 1063625"/>
                <a:gd name="connsiteY7-276" fmla="*/ 1187450 h 1647825"/>
                <a:gd name="connsiteX8-277" fmla="*/ 476250 w 1063625"/>
                <a:gd name="connsiteY8-278" fmla="*/ 1647825 h 1647825"/>
                <a:gd name="connsiteX9-279" fmla="*/ 384175 w 1063625"/>
                <a:gd name="connsiteY9-280" fmla="*/ 1631950 h 1647825"/>
                <a:gd name="connsiteX0-281" fmla="*/ 384175 w 1063625"/>
                <a:gd name="connsiteY0-282" fmla="*/ 1631950 h 1647825"/>
                <a:gd name="connsiteX1-283" fmla="*/ 409575 w 1063625"/>
                <a:gd name="connsiteY1-284" fmla="*/ 831850 h 1647825"/>
                <a:gd name="connsiteX2-285" fmla="*/ 0 w 1063625"/>
                <a:gd name="connsiteY2-286" fmla="*/ 682625 h 1647825"/>
                <a:gd name="connsiteX3-287" fmla="*/ 390525 w 1063625"/>
                <a:gd name="connsiteY3-288" fmla="*/ 794543 h 1647825"/>
                <a:gd name="connsiteX4-289" fmla="*/ 292100 w 1063625"/>
                <a:gd name="connsiteY4-290" fmla="*/ 0 h 1647825"/>
                <a:gd name="connsiteX5-291" fmla="*/ 527050 w 1063625"/>
                <a:gd name="connsiteY5-292" fmla="*/ 1127125 h 1647825"/>
                <a:gd name="connsiteX6-293" fmla="*/ 1063625 w 1063625"/>
                <a:gd name="connsiteY6-294" fmla="*/ 669925 h 1647825"/>
                <a:gd name="connsiteX7-295" fmla="*/ 536575 w 1063625"/>
                <a:gd name="connsiteY7-296" fmla="*/ 1187450 h 1647825"/>
                <a:gd name="connsiteX8-297" fmla="*/ 476250 w 1063625"/>
                <a:gd name="connsiteY8-298" fmla="*/ 1647825 h 1647825"/>
                <a:gd name="connsiteX9-299" fmla="*/ 384175 w 1063625"/>
                <a:gd name="connsiteY9-300" fmla="*/ 1631950 h 1647825"/>
                <a:gd name="connsiteX0-301" fmla="*/ 384175 w 1063625"/>
                <a:gd name="connsiteY0-302" fmla="*/ 1631950 h 1647825"/>
                <a:gd name="connsiteX1-303" fmla="*/ 409575 w 1063625"/>
                <a:gd name="connsiteY1-304" fmla="*/ 831850 h 1647825"/>
                <a:gd name="connsiteX2-305" fmla="*/ 0 w 1063625"/>
                <a:gd name="connsiteY2-306" fmla="*/ 682625 h 1647825"/>
                <a:gd name="connsiteX3-307" fmla="*/ 390525 w 1063625"/>
                <a:gd name="connsiteY3-308" fmla="*/ 794543 h 1647825"/>
                <a:gd name="connsiteX4-309" fmla="*/ 292100 w 1063625"/>
                <a:gd name="connsiteY4-310" fmla="*/ 0 h 1647825"/>
                <a:gd name="connsiteX5-311" fmla="*/ 527050 w 1063625"/>
                <a:gd name="connsiteY5-312" fmla="*/ 1127125 h 1647825"/>
                <a:gd name="connsiteX6-313" fmla="*/ 1063625 w 1063625"/>
                <a:gd name="connsiteY6-314" fmla="*/ 669925 h 1647825"/>
                <a:gd name="connsiteX7-315" fmla="*/ 536575 w 1063625"/>
                <a:gd name="connsiteY7-316" fmla="*/ 1187450 h 1647825"/>
                <a:gd name="connsiteX8-317" fmla="*/ 476250 w 1063625"/>
                <a:gd name="connsiteY8-318" fmla="*/ 1647825 h 1647825"/>
                <a:gd name="connsiteX9-319" fmla="*/ 384175 w 1063625"/>
                <a:gd name="connsiteY9-320" fmla="*/ 1631950 h 1647825"/>
                <a:gd name="connsiteX0-321" fmla="*/ 384175 w 1063625"/>
                <a:gd name="connsiteY0-322" fmla="*/ 1631950 h 1647825"/>
                <a:gd name="connsiteX1-323" fmla="*/ 409575 w 1063625"/>
                <a:gd name="connsiteY1-324" fmla="*/ 831850 h 1647825"/>
                <a:gd name="connsiteX2-325" fmla="*/ 0 w 1063625"/>
                <a:gd name="connsiteY2-326" fmla="*/ 682625 h 1647825"/>
                <a:gd name="connsiteX3-327" fmla="*/ 390525 w 1063625"/>
                <a:gd name="connsiteY3-328" fmla="*/ 794543 h 1647825"/>
                <a:gd name="connsiteX4-329" fmla="*/ 292100 w 1063625"/>
                <a:gd name="connsiteY4-330" fmla="*/ 0 h 1647825"/>
                <a:gd name="connsiteX5-331" fmla="*/ 527050 w 1063625"/>
                <a:gd name="connsiteY5-332" fmla="*/ 1127125 h 1647825"/>
                <a:gd name="connsiteX6-333" fmla="*/ 1063625 w 1063625"/>
                <a:gd name="connsiteY6-334" fmla="*/ 669925 h 1647825"/>
                <a:gd name="connsiteX7-335" fmla="*/ 536575 w 1063625"/>
                <a:gd name="connsiteY7-336" fmla="*/ 1187450 h 1647825"/>
                <a:gd name="connsiteX8-337" fmla="*/ 476250 w 1063625"/>
                <a:gd name="connsiteY8-338" fmla="*/ 1647825 h 1647825"/>
                <a:gd name="connsiteX9-339" fmla="*/ 384175 w 1063625"/>
                <a:gd name="connsiteY9-340" fmla="*/ 1631950 h 1647825"/>
                <a:gd name="connsiteX0-341" fmla="*/ 384175 w 1063625"/>
                <a:gd name="connsiteY0-342" fmla="*/ 1631950 h 1647825"/>
                <a:gd name="connsiteX1-343" fmla="*/ 409575 w 1063625"/>
                <a:gd name="connsiteY1-344" fmla="*/ 831850 h 1647825"/>
                <a:gd name="connsiteX2-345" fmla="*/ 0 w 1063625"/>
                <a:gd name="connsiteY2-346" fmla="*/ 682625 h 1647825"/>
                <a:gd name="connsiteX3-347" fmla="*/ 390525 w 1063625"/>
                <a:gd name="connsiteY3-348" fmla="*/ 794543 h 1647825"/>
                <a:gd name="connsiteX4-349" fmla="*/ 292100 w 1063625"/>
                <a:gd name="connsiteY4-350" fmla="*/ 0 h 1647825"/>
                <a:gd name="connsiteX5-351" fmla="*/ 527050 w 1063625"/>
                <a:gd name="connsiteY5-352" fmla="*/ 1127125 h 1647825"/>
                <a:gd name="connsiteX6-353" fmla="*/ 1063625 w 1063625"/>
                <a:gd name="connsiteY6-354" fmla="*/ 669925 h 1647825"/>
                <a:gd name="connsiteX7-355" fmla="*/ 536575 w 1063625"/>
                <a:gd name="connsiteY7-356" fmla="*/ 1187450 h 1647825"/>
                <a:gd name="connsiteX8-357" fmla="*/ 476250 w 1063625"/>
                <a:gd name="connsiteY8-358" fmla="*/ 1647825 h 1647825"/>
                <a:gd name="connsiteX9-359" fmla="*/ 384175 w 1063625"/>
                <a:gd name="connsiteY9-360" fmla="*/ 1631950 h 1647825"/>
                <a:gd name="connsiteX0-361" fmla="*/ 384175 w 1063625"/>
                <a:gd name="connsiteY0-362" fmla="*/ 1631950 h 1647825"/>
                <a:gd name="connsiteX1-363" fmla="*/ 409575 w 1063625"/>
                <a:gd name="connsiteY1-364" fmla="*/ 831850 h 1647825"/>
                <a:gd name="connsiteX2-365" fmla="*/ 0 w 1063625"/>
                <a:gd name="connsiteY2-366" fmla="*/ 682625 h 1647825"/>
                <a:gd name="connsiteX3-367" fmla="*/ 390525 w 1063625"/>
                <a:gd name="connsiteY3-368" fmla="*/ 794543 h 1647825"/>
                <a:gd name="connsiteX4-369" fmla="*/ 292100 w 1063625"/>
                <a:gd name="connsiteY4-370" fmla="*/ 0 h 1647825"/>
                <a:gd name="connsiteX5-371" fmla="*/ 527050 w 1063625"/>
                <a:gd name="connsiteY5-372" fmla="*/ 1127125 h 1647825"/>
                <a:gd name="connsiteX6-373" fmla="*/ 1063625 w 1063625"/>
                <a:gd name="connsiteY6-374" fmla="*/ 669925 h 1647825"/>
                <a:gd name="connsiteX7-375" fmla="*/ 536575 w 1063625"/>
                <a:gd name="connsiteY7-376" fmla="*/ 1187450 h 1647825"/>
                <a:gd name="connsiteX8-377" fmla="*/ 476250 w 1063625"/>
                <a:gd name="connsiteY8-378" fmla="*/ 1647825 h 1647825"/>
                <a:gd name="connsiteX9-379" fmla="*/ 384175 w 1063625"/>
                <a:gd name="connsiteY9-380" fmla="*/ 1631950 h 1647825"/>
                <a:gd name="connsiteX0-381" fmla="*/ 384175 w 1063625"/>
                <a:gd name="connsiteY0-382" fmla="*/ 1631950 h 1647825"/>
                <a:gd name="connsiteX1-383" fmla="*/ 409575 w 1063625"/>
                <a:gd name="connsiteY1-384" fmla="*/ 831850 h 1647825"/>
                <a:gd name="connsiteX2-385" fmla="*/ 0 w 1063625"/>
                <a:gd name="connsiteY2-386" fmla="*/ 682625 h 1647825"/>
                <a:gd name="connsiteX3-387" fmla="*/ 390525 w 1063625"/>
                <a:gd name="connsiteY3-388" fmla="*/ 794543 h 1647825"/>
                <a:gd name="connsiteX4-389" fmla="*/ 292100 w 1063625"/>
                <a:gd name="connsiteY4-390" fmla="*/ 0 h 1647825"/>
                <a:gd name="connsiteX5-391" fmla="*/ 527050 w 1063625"/>
                <a:gd name="connsiteY5-392" fmla="*/ 1127125 h 1647825"/>
                <a:gd name="connsiteX6-393" fmla="*/ 1063625 w 1063625"/>
                <a:gd name="connsiteY6-394" fmla="*/ 669925 h 1647825"/>
                <a:gd name="connsiteX7-395" fmla="*/ 536575 w 1063625"/>
                <a:gd name="connsiteY7-396" fmla="*/ 1187450 h 1647825"/>
                <a:gd name="connsiteX8-397" fmla="*/ 476250 w 1063625"/>
                <a:gd name="connsiteY8-398" fmla="*/ 1647825 h 1647825"/>
                <a:gd name="connsiteX9-399" fmla="*/ 384175 w 1063625"/>
                <a:gd name="connsiteY9-400" fmla="*/ 1631950 h 1647825"/>
                <a:gd name="connsiteX0-401" fmla="*/ 384175 w 1063625"/>
                <a:gd name="connsiteY0-402" fmla="*/ 1631950 h 1647825"/>
                <a:gd name="connsiteX1-403" fmla="*/ 409575 w 1063625"/>
                <a:gd name="connsiteY1-404" fmla="*/ 831850 h 1647825"/>
                <a:gd name="connsiteX2-405" fmla="*/ 0 w 1063625"/>
                <a:gd name="connsiteY2-406" fmla="*/ 682625 h 1647825"/>
                <a:gd name="connsiteX3-407" fmla="*/ 390525 w 1063625"/>
                <a:gd name="connsiteY3-408" fmla="*/ 794543 h 1647825"/>
                <a:gd name="connsiteX4-409" fmla="*/ 292100 w 1063625"/>
                <a:gd name="connsiteY4-410" fmla="*/ 0 h 1647825"/>
                <a:gd name="connsiteX5-411" fmla="*/ 527050 w 1063625"/>
                <a:gd name="connsiteY5-412" fmla="*/ 1127125 h 1647825"/>
                <a:gd name="connsiteX6-413" fmla="*/ 1063625 w 1063625"/>
                <a:gd name="connsiteY6-414" fmla="*/ 669925 h 1647825"/>
                <a:gd name="connsiteX7-415" fmla="*/ 536575 w 1063625"/>
                <a:gd name="connsiteY7-416" fmla="*/ 1187450 h 1647825"/>
                <a:gd name="connsiteX8-417" fmla="*/ 476250 w 1063625"/>
                <a:gd name="connsiteY8-418" fmla="*/ 1647825 h 1647825"/>
                <a:gd name="connsiteX9-419" fmla="*/ 384175 w 1063625"/>
                <a:gd name="connsiteY9-420" fmla="*/ 1631950 h 1647825"/>
                <a:gd name="connsiteX0-421" fmla="*/ 384175 w 1063625"/>
                <a:gd name="connsiteY0-422" fmla="*/ 1631950 h 1647825"/>
                <a:gd name="connsiteX1-423" fmla="*/ 409575 w 1063625"/>
                <a:gd name="connsiteY1-424" fmla="*/ 831850 h 1647825"/>
                <a:gd name="connsiteX2-425" fmla="*/ 0 w 1063625"/>
                <a:gd name="connsiteY2-426" fmla="*/ 682625 h 1647825"/>
                <a:gd name="connsiteX3-427" fmla="*/ 390525 w 1063625"/>
                <a:gd name="connsiteY3-428" fmla="*/ 794543 h 1647825"/>
                <a:gd name="connsiteX4-429" fmla="*/ 292100 w 1063625"/>
                <a:gd name="connsiteY4-430" fmla="*/ 0 h 1647825"/>
                <a:gd name="connsiteX5-431" fmla="*/ 527050 w 1063625"/>
                <a:gd name="connsiteY5-432" fmla="*/ 1127125 h 1647825"/>
                <a:gd name="connsiteX6-433" fmla="*/ 1063625 w 1063625"/>
                <a:gd name="connsiteY6-434" fmla="*/ 669925 h 1647825"/>
                <a:gd name="connsiteX7-435" fmla="*/ 536575 w 1063625"/>
                <a:gd name="connsiteY7-436" fmla="*/ 1187450 h 1647825"/>
                <a:gd name="connsiteX8-437" fmla="*/ 476250 w 1063625"/>
                <a:gd name="connsiteY8-438" fmla="*/ 1647825 h 1647825"/>
                <a:gd name="connsiteX9-439" fmla="*/ 384175 w 1063625"/>
                <a:gd name="connsiteY9-440" fmla="*/ 1631950 h 1647825"/>
                <a:gd name="connsiteX0-441" fmla="*/ 384175 w 1063625"/>
                <a:gd name="connsiteY0-442" fmla="*/ 1631950 h 1647825"/>
                <a:gd name="connsiteX1-443" fmla="*/ 409575 w 1063625"/>
                <a:gd name="connsiteY1-444" fmla="*/ 831850 h 1647825"/>
                <a:gd name="connsiteX2-445" fmla="*/ 0 w 1063625"/>
                <a:gd name="connsiteY2-446" fmla="*/ 682625 h 1647825"/>
                <a:gd name="connsiteX3-447" fmla="*/ 390525 w 1063625"/>
                <a:gd name="connsiteY3-448" fmla="*/ 794543 h 1647825"/>
                <a:gd name="connsiteX4-449" fmla="*/ 292100 w 1063625"/>
                <a:gd name="connsiteY4-450" fmla="*/ 0 h 1647825"/>
                <a:gd name="connsiteX5-451" fmla="*/ 527050 w 1063625"/>
                <a:gd name="connsiteY5-452" fmla="*/ 1127125 h 1647825"/>
                <a:gd name="connsiteX6-453" fmla="*/ 1063625 w 1063625"/>
                <a:gd name="connsiteY6-454" fmla="*/ 669925 h 1647825"/>
                <a:gd name="connsiteX7-455" fmla="*/ 536575 w 1063625"/>
                <a:gd name="connsiteY7-456" fmla="*/ 1187450 h 1647825"/>
                <a:gd name="connsiteX8-457" fmla="*/ 476250 w 1063625"/>
                <a:gd name="connsiteY8-458" fmla="*/ 1647825 h 1647825"/>
                <a:gd name="connsiteX9-459" fmla="*/ 384175 w 1063625"/>
                <a:gd name="connsiteY9-460" fmla="*/ 1631950 h 1647825"/>
                <a:gd name="connsiteX0-461" fmla="*/ 384175 w 1063625"/>
                <a:gd name="connsiteY0-462" fmla="*/ 1631950 h 1647825"/>
                <a:gd name="connsiteX1-463" fmla="*/ 409575 w 1063625"/>
                <a:gd name="connsiteY1-464" fmla="*/ 831850 h 1647825"/>
                <a:gd name="connsiteX2-465" fmla="*/ 0 w 1063625"/>
                <a:gd name="connsiteY2-466" fmla="*/ 682625 h 1647825"/>
                <a:gd name="connsiteX3-467" fmla="*/ 390525 w 1063625"/>
                <a:gd name="connsiteY3-468" fmla="*/ 794543 h 1647825"/>
                <a:gd name="connsiteX4-469" fmla="*/ 292100 w 1063625"/>
                <a:gd name="connsiteY4-470" fmla="*/ 0 h 1647825"/>
                <a:gd name="connsiteX5-471" fmla="*/ 527050 w 1063625"/>
                <a:gd name="connsiteY5-472" fmla="*/ 1127125 h 1647825"/>
                <a:gd name="connsiteX6-473" fmla="*/ 1063625 w 1063625"/>
                <a:gd name="connsiteY6-474" fmla="*/ 669925 h 1647825"/>
                <a:gd name="connsiteX7-475" fmla="*/ 536575 w 1063625"/>
                <a:gd name="connsiteY7-476" fmla="*/ 1187450 h 1647825"/>
                <a:gd name="connsiteX8-477" fmla="*/ 476250 w 1063625"/>
                <a:gd name="connsiteY8-478" fmla="*/ 1647825 h 1647825"/>
                <a:gd name="connsiteX9-479" fmla="*/ 384175 w 1063625"/>
                <a:gd name="connsiteY9-480" fmla="*/ 1631950 h 1647825"/>
                <a:gd name="connsiteX0-481" fmla="*/ 384175 w 1063625"/>
                <a:gd name="connsiteY0-482" fmla="*/ 1631950 h 1647825"/>
                <a:gd name="connsiteX1-483" fmla="*/ 409575 w 1063625"/>
                <a:gd name="connsiteY1-484" fmla="*/ 831850 h 1647825"/>
                <a:gd name="connsiteX2-485" fmla="*/ 0 w 1063625"/>
                <a:gd name="connsiteY2-486" fmla="*/ 682625 h 1647825"/>
                <a:gd name="connsiteX3-487" fmla="*/ 390525 w 1063625"/>
                <a:gd name="connsiteY3-488" fmla="*/ 794543 h 1647825"/>
                <a:gd name="connsiteX4-489" fmla="*/ 292100 w 1063625"/>
                <a:gd name="connsiteY4-490" fmla="*/ 0 h 1647825"/>
                <a:gd name="connsiteX5-491" fmla="*/ 527050 w 1063625"/>
                <a:gd name="connsiteY5-492" fmla="*/ 1127125 h 1647825"/>
                <a:gd name="connsiteX6-493" fmla="*/ 1063625 w 1063625"/>
                <a:gd name="connsiteY6-494" fmla="*/ 669925 h 1647825"/>
                <a:gd name="connsiteX7-495" fmla="*/ 536575 w 1063625"/>
                <a:gd name="connsiteY7-496" fmla="*/ 1187450 h 1647825"/>
                <a:gd name="connsiteX8-497" fmla="*/ 476250 w 1063625"/>
                <a:gd name="connsiteY8-498" fmla="*/ 1647825 h 1647825"/>
                <a:gd name="connsiteX9-499" fmla="*/ 384175 w 1063625"/>
                <a:gd name="connsiteY9-500" fmla="*/ 1631950 h 1647825"/>
                <a:gd name="connsiteX0-501" fmla="*/ 384175 w 1063625"/>
                <a:gd name="connsiteY0-502" fmla="*/ 1631950 h 1647825"/>
                <a:gd name="connsiteX1-503" fmla="*/ 409575 w 1063625"/>
                <a:gd name="connsiteY1-504" fmla="*/ 831850 h 1647825"/>
                <a:gd name="connsiteX2-505" fmla="*/ 0 w 1063625"/>
                <a:gd name="connsiteY2-506" fmla="*/ 682625 h 1647825"/>
                <a:gd name="connsiteX3-507" fmla="*/ 390525 w 1063625"/>
                <a:gd name="connsiteY3-508" fmla="*/ 794543 h 1647825"/>
                <a:gd name="connsiteX4-509" fmla="*/ 292100 w 1063625"/>
                <a:gd name="connsiteY4-510" fmla="*/ 0 h 1647825"/>
                <a:gd name="connsiteX5-511" fmla="*/ 527050 w 1063625"/>
                <a:gd name="connsiteY5-512" fmla="*/ 1127125 h 1647825"/>
                <a:gd name="connsiteX6-513" fmla="*/ 1063625 w 1063625"/>
                <a:gd name="connsiteY6-514" fmla="*/ 669925 h 1647825"/>
                <a:gd name="connsiteX7-515" fmla="*/ 536575 w 1063625"/>
                <a:gd name="connsiteY7-516" fmla="*/ 1187450 h 1647825"/>
                <a:gd name="connsiteX8-517" fmla="*/ 476250 w 1063625"/>
                <a:gd name="connsiteY8-518" fmla="*/ 1647825 h 1647825"/>
                <a:gd name="connsiteX9-519" fmla="*/ 384175 w 1063625"/>
                <a:gd name="connsiteY9-520" fmla="*/ 1631950 h 1647825"/>
                <a:gd name="connsiteX0-521" fmla="*/ 384175 w 1063625"/>
                <a:gd name="connsiteY0-522" fmla="*/ 1631950 h 1647825"/>
                <a:gd name="connsiteX1-523" fmla="*/ 409575 w 1063625"/>
                <a:gd name="connsiteY1-524" fmla="*/ 831850 h 1647825"/>
                <a:gd name="connsiteX2-525" fmla="*/ 0 w 1063625"/>
                <a:gd name="connsiteY2-526" fmla="*/ 682625 h 1647825"/>
                <a:gd name="connsiteX3-527" fmla="*/ 390525 w 1063625"/>
                <a:gd name="connsiteY3-528" fmla="*/ 794543 h 1647825"/>
                <a:gd name="connsiteX4-529" fmla="*/ 292100 w 1063625"/>
                <a:gd name="connsiteY4-530" fmla="*/ 0 h 1647825"/>
                <a:gd name="connsiteX5-531" fmla="*/ 527050 w 1063625"/>
                <a:gd name="connsiteY5-532" fmla="*/ 1127125 h 1647825"/>
                <a:gd name="connsiteX6-533" fmla="*/ 1063625 w 1063625"/>
                <a:gd name="connsiteY6-534" fmla="*/ 669925 h 1647825"/>
                <a:gd name="connsiteX7-535" fmla="*/ 536575 w 1063625"/>
                <a:gd name="connsiteY7-536" fmla="*/ 1187450 h 1647825"/>
                <a:gd name="connsiteX8-537" fmla="*/ 476250 w 1063625"/>
                <a:gd name="connsiteY8-538" fmla="*/ 1647825 h 1647825"/>
                <a:gd name="connsiteX9-539" fmla="*/ 384175 w 1063625"/>
                <a:gd name="connsiteY9-540" fmla="*/ 1631950 h 1647825"/>
                <a:gd name="connsiteX0-541" fmla="*/ 384175 w 1063625"/>
                <a:gd name="connsiteY0-542" fmla="*/ 1631950 h 1647825"/>
                <a:gd name="connsiteX1-543" fmla="*/ 409575 w 1063625"/>
                <a:gd name="connsiteY1-544" fmla="*/ 831850 h 1647825"/>
                <a:gd name="connsiteX2-545" fmla="*/ 0 w 1063625"/>
                <a:gd name="connsiteY2-546" fmla="*/ 682625 h 1647825"/>
                <a:gd name="connsiteX3-547" fmla="*/ 390525 w 1063625"/>
                <a:gd name="connsiteY3-548" fmla="*/ 794543 h 1647825"/>
                <a:gd name="connsiteX4-549" fmla="*/ 292100 w 1063625"/>
                <a:gd name="connsiteY4-550" fmla="*/ 0 h 1647825"/>
                <a:gd name="connsiteX5-551" fmla="*/ 527050 w 1063625"/>
                <a:gd name="connsiteY5-552" fmla="*/ 1127125 h 1647825"/>
                <a:gd name="connsiteX6-553" fmla="*/ 1063625 w 1063625"/>
                <a:gd name="connsiteY6-554" fmla="*/ 669925 h 1647825"/>
                <a:gd name="connsiteX7-555" fmla="*/ 536575 w 1063625"/>
                <a:gd name="connsiteY7-556" fmla="*/ 1187450 h 1647825"/>
                <a:gd name="connsiteX8-557" fmla="*/ 476250 w 1063625"/>
                <a:gd name="connsiteY8-558" fmla="*/ 1647825 h 1647825"/>
                <a:gd name="connsiteX9-559" fmla="*/ 384175 w 1063625"/>
                <a:gd name="connsiteY9-560" fmla="*/ 1631950 h 1647825"/>
                <a:gd name="connsiteX0-561" fmla="*/ 384175 w 1063625"/>
                <a:gd name="connsiteY0-562" fmla="*/ 1631950 h 1647825"/>
                <a:gd name="connsiteX1-563" fmla="*/ 409575 w 1063625"/>
                <a:gd name="connsiteY1-564" fmla="*/ 831850 h 1647825"/>
                <a:gd name="connsiteX2-565" fmla="*/ 0 w 1063625"/>
                <a:gd name="connsiteY2-566" fmla="*/ 682625 h 1647825"/>
                <a:gd name="connsiteX3-567" fmla="*/ 390525 w 1063625"/>
                <a:gd name="connsiteY3-568" fmla="*/ 794543 h 1647825"/>
                <a:gd name="connsiteX4-569" fmla="*/ 292100 w 1063625"/>
                <a:gd name="connsiteY4-570" fmla="*/ 0 h 1647825"/>
                <a:gd name="connsiteX5-571" fmla="*/ 527050 w 1063625"/>
                <a:gd name="connsiteY5-572" fmla="*/ 1127125 h 1647825"/>
                <a:gd name="connsiteX6-573" fmla="*/ 1063625 w 1063625"/>
                <a:gd name="connsiteY6-574" fmla="*/ 669925 h 1647825"/>
                <a:gd name="connsiteX7-575" fmla="*/ 536575 w 1063625"/>
                <a:gd name="connsiteY7-576" fmla="*/ 1187450 h 1647825"/>
                <a:gd name="connsiteX8-577" fmla="*/ 476250 w 1063625"/>
                <a:gd name="connsiteY8-578" fmla="*/ 1647825 h 1647825"/>
                <a:gd name="connsiteX9-579" fmla="*/ 384175 w 1063625"/>
                <a:gd name="connsiteY9-580" fmla="*/ 1631950 h 1647825"/>
                <a:gd name="connsiteX0-581" fmla="*/ 384175 w 1063625"/>
                <a:gd name="connsiteY0-582" fmla="*/ 1631950 h 1647825"/>
                <a:gd name="connsiteX1-583" fmla="*/ 409575 w 1063625"/>
                <a:gd name="connsiteY1-584" fmla="*/ 831850 h 1647825"/>
                <a:gd name="connsiteX2-585" fmla="*/ 0 w 1063625"/>
                <a:gd name="connsiteY2-586" fmla="*/ 682625 h 1647825"/>
                <a:gd name="connsiteX3-587" fmla="*/ 390525 w 1063625"/>
                <a:gd name="connsiteY3-588" fmla="*/ 794543 h 1647825"/>
                <a:gd name="connsiteX4-589" fmla="*/ 292100 w 1063625"/>
                <a:gd name="connsiteY4-590" fmla="*/ 0 h 1647825"/>
                <a:gd name="connsiteX5-591" fmla="*/ 527050 w 1063625"/>
                <a:gd name="connsiteY5-592" fmla="*/ 1127125 h 1647825"/>
                <a:gd name="connsiteX6-593" fmla="*/ 1063625 w 1063625"/>
                <a:gd name="connsiteY6-594" fmla="*/ 669925 h 1647825"/>
                <a:gd name="connsiteX7-595" fmla="*/ 536575 w 1063625"/>
                <a:gd name="connsiteY7-596" fmla="*/ 1187450 h 1647825"/>
                <a:gd name="connsiteX8-597" fmla="*/ 476250 w 1063625"/>
                <a:gd name="connsiteY8-598" fmla="*/ 1647825 h 1647825"/>
                <a:gd name="connsiteX9-599" fmla="*/ 384175 w 1063625"/>
                <a:gd name="connsiteY9-600" fmla="*/ 1631950 h 1647825"/>
                <a:gd name="connsiteX0-601" fmla="*/ 384175 w 1063625"/>
                <a:gd name="connsiteY0-602" fmla="*/ 1631950 h 1647825"/>
                <a:gd name="connsiteX1-603" fmla="*/ 409575 w 1063625"/>
                <a:gd name="connsiteY1-604" fmla="*/ 831850 h 1647825"/>
                <a:gd name="connsiteX2-605" fmla="*/ 0 w 1063625"/>
                <a:gd name="connsiteY2-606" fmla="*/ 682625 h 1647825"/>
                <a:gd name="connsiteX3-607" fmla="*/ 390525 w 1063625"/>
                <a:gd name="connsiteY3-608" fmla="*/ 794543 h 1647825"/>
                <a:gd name="connsiteX4-609" fmla="*/ 292100 w 1063625"/>
                <a:gd name="connsiteY4-610" fmla="*/ 0 h 1647825"/>
                <a:gd name="connsiteX5-611" fmla="*/ 527050 w 1063625"/>
                <a:gd name="connsiteY5-612" fmla="*/ 1127125 h 1647825"/>
                <a:gd name="connsiteX6-613" fmla="*/ 1063625 w 1063625"/>
                <a:gd name="connsiteY6-614" fmla="*/ 669925 h 1647825"/>
                <a:gd name="connsiteX7-615" fmla="*/ 536575 w 1063625"/>
                <a:gd name="connsiteY7-616" fmla="*/ 1187450 h 1647825"/>
                <a:gd name="connsiteX8-617" fmla="*/ 476250 w 1063625"/>
                <a:gd name="connsiteY8-618" fmla="*/ 1647825 h 1647825"/>
                <a:gd name="connsiteX9-619" fmla="*/ 384175 w 1063625"/>
                <a:gd name="connsiteY9-620" fmla="*/ 1631950 h 1647825"/>
                <a:gd name="connsiteX0-621" fmla="*/ 384175 w 1063625"/>
                <a:gd name="connsiteY0-622" fmla="*/ 1631950 h 1647825"/>
                <a:gd name="connsiteX1-623" fmla="*/ 409575 w 1063625"/>
                <a:gd name="connsiteY1-624" fmla="*/ 831850 h 1647825"/>
                <a:gd name="connsiteX2-625" fmla="*/ 0 w 1063625"/>
                <a:gd name="connsiteY2-626" fmla="*/ 682625 h 1647825"/>
                <a:gd name="connsiteX3-627" fmla="*/ 390525 w 1063625"/>
                <a:gd name="connsiteY3-628" fmla="*/ 794543 h 1647825"/>
                <a:gd name="connsiteX4-629" fmla="*/ 292100 w 1063625"/>
                <a:gd name="connsiteY4-630" fmla="*/ 0 h 1647825"/>
                <a:gd name="connsiteX5-631" fmla="*/ 527050 w 1063625"/>
                <a:gd name="connsiteY5-632" fmla="*/ 1127125 h 1647825"/>
                <a:gd name="connsiteX6-633" fmla="*/ 1063625 w 1063625"/>
                <a:gd name="connsiteY6-634" fmla="*/ 669925 h 1647825"/>
                <a:gd name="connsiteX7-635" fmla="*/ 536575 w 1063625"/>
                <a:gd name="connsiteY7-636" fmla="*/ 1187450 h 1647825"/>
                <a:gd name="connsiteX8-637" fmla="*/ 476250 w 1063625"/>
                <a:gd name="connsiteY8-638" fmla="*/ 1647825 h 1647825"/>
                <a:gd name="connsiteX9-639" fmla="*/ 384175 w 1063625"/>
                <a:gd name="connsiteY9-640" fmla="*/ 1631950 h 164782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</a:cxnLst>
              <a:rect l="l" t="t" r="r" b="b"/>
              <a:pathLst>
                <a:path w="1063625" h="1647825">
                  <a:moveTo>
                    <a:pt x="384175" y="1631950"/>
                  </a:moveTo>
                  <a:cubicBezTo>
                    <a:pt x="602192" y="1296194"/>
                    <a:pt x="453495" y="1046163"/>
                    <a:pt x="409575" y="831850"/>
                  </a:cubicBezTo>
                  <a:cubicBezTo>
                    <a:pt x="184150" y="823383"/>
                    <a:pt x="111125" y="767292"/>
                    <a:pt x="0" y="682625"/>
                  </a:cubicBezTo>
                  <a:cubicBezTo>
                    <a:pt x="174625" y="774700"/>
                    <a:pt x="273050" y="797718"/>
                    <a:pt x="390525" y="794543"/>
                  </a:cubicBezTo>
                  <a:cubicBezTo>
                    <a:pt x="300567" y="601926"/>
                    <a:pt x="159808" y="350573"/>
                    <a:pt x="292100" y="0"/>
                  </a:cubicBezTo>
                  <a:cubicBezTo>
                    <a:pt x="148167" y="509058"/>
                    <a:pt x="470958" y="732367"/>
                    <a:pt x="527050" y="1127125"/>
                  </a:cubicBezTo>
                  <a:cubicBezTo>
                    <a:pt x="734483" y="903288"/>
                    <a:pt x="932393" y="969962"/>
                    <a:pt x="1063625" y="669925"/>
                  </a:cubicBezTo>
                  <a:cubicBezTo>
                    <a:pt x="1011767" y="932920"/>
                    <a:pt x="624153" y="1012560"/>
                    <a:pt x="536575" y="1187450"/>
                  </a:cubicBezTo>
                  <a:cubicBezTo>
                    <a:pt x="580761" y="1359958"/>
                    <a:pt x="513027" y="1515798"/>
                    <a:pt x="476250" y="1647825"/>
                  </a:cubicBezTo>
                  <a:lnTo>
                    <a:pt x="384175" y="16319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2400" strike="noStrike" noProof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</a:endParaRPr>
            </a:p>
          </p:txBody>
        </p:sp>
      </p:grpSp>
      <p:sp>
        <p:nvSpPr>
          <p:cNvPr id="22" name="Freeform 2"/>
          <p:cNvSpPr/>
          <p:nvPr>
            <p:custDataLst>
              <p:tags r:id="rId5"/>
            </p:custDataLst>
          </p:nvPr>
        </p:nvSpPr>
        <p:spPr bwMode="gray">
          <a:xfrm>
            <a:off x="8575675" y="1185863"/>
            <a:ext cx="1965325" cy="4003675"/>
          </a:xfrm>
          <a:custGeom>
            <a:avLst/>
            <a:gdLst/>
            <a:ahLst/>
            <a:cxnLst>
              <a:cxn ang="0">
                <a:pos x="1226" y="0"/>
              </a:cxn>
              <a:cxn ang="0">
                <a:pos x="1238" y="1662"/>
              </a:cxn>
              <a:cxn ang="0">
                <a:pos x="0" y="1662"/>
              </a:cxn>
              <a:cxn ang="0">
                <a:pos x="4" y="416"/>
              </a:cxn>
            </a:cxnLst>
            <a:rect l="0" t="0" r="r" b="b"/>
            <a:pathLst>
              <a:path w="1238" h="1662">
                <a:moveTo>
                  <a:pt x="1226" y="0"/>
                </a:moveTo>
                <a:lnTo>
                  <a:pt x="1238" y="1662"/>
                </a:lnTo>
                <a:lnTo>
                  <a:pt x="0" y="1662"/>
                </a:lnTo>
                <a:lnTo>
                  <a:pt x="4" y="416"/>
                </a:lnTo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noFill/>
            <a:rou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3" name="Freeform 3"/>
          <p:cNvSpPr/>
          <p:nvPr>
            <p:custDataLst>
              <p:tags r:id="rId6"/>
            </p:custDataLst>
          </p:nvPr>
        </p:nvSpPr>
        <p:spPr bwMode="gray">
          <a:xfrm>
            <a:off x="6470650" y="1190625"/>
            <a:ext cx="1981200" cy="4257675"/>
          </a:xfrm>
          <a:custGeom>
            <a:avLst/>
            <a:gdLst/>
            <a:ahLst/>
            <a:cxnLst>
              <a:cxn ang="0">
                <a:pos x="1158" y="0"/>
              </a:cxn>
              <a:cxn ang="0">
                <a:pos x="1248" y="288"/>
              </a:cxn>
              <a:cxn ang="0">
                <a:pos x="1248" y="1645"/>
              </a:cxn>
              <a:cxn ang="0">
                <a:pos x="0" y="1664"/>
              </a:cxn>
              <a:cxn ang="0">
                <a:pos x="0" y="391"/>
              </a:cxn>
            </a:cxnLst>
            <a:rect l="0" t="0" r="r" b="b"/>
            <a:pathLst>
              <a:path w="1248" h="1664">
                <a:moveTo>
                  <a:pt x="1158" y="0"/>
                </a:moveTo>
                <a:lnTo>
                  <a:pt x="1248" y="288"/>
                </a:lnTo>
                <a:lnTo>
                  <a:pt x="1248" y="1645"/>
                </a:lnTo>
                <a:lnTo>
                  <a:pt x="0" y="1664"/>
                </a:lnTo>
                <a:lnTo>
                  <a:pt x="0" y="391"/>
                </a:lnTo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noFill/>
            <a:rou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4" name="Freeform 4"/>
          <p:cNvSpPr/>
          <p:nvPr>
            <p:custDataLst>
              <p:tags r:id="rId7"/>
            </p:custDataLst>
          </p:nvPr>
        </p:nvSpPr>
        <p:spPr bwMode="gray">
          <a:xfrm>
            <a:off x="4376420" y="1418908"/>
            <a:ext cx="1981200" cy="3413125"/>
          </a:xfrm>
          <a:custGeom>
            <a:avLst/>
            <a:gdLst/>
            <a:ahLst/>
            <a:cxnLst>
              <a:cxn ang="0">
                <a:pos x="1158" y="0"/>
              </a:cxn>
              <a:cxn ang="0">
                <a:pos x="1248" y="256"/>
              </a:cxn>
              <a:cxn ang="0">
                <a:pos x="1248" y="1133"/>
              </a:cxn>
              <a:cxn ang="0">
                <a:pos x="0" y="1133"/>
              </a:cxn>
              <a:cxn ang="0">
                <a:pos x="0" y="403"/>
              </a:cxn>
            </a:cxnLst>
            <a:rect l="0" t="0" r="r" b="b"/>
            <a:pathLst>
              <a:path w="1248" h="1133">
                <a:moveTo>
                  <a:pt x="1158" y="0"/>
                </a:moveTo>
                <a:lnTo>
                  <a:pt x="1248" y="256"/>
                </a:lnTo>
                <a:lnTo>
                  <a:pt x="1248" y="1133"/>
                </a:lnTo>
                <a:lnTo>
                  <a:pt x="0" y="1133"/>
                </a:lnTo>
                <a:lnTo>
                  <a:pt x="0" y="403"/>
                </a:lnTo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noFill/>
            <a:rou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9960" name="Line 8"/>
          <p:cNvSpPr/>
          <p:nvPr>
            <p:custDataLst>
              <p:tags r:id="rId8"/>
            </p:custDataLst>
          </p:nvPr>
        </p:nvSpPr>
        <p:spPr>
          <a:xfrm>
            <a:off x="10598150" y="2690813"/>
            <a:ext cx="0" cy="2803525"/>
          </a:xfrm>
          <a:prstGeom prst="line">
            <a:avLst/>
          </a:prstGeom>
          <a:ln w="9525" cap="flat" cmpd="sng">
            <a:solidFill>
              <a:srgbClr val="1C1C1C"/>
            </a:solidFill>
            <a:prstDash val="dash"/>
            <a:round/>
            <a:headEnd type="none" w="med" len="med"/>
            <a:tailEnd type="none" w="med" len="med"/>
          </a:ln>
        </p:spPr>
      </p:sp>
      <p:sp>
        <p:nvSpPr>
          <p:cNvPr id="39961" name="Text Box 11"/>
          <p:cNvSpPr txBox="1"/>
          <p:nvPr>
            <p:custDataLst>
              <p:tags r:id="rId9"/>
            </p:custDataLst>
          </p:nvPr>
        </p:nvSpPr>
        <p:spPr>
          <a:xfrm>
            <a:off x="4852988" y="2427288"/>
            <a:ext cx="1884362" cy="279082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首席技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高级技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技    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高级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中级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初级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新员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lnSpc>
                <a:spcPct val="60000"/>
              </a:lnSpc>
              <a:buClr>
                <a:srgbClr val="1F3F5F"/>
              </a:buClr>
            </a:pPr>
            <a:endParaRPr lang="zh-CN" altLang="en-US" sz="1400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2" name="Text Box 15"/>
          <p:cNvSpPr txBox="1"/>
          <p:nvPr>
            <p:custDataLst>
              <p:tags r:id="rId10"/>
            </p:custDataLst>
          </p:nvPr>
        </p:nvSpPr>
        <p:spPr>
          <a:xfrm>
            <a:off x="6862763" y="2057400"/>
            <a:ext cx="1884362" cy="2922588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首席专家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技术专家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主任工程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副主任工程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工程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助理工程师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技术员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新员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3" name="Text Box 16"/>
          <p:cNvSpPr txBox="1"/>
          <p:nvPr>
            <p:custDataLst>
              <p:tags r:id="rId11"/>
            </p:custDataLst>
          </p:nvPr>
        </p:nvSpPr>
        <p:spPr>
          <a:xfrm>
            <a:off x="8629650" y="2278063"/>
            <a:ext cx="1884363" cy="2554287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高   管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高管助理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中层管理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主管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管理员</a:t>
            </a:r>
            <a:r>
              <a:rPr lang="en-US" altLang="zh-CN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3/4</a:t>
            </a: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级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管理员</a:t>
            </a:r>
            <a:r>
              <a:rPr lang="en-US" altLang="zh-CN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/2</a:t>
            </a: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级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20650" indent="-120650" algn="ctr">
              <a:buClr>
                <a:srgbClr val="1F3F5F"/>
              </a:buClr>
            </a:pPr>
            <a:r>
              <a:rPr lang="zh-CN" altLang="en-US" sz="1600" b="1" dirty="0">
                <a:solidFill>
                  <a:srgbClr val="1C1C1C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新员工</a:t>
            </a:r>
            <a:endParaRPr lang="en-US" altLang="zh-CN" sz="1600" b="1" dirty="0">
              <a:solidFill>
                <a:srgbClr val="1C1C1C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4" name="AutoShape 10"/>
          <p:cNvSpPr/>
          <p:nvPr>
            <p:custDataLst>
              <p:tags r:id="rId12"/>
            </p:custDataLst>
          </p:nvPr>
        </p:nvSpPr>
        <p:spPr>
          <a:xfrm>
            <a:off x="8639175" y="5410200"/>
            <a:ext cx="1781175" cy="314325"/>
          </a:xfrm>
          <a:prstGeom prst="bevel">
            <a:avLst>
              <a:gd name="adj" fmla="val 5949"/>
            </a:avLst>
          </a:prstGeom>
          <a:solidFill>
            <a:schemeClr val="hlink"/>
          </a:solidFill>
          <a:ln w="9525">
            <a:noFill/>
          </a:ln>
        </p:spPr>
        <p:txBody>
          <a:bodyPr wrap="none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管理序列</a:t>
            </a:r>
            <a:endParaRPr lang="en-US" altLang="zh-CN" sz="16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5" name="AutoShape 13"/>
          <p:cNvSpPr/>
          <p:nvPr>
            <p:custDataLst>
              <p:tags r:id="rId13"/>
            </p:custDataLst>
          </p:nvPr>
        </p:nvSpPr>
        <p:spPr>
          <a:xfrm>
            <a:off x="6553200" y="5410200"/>
            <a:ext cx="1781175" cy="314325"/>
          </a:xfrm>
          <a:prstGeom prst="bevel">
            <a:avLst>
              <a:gd name="adj" fmla="val 5949"/>
            </a:avLst>
          </a:prstGeom>
          <a:solidFill>
            <a:schemeClr val="hlink"/>
          </a:solidFill>
          <a:ln w="9525">
            <a:noFill/>
          </a:ln>
        </p:spPr>
        <p:txBody>
          <a:bodyPr wrap="none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技术序列</a:t>
            </a:r>
            <a:endParaRPr lang="en-US" altLang="zh-CN" sz="16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6" name="AutoShape 14"/>
          <p:cNvSpPr/>
          <p:nvPr>
            <p:custDataLst>
              <p:tags r:id="rId14"/>
            </p:custDataLst>
          </p:nvPr>
        </p:nvSpPr>
        <p:spPr>
          <a:xfrm>
            <a:off x="4476750" y="5410200"/>
            <a:ext cx="1781175" cy="314325"/>
          </a:xfrm>
          <a:prstGeom prst="bevel">
            <a:avLst>
              <a:gd name="adj" fmla="val 5949"/>
            </a:avLst>
          </a:prstGeom>
          <a:solidFill>
            <a:schemeClr val="hlink"/>
          </a:solidFill>
          <a:ln w="9525">
            <a:noFill/>
          </a:ln>
        </p:spPr>
        <p:txBody>
          <a:bodyPr wrap="none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技能序列</a:t>
            </a:r>
            <a:endParaRPr lang="en-US" altLang="zh-CN" sz="16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9967" name="Line 8"/>
          <p:cNvSpPr/>
          <p:nvPr>
            <p:custDataLst>
              <p:tags r:id="rId15"/>
            </p:custDataLst>
          </p:nvPr>
        </p:nvSpPr>
        <p:spPr>
          <a:xfrm>
            <a:off x="8516938" y="2673350"/>
            <a:ext cx="0" cy="2803525"/>
          </a:xfrm>
          <a:prstGeom prst="line">
            <a:avLst/>
          </a:prstGeom>
          <a:ln w="9525" cap="flat" cmpd="sng">
            <a:solidFill>
              <a:srgbClr val="1C1C1C"/>
            </a:solidFill>
            <a:prstDash val="dash"/>
            <a:round/>
            <a:headEnd type="none" w="med" len="med"/>
            <a:tailEnd type="none" w="med" len="med"/>
          </a:ln>
        </p:spPr>
      </p:sp>
      <p:sp>
        <p:nvSpPr>
          <p:cNvPr id="39968" name="Line 8"/>
          <p:cNvSpPr/>
          <p:nvPr>
            <p:custDataLst>
              <p:tags r:id="rId16"/>
            </p:custDataLst>
          </p:nvPr>
        </p:nvSpPr>
        <p:spPr>
          <a:xfrm>
            <a:off x="6394450" y="2792413"/>
            <a:ext cx="0" cy="2803525"/>
          </a:xfrm>
          <a:prstGeom prst="line">
            <a:avLst/>
          </a:prstGeom>
          <a:ln w="9525" cap="flat" cmpd="sng">
            <a:solidFill>
              <a:srgbClr val="1C1C1C"/>
            </a:solidFill>
            <a:prstDash val="dash"/>
            <a:round/>
            <a:headEnd type="none" w="med" len="med"/>
            <a:tailEnd type="none" w="med" len="med"/>
          </a:ln>
        </p:spPr>
      </p:sp>
      <p:sp>
        <p:nvSpPr>
          <p:cNvPr id="34" name="Rectangle 21"/>
          <p:cNvSpPr/>
          <p:nvPr>
            <p:custDataLst>
              <p:tags r:id="rId17"/>
            </p:custDataLst>
          </p:nvPr>
        </p:nvSpPr>
        <p:spPr>
          <a:xfrm>
            <a:off x="4770438" y="5084763"/>
            <a:ext cx="5181600" cy="287338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marL="273050" indent="-273050" algn="ctr" eaLnBrk="0" fontAlgn="base" hangingPunct="0">
              <a:lnSpc>
                <a:spcPct val="9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None/>
            </a:pPr>
            <a:r>
              <a:rPr lang="zh-CN" altLang="en-US" b="1" strike="noStrike" noProof="1">
                <a:latin typeface="宋体" panose="02010600030101010101" pitchFamily="2" charset="-122"/>
              </a:rPr>
              <a:t>合格员工</a:t>
            </a: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D:\meihua_service_cache\jpg/2ac9799446016672f2f3589dfb7ded22.jpg2ac9799446016672f2f3589dfb7ded22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/>
          <a:stretch>
            <a:fillRect/>
          </a:stretch>
        </p:blipFill>
        <p:spPr>
          <a:xfrm>
            <a:off x="5551818" y="0"/>
            <a:ext cx="6640169" cy="685800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8153" h="10800">
                <a:moveTo>
                  <a:pt x="0" y="0"/>
                </a:moveTo>
                <a:lnTo>
                  <a:pt x="8153" y="0"/>
                </a:lnTo>
                <a:lnTo>
                  <a:pt x="8153" y="10800"/>
                </a:lnTo>
                <a:lnTo>
                  <a:pt x="0" y="108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5" name="Object 901"/>
          <p:cNvSpPr txBox="1"/>
          <p:nvPr>
            <p:custDataLst>
              <p:tags r:id="rId3"/>
            </p:custDataLst>
          </p:nvPr>
        </p:nvSpPr>
        <p:spPr>
          <a:xfrm>
            <a:off x="914400" y="1523251"/>
            <a:ext cx="3718573" cy="1015613"/>
          </a:xfrm>
          <a:prstGeom prst="rect">
            <a:avLst/>
          </a:prstGeom>
        </p:spPr>
        <p:txBody>
          <a:bodyPr vert="horz" lIns="63500" tIns="25400" rIns="63500" bIns="25400" rtlCol="0" anchor="b" anchorCtr="0">
            <a:normAutofit/>
          </a:bodyPr>
          <a:lstStyle/>
          <a:p>
            <a:pPr marL="0" indent="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3600" b="1" i="0" spc="20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我们需要的人才 </a:t>
            </a:r>
          </a:p>
        </p:txBody>
      </p:sp>
      <p:sp>
        <p:nvSpPr>
          <p:cNvPr id="6" name="Object 902"/>
          <p:cNvSpPr txBox="1"/>
          <p:nvPr>
            <p:custDataLst>
              <p:tags r:id="rId4"/>
            </p:custDataLst>
          </p:nvPr>
        </p:nvSpPr>
        <p:spPr>
          <a:xfrm>
            <a:off x="914400" y="2564264"/>
            <a:ext cx="3718573" cy="786149"/>
          </a:xfrm>
          <a:prstGeom prst="rect">
            <a:avLst/>
          </a:prstGeom>
        </p:spPr>
        <p:txBody>
          <a:bodyPr vert="horz" lIns="63500" tIns="25400" rIns="63500" bIns="25400" rtlCol="0" anchor="t" anchorCtr="0">
            <a:normAutofit/>
          </a:bodyPr>
          <a:lstStyle/>
          <a:p>
            <a:pPr marL="0" indent="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600" spc="200" dirty="0">
                <a:solidFill>
                  <a:schemeClr val="dk1"/>
                </a:solidFill>
                <a:latin typeface="微软雅黑" panose="020B0503020204020204" charset="-122"/>
                <a:ea typeface="微软雅黑" panose="020B0503020204020204" charset="-122"/>
              </a:rPr>
              <a:t>——岗位需求</a:t>
            </a:r>
          </a:p>
        </p:txBody>
      </p:sp>
      <p:sp>
        <p:nvSpPr>
          <p:cNvPr id="11" name="Title 6"/>
          <p:cNvSpPr txBox="1"/>
          <p:nvPr>
            <p:custDataLst>
              <p:tags r:id="rId5"/>
            </p:custDataLst>
          </p:nvPr>
        </p:nvSpPr>
        <p:spPr>
          <a:xfrm>
            <a:off x="914400" y="3499980"/>
            <a:ext cx="3718573" cy="1430782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t" anchorCtr="0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en-US" altLang="zh-CN" sz="8400" spc="6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03</a:t>
            </a:r>
          </a:p>
        </p:txBody>
      </p:sp>
    </p:spTree>
    <p:custDataLst>
      <p:tags r:id="rId1"/>
    </p:custDataLst>
  </p:cSld>
  <p:clrMapOvr>
    <a:masterClrMapping/>
  </p:clrMapOvr>
  <p:transition spd="slow">
    <p:checker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8184515" y="4226244"/>
            <a:ext cx="1401659" cy="1606550"/>
            <a:chOff x="8139056" y="4383594"/>
            <a:chExt cx="1402505" cy="1605507"/>
          </a:xfrm>
        </p:grpSpPr>
        <p:sp>
          <p:nvSpPr>
            <p:cNvPr id="4" name="任意多边形 3"/>
            <p:cNvSpPr/>
            <p:nvPr>
              <p:custDataLst>
                <p:tags r:id="rId25"/>
              </p:custDataLst>
            </p:nvPr>
          </p:nvSpPr>
          <p:spPr bwMode="auto">
            <a:xfrm>
              <a:off x="8139336" y="4383594"/>
              <a:ext cx="1397246" cy="1605507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71500" dist="546100" dir="8100000" sx="98000" sy="98000" algn="tr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zh-CN" altLang="en-US" sz="40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3011" name="文本框 34"/>
            <p:cNvSpPr txBox="1"/>
            <p:nvPr>
              <p:custDataLst>
                <p:tags r:id="rId26"/>
              </p:custDataLst>
            </p:nvPr>
          </p:nvSpPr>
          <p:spPr>
            <a:xfrm>
              <a:off x="8139056" y="4734427"/>
              <a:ext cx="1402505" cy="952516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质量</a:t>
              </a:r>
            </a:p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检验</a:t>
              </a: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9051925" y="2797175"/>
            <a:ext cx="1460500" cy="1604963"/>
            <a:chOff x="9805968" y="2919911"/>
            <a:chExt cx="1460931" cy="1605507"/>
          </a:xfrm>
        </p:grpSpPr>
        <p:sp>
          <p:nvSpPr>
            <p:cNvPr id="32" name="任意多边形 31"/>
            <p:cNvSpPr/>
            <p:nvPr>
              <p:custDataLst>
                <p:tags r:id="rId23"/>
              </p:custDataLst>
            </p:nvPr>
          </p:nvSpPr>
          <p:spPr bwMode="auto">
            <a:xfrm>
              <a:off x="9805968" y="2919911"/>
              <a:ext cx="1396535" cy="1605507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solidFill>
              <a:srgbClr val="DE3F00"/>
            </a:solidFill>
            <a:ln>
              <a:noFill/>
            </a:ln>
            <a:effectLst>
              <a:outerShdw blurRad="571500" dist="546100" dir="8100000" sx="98000" sy="98000" algn="tr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zh-CN" altLang="en-US" sz="40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3014" name="文本框 36"/>
            <p:cNvSpPr txBox="1"/>
            <p:nvPr>
              <p:custDataLst>
                <p:tags r:id="rId24"/>
              </p:custDataLst>
            </p:nvPr>
          </p:nvSpPr>
          <p:spPr>
            <a:xfrm>
              <a:off x="9864394" y="3220044"/>
              <a:ext cx="1402505" cy="95345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电气仪表运维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7389813" y="2833688"/>
            <a:ext cx="1433512" cy="1604962"/>
            <a:chOff x="9805968" y="2919911"/>
            <a:chExt cx="1432997" cy="1605507"/>
          </a:xfrm>
        </p:grpSpPr>
        <p:sp>
          <p:nvSpPr>
            <p:cNvPr id="12" name="任意多边形 11"/>
            <p:cNvSpPr/>
            <p:nvPr>
              <p:custDataLst>
                <p:tags r:id="rId21"/>
              </p:custDataLst>
            </p:nvPr>
          </p:nvSpPr>
          <p:spPr bwMode="auto">
            <a:xfrm>
              <a:off x="9805968" y="2919911"/>
              <a:ext cx="1396535" cy="1605507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71500" dist="546100" dir="8100000" sx="98000" sy="98000" algn="tr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zh-CN" altLang="en-US" sz="40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3017" name="文本框 36"/>
            <p:cNvSpPr txBox="1"/>
            <p:nvPr>
              <p:custDataLst>
                <p:tags r:id="rId22"/>
              </p:custDataLst>
            </p:nvPr>
          </p:nvSpPr>
          <p:spPr>
            <a:xfrm>
              <a:off x="9836460" y="3143738"/>
              <a:ext cx="1402505" cy="116955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仓储</a:t>
              </a:r>
              <a:endParaRPr lang="en-US" altLang="zh-CN" sz="2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物流</a:t>
              </a:r>
            </a:p>
          </p:txBody>
        </p:sp>
      </p:grpSp>
      <p:sp>
        <p:nvSpPr>
          <p:cNvPr id="39" name="Freeform 7"/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952500" y="5246688"/>
            <a:ext cx="4548188" cy="1323975"/>
          </a:xfrm>
          <a:custGeom>
            <a:avLst/>
            <a:gdLst/>
            <a:ahLst/>
            <a:cxnLst>
              <a:cxn ang="0">
                <a:pos x="4433" y="59"/>
              </a:cxn>
              <a:cxn ang="0">
                <a:pos x="4812" y="166"/>
              </a:cxn>
              <a:cxn ang="0">
                <a:pos x="5122" y="292"/>
              </a:cxn>
              <a:cxn ang="0">
                <a:pos x="5357" y="435"/>
              </a:cxn>
              <a:cxn ang="0">
                <a:pos x="5503" y="592"/>
              </a:cxn>
              <a:cxn ang="0">
                <a:pos x="5556" y="759"/>
              </a:cxn>
              <a:cxn ang="0">
                <a:pos x="5502" y="931"/>
              </a:cxn>
              <a:cxn ang="0">
                <a:pos x="5346" y="1090"/>
              </a:cxn>
              <a:cxn ang="0">
                <a:pos x="5102" y="1236"/>
              </a:cxn>
              <a:cxn ang="0">
                <a:pos x="4777" y="1363"/>
              </a:cxn>
              <a:cxn ang="0">
                <a:pos x="4384" y="1471"/>
              </a:cxn>
              <a:cxn ang="0">
                <a:pos x="3930" y="1553"/>
              </a:cxn>
              <a:cxn ang="0">
                <a:pos x="3429" y="1607"/>
              </a:cxn>
              <a:cxn ang="0">
                <a:pos x="3278" y="1607"/>
              </a:cxn>
              <a:cxn ang="0">
                <a:pos x="3708" y="1546"/>
              </a:cxn>
              <a:cxn ang="0">
                <a:pos x="4090" y="1450"/>
              </a:cxn>
              <a:cxn ang="0">
                <a:pos x="4416" y="1327"/>
              </a:cxn>
              <a:cxn ang="0">
                <a:pos x="4672" y="1177"/>
              </a:cxn>
              <a:cxn ang="0">
                <a:pos x="4847" y="1009"/>
              </a:cxn>
              <a:cxn ang="0">
                <a:pos x="4932" y="823"/>
              </a:cxn>
              <a:cxn ang="0">
                <a:pos x="4915" y="636"/>
              </a:cxn>
              <a:cxn ang="0">
                <a:pos x="4809" y="462"/>
              </a:cxn>
              <a:cxn ang="0">
                <a:pos x="4620" y="304"/>
              </a:cxn>
              <a:cxn ang="0">
                <a:pos x="4360" y="166"/>
              </a:cxn>
              <a:cxn ang="0">
                <a:pos x="4151" y="37"/>
              </a:cxn>
              <a:cxn ang="0">
                <a:pos x="1404" y="37"/>
              </a:cxn>
              <a:cxn ang="0">
                <a:pos x="1195" y="166"/>
              </a:cxn>
              <a:cxn ang="0">
                <a:pos x="934" y="304"/>
              </a:cxn>
              <a:cxn ang="0">
                <a:pos x="745" y="462"/>
              </a:cxn>
              <a:cxn ang="0">
                <a:pos x="639" y="636"/>
              </a:cxn>
              <a:cxn ang="0">
                <a:pos x="622" y="823"/>
              </a:cxn>
              <a:cxn ang="0">
                <a:pos x="706" y="1009"/>
              </a:cxn>
              <a:cxn ang="0">
                <a:pos x="883" y="1177"/>
              </a:cxn>
              <a:cxn ang="0">
                <a:pos x="1138" y="1327"/>
              </a:cxn>
              <a:cxn ang="0">
                <a:pos x="1464" y="1450"/>
              </a:cxn>
              <a:cxn ang="0">
                <a:pos x="1848" y="1546"/>
              </a:cxn>
              <a:cxn ang="0">
                <a:pos x="2278" y="1607"/>
              </a:cxn>
              <a:cxn ang="0">
                <a:pos x="2301" y="1619"/>
              </a:cxn>
              <a:cxn ang="0">
                <a:pos x="1787" y="1573"/>
              </a:cxn>
              <a:cxn ang="0">
                <a:pos x="1317" y="1501"/>
              </a:cxn>
              <a:cxn ang="0">
                <a:pos x="902" y="1401"/>
              </a:cxn>
              <a:cxn ang="0">
                <a:pos x="553" y="1280"/>
              </a:cxn>
              <a:cxn ang="0">
                <a:pos x="280" y="1140"/>
              </a:cxn>
              <a:cxn ang="0">
                <a:pos x="94" y="985"/>
              </a:cxn>
              <a:cxn ang="0">
                <a:pos x="7" y="816"/>
              </a:cxn>
              <a:cxn ang="0">
                <a:pos x="24" y="646"/>
              </a:cxn>
              <a:cxn ang="0">
                <a:pos x="140" y="486"/>
              </a:cxn>
              <a:cxn ang="0">
                <a:pos x="346" y="339"/>
              </a:cxn>
              <a:cxn ang="0">
                <a:pos x="632" y="206"/>
              </a:cxn>
              <a:cxn ang="0">
                <a:pos x="988" y="93"/>
              </a:cxn>
              <a:cxn ang="0">
                <a:pos x="1406" y="0"/>
              </a:cxn>
            </a:cxnLst>
            <a:rect l="0" t="0" r="r" b="b"/>
            <a:pathLst>
              <a:path w="5556" h="1619">
                <a:moveTo>
                  <a:pt x="4149" y="0"/>
                </a:moveTo>
                <a:lnTo>
                  <a:pt x="4294" y="29"/>
                </a:lnTo>
                <a:lnTo>
                  <a:pt x="4433" y="59"/>
                </a:lnTo>
                <a:lnTo>
                  <a:pt x="4566" y="93"/>
                </a:lnTo>
                <a:lnTo>
                  <a:pt x="4692" y="128"/>
                </a:lnTo>
                <a:lnTo>
                  <a:pt x="4812" y="166"/>
                </a:lnTo>
                <a:lnTo>
                  <a:pt x="4923" y="206"/>
                </a:lnTo>
                <a:lnTo>
                  <a:pt x="5026" y="248"/>
                </a:lnTo>
                <a:lnTo>
                  <a:pt x="5122" y="292"/>
                </a:lnTo>
                <a:lnTo>
                  <a:pt x="5210" y="339"/>
                </a:lnTo>
                <a:lnTo>
                  <a:pt x="5287" y="386"/>
                </a:lnTo>
                <a:lnTo>
                  <a:pt x="5357" y="435"/>
                </a:lnTo>
                <a:lnTo>
                  <a:pt x="5416" y="486"/>
                </a:lnTo>
                <a:lnTo>
                  <a:pt x="5465" y="538"/>
                </a:lnTo>
                <a:lnTo>
                  <a:pt x="5503" y="592"/>
                </a:lnTo>
                <a:lnTo>
                  <a:pt x="5532" y="646"/>
                </a:lnTo>
                <a:lnTo>
                  <a:pt x="5551" y="702"/>
                </a:lnTo>
                <a:lnTo>
                  <a:pt x="5556" y="759"/>
                </a:lnTo>
                <a:lnTo>
                  <a:pt x="5549" y="816"/>
                </a:lnTo>
                <a:lnTo>
                  <a:pt x="5532" y="874"/>
                </a:lnTo>
                <a:lnTo>
                  <a:pt x="5502" y="931"/>
                </a:lnTo>
                <a:lnTo>
                  <a:pt x="5461" y="985"/>
                </a:lnTo>
                <a:lnTo>
                  <a:pt x="5409" y="1039"/>
                </a:lnTo>
                <a:lnTo>
                  <a:pt x="5346" y="1090"/>
                </a:lnTo>
                <a:lnTo>
                  <a:pt x="5274" y="1140"/>
                </a:lnTo>
                <a:lnTo>
                  <a:pt x="5193" y="1189"/>
                </a:lnTo>
                <a:lnTo>
                  <a:pt x="5102" y="1236"/>
                </a:lnTo>
                <a:lnTo>
                  <a:pt x="5003" y="1280"/>
                </a:lnTo>
                <a:lnTo>
                  <a:pt x="4893" y="1324"/>
                </a:lnTo>
                <a:lnTo>
                  <a:pt x="4777" y="1363"/>
                </a:lnTo>
                <a:lnTo>
                  <a:pt x="4654" y="1401"/>
                </a:lnTo>
                <a:lnTo>
                  <a:pt x="4522" y="1437"/>
                </a:lnTo>
                <a:lnTo>
                  <a:pt x="4384" y="1471"/>
                </a:lnTo>
                <a:lnTo>
                  <a:pt x="4239" y="1501"/>
                </a:lnTo>
                <a:lnTo>
                  <a:pt x="4087" y="1528"/>
                </a:lnTo>
                <a:lnTo>
                  <a:pt x="3930" y="1553"/>
                </a:lnTo>
                <a:lnTo>
                  <a:pt x="3768" y="1573"/>
                </a:lnTo>
                <a:lnTo>
                  <a:pt x="3601" y="1592"/>
                </a:lnTo>
                <a:lnTo>
                  <a:pt x="3429" y="1607"/>
                </a:lnTo>
                <a:lnTo>
                  <a:pt x="3254" y="1619"/>
                </a:lnTo>
                <a:lnTo>
                  <a:pt x="3261" y="1614"/>
                </a:lnTo>
                <a:lnTo>
                  <a:pt x="3278" y="1607"/>
                </a:lnTo>
                <a:lnTo>
                  <a:pt x="3426" y="1590"/>
                </a:lnTo>
                <a:lnTo>
                  <a:pt x="3569" y="1570"/>
                </a:lnTo>
                <a:lnTo>
                  <a:pt x="3708" y="1546"/>
                </a:lnTo>
                <a:lnTo>
                  <a:pt x="3841" y="1518"/>
                </a:lnTo>
                <a:lnTo>
                  <a:pt x="3969" y="1486"/>
                </a:lnTo>
                <a:lnTo>
                  <a:pt x="4090" y="1450"/>
                </a:lnTo>
                <a:lnTo>
                  <a:pt x="4205" y="1412"/>
                </a:lnTo>
                <a:lnTo>
                  <a:pt x="4315" y="1371"/>
                </a:lnTo>
                <a:lnTo>
                  <a:pt x="4416" y="1327"/>
                </a:lnTo>
                <a:lnTo>
                  <a:pt x="4509" y="1280"/>
                </a:lnTo>
                <a:lnTo>
                  <a:pt x="4595" y="1229"/>
                </a:lnTo>
                <a:lnTo>
                  <a:pt x="4672" y="1177"/>
                </a:lnTo>
                <a:lnTo>
                  <a:pt x="4740" y="1123"/>
                </a:lnTo>
                <a:lnTo>
                  <a:pt x="4799" y="1066"/>
                </a:lnTo>
                <a:lnTo>
                  <a:pt x="4847" y="1009"/>
                </a:lnTo>
                <a:lnTo>
                  <a:pt x="4886" y="948"/>
                </a:lnTo>
                <a:lnTo>
                  <a:pt x="4913" y="887"/>
                </a:lnTo>
                <a:lnTo>
                  <a:pt x="4932" y="823"/>
                </a:lnTo>
                <a:lnTo>
                  <a:pt x="4937" y="759"/>
                </a:lnTo>
                <a:lnTo>
                  <a:pt x="4932" y="697"/>
                </a:lnTo>
                <a:lnTo>
                  <a:pt x="4915" y="636"/>
                </a:lnTo>
                <a:lnTo>
                  <a:pt x="4890" y="577"/>
                </a:lnTo>
                <a:lnTo>
                  <a:pt x="4854" y="520"/>
                </a:lnTo>
                <a:lnTo>
                  <a:pt x="4809" y="462"/>
                </a:lnTo>
                <a:lnTo>
                  <a:pt x="4755" y="408"/>
                </a:lnTo>
                <a:lnTo>
                  <a:pt x="4691" y="356"/>
                </a:lnTo>
                <a:lnTo>
                  <a:pt x="4620" y="304"/>
                </a:lnTo>
                <a:lnTo>
                  <a:pt x="4541" y="257"/>
                </a:lnTo>
                <a:lnTo>
                  <a:pt x="4453" y="209"/>
                </a:lnTo>
                <a:lnTo>
                  <a:pt x="4360" y="166"/>
                </a:lnTo>
                <a:lnTo>
                  <a:pt x="4259" y="125"/>
                </a:lnTo>
                <a:lnTo>
                  <a:pt x="4151" y="86"/>
                </a:lnTo>
                <a:lnTo>
                  <a:pt x="4151" y="37"/>
                </a:lnTo>
                <a:lnTo>
                  <a:pt x="4149" y="0"/>
                </a:lnTo>
                <a:close/>
                <a:moveTo>
                  <a:pt x="1406" y="0"/>
                </a:moveTo>
                <a:lnTo>
                  <a:pt x="1404" y="37"/>
                </a:lnTo>
                <a:lnTo>
                  <a:pt x="1404" y="86"/>
                </a:lnTo>
                <a:lnTo>
                  <a:pt x="1297" y="125"/>
                </a:lnTo>
                <a:lnTo>
                  <a:pt x="1195" y="166"/>
                </a:lnTo>
                <a:lnTo>
                  <a:pt x="1101" y="209"/>
                </a:lnTo>
                <a:lnTo>
                  <a:pt x="1013" y="257"/>
                </a:lnTo>
                <a:lnTo>
                  <a:pt x="934" y="304"/>
                </a:lnTo>
                <a:lnTo>
                  <a:pt x="863" y="356"/>
                </a:lnTo>
                <a:lnTo>
                  <a:pt x="801" y="408"/>
                </a:lnTo>
                <a:lnTo>
                  <a:pt x="745" y="462"/>
                </a:lnTo>
                <a:lnTo>
                  <a:pt x="700" y="520"/>
                </a:lnTo>
                <a:lnTo>
                  <a:pt x="664" y="577"/>
                </a:lnTo>
                <a:lnTo>
                  <a:pt x="639" y="636"/>
                </a:lnTo>
                <a:lnTo>
                  <a:pt x="622" y="697"/>
                </a:lnTo>
                <a:lnTo>
                  <a:pt x="617" y="759"/>
                </a:lnTo>
                <a:lnTo>
                  <a:pt x="622" y="823"/>
                </a:lnTo>
                <a:lnTo>
                  <a:pt x="641" y="887"/>
                </a:lnTo>
                <a:lnTo>
                  <a:pt x="668" y="948"/>
                </a:lnTo>
                <a:lnTo>
                  <a:pt x="706" y="1009"/>
                </a:lnTo>
                <a:lnTo>
                  <a:pt x="755" y="1066"/>
                </a:lnTo>
                <a:lnTo>
                  <a:pt x="814" y="1123"/>
                </a:lnTo>
                <a:lnTo>
                  <a:pt x="883" y="1177"/>
                </a:lnTo>
                <a:lnTo>
                  <a:pt x="959" y="1229"/>
                </a:lnTo>
                <a:lnTo>
                  <a:pt x="1045" y="1280"/>
                </a:lnTo>
                <a:lnTo>
                  <a:pt x="1138" y="1327"/>
                </a:lnTo>
                <a:lnTo>
                  <a:pt x="1239" y="1371"/>
                </a:lnTo>
                <a:lnTo>
                  <a:pt x="1349" y="1412"/>
                </a:lnTo>
                <a:lnTo>
                  <a:pt x="1464" y="1450"/>
                </a:lnTo>
                <a:lnTo>
                  <a:pt x="1587" y="1486"/>
                </a:lnTo>
                <a:lnTo>
                  <a:pt x="1713" y="1518"/>
                </a:lnTo>
                <a:lnTo>
                  <a:pt x="1848" y="1546"/>
                </a:lnTo>
                <a:lnTo>
                  <a:pt x="1986" y="1570"/>
                </a:lnTo>
                <a:lnTo>
                  <a:pt x="2129" y="1590"/>
                </a:lnTo>
                <a:lnTo>
                  <a:pt x="2278" y="1607"/>
                </a:lnTo>
                <a:lnTo>
                  <a:pt x="2286" y="1611"/>
                </a:lnTo>
                <a:lnTo>
                  <a:pt x="2293" y="1614"/>
                </a:lnTo>
                <a:lnTo>
                  <a:pt x="2301" y="1619"/>
                </a:lnTo>
                <a:lnTo>
                  <a:pt x="2126" y="1607"/>
                </a:lnTo>
                <a:lnTo>
                  <a:pt x="1954" y="1592"/>
                </a:lnTo>
                <a:lnTo>
                  <a:pt x="1787" y="1573"/>
                </a:lnTo>
                <a:lnTo>
                  <a:pt x="1624" y="1553"/>
                </a:lnTo>
                <a:lnTo>
                  <a:pt x="1467" y="1528"/>
                </a:lnTo>
                <a:lnTo>
                  <a:pt x="1317" y="1501"/>
                </a:lnTo>
                <a:lnTo>
                  <a:pt x="1172" y="1471"/>
                </a:lnTo>
                <a:lnTo>
                  <a:pt x="1034" y="1437"/>
                </a:lnTo>
                <a:lnTo>
                  <a:pt x="902" y="1401"/>
                </a:lnTo>
                <a:lnTo>
                  <a:pt x="777" y="1363"/>
                </a:lnTo>
                <a:lnTo>
                  <a:pt x="661" y="1324"/>
                </a:lnTo>
                <a:lnTo>
                  <a:pt x="553" y="1280"/>
                </a:lnTo>
                <a:lnTo>
                  <a:pt x="454" y="1236"/>
                </a:lnTo>
                <a:lnTo>
                  <a:pt x="363" y="1189"/>
                </a:lnTo>
                <a:lnTo>
                  <a:pt x="280" y="1140"/>
                </a:lnTo>
                <a:lnTo>
                  <a:pt x="209" y="1090"/>
                </a:lnTo>
                <a:lnTo>
                  <a:pt x="147" y="1039"/>
                </a:lnTo>
                <a:lnTo>
                  <a:pt x="94" y="985"/>
                </a:lnTo>
                <a:lnTo>
                  <a:pt x="54" y="931"/>
                </a:lnTo>
                <a:lnTo>
                  <a:pt x="24" y="874"/>
                </a:lnTo>
                <a:lnTo>
                  <a:pt x="7" y="816"/>
                </a:lnTo>
                <a:lnTo>
                  <a:pt x="0" y="759"/>
                </a:lnTo>
                <a:lnTo>
                  <a:pt x="5" y="702"/>
                </a:lnTo>
                <a:lnTo>
                  <a:pt x="24" y="646"/>
                </a:lnTo>
                <a:lnTo>
                  <a:pt x="51" y="592"/>
                </a:lnTo>
                <a:lnTo>
                  <a:pt x="91" y="538"/>
                </a:lnTo>
                <a:lnTo>
                  <a:pt x="140" y="486"/>
                </a:lnTo>
                <a:lnTo>
                  <a:pt x="199" y="435"/>
                </a:lnTo>
                <a:lnTo>
                  <a:pt x="268" y="386"/>
                </a:lnTo>
                <a:lnTo>
                  <a:pt x="346" y="339"/>
                </a:lnTo>
                <a:lnTo>
                  <a:pt x="433" y="292"/>
                </a:lnTo>
                <a:lnTo>
                  <a:pt x="528" y="248"/>
                </a:lnTo>
                <a:lnTo>
                  <a:pt x="632" y="206"/>
                </a:lnTo>
                <a:lnTo>
                  <a:pt x="744" y="166"/>
                </a:lnTo>
                <a:lnTo>
                  <a:pt x="863" y="128"/>
                </a:lnTo>
                <a:lnTo>
                  <a:pt x="988" y="93"/>
                </a:lnTo>
                <a:lnTo>
                  <a:pt x="1121" y="59"/>
                </a:lnTo>
                <a:lnTo>
                  <a:pt x="1261" y="29"/>
                </a:lnTo>
                <a:lnTo>
                  <a:pt x="1406" y="0"/>
                </a:lnTo>
                <a:close/>
              </a:path>
            </a:pathLst>
          </a:cu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/>
            <a:endParaRPr lang="en-US" strike="noStrike" noProof="1">
              <a:ln>
                <a:solidFill>
                  <a:srgbClr val="127210"/>
                </a:solidFill>
              </a:ln>
              <a:solidFill>
                <a:schemeClr val="lt1"/>
              </a:solidFill>
            </a:endParaRPr>
          </a:p>
        </p:txBody>
      </p:sp>
      <p:sp>
        <p:nvSpPr>
          <p:cNvPr id="40" name="Freeform 8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1898650" y="4114800"/>
            <a:ext cx="2632075" cy="2371725"/>
          </a:xfrm>
          <a:custGeom>
            <a:avLst/>
            <a:gdLst/>
            <a:ahLst/>
            <a:cxnLst>
              <a:cxn ang="0">
                <a:pos x="1388" y="2855"/>
              </a:cxn>
              <a:cxn ang="0">
                <a:pos x="1318" y="2752"/>
              </a:cxn>
              <a:cxn ang="0">
                <a:pos x="1900" y="2632"/>
              </a:cxn>
              <a:cxn ang="0">
                <a:pos x="1428" y="2867"/>
              </a:cxn>
              <a:cxn ang="0">
                <a:pos x="1760" y="2788"/>
              </a:cxn>
              <a:cxn ang="0">
                <a:pos x="622" y="2607"/>
              </a:cxn>
              <a:cxn ang="0">
                <a:pos x="1135" y="2880"/>
              </a:cxn>
              <a:cxn ang="0">
                <a:pos x="1049" y="2799"/>
              </a:cxn>
              <a:cxn ang="0">
                <a:pos x="551" y="2533"/>
              </a:cxn>
              <a:cxn ang="0">
                <a:pos x="855" y="2518"/>
              </a:cxn>
              <a:cxn ang="0">
                <a:pos x="1423" y="2643"/>
              </a:cxn>
              <a:cxn ang="0">
                <a:pos x="1863" y="2363"/>
              </a:cxn>
              <a:cxn ang="0">
                <a:pos x="1662" y="2169"/>
              </a:cxn>
              <a:cxn ang="0">
                <a:pos x="971" y="2169"/>
              </a:cxn>
              <a:cxn ang="0">
                <a:pos x="2315" y="1906"/>
              </a:cxn>
              <a:cxn ang="0">
                <a:pos x="2001" y="2310"/>
              </a:cxn>
              <a:cxn ang="0">
                <a:pos x="2153" y="2379"/>
              </a:cxn>
              <a:cxn ang="0">
                <a:pos x="2424" y="1806"/>
              </a:cxn>
              <a:cxn ang="0">
                <a:pos x="384" y="2295"/>
              </a:cxn>
              <a:cxn ang="0">
                <a:pos x="716" y="2465"/>
              </a:cxn>
              <a:cxn ang="0">
                <a:pos x="447" y="1988"/>
              </a:cxn>
              <a:cxn ang="0">
                <a:pos x="1241" y="41"/>
              </a:cxn>
              <a:cxn ang="0">
                <a:pos x="858" y="375"/>
              </a:cxn>
              <a:cxn ang="0">
                <a:pos x="619" y="963"/>
              </a:cxn>
              <a:cxn ang="0">
                <a:pos x="583" y="1722"/>
              </a:cxn>
              <a:cxn ang="0">
                <a:pos x="1071" y="2086"/>
              </a:cxn>
              <a:cxn ang="0">
                <a:pos x="1792" y="2046"/>
              </a:cxn>
              <a:cxn ang="0">
                <a:pos x="2062" y="1449"/>
              </a:cxn>
              <a:cxn ang="0">
                <a:pos x="1951" y="744"/>
              </a:cxn>
              <a:cxn ang="0">
                <a:pos x="1656" y="230"/>
              </a:cxn>
              <a:cxn ang="0">
                <a:pos x="1399" y="4"/>
              </a:cxn>
              <a:cxn ang="0">
                <a:pos x="1730" y="209"/>
              </a:cxn>
              <a:cxn ang="0">
                <a:pos x="2060" y="727"/>
              </a:cxn>
              <a:cxn ang="0">
                <a:pos x="2187" y="1449"/>
              </a:cxn>
              <a:cxn ang="0">
                <a:pos x="2278" y="1837"/>
              </a:cxn>
              <a:cxn ang="0">
                <a:pos x="2455" y="1322"/>
              </a:cxn>
              <a:cxn ang="0">
                <a:pos x="2266" y="639"/>
              </a:cxn>
              <a:cxn ang="0">
                <a:pos x="1855" y="166"/>
              </a:cxn>
              <a:cxn ang="0">
                <a:pos x="1231" y="4"/>
              </a:cxn>
              <a:cxn ang="0">
                <a:pos x="695" y="225"/>
              </a:cxn>
              <a:cxn ang="0">
                <a:pos x="315" y="741"/>
              </a:cxn>
              <a:cxn ang="0">
                <a:pos x="170" y="1449"/>
              </a:cxn>
              <a:cxn ang="0">
                <a:pos x="420" y="1874"/>
              </a:cxn>
              <a:cxn ang="0">
                <a:pos x="447" y="1319"/>
              </a:cxn>
              <a:cxn ang="0">
                <a:pos x="612" y="624"/>
              </a:cxn>
              <a:cxn ang="0">
                <a:pos x="969" y="150"/>
              </a:cxn>
              <a:cxn ang="0">
                <a:pos x="1231" y="4"/>
              </a:cxn>
              <a:cxn ang="0">
                <a:pos x="1280" y="2"/>
              </a:cxn>
              <a:cxn ang="0">
                <a:pos x="1408" y="0"/>
              </a:cxn>
              <a:cxn ang="0">
                <a:pos x="1915" y="127"/>
              </a:cxn>
              <a:cxn ang="0">
                <a:pos x="2372" y="557"/>
              </a:cxn>
              <a:cxn ang="0">
                <a:pos x="2613" y="1203"/>
              </a:cxn>
              <a:cxn ang="0">
                <a:pos x="2563" y="1928"/>
              </a:cxn>
              <a:cxn ang="0">
                <a:pos x="2241" y="2511"/>
              </a:cxn>
              <a:cxn ang="0">
                <a:pos x="1726" y="2848"/>
              </a:cxn>
              <a:cxn ang="0">
                <a:pos x="1313" y="2890"/>
              </a:cxn>
              <a:cxn ang="0">
                <a:pos x="904" y="2848"/>
              </a:cxn>
              <a:cxn ang="0">
                <a:pos x="389" y="2511"/>
              </a:cxn>
              <a:cxn ang="0">
                <a:pos x="67" y="1928"/>
              </a:cxn>
              <a:cxn ang="0">
                <a:pos x="17" y="1203"/>
              </a:cxn>
              <a:cxn ang="0">
                <a:pos x="258" y="557"/>
              </a:cxn>
              <a:cxn ang="0">
                <a:pos x="715" y="127"/>
              </a:cxn>
            </a:cxnLst>
            <a:rect l="0" t="0" r="r" b="b"/>
            <a:pathLst>
              <a:path w="2630" h="2895">
                <a:moveTo>
                  <a:pt x="1035" y="2725"/>
                </a:moveTo>
                <a:lnTo>
                  <a:pt x="1101" y="2777"/>
                </a:lnTo>
                <a:lnTo>
                  <a:pt x="1170" y="2821"/>
                </a:lnTo>
                <a:lnTo>
                  <a:pt x="1241" y="2855"/>
                </a:lnTo>
                <a:lnTo>
                  <a:pt x="1313" y="2879"/>
                </a:lnTo>
                <a:lnTo>
                  <a:pt x="1388" y="2855"/>
                </a:lnTo>
                <a:lnTo>
                  <a:pt x="1458" y="2821"/>
                </a:lnTo>
                <a:lnTo>
                  <a:pt x="1526" y="2779"/>
                </a:lnTo>
                <a:lnTo>
                  <a:pt x="1592" y="2727"/>
                </a:lnTo>
                <a:lnTo>
                  <a:pt x="1502" y="2740"/>
                </a:lnTo>
                <a:lnTo>
                  <a:pt x="1411" y="2749"/>
                </a:lnTo>
                <a:lnTo>
                  <a:pt x="1318" y="2752"/>
                </a:lnTo>
                <a:lnTo>
                  <a:pt x="1222" y="2749"/>
                </a:lnTo>
                <a:lnTo>
                  <a:pt x="1128" y="2740"/>
                </a:lnTo>
                <a:lnTo>
                  <a:pt x="1035" y="2725"/>
                </a:lnTo>
                <a:close/>
                <a:moveTo>
                  <a:pt x="2067" y="2546"/>
                </a:moveTo>
                <a:lnTo>
                  <a:pt x="1986" y="2592"/>
                </a:lnTo>
                <a:lnTo>
                  <a:pt x="1900" y="2632"/>
                </a:lnTo>
                <a:lnTo>
                  <a:pt x="1811" y="2668"/>
                </a:lnTo>
                <a:lnTo>
                  <a:pt x="1718" y="2698"/>
                </a:lnTo>
                <a:lnTo>
                  <a:pt x="1649" y="2754"/>
                </a:lnTo>
                <a:lnTo>
                  <a:pt x="1578" y="2801"/>
                </a:lnTo>
                <a:lnTo>
                  <a:pt x="1504" y="2838"/>
                </a:lnTo>
                <a:lnTo>
                  <a:pt x="1428" y="2867"/>
                </a:lnTo>
                <a:lnTo>
                  <a:pt x="1349" y="2885"/>
                </a:lnTo>
                <a:lnTo>
                  <a:pt x="1399" y="2892"/>
                </a:lnTo>
                <a:lnTo>
                  <a:pt x="1494" y="2880"/>
                </a:lnTo>
                <a:lnTo>
                  <a:pt x="1585" y="2858"/>
                </a:lnTo>
                <a:lnTo>
                  <a:pt x="1674" y="2828"/>
                </a:lnTo>
                <a:lnTo>
                  <a:pt x="1760" y="2788"/>
                </a:lnTo>
                <a:lnTo>
                  <a:pt x="1843" y="2740"/>
                </a:lnTo>
                <a:lnTo>
                  <a:pt x="1922" y="2683"/>
                </a:lnTo>
                <a:lnTo>
                  <a:pt x="1996" y="2619"/>
                </a:lnTo>
                <a:lnTo>
                  <a:pt x="2067" y="2546"/>
                </a:lnTo>
                <a:close/>
                <a:moveTo>
                  <a:pt x="551" y="2533"/>
                </a:moveTo>
                <a:lnTo>
                  <a:pt x="622" y="2607"/>
                </a:lnTo>
                <a:lnTo>
                  <a:pt x="698" y="2675"/>
                </a:lnTo>
                <a:lnTo>
                  <a:pt x="779" y="2734"/>
                </a:lnTo>
                <a:lnTo>
                  <a:pt x="863" y="2784"/>
                </a:lnTo>
                <a:lnTo>
                  <a:pt x="951" y="2826"/>
                </a:lnTo>
                <a:lnTo>
                  <a:pt x="1040" y="2858"/>
                </a:lnTo>
                <a:lnTo>
                  <a:pt x="1135" y="2880"/>
                </a:lnTo>
                <a:lnTo>
                  <a:pt x="1231" y="2892"/>
                </a:lnTo>
                <a:lnTo>
                  <a:pt x="1256" y="2889"/>
                </a:lnTo>
                <a:lnTo>
                  <a:pt x="1280" y="2885"/>
                </a:lnTo>
                <a:lnTo>
                  <a:pt x="1200" y="2867"/>
                </a:lnTo>
                <a:lnTo>
                  <a:pt x="1123" y="2838"/>
                </a:lnTo>
                <a:lnTo>
                  <a:pt x="1049" y="2799"/>
                </a:lnTo>
                <a:lnTo>
                  <a:pt x="978" y="2752"/>
                </a:lnTo>
                <a:lnTo>
                  <a:pt x="909" y="2695"/>
                </a:lnTo>
                <a:lnTo>
                  <a:pt x="813" y="2663"/>
                </a:lnTo>
                <a:lnTo>
                  <a:pt x="722" y="2626"/>
                </a:lnTo>
                <a:lnTo>
                  <a:pt x="634" y="2582"/>
                </a:lnTo>
                <a:lnTo>
                  <a:pt x="551" y="2533"/>
                </a:lnTo>
                <a:close/>
                <a:moveTo>
                  <a:pt x="659" y="2086"/>
                </a:moveTo>
                <a:lnTo>
                  <a:pt x="691" y="2182"/>
                </a:lnTo>
                <a:lnTo>
                  <a:pt x="727" y="2273"/>
                </a:lnTo>
                <a:lnTo>
                  <a:pt x="765" y="2359"/>
                </a:lnTo>
                <a:lnTo>
                  <a:pt x="809" y="2442"/>
                </a:lnTo>
                <a:lnTo>
                  <a:pt x="855" y="2518"/>
                </a:lnTo>
                <a:lnTo>
                  <a:pt x="905" y="2587"/>
                </a:lnTo>
                <a:lnTo>
                  <a:pt x="1005" y="2612"/>
                </a:lnTo>
                <a:lnTo>
                  <a:pt x="1106" y="2631"/>
                </a:lnTo>
                <a:lnTo>
                  <a:pt x="1212" y="2643"/>
                </a:lnTo>
                <a:lnTo>
                  <a:pt x="1318" y="2646"/>
                </a:lnTo>
                <a:lnTo>
                  <a:pt x="1423" y="2643"/>
                </a:lnTo>
                <a:lnTo>
                  <a:pt x="1526" y="2631"/>
                </a:lnTo>
                <a:lnTo>
                  <a:pt x="1625" y="2614"/>
                </a:lnTo>
                <a:lnTo>
                  <a:pt x="1721" y="2590"/>
                </a:lnTo>
                <a:lnTo>
                  <a:pt x="1772" y="2521"/>
                </a:lnTo>
                <a:lnTo>
                  <a:pt x="1819" y="2445"/>
                </a:lnTo>
                <a:lnTo>
                  <a:pt x="1863" y="2363"/>
                </a:lnTo>
                <a:lnTo>
                  <a:pt x="1902" y="2277"/>
                </a:lnTo>
                <a:lnTo>
                  <a:pt x="1939" y="2186"/>
                </a:lnTo>
                <a:lnTo>
                  <a:pt x="1971" y="2089"/>
                </a:lnTo>
                <a:lnTo>
                  <a:pt x="1873" y="2121"/>
                </a:lnTo>
                <a:lnTo>
                  <a:pt x="1770" y="2148"/>
                </a:lnTo>
                <a:lnTo>
                  <a:pt x="1662" y="2169"/>
                </a:lnTo>
                <a:lnTo>
                  <a:pt x="1551" y="2186"/>
                </a:lnTo>
                <a:lnTo>
                  <a:pt x="1436" y="2194"/>
                </a:lnTo>
                <a:lnTo>
                  <a:pt x="1318" y="2197"/>
                </a:lnTo>
                <a:lnTo>
                  <a:pt x="1199" y="2194"/>
                </a:lnTo>
                <a:lnTo>
                  <a:pt x="1082" y="2184"/>
                </a:lnTo>
                <a:lnTo>
                  <a:pt x="971" y="2169"/>
                </a:lnTo>
                <a:lnTo>
                  <a:pt x="861" y="2147"/>
                </a:lnTo>
                <a:lnTo>
                  <a:pt x="759" y="2118"/>
                </a:lnTo>
                <a:lnTo>
                  <a:pt x="659" y="2086"/>
                </a:lnTo>
                <a:close/>
                <a:moveTo>
                  <a:pt x="2424" y="1806"/>
                </a:moveTo>
                <a:lnTo>
                  <a:pt x="2374" y="1857"/>
                </a:lnTo>
                <a:lnTo>
                  <a:pt x="2315" y="1906"/>
                </a:lnTo>
                <a:lnTo>
                  <a:pt x="2251" y="1951"/>
                </a:lnTo>
                <a:lnTo>
                  <a:pt x="2182" y="1995"/>
                </a:lnTo>
                <a:lnTo>
                  <a:pt x="2106" y="2034"/>
                </a:lnTo>
                <a:lnTo>
                  <a:pt x="2075" y="2130"/>
                </a:lnTo>
                <a:lnTo>
                  <a:pt x="2040" y="2223"/>
                </a:lnTo>
                <a:lnTo>
                  <a:pt x="2001" y="2310"/>
                </a:lnTo>
                <a:lnTo>
                  <a:pt x="1957" y="2393"/>
                </a:lnTo>
                <a:lnTo>
                  <a:pt x="1910" y="2471"/>
                </a:lnTo>
                <a:lnTo>
                  <a:pt x="1860" y="2543"/>
                </a:lnTo>
                <a:lnTo>
                  <a:pt x="1962" y="2496"/>
                </a:lnTo>
                <a:lnTo>
                  <a:pt x="2062" y="2442"/>
                </a:lnTo>
                <a:lnTo>
                  <a:pt x="2153" y="2379"/>
                </a:lnTo>
                <a:lnTo>
                  <a:pt x="2237" y="2312"/>
                </a:lnTo>
                <a:lnTo>
                  <a:pt x="2286" y="2219"/>
                </a:lnTo>
                <a:lnTo>
                  <a:pt x="2330" y="2123"/>
                </a:lnTo>
                <a:lnTo>
                  <a:pt x="2367" y="2020"/>
                </a:lnTo>
                <a:lnTo>
                  <a:pt x="2399" y="1916"/>
                </a:lnTo>
                <a:lnTo>
                  <a:pt x="2424" y="1806"/>
                </a:lnTo>
                <a:close/>
                <a:moveTo>
                  <a:pt x="204" y="1794"/>
                </a:moveTo>
                <a:lnTo>
                  <a:pt x="227" y="1902"/>
                </a:lnTo>
                <a:lnTo>
                  <a:pt x="258" y="2007"/>
                </a:lnTo>
                <a:lnTo>
                  <a:pt x="293" y="2108"/>
                </a:lnTo>
                <a:lnTo>
                  <a:pt x="337" y="2204"/>
                </a:lnTo>
                <a:lnTo>
                  <a:pt x="384" y="2295"/>
                </a:lnTo>
                <a:lnTo>
                  <a:pt x="452" y="2353"/>
                </a:lnTo>
                <a:lnTo>
                  <a:pt x="523" y="2406"/>
                </a:lnTo>
                <a:lnTo>
                  <a:pt x="600" y="2455"/>
                </a:lnTo>
                <a:lnTo>
                  <a:pt x="681" y="2499"/>
                </a:lnTo>
                <a:lnTo>
                  <a:pt x="767" y="2538"/>
                </a:lnTo>
                <a:lnTo>
                  <a:pt x="716" y="2465"/>
                </a:lnTo>
                <a:lnTo>
                  <a:pt x="669" y="2388"/>
                </a:lnTo>
                <a:lnTo>
                  <a:pt x="627" y="2305"/>
                </a:lnTo>
                <a:lnTo>
                  <a:pt x="588" y="2218"/>
                </a:lnTo>
                <a:lnTo>
                  <a:pt x="553" y="2125"/>
                </a:lnTo>
                <a:lnTo>
                  <a:pt x="523" y="2029"/>
                </a:lnTo>
                <a:lnTo>
                  <a:pt x="447" y="1988"/>
                </a:lnTo>
                <a:lnTo>
                  <a:pt x="376" y="1944"/>
                </a:lnTo>
                <a:lnTo>
                  <a:pt x="312" y="1897"/>
                </a:lnTo>
                <a:lnTo>
                  <a:pt x="254" y="1847"/>
                </a:lnTo>
                <a:lnTo>
                  <a:pt x="204" y="1794"/>
                </a:lnTo>
                <a:close/>
                <a:moveTo>
                  <a:pt x="1313" y="17"/>
                </a:moveTo>
                <a:lnTo>
                  <a:pt x="1241" y="41"/>
                </a:lnTo>
                <a:lnTo>
                  <a:pt x="1170" y="74"/>
                </a:lnTo>
                <a:lnTo>
                  <a:pt x="1101" y="118"/>
                </a:lnTo>
                <a:lnTo>
                  <a:pt x="1035" y="169"/>
                </a:lnTo>
                <a:lnTo>
                  <a:pt x="973" y="230"/>
                </a:lnTo>
                <a:lnTo>
                  <a:pt x="914" y="299"/>
                </a:lnTo>
                <a:lnTo>
                  <a:pt x="858" y="375"/>
                </a:lnTo>
                <a:lnTo>
                  <a:pt x="807" y="457"/>
                </a:lnTo>
                <a:lnTo>
                  <a:pt x="760" y="547"/>
                </a:lnTo>
                <a:lnTo>
                  <a:pt x="718" y="643"/>
                </a:lnTo>
                <a:lnTo>
                  <a:pt x="679" y="744"/>
                </a:lnTo>
                <a:lnTo>
                  <a:pt x="647" y="852"/>
                </a:lnTo>
                <a:lnTo>
                  <a:pt x="619" y="963"/>
                </a:lnTo>
                <a:lnTo>
                  <a:pt x="597" y="1079"/>
                </a:lnTo>
                <a:lnTo>
                  <a:pt x="582" y="1199"/>
                </a:lnTo>
                <a:lnTo>
                  <a:pt x="571" y="1322"/>
                </a:lnTo>
                <a:lnTo>
                  <a:pt x="568" y="1449"/>
                </a:lnTo>
                <a:lnTo>
                  <a:pt x="571" y="1587"/>
                </a:lnTo>
                <a:lnTo>
                  <a:pt x="583" y="1722"/>
                </a:lnTo>
                <a:lnTo>
                  <a:pt x="603" y="1852"/>
                </a:lnTo>
                <a:lnTo>
                  <a:pt x="629" y="1978"/>
                </a:lnTo>
                <a:lnTo>
                  <a:pt x="732" y="2014"/>
                </a:lnTo>
                <a:lnTo>
                  <a:pt x="840" y="2044"/>
                </a:lnTo>
                <a:lnTo>
                  <a:pt x="952" y="2069"/>
                </a:lnTo>
                <a:lnTo>
                  <a:pt x="1071" y="2086"/>
                </a:lnTo>
                <a:lnTo>
                  <a:pt x="1192" y="2098"/>
                </a:lnTo>
                <a:lnTo>
                  <a:pt x="1318" y="2101"/>
                </a:lnTo>
                <a:lnTo>
                  <a:pt x="1443" y="2098"/>
                </a:lnTo>
                <a:lnTo>
                  <a:pt x="1563" y="2086"/>
                </a:lnTo>
                <a:lnTo>
                  <a:pt x="1679" y="2069"/>
                </a:lnTo>
                <a:lnTo>
                  <a:pt x="1792" y="2046"/>
                </a:lnTo>
                <a:lnTo>
                  <a:pt x="1898" y="2017"/>
                </a:lnTo>
                <a:lnTo>
                  <a:pt x="2000" y="1982"/>
                </a:lnTo>
                <a:lnTo>
                  <a:pt x="2027" y="1855"/>
                </a:lnTo>
                <a:lnTo>
                  <a:pt x="2047" y="1724"/>
                </a:lnTo>
                <a:lnTo>
                  <a:pt x="2059" y="1587"/>
                </a:lnTo>
                <a:lnTo>
                  <a:pt x="2062" y="1449"/>
                </a:lnTo>
                <a:lnTo>
                  <a:pt x="2059" y="1322"/>
                </a:lnTo>
                <a:lnTo>
                  <a:pt x="2048" y="1199"/>
                </a:lnTo>
                <a:lnTo>
                  <a:pt x="2033" y="1079"/>
                </a:lnTo>
                <a:lnTo>
                  <a:pt x="2011" y="963"/>
                </a:lnTo>
                <a:lnTo>
                  <a:pt x="1983" y="852"/>
                </a:lnTo>
                <a:lnTo>
                  <a:pt x="1951" y="744"/>
                </a:lnTo>
                <a:lnTo>
                  <a:pt x="1912" y="643"/>
                </a:lnTo>
                <a:lnTo>
                  <a:pt x="1870" y="547"/>
                </a:lnTo>
                <a:lnTo>
                  <a:pt x="1823" y="457"/>
                </a:lnTo>
                <a:lnTo>
                  <a:pt x="1770" y="375"/>
                </a:lnTo>
                <a:lnTo>
                  <a:pt x="1715" y="299"/>
                </a:lnTo>
                <a:lnTo>
                  <a:pt x="1656" y="230"/>
                </a:lnTo>
                <a:lnTo>
                  <a:pt x="1593" y="169"/>
                </a:lnTo>
                <a:lnTo>
                  <a:pt x="1527" y="118"/>
                </a:lnTo>
                <a:lnTo>
                  <a:pt x="1458" y="74"/>
                </a:lnTo>
                <a:lnTo>
                  <a:pt x="1388" y="41"/>
                </a:lnTo>
                <a:lnTo>
                  <a:pt x="1313" y="17"/>
                </a:lnTo>
                <a:close/>
                <a:moveTo>
                  <a:pt x="1399" y="4"/>
                </a:moveTo>
                <a:lnTo>
                  <a:pt x="1349" y="10"/>
                </a:lnTo>
                <a:lnTo>
                  <a:pt x="1431" y="31"/>
                </a:lnTo>
                <a:lnTo>
                  <a:pt x="1511" y="61"/>
                </a:lnTo>
                <a:lnTo>
                  <a:pt x="1586" y="101"/>
                </a:lnTo>
                <a:lnTo>
                  <a:pt x="1661" y="150"/>
                </a:lnTo>
                <a:lnTo>
                  <a:pt x="1730" y="209"/>
                </a:lnTo>
                <a:lnTo>
                  <a:pt x="1797" y="277"/>
                </a:lnTo>
                <a:lnTo>
                  <a:pt x="1860" y="353"/>
                </a:lnTo>
                <a:lnTo>
                  <a:pt x="1917" y="437"/>
                </a:lnTo>
                <a:lnTo>
                  <a:pt x="1971" y="526"/>
                </a:lnTo>
                <a:lnTo>
                  <a:pt x="2018" y="624"/>
                </a:lnTo>
                <a:lnTo>
                  <a:pt x="2060" y="727"/>
                </a:lnTo>
                <a:lnTo>
                  <a:pt x="2097" y="837"/>
                </a:lnTo>
                <a:lnTo>
                  <a:pt x="2129" y="951"/>
                </a:lnTo>
                <a:lnTo>
                  <a:pt x="2153" y="1069"/>
                </a:lnTo>
                <a:lnTo>
                  <a:pt x="2172" y="1192"/>
                </a:lnTo>
                <a:lnTo>
                  <a:pt x="2183" y="1319"/>
                </a:lnTo>
                <a:lnTo>
                  <a:pt x="2187" y="1449"/>
                </a:lnTo>
                <a:lnTo>
                  <a:pt x="2183" y="1572"/>
                </a:lnTo>
                <a:lnTo>
                  <a:pt x="2173" y="1692"/>
                </a:lnTo>
                <a:lnTo>
                  <a:pt x="2156" y="1808"/>
                </a:lnTo>
                <a:lnTo>
                  <a:pt x="2134" y="1921"/>
                </a:lnTo>
                <a:lnTo>
                  <a:pt x="2209" y="1880"/>
                </a:lnTo>
                <a:lnTo>
                  <a:pt x="2278" y="1837"/>
                </a:lnTo>
                <a:lnTo>
                  <a:pt x="2340" y="1789"/>
                </a:lnTo>
                <a:lnTo>
                  <a:pt x="2396" y="1739"/>
                </a:lnTo>
                <a:lnTo>
                  <a:pt x="2445" y="1686"/>
                </a:lnTo>
                <a:lnTo>
                  <a:pt x="2456" y="1568"/>
                </a:lnTo>
                <a:lnTo>
                  <a:pt x="2460" y="1449"/>
                </a:lnTo>
                <a:lnTo>
                  <a:pt x="2455" y="1322"/>
                </a:lnTo>
                <a:lnTo>
                  <a:pt x="2443" y="1197"/>
                </a:lnTo>
                <a:lnTo>
                  <a:pt x="2423" y="1078"/>
                </a:lnTo>
                <a:lnTo>
                  <a:pt x="2394" y="960"/>
                </a:lnTo>
                <a:lnTo>
                  <a:pt x="2359" y="848"/>
                </a:lnTo>
                <a:lnTo>
                  <a:pt x="2315" y="741"/>
                </a:lnTo>
                <a:lnTo>
                  <a:pt x="2266" y="639"/>
                </a:lnTo>
                <a:lnTo>
                  <a:pt x="2212" y="542"/>
                </a:lnTo>
                <a:lnTo>
                  <a:pt x="2150" y="452"/>
                </a:lnTo>
                <a:lnTo>
                  <a:pt x="2084" y="370"/>
                </a:lnTo>
                <a:lnTo>
                  <a:pt x="2011" y="294"/>
                </a:lnTo>
                <a:lnTo>
                  <a:pt x="1935" y="225"/>
                </a:lnTo>
                <a:lnTo>
                  <a:pt x="1855" y="166"/>
                </a:lnTo>
                <a:lnTo>
                  <a:pt x="1770" y="113"/>
                </a:lnTo>
                <a:lnTo>
                  <a:pt x="1683" y="71"/>
                </a:lnTo>
                <a:lnTo>
                  <a:pt x="1590" y="39"/>
                </a:lnTo>
                <a:lnTo>
                  <a:pt x="1495" y="15"/>
                </a:lnTo>
                <a:lnTo>
                  <a:pt x="1399" y="4"/>
                </a:lnTo>
                <a:close/>
                <a:moveTo>
                  <a:pt x="1231" y="4"/>
                </a:moveTo>
                <a:lnTo>
                  <a:pt x="1135" y="15"/>
                </a:lnTo>
                <a:lnTo>
                  <a:pt x="1040" y="39"/>
                </a:lnTo>
                <a:lnTo>
                  <a:pt x="947" y="71"/>
                </a:lnTo>
                <a:lnTo>
                  <a:pt x="860" y="113"/>
                </a:lnTo>
                <a:lnTo>
                  <a:pt x="775" y="166"/>
                </a:lnTo>
                <a:lnTo>
                  <a:pt x="695" y="225"/>
                </a:lnTo>
                <a:lnTo>
                  <a:pt x="619" y="294"/>
                </a:lnTo>
                <a:lnTo>
                  <a:pt x="546" y="370"/>
                </a:lnTo>
                <a:lnTo>
                  <a:pt x="480" y="452"/>
                </a:lnTo>
                <a:lnTo>
                  <a:pt x="418" y="542"/>
                </a:lnTo>
                <a:lnTo>
                  <a:pt x="364" y="639"/>
                </a:lnTo>
                <a:lnTo>
                  <a:pt x="315" y="741"/>
                </a:lnTo>
                <a:lnTo>
                  <a:pt x="271" y="848"/>
                </a:lnTo>
                <a:lnTo>
                  <a:pt x="236" y="960"/>
                </a:lnTo>
                <a:lnTo>
                  <a:pt x="207" y="1078"/>
                </a:lnTo>
                <a:lnTo>
                  <a:pt x="187" y="1197"/>
                </a:lnTo>
                <a:lnTo>
                  <a:pt x="175" y="1322"/>
                </a:lnTo>
                <a:lnTo>
                  <a:pt x="170" y="1449"/>
                </a:lnTo>
                <a:lnTo>
                  <a:pt x="174" y="1562"/>
                </a:lnTo>
                <a:lnTo>
                  <a:pt x="184" y="1673"/>
                </a:lnTo>
                <a:lnTo>
                  <a:pt x="233" y="1729"/>
                </a:lnTo>
                <a:lnTo>
                  <a:pt x="288" y="1781"/>
                </a:lnTo>
                <a:lnTo>
                  <a:pt x="351" y="1830"/>
                </a:lnTo>
                <a:lnTo>
                  <a:pt x="420" y="1874"/>
                </a:lnTo>
                <a:lnTo>
                  <a:pt x="494" y="1916"/>
                </a:lnTo>
                <a:lnTo>
                  <a:pt x="472" y="1804"/>
                </a:lnTo>
                <a:lnTo>
                  <a:pt x="457" y="1688"/>
                </a:lnTo>
                <a:lnTo>
                  <a:pt x="447" y="1570"/>
                </a:lnTo>
                <a:lnTo>
                  <a:pt x="443" y="1449"/>
                </a:lnTo>
                <a:lnTo>
                  <a:pt x="447" y="1319"/>
                </a:lnTo>
                <a:lnTo>
                  <a:pt x="458" y="1192"/>
                </a:lnTo>
                <a:lnTo>
                  <a:pt x="475" y="1069"/>
                </a:lnTo>
                <a:lnTo>
                  <a:pt x="501" y="951"/>
                </a:lnTo>
                <a:lnTo>
                  <a:pt x="533" y="837"/>
                </a:lnTo>
                <a:lnTo>
                  <a:pt x="570" y="727"/>
                </a:lnTo>
                <a:lnTo>
                  <a:pt x="612" y="624"/>
                </a:lnTo>
                <a:lnTo>
                  <a:pt x="659" y="526"/>
                </a:lnTo>
                <a:lnTo>
                  <a:pt x="713" y="437"/>
                </a:lnTo>
                <a:lnTo>
                  <a:pt x="770" y="353"/>
                </a:lnTo>
                <a:lnTo>
                  <a:pt x="833" y="277"/>
                </a:lnTo>
                <a:lnTo>
                  <a:pt x="899" y="209"/>
                </a:lnTo>
                <a:lnTo>
                  <a:pt x="969" y="150"/>
                </a:lnTo>
                <a:lnTo>
                  <a:pt x="1042" y="101"/>
                </a:lnTo>
                <a:lnTo>
                  <a:pt x="1119" y="61"/>
                </a:lnTo>
                <a:lnTo>
                  <a:pt x="1199" y="31"/>
                </a:lnTo>
                <a:lnTo>
                  <a:pt x="1280" y="10"/>
                </a:lnTo>
                <a:lnTo>
                  <a:pt x="1256" y="7"/>
                </a:lnTo>
                <a:lnTo>
                  <a:pt x="1231" y="4"/>
                </a:lnTo>
                <a:close/>
                <a:moveTo>
                  <a:pt x="1207" y="0"/>
                </a:moveTo>
                <a:lnTo>
                  <a:pt x="1221" y="0"/>
                </a:lnTo>
                <a:lnTo>
                  <a:pt x="1229" y="2"/>
                </a:lnTo>
                <a:lnTo>
                  <a:pt x="1236" y="0"/>
                </a:lnTo>
                <a:lnTo>
                  <a:pt x="1244" y="0"/>
                </a:lnTo>
                <a:lnTo>
                  <a:pt x="1280" y="2"/>
                </a:lnTo>
                <a:lnTo>
                  <a:pt x="1313" y="5"/>
                </a:lnTo>
                <a:lnTo>
                  <a:pt x="1350" y="2"/>
                </a:lnTo>
                <a:lnTo>
                  <a:pt x="1386" y="0"/>
                </a:lnTo>
                <a:lnTo>
                  <a:pt x="1394" y="0"/>
                </a:lnTo>
                <a:lnTo>
                  <a:pt x="1401" y="2"/>
                </a:lnTo>
                <a:lnTo>
                  <a:pt x="1408" y="0"/>
                </a:lnTo>
                <a:lnTo>
                  <a:pt x="1423" y="0"/>
                </a:lnTo>
                <a:lnTo>
                  <a:pt x="1527" y="5"/>
                </a:lnTo>
                <a:lnTo>
                  <a:pt x="1629" y="21"/>
                </a:lnTo>
                <a:lnTo>
                  <a:pt x="1726" y="47"/>
                </a:lnTo>
                <a:lnTo>
                  <a:pt x="1823" y="83"/>
                </a:lnTo>
                <a:lnTo>
                  <a:pt x="1915" y="127"/>
                </a:lnTo>
                <a:lnTo>
                  <a:pt x="2003" y="179"/>
                </a:lnTo>
                <a:lnTo>
                  <a:pt x="2087" y="240"/>
                </a:lnTo>
                <a:lnTo>
                  <a:pt x="2166" y="309"/>
                </a:lnTo>
                <a:lnTo>
                  <a:pt x="2241" y="385"/>
                </a:lnTo>
                <a:lnTo>
                  <a:pt x="2310" y="467"/>
                </a:lnTo>
                <a:lnTo>
                  <a:pt x="2372" y="557"/>
                </a:lnTo>
                <a:lnTo>
                  <a:pt x="2429" y="653"/>
                </a:lnTo>
                <a:lnTo>
                  <a:pt x="2482" y="752"/>
                </a:lnTo>
                <a:lnTo>
                  <a:pt x="2526" y="859"/>
                </a:lnTo>
                <a:lnTo>
                  <a:pt x="2563" y="970"/>
                </a:lnTo>
                <a:lnTo>
                  <a:pt x="2591" y="1084"/>
                </a:lnTo>
                <a:lnTo>
                  <a:pt x="2613" y="1203"/>
                </a:lnTo>
                <a:lnTo>
                  <a:pt x="2625" y="1324"/>
                </a:lnTo>
                <a:lnTo>
                  <a:pt x="2630" y="1449"/>
                </a:lnTo>
                <a:lnTo>
                  <a:pt x="2625" y="1573"/>
                </a:lnTo>
                <a:lnTo>
                  <a:pt x="2613" y="1695"/>
                </a:lnTo>
                <a:lnTo>
                  <a:pt x="2591" y="1813"/>
                </a:lnTo>
                <a:lnTo>
                  <a:pt x="2563" y="1928"/>
                </a:lnTo>
                <a:lnTo>
                  <a:pt x="2526" y="2037"/>
                </a:lnTo>
                <a:lnTo>
                  <a:pt x="2482" y="2143"/>
                </a:lnTo>
                <a:lnTo>
                  <a:pt x="2429" y="2245"/>
                </a:lnTo>
                <a:lnTo>
                  <a:pt x="2372" y="2339"/>
                </a:lnTo>
                <a:lnTo>
                  <a:pt x="2310" y="2428"/>
                </a:lnTo>
                <a:lnTo>
                  <a:pt x="2241" y="2511"/>
                </a:lnTo>
                <a:lnTo>
                  <a:pt x="2166" y="2587"/>
                </a:lnTo>
                <a:lnTo>
                  <a:pt x="2087" y="2656"/>
                </a:lnTo>
                <a:lnTo>
                  <a:pt x="2003" y="2717"/>
                </a:lnTo>
                <a:lnTo>
                  <a:pt x="1915" y="2769"/>
                </a:lnTo>
                <a:lnTo>
                  <a:pt x="1823" y="2813"/>
                </a:lnTo>
                <a:lnTo>
                  <a:pt x="1726" y="2848"/>
                </a:lnTo>
                <a:lnTo>
                  <a:pt x="1629" y="2875"/>
                </a:lnTo>
                <a:lnTo>
                  <a:pt x="1527" y="2890"/>
                </a:lnTo>
                <a:lnTo>
                  <a:pt x="1423" y="2895"/>
                </a:lnTo>
                <a:lnTo>
                  <a:pt x="1386" y="2895"/>
                </a:lnTo>
                <a:lnTo>
                  <a:pt x="1350" y="2894"/>
                </a:lnTo>
                <a:lnTo>
                  <a:pt x="1313" y="2890"/>
                </a:lnTo>
                <a:lnTo>
                  <a:pt x="1280" y="2894"/>
                </a:lnTo>
                <a:lnTo>
                  <a:pt x="1244" y="2895"/>
                </a:lnTo>
                <a:lnTo>
                  <a:pt x="1207" y="2895"/>
                </a:lnTo>
                <a:lnTo>
                  <a:pt x="1103" y="2890"/>
                </a:lnTo>
                <a:lnTo>
                  <a:pt x="1001" y="2875"/>
                </a:lnTo>
                <a:lnTo>
                  <a:pt x="904" y="2848"/>
                </a:lnTo>
                <a:lnTo>
                  <a:pt x="807" y="2813"/>
                </a:lnTo>
                <a:lnTo>
                  <a:pt x="715" y="2769"/>
                </a:lnTo>
                <a:lnTo>
                  <a:pt x="627" y="2717"/>
                </a:lnTo>
                <a:lnTo>
                  <a:pt x="543" y="2656"/>
                </a:lnTo>
                <a:lnTo>
                  <a:pt x="464" y="2587"/>
                </a:lnTo>
                <a:lnTo>
                  <a:pt x="389" y="2511"/>
                </a:lnTo>
                <a:lnTo>
                  <a:pt x="320" y="2428"/>
                </a:lnTo>
                <a:lnTo>
                  <a:pt x="258" y="2339"/>
                </a:lnTo>
                <a:lnTo>
                  <a:pt x="201" y="2245"/>
                </a:lnTo>
                <a:lnTo>
                  <a:pt x="148" y="2143"/>
                </a:lnTo>
                <a:lnTo>
                  <a:pt x="104" y="2037"/>
                </a:lnTo>
                <a:lnTo>
                  <a:pt x="67" y="1928"/>
                </a:lnTo>
                <a:lnTo>
                  <a:pt x="39" y="1813"/>
                </a:lnTo>
                <a:lnTo>
                  <a:pt x="17" y="1695"/>
                </a:lnTo>
                <a:lnTo>
                  <a:pt x="5" y="1573"/>
                </a:lnTo>
                <a:lnTo>
                  <a:pt x="0" y="1449"/>
                </a:lnTo>
                <a:lnTo>
                  <a:pt x="5" y="1324"/>
                </a:lnTo>
                <a:lnTo>
                  <a:pt x="17" y="1203"/>
                </a:lnTo>
                <a:lnTo>
                  <a:pt x="39" y="1084"/>
                </a:lnTo>
                <a:lnTo>
                  <a:pt x="67" y="970"/>
                </a:lnTo>
                <a:lnTo>
                  <a:pt x="104" y="859"/>
                </a:lnTo>
                <a:lnTo>
                  <a:pt x="148" y="752"/>
                </a:lnTo>
                <a:lnTo>
                  <a:pt x="201" y="653"/>
                </a:lnTo>
                <a:lnTo>
                  <a:pt x="258" y="557"/>
                </a:lnTo>
                <a:lnTo>
                  <a:pt x="320" y="467"/>
                </a:lnTo>
                <a:lnTo>
                  <a:pt x="389" y="385"/>
                </a:lnTo>
                <a:lnTo>
                  <a:pt x="464" y="309"/>
                </a:lnTo>
                <a:lnTo>
                  <a:pt x="543" y="240"/>
                </a:lnTo>
                <a:lnTo>
                  <a:pt x="627" y="179"/>
                </a:lnTo>
                <a:lnTo>
                  <a:pt x="715" y="127"/>
                </a:lnTo>
                <a:lnTo>
                  <a:pt x="807" y="83"/>
                </a:lnTo>
                <a:lnTo>
                  <a:pt x="904" y="47"/>
                </a:lnTo>
                <a:lnTo>
                  <a:pt x="1001" y="21"/>
                </a:lnTo>
                <a:lnTo>
                  <a:pt x="1103" y="5"/>
                </a:lnTo>
                <a:lnTo>
                  <a:pt x="1207" y="0"/>
                </a:lnTo>
                <a:close/>
              </a:path>
            </a:pathLst>
          </a:custGeom>
          <a:solidFill>
            <a:srgbClr val="FA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/>
            <a:endParaRPr lang="en-US" strike="noStrike" noProof="1">
              <a:ln>
                <a:solidFill>
                  <a:srgbClr val="127210"/>
                </a:solidFill>
              </a:ln>
              <a:solidFill>
                <a:schemeClr val="lt1"/>
              </a:solidFill>
            </a:endParaRPr>
          </a:p>
        </p:txBody>
      </p:sp>
      <p:sp>
        <p:nvSpPr>
          <p:cNvPr id="41" name="Freeform 21"/>
          <p:cNvSpPr/>
          <p:nvPr>
            <p:custDataLst>
              <p:tags r:id="rId4"/>
            </p:custDataLst>
          </p:nvPr>
        </p:nvSpPr>
        <p:spPr bwMode="auto">
          <a:xfrm>
            <a:off x="1595438" y="2600325"/>
            <a:ext cx="2935288" cy="3856038"/>
          </a:xfrm>
          <a:custGeom>
            <a:avLst/>
            <a:gdLst/>
            <a:ahLst/>
            <a:cxnLst>
              <a:cxn ang="0">
                <a:pos x="3551" y="145"/>
              </a:cxn>
              <a:cxn ang="0">
                <a:pos x="3622" y="118"/>
              </a:cxn>
              <a:cxn ang="0">
                <a:pos x="3702" y="112"/>
              </a:cxn>
              <a:cxn ang="0">
                <a:pos x="3613" y="195"/>
              </a:cxn>
              <a:cxn ang="0">
                <a:pos x="3780" y="173"/>
              </a:cxn>
              <a:cxn ang="0">
                <a:pos x="3583" y="244"/>
              </a:cxn>
              <a:cxn ang="0">
                <a:pos x="3697" y="255"/>
              </a:cxn>
              <a:cxn ang="0">
                <a:pos x="3428" y="388"/>
              </a:cxn>
              <a:cxn ang="0">
                <a:pos x="3099" y="587"/>
              </a:cxn>
              <a:cxn ang="0">
                <a:pos x="2651" y="875"/>
              </a:cxn>
              <a:cxn ang="0">
                <a:pos x="2509" y="1017"/>
              </a:cxn>
              <a:cxn ang="0">
                <a:pos x="2530" y="2376"/>
              </a:cxn>
              <a:cxn ang="0">
                <a:pos x="2577" y="2908"/>
              </a:cxn>
              <a:cxn ang="0">
                <a:pos x="2680" y="3418"/>
              </a:cxn>
              <a:cxn ang="0">
                <a:pos x="2674" y="3822"/>
              </a:cxn>
              <a:cxn ang="0">
                <a:pos x="2671" y="4261"/>
              </a:cxn>
              <a:cxn ang="0">
                <a:pos x="2803" y="4441"/>
              </a:cxn>
              <a:cxn ang="0">
                <a:pos x="2779" y="4567"/>
              </a:cxn>
              <a:cxn ang="0">
                <a:pos x="2752" y="4676"/>
              </a:cxn>
              <a:cxn ang="0">
                <a:pos x="2799" y="4705"/>
              </a:cxn>
              <a:cxn ang="0">
                <a:pos x="3014" y="4786"/>
              </a:cxn>
              <a:cxn ang="0">
                <a:pos x="2785" y="4967"/>
              </a:cxn>
              <a:cxn ang="0">
                <a:pos x="2461" y="4929"/>
              </a:cxn>
              <a:cxn ang="0">
                <a:pos x="2365" y="4783"/>
              </a:cxn>
              <a:cxn ang="0">
                <a:pos x="2416" y="4667"/>
              </a:cxn>
              <a:cxn ang="0">
                <a:pos x="2351" y="4510"/>
              </a:cxn>
              <a:cxn ang="0">
                <a:pos x="2297" y="4136"/>
              </a:cxn>
              <a:cxn ang="0">
                <a:pos x="2141" y="2760"/>
              </a:cxn>
              <a:cxn ang="0">
                <a:pos x="2009" y="3107"/>
              </a:cxn>
              <a:cxn ang="0">
                <a:pos x="1559" y="4825"/>
              </a:cxn>
              <a:cxn ang="0">
                <a:pos x="1095" y="4959"/>
              </a:cxn>
              <a:cxn ang="0">
                <a:pos x="1125" y="4786"/>
              </a:cxn>
              <a:cxn ang="0">
                <a:pos x="1244" y="4418"/>
              </a:cxn>
              <a:cxn ang="0">
                <a:pos x="1348" y="3780"/>
              </a:cxn>
              <a:cxn ang="0">
                <a:pos x="1474" y="3006"/>
              </a:cxn>
              <a:cxn ang="0">
                <a:pos x="1528" y="2309"/>
              </a:cxn>
              <a:cxn ang="0">
                <a:pos x="1145" y="1397"/>
              </a:cxn>
              <a:cxn ang="0">
                <a:pos x="421" y="1471"/>
              </a:cxn>
              <a:cxn ang="0">
                <a:pos x="251" y="1542"/>
              </a:cxn>
              <a:cxn ang="0">
                <a:pos x="160" y="1534"/>
              </a:cxn>
              <a:cxn ang="0">
                <a:pos x="70" y="1534"/>
              </a:cxn>
              <a:cxn ang="0">
                <a:pos x="0" y="1486"/>
              </a:cxn>
              <a:cxn ang="0">
                <a:pos x="17" y="1397"/>
              </a:cxn>
              <a:cxn ang="0">
                <a:pos x="183" y="1371"/>
              </a:cxn>
              <a:cxn ang="0">
                <a:pos x="213" y="1213"/>
              </a:cxn>
              <a:cxn ang="0">
                <a:pos x="302" y="1342"/>
              </a:cxn>
              <a:cxn ang="0">
                <a:pos x="676" y="1312"/>
              </a:cxn>
              <a:cxn ang="0">
                <a:pos x="976" y="1232"/>
              </a:cxn>
              <a:cxn ang="0">
                <a:pos x="1279" y="1103"/>
              </a:cxn>
              <a:cxn ang="0">
                <a:pos x="1661" y="842"/>
              </a:cxn>
              <a:cxn ang="0">
                <a:pos x="1888" y="751"/>
              </a:cxn>
              <a:cxn ang="0">
                <a:pos x="1816" y="510"/>
              </a:cxn>
              <a:cxn ang="0">
                <a:pos x="1762" y="192"/>
              </a:cxn>
              <a:cxn ang="0">
                <a:pos x="2114" y="71"/>
              </a:cxn>
              <a:cxn ang="0">
                <a:pos x="2255" y="303"/>
              </a:cxn>
              <a:cxn ang="0">
                <a:pos x="2217" y="620"/>
              </a:cxn>
              <a:cxn ang="0">
                <a:pos x="2137" y="707"/>
              </a:cxn>
              <a:cxn ang="0">
                <a:pos x="2918" y="471"/>
              </a:cxn>
              <a:cxn ang="0">
                <a:pos x="3274" y="300"/>
              </a:cxn>
              <a:cxn ang="0">
                <a:pos x="3334" y="39"/>
              </a:cxn>
              <a:cxn ang="0">
                <a:pos x="3382" y="124"/>
              </a:cxn>
              <a:cxn ang="0">
                <a:pos x="3489" y="109"/>
              </a:cxn>
            </a:cxnLst>
            <a:rect l="0" t="0" r="r" b="b"/>
            <a:pathLst>
              <a:path w="3783" h="4970">
                <a:moveTo>
                  <a:pt x="3590" y="0"/>
                </a:moveTo>
                <a:lnTo>
                  <a:pt x="3596" y="0"/>
                </a:lnTo>
                <a:lnTo>
                  <a:pt x="3599" y="3"/>
                </a:lnTo>
                <a:lnTo>
                  <a:pt x="3599" y="12"/>
                </a:lnTo>
                <a:lnTo>
                  <a:pt x="3598" y="26"/>
                </a:lnTo>
                <a:lnTo>
                  <a:pt x="3592" y="44"/>
                </a:lnTo>
                <a:lnTo>
                  <a:pt x="3581" y="69"/>
                </a:lnTo>
                <a:lnTo>
                  <a:pt x="3568" y="101"/>
                </a:lnTo>
                <a:lnTo>
                  <a:pt x="3559" y="125"/>
                </a:lnTo>
                <a:lnTo>
                  <a:pt x="3551" y="145"/>
                </a:lnTo>
                <a:lnTo>
                  <a:pt x="3548" y="157"/>
                </a:lnTo>
                <a:lnTo>
                  <a:pt x="3547" y="164"/>
                </a:lnTo>
                <a:lnTo>
                  <a:pt x="3550" y="169"/>
                </a:lnTo>
                <a:lnTo>
                  <a:pt x="3553" y="169"/>
                </a:lnTo>
                <a:lnTo>
                  <a:pt x="3560" y="164"/>
                </a:lnTo>
                <a:lnTo>
                  <a:pt x="3569" y="158"/>
                </a:lnTo>
                <a:lnTo>
                  <a:pt x="3580" y="149"/>
                </a:lnTo>
                <a:lnTo>
                  <a:pt x="3592" y="140"/>
                </a:lnTo>
                <a:lnTo>
                  <a:pt x="3607" y="128"/>
                </a:lnTo>
                <a:lnTo>
                  <a:pt x="3622" y="118"/>
                </a:lnTo>
                <a:lnTo>
                  <a:pt x="3639" y="106"/>
                </a:lnTo>
                <a:lnTo>
                  <a:pt x="3657" y="95"/>
                </a:lnTo>
                <a:lnTo>
                  <a:pt x="3676" y="86"/>
                </a:lnTo>
                <a:lnTo>
                  <a:pt x="3696" y="78"/>
                </a:lnTo>
                <a:lnTo>
                  <a:pt x="3716" y="72"/>
                </a:lnTo>
                <a:lnTo>
                  <a:pt x="3737" y="71"/>
                </a:lnTo>
                <a:lnTo>
                  <a:pt x="3735" y="78"/>
                </a:lnTo>
                <a:lnTo>
                  <a:pt x="3729" y="88"/>
                </a:lnTo>
                <a:lnTo>
                  <a:pt x="3717" y="98"/>
                </a:lnTo>
                <a:lnTo>
                  <a:pt x="3702" y="112"/>
                </a:lnTo>
                <a:lnTo>
                  <a:pt x="3685" y="124"/>
                </a:lnTo>
                <a:lnTo>
                  <a:pt x="3667" y="137"/>
                </a:lnTo>
                <a:lnTo>
                  <a:pt x="3651" y="149"/>
                </a:lnTo>
                <a:lnTo>
                  <a:pt x="3636" y="161"/>
                </a:lnTo>
                <a:lnTo>
                  <a:pt x="3622" y="173"/>
                </a:lnTo>
                <a:lnTo>
                  <a:pt x="3610" y="183"/>
                </a:lnTo>
                <a:lnTo>
                  <a:pt x="3604" y="189"/>
                </a:lnTo>
                <a:lnTo>
                  <a:pt x="3601" y="193"/>
                </a:lnTo>
                <a:lnTo>
                  <a:pt x="3604" y="196"/>
                </a:lnTo>
                <a:lnTo>
                  <a:pt x="3613" y="195"/>
                </a:lnTo>
                <a:lnTo>
                  <a:pt x="3630" y="193"/>
                </a:lnTo>
                <a:lnTo>
                  <a:pt x="3652" y="187"/>
                </a:lnTo>
                <a:lnTo>
                  <a:pt x="3682" y="180"/>
                </a:lnTo>
                <a:lnTo>
                  <a:pt x="3716" y="170"/>
                </a:lnTo>
                <a:lnTo>
                  <a:pt x="3741" y="166"/>
                </a:lnTo>
                <a:lnTo>
                  <a:pt x="3761" y="163"/>
                </a:lnTo>
                <a:lnTo>
                  <a:pt x="3774" y="163"/>
                </a:lnTo>
                <a:lnTo>
                  <a:pt x="3782" y="164"/>
                </a:lnTo>
                <a:lnTo>
                  <a:pt x="3783" y="167"/>
                </a:lnTo>
                <a:lnTo>
                  <a:pt x="3780" y="173"/>
                </a:lnTo>
                <a:lnTo>
                  <a:pt x="3771" y="180"/>
                </a:lnTo>
                <a:lnTo>
                  <a:pt x="3744" y="193"/>
                </a:lnTo>
                <a:lnTo>
                  <a:pt x="3725" y="201"/>
                </a:lnTo>
                <a:lnTo>
                  <a:pt x="3703" y="208"/>
                </a:lnTo>
                <a:lnTo>
                  <a:pt x="3679" y="214"/>
                </a:lnTo>
                <a:lnTo>
                  <a:pt x="3652" y="222"/>
                </a:lnTo>
                <a:lnTo>
                  <a:pt x="3625" y="226"/>
                </a:lnTo>
                <a:lnTo>
                  <a:pt x="3608" y="231"/>
                </a:lnTo>
                <a:lnTo>
                  <a:pt x="3595" y="237"/>
                </a:lnTo>
                <a:lnTo>
                  <a:pt x="3583" y="244"/>
                </a:lnTo>
                <a:lnTo>
                  <a:pt x="3577" y="252"/>
                </a:lnTo>
                <a:lnTo>
                  <a:pt x="3574" y="259"/>
                </a:lnTo>
                <a:lnTo>
                  <a:pt x="3575" y="266"/>
                </a:lnTo>
                <a:lnTo>
                  <a:pt x="3583" y="269"/>
                </a:lnTo>
                <a:lnTo>
                  <a:pt x="3596" y="269"/>
                </a:lnTo>
                <a:lnTo>
                  <a:pt x="3621" y="266"/>
                </a:lnTo>
                <a:lnTo>
                  <a:pt x="3643" y="262"/>
                </a:lnTo>
                <a:lnTo>
                  <a:pt x="3664" y="259"/>
                </a:lnTo>
                <a:lnTo>
                  <a:pt x="3682" y="258"/>
                </a:lnTo>
                <a:lnTo>
                  <a:pt x="3697" y="255"/>
                </a:lnTo>
                <a:lnTo>
                  <a:pt x="3714" y="255"/>
                </a:lnTo>
                <a:lnTo>
                  <a:pt x="3717" y="256"/>
                </a:lnTo>
                <a:lnTo>
                  <a:pt x="3713" y="259"/>
                </a:lnTo>
                <a:lnTo>
                  <a:pt x="3702" y="266"/>
                </a:lnTo>
                <a:lnTo>
                  <a:pt x="3685" y="273"/>
                </a:lnTo>
                <a:lnTo>
                  <a:pt x="3661" y="284"/>
                </a:lnTo>
                <a:lnTo>
                  <a:pt x="3630" y="297"/>
                </a:lnTo>
                <a:lnTo>
                  <a:pt x="3562" y="326"/>
                </a:lnTo>
                <a:lnTo>
                  <a:pt x="3492" y="356"/>
                </a:lnTo>
                <a:lnTo>
                  <a:pt x="3428" y="388"/>
                </a:lnTo>
                <a:lnTo>
                  <a:pt x="3369" y="422"/>
                </a:lnTo>
                <a:lnTo>
                  <a:pt x="3334" y="447"/>
                </a:lnTo>
                <a:lnTo>
                  <a:pt x="3304" y="472"/>
                </a:lnTo>
                <a:lnTo>
                  <a:pt x="3275" y="495"/>
                </a:lnTo>
                <a:lnTo>
                  <a:pt x="3248" y="517"/>
                </a:lnTo>
                <a:lnTo>
                  <a:pt x="3218" y="535"/>
                </a:lnTo>
                <a:lnTo>
                  <a:pt x="3186" y="549"/>
                </a:lnTo>
                <a:lnTo>
                  <a:pt x="3162" y="558"/>
                </a:lnTo>
                <a:lnTo>
                  <a:pt x="3134" y="570"/>
                </a:lnTo>
                <a:lnTo>
                  <a:pt x="3099" y="587"/>
                </a:lnTo>
                <a:lnTo>
                  <a:pt x="3061" y="603"/>
                </a:lnTo>
                <a:lnTo>
                  <a:pt x="2977" y="646"/>
                </a:lnTo>
                <a:lnTo>
                  <a:pt x="2846" y="718"/>
                </a:lnTo>
                <a:lnTo>
                  <a:pt x="2805" y="744"/>
                </a:lnTo>
                <a:lnTo>
                  <a:pt x="2766" y="768"/>
                </a:lnTo>
                <a:lnTo>
                  <a:pt x="2732" y="792"/>
                </a:lnTo>
                <a:lnTo>
                  <a:pt x="2702" y="815"/>
                </a:lnTo>
                <a:lnTo>
                  <a:pt x="2678" y="837"/>
                </a:lnTo>
                <a:lnTo>
                  <a:pt x="2660" y="857"/>
                </a:lnTo>
                <a:lnTo>
                  <a:pt x="2651" y="875"/>
                </a:lnTo>
                <a:lnTo>
                  <a:pt x="2651" y="897"/>
                </a:lnTo>
                <a:lnTo>
                  <a:pt x="2657" y="920"/>
                </a:lnTo>
                <a:lnTo>
                  <a:pt x="2666" y="943"/>
                </a:lnTo>
                <a:lnTo>
                  <a:pt x="2675" y="967"/>
                </a:lnTo>
                <a:lnTo>
                  <a:pt x="2668" y="970"/>
                </a:lnTo>
                <a:lnTo>
                  <a:pt x="2654" y="973"/>
                </a:lnTo>
                <a:lnTo>
                  <a:pt x="2634" y="979"/>
                </a:lnTo>
                <a:lnTo>
                  <a:pt x="2610" y="986"/>
                </a:lnTo>
                <a:lnTo>
                  <a:pt x="2533" y="1009"/>
                </a:lnTo>
                <a:lnTo>
                  <a:pt x="2509" y="1017"/>
                </a:lnTo>
                <a:lnTo>
                  <a:pt x="2490" y="1023"/>
                </a:lnTo>
                <a:lnTo>
                  <a:pt x="2476" y="1027"/>
                </a:lnTo>
                <a:lnTo>
                  <a:pt x="2469" y="1030"/>
                </a:lnTo>
                <a:lnTo>
                  <a:pt x="2641" y="2326"/>
                </a:lnTo>
                <a:lnTo>
                  <a:pt x="2618" y="2327"/>
                </a:lnTo>
                <a:lnTo>
                  <a:pt x="2600" y="2332"/>
                </a:lnTo>
                <a:lnTo>
                  <a:pt x="2583" y="2336"/>
                </a:lnTo>
                <a:lnTo>
                  <a:pt x="2565" y="2341"/>
                </a:lnTo>
                <a:lnTo>
                  <a:pt x="2543" y="2342"/>
                </a:lnTo>
                <a:lnTo>
                  <a:pt x="2530" y="2376"/>
                </a:lnTo>
                <a:lnTo>
                  <a:pt x="2523" y="2416"/>
                </a:lnTo>
                <a:lnTo>
                  <a:pt x="2518" y="2460"/>
                </a:lnTo>
                <a:lnTo>
                  <a:pt x="2517" y="2510"/>
                </a:lnTo>
                <a:lnTo>
                  <a:pt x="2520" y="2563"/>
                </a:lnTo>
                <a:lnTo>
                  <a:pt x="2524" y="2617"/>
                </a:lnTo>
                <a:lnTo>
                  <a:pt x="2532" y="2676"/>
                </a:lnTo>
                <a:lnTo>
                  <a:pt x="2541" y="2733"/>
                </a:lnTo>
                <a:lnTo>
                  <a:pt x="2552" y="2792"/>
                </a:lnTo>
                <a:lnTo>
                  <a:pt x="2564" y="2851"/>
                </a:lnTo>
                <a:lnTo>
                  <a:pt x="2577" y="2908"/>
                </a:lnTo>
                <a:lnTo>
                  <a:pt x="2589" y="2962"/>
                </a:lnTo>
                <a:lnTo>
                  <a:pt x="2603" y="3015"/>
                </a:lnTo>
                <a:lnTo>
                  <a:pt x="2616" y="3063"/>
                </a:lnTo>
                <a:lnTo>
                  <a:pt x="2628" y="3107"/>
                </a:lnTo>
                <a:lnTo>
                  <a:pt x="2639" y="3146"/>
                </a:lnTo>
                <a:lnTo>
                  <a:pt x="2648" y="3178"/>
                </a:lnTo>
                <a:lnTo>
                  <a:pt x="2665" y="3243"/>
                </a:lnTo>
                <a:lnTo>
                  <a:pt x="2675" y="3305"/>
                </a:lnTo>
                <a:lnTo>
                  <a:pt x="2680" y="3362"/>
                </a:lnTo>
                <a:lnTo>
                  <a:pt x="2680" y="3418"/>
                </a:lnTo>
                <a:lnTo>
                  <a:pt x="2675" y="3471"/>
                </a:lnTo>
                <a:lnTo>
                  <a:pt x="2669" y="3520"/>
                </a:lnTo>
                <a:lnTo>
                  <a:pt x="2663" y="3567"/>
                </a:lnTo>
                <a:lnTo>
                  <a:pt x="2656" y="3612"/>
                </a:lnTo>
                <a:lnTo>
                  <a:pt x="2650" y="3655"/>
                </a:lnTo>
                <a:lnTo>
                  <a:pt x="2647" y="3694"/>
                </a:lnTo>
                <a:lnTo>
                  <a:pt x="2648" y="3732"/>
                </a:lnTo>
                <a:lnTo>
                  <a:pt x="2653" y="3766"/>
                </a:lnTo>
                <a:lnTo>
                  <a:pt x="2665" y="3800"/>
                </a:lnTo>
                <a:lnTo>
                  <a:pt x="2674" y="3822"/>
                </a:lnTo>
                <a:lnTo>
                  <a:pt x="2680" y="3852"/>
                </a:lnTo>
                <a:lnTo>
                  <a:pt x="2684" y="3889"/>
                </a:lnTo>
                <a:lnTo>
                  <a:pt x="2687" y="3929"/>
                </a:lnTo>
                <a:lnTo>
                  <a:pt x="2689" y="3974"/>
                </a:lnTo>
                <a:lnTo>
                  <a:pt x="2689" y="4067"/>
                </a:lnTo>
                <a:lnTo>
                  <a:pt x="2686" y="4113"/>
                </a:lnTo>
                <a:lnTo>
                  <a:pt x="2683" y="4157"/>
                </a:lnTo>
                <a:lnTo>
                  <a:pt x="2680" y="4196"/>
                </a:lnTo>
                <a:lnTo>
                  <a:pt x="2675" y="4232"/>
                </a:lnTo>
                <a:lnTo>
                  <a:pt x="2671" y="4261"/>
                </a:lnTo>
                <a:lnTo>
                  <a:pt x="2665" y="4282"/>
                </a:lnTo>
                <a:lnTo>
                  <a:pt x="2675" y="4297"/>
                </a:lnTo>
                <a:lnTo>
                  <a:pt x="2689" y="4311"/>
                </a:lnTo>
                <a:lnTo>
                  <a:pt x="2705" y="4324"/>
                </a:lnTo>
                <a:lnTo>
                  <a:pt x="2760" y="4365"/>
                </a:lnTo>
                <a:lnTo>
                  <a:pt x="2776" y="4379"/>
                </a:lnTo>
                <a:lnTo>
                  <a:pt x="2790" y="4394"/>
                </a:lnTo>
                <a:lnTo>
                  <a:pt x="2800" y="4409"/>
                </a:lnTo>
                <a:lnTo>
                  <a:pt x="2805" y="4424"/>
                </a:lnTo>
                <a:lnTo>
                  <a:pt x="2803" y="4441"/>
                </a:lnTo>
                <a:lnTo>
                  <a:pt x="2796" y="4460"/>
                </a:lnTo>
                <a:lnTo>
                  <a:pt x="2779" y="4480"/>
                </a:lnTo>
                <a:lnTo>
                  <a:pt x="2761" y="4499"/>
                </a:lnTo>
                <a:lnTo>
                  <a:pt x="2751" y="4516"/>
                </a:lnTo>
                <a:lnTo>
                  <a:pt x="2746" y="4530"/>
                </a:lnTo>
                <a:lnTo>
                  <a:pt x="2746" y="4540"/>
                </a:lnTo>
                <a:lnTo>
                  <a:pt x="2751" y="4549"/>
                </a:lnTo>
                <a:lnTo>
                  <a:pt x="2758" y="4557"/>
                </a:lnTo>
                <a:lnTo>
                  <a:pt x="2767" y="4563"/>
                </a:lnTo>
                <a:lnTo>
                  <a:pt x="2779" y="4567"/>
                </a:lnTo>
                <a:lnTo>
                  <a:pt x="2791" y="4573"/>
                </a:lnTo>
                <a:lnTo>
                  <a:pt x="2812" y="4585"/>
                </a:lnTo>
                <a:lnTo>
                  <a:pt x="2820" y="4593"/>
                </a:lnTo>
                <a:lnTo>
                  <a:pt x="2826" y="4602"/>
                </a:lnTo>
                <a:lnTo>
                  <a:pt x="2826" y="4614"/>
                </a:lnTo>
                <a:lnTo>
                  <a:pt x="2821" y="4629"/>
                </a:lnTo>
                <a:lnTo>
                  <a:pt x="2812" y="4646"/>
                </a:lnTo>
                <a:lnTo>
                  <a:pt x="2796" y="4667"/>
                </a:lnTo>
                <a:lnTo>
                  <a:pt x="2773" y="4668"/>
                </a:lnTo>
                <a:lnTo>
                  <a:pt x="2752" y="4676"/>
                </a:lnTo>
                <a:lnTo>
                  <a:pt x="2737" y="4686"/>
                </a:lnTo>
                <a:lnTo>
                  <a:pt x="2725" y="4703"/>
                </a:lnTo>
                <a:lnTo>
                  <a:pt x="2717" y="4724"/>
                </a:lnTo>
                <a:lnTo>
                  <a:pt x="2714" y="4750"/>
                </a:lnTo>
                <a:lnTo>
                  <a:pt x="2717" y="4735"/>
                </a:lnTo>
                <a:lnTo>
                  <a:pt x="2726" y="4724"/>
                </a:lnTo>
                <a:lnTo>
                  <a:pt x="2740" y="4715"/>
                </a:lnTo>
                <a:lnTo>
                  <a:pt x="2757" y="4709"/>
                </a:lnTo>
                <a:lnTo>
                  <a:pt x="2776" y="4706"/>
                </a:lnTo>
                <a:lnTo>
                  <a:pt x="2799" y="4705"/>
                </a:lnTo>
                <a:lnTo>
                  <a:pt x="2844" y="4705"/>
                </a:lnTo>
                <a:lnTo>
                  <a:pt x="2886" y="4708"/>
                </a:lnTo>
                <a:lnTo>
                  <a:pt x="2904" y="4709"/>
                </a:lnTo>
                <a:lnTo>
                  <a:pt x="2918" y="4709"/>
                </a:lnTo>
                <a:lnTo>
                  <a:pt x="2944" y="4712"/>
                </a:lnTo>
                <a:lnTo>
                  <a:pt x="2966" y="4720"/>
                </a:lnTo>
                <a:lnTo>
                  <a:pt x="2983" y="4732"/>
                </a:lnTo>
                <a:lnTo>
                  <a:pt x="2996" y="4747"/>
                </a:lnTo>
                <a:lnTo>
                  <a:pt x="3007" y="4765"/>
                </a:lnTo>
                <a:lnTo>
                  <a:pt x="3014" y="4786"/>
                </a:lnTo>
                <a:lnTo>
                  <a:pt x="3020" y="4810"/>
                </a:lnTo>
                <a:lnTo>
                  <a:pt x="3023" y="4834"/>
                </a:lnTo>
                <a:lnTo>
                  <a:pt x="3025" y="4858"/>
                </a:lnTo>
                <a:lnTo>
                  <a:pt x="3025" y="4953"/>
                </a:lnTo>
                <a:lnTo>
                  <a:pt x="2998" y="4953"/>
                </a:lnTo>
                <a:lnTo>
                  <a:pt x="2969" y="4955"/>
                </a:lnTo>
                <a:lnTo>
                  <a:pt x="2936" y="4956"/>
                </a:lnTo>
                <a:lnTo>
                  <a:pt x="2864" y="4962"/>
                </a:lnTo>
                <a:lnTo>
                  <a:pt x="2824" y="4964"/>
                </a:lnTo>
                <a:lnTo>
                  <a:pt x="2785" y="4967"/>
                </a:lnTo>
                <a:lnTo>
                  <a:pt x="2746" y="4968"/>
                </a:lnTo>
                <a:lnTo>
                  <a:pt x="2705" y="4970"/>
                </a:lnTo>
                <a:lnTo>
                  <a:pt x="2668" y="4970"/>
                </a:lnTo>
                <a:lnTo>
                  <a:pt x="2630" y="4968"/>
                </a:lnTo>
                <a:lnTo>
                  <a:pt x="2594" y="4967"/>
                </a:lnTo>
                <a:lnTo>
                  <a:pt x="2561" y="4962"/>
                </a:lnTo>
                <a:lnTo>
                  <a:pt x="2530" y="4958"/>
                </a:lnTo>
                <a:lnTo>
                  <a:pt x="2503" y="4950"/>
                </a:lnTo>
                <a:lnTo>
                  <a:pt x="2479" y="4941"/>
                </a:lnTo>
                <a:lnTo>
                  <a:pt x="2461" y="4929"/>
                </a:lnTo>
                <a:lnTo>
                  <a:pt x="2446" y="4916"/>
                </a:lnTo>
                <a:lnTo>
                  <a:pt x="2438" y="4898"/>
                </a:lnTo>
                <a:lnTo>
                  <a:pt x="2435" y="4878"/>
                </a:lnTo>
                <a:lnTo>
                  <a:pt x="2440" y="4855"/>
                </a:lnTo>
                <a:lnTo>
                  <a:pt x="2451" y="4828"/>
                </a:lnTo>
                <a:lnTo>
                  <a:pt x="2469" y="4798"/>
                </a:lnTo>
                <a:lnTo>
                  <a:pt x="2431" y="4797"/>
                </a:lnTo>
                <a:lnTo>
                  <a:pt x="2402" y="4794"/>
                </a:lnTo>
                <a:lnTo>
                  <a:pt x="2380" y="4789"/>
                </a:lnTo>
                <a:lnTo>
                  <a:pt x="2365" y="4783"/>
                </a:lnTo>
                <a:lnTo>
                  <a:pt x="2356" y="4775"/>
                </a:lnTo>
                <a:lnTo>
                  <a:pt x="2351" y="4766"/>
                </a:lnTo>
                <a:lnTo>
                  <a:pt x="2351" y="4757"/>
                </a:lnTo>
                <a:lnTo>
                  <a:pt x="2354" y="4747"/>
                </a:lnTo>
                <a:lnTo>
                  <a:pt x="2369" y="4726"/>
                </a:lnTo>
                <a:lnTo>
                  <a:pt x="2378" y="4714"/>
                </a:lnTo>
                <a:lnTo>
                  <a:pt x="2389" y="4703"/>
                </a:lnTo>
                <a:lnTo>
                  <a:pt x="2398" y="4692"/>
                </a:lnTo>
                <a:lnTo>
                  <a:pt x="2413" y="4674"/>
                </a:lnTo>
                <a:lnTo>
                  <a:pt x="2416" y="4667"/>
                </a:lnTo>
                <a:lnTo>
                  <a:pt x="2416" y="4661"/>
                </a:lnTo>
                <a:lnTo>
                  <a:pt x="2411" y="4656"/>
                </a:lnTo>
                <a:lnTo>
                  <a:pt x="2402" y="4653"/>
                </a:lnTo>
                <a:lnTo>
                  <a:pt x="2387" y="4652"/>
                </a:lnTo>
                <a:lnTo>
                  <a:pt x="2383" y="4647"/>
                </a:lnTo>
                <a:lnTo>
                  <a:pt x="2377" y="4634"/>
                </a:lnTo>
                <a:lnTo>
                  <a:pt x="2371" y="4611"/>
                </a:lnTo>
                <a:lnTo>
                  <a:pt x="2365" y="4582"/>
                </a:lnTo>
                <a:lnTo>
                  <a:pt x="2359" y="4549"/>
                </a:lnTo>
                <a:lnTo>
                  <a:pt x="2351" y="4510"/>
                </a:lnTo>
                <a:lnTo>
                  <a:pt x="2345" y="4468"/>
                </a:lnTo>
                <a:lnTo>
                  <a:pt x="2339" y="4424"/>
                </a:lnTo>
                <a:lnTo>
                  <a:pt x="2331" y="4380"/>
                </a:lnTo>
                <a:lnTo>
                  <a:pt x="2325" y="4335"/>
                </a:lnTo>
                <a:lnTo>
                  <a:pt x="2319" y="4291"/>
                </a:lnTo>
                <a:lnTo>
                  <a:pt x="2315" y="4251"/>
                </a:lnTo>
                <a:lnTo>
                  <a:pt x="2309" y="4214"/>
                </a:lnTo>
                <a:lnTo>
                  <a:pt x="2304" y="4181"/>
                </a:lnTo>
                <a:lnTo>
                  <a:pt x="2300" y="4155"/>
                </a:lnTo>
                <a:lnTo>
                  <a:pt x="2297" y="4136"/>
                </a:lnTo>
                <a:lnTo>
                  <a:pt x="2092" y="2916"/>
                </a:lnTo>
                <a:lnTo>
                  <a:pt x="2105" y="2913"/>
                </a:lnTo>
                <a:lnTo>
                  <a:pt x="2116" y="2904"/>
                </a:lnTo>
                <a:lnTo>
                  <a:pt x="2125" y="2890"/>
                </a:lnTo>
                <a:lnTo>
                  <a:pt x="2131" y="2873"/>
                </a:lnTo>
                <a:lnTo>
                  <a:pt x="2135" y="2854"/>
                </a:lnTo>
                <a:lnTo>
                  <a:pt x="2138" y="2833"/>
                </a:lnTo>
                <a:lnTo>
                  <a:pt x="2140" y="2812"/>
                </a:lnTo>
                <a:lnTo>
                  <a:pt x="2141" y="2792"/>
                </a:lnTo>
                <a:lnTo>
                  <a:pt x="2141" y="2760"/>
                </a:lnTo>
                <a:lnTo>
                  <a:pt x="2138" y="2777"/>
                </a:lnTo>
                <a:lnTo>
                  <a:pt x="2129" y="2796"/>
                </a:lnTo>
                <a:lnTo>
                  <a:pt x="2116" y="2818"/>
                </a:lnTo>
                <a:lnTo>
                  <a:pt x="2099" y="2837"/>
                </a:lnTo>
                <a:lnTo>
                  <a:pt x="2081" y="2855"/>
                </a:lnTo>
                <a:lnTo>
                  <a:pt x="2062" y="2867"/>
                </a:lnTo>
                <a:lnTo>
                  <a:pt x="2043" y="2875"/>
                </a:lnTo>
                <a:lnTo>
                  <a:pt x="2039" y="2953"/>
                </a:lnTo>
                <a:lnTo>
                  <a:pt x="2027" y="3030"/>
                </a:lnTo>
                <a:lnTo>
                  <a:pt x="2009" y="3107"/>
                </a:lnTo>
                <a:lnTo>
                  <a:pt x="1985" y="3183"/>
                </a:lnTo>
                <a:lnTo>
                  <a:pt x="1958" y="3258"/>
                </a:lnTo>
                <a:lnTo>
                  <a:pt x="1863" y="3480"/>
                </a:lnTo>
                <a:lnTo>
                  <a:pt x="1831" y="3555"/>
                </a:lnTo>
                <a:lnTo>
                  <a:pt x="1802" y="3629"/>
                </a:lnTo>
                <a:lnTo>
                  <a:pt x="1777" y="3705"/>
                </a:lnTo>
                <a:lnTo>
                  <a:pt x="1755" y="3780"/>
                </a:lnTo>
                <a:lnTo>
                  <a:pt x="1740" y="3857"/>
                </a:lnTo>
                <a:lnTo>
                  <a:pt x="1576" y="4822"/>
                </a:lnTo>
                <a:lnTo>
                  <a:pt x="1559" y="4825"/>
                </a:lnTo>
                <a:lnTo>
                  <a:pt x="1541" y="4831"/>
                </a:lnTo>
                <a:lnTo>
                  <a:pt x="1523" y="4840"/>
                </a:lnTo>
                <a:lnTo>
                  <a:pt x="1507" y="4849"/>
                </a:lnTo>
                <a:lnTo>
                  <a:pt x="1495" y="4855"/>
                </a:lnTo>
                <a:lnTo>
                  <a:pt x="1484" y="4881"/>
                </a:lnTo>
                <a:lnTo>
                  <a:pt x="1478" y="4907"/>
                </a:lnTo>
                <a:lnTo>
                  <a:pt x="1472" y="4934"/>
                </a:lnTo>
                <a:lnTo>
                  <a:pt x="1461" y="4962"/>
                </a:lnTo>
                <a:lnTo>
                  <a:pt x="1119" y="4962"/>
                </a:lnTo>
                <a:lnTo>
                  <a:pt x="1095" y="4959"/>
                </a:lnTo>
                <a:lnTo>
                  <a:pt x="1079" y="4952"/>
                </a:lnTo>
                <a:lnTo>
                  <a:pt x="1066" y="4941"/>
                </a:lnTo>
                <a:lnTo>
                  <a:pt x="1059" y="4926"/>
                </a:lnTo>
                <a:lnTo>
                  <a:pt x="1056" y="4910"/>
                </a:lnTo>
                <a:lnTo>
                  <a:pt x="1057" y="4890"/>
                </a:lnTo>
                <a:lnTo>
                  <a:pt x="1062" y="4870"/>
                </a:lnTo>
                <a:lnTo>
                  <a:pt x="1069" y="4851"/>
                </a:lnTo>
                <a:lnTo>
                  <a:pt x="1094" y="4815"/>
                </a:lnTo>
                <a:lnTo>
                  <a:pt x="1109" y="4800"/>
                </a:lnTo>
                <a:lnTo>
                  <a:pt x="1125" y="4786"/>
                </a:lnTo>
                <a:lnTo>
                  <a:pt x="1142" y="4778"/>
                </a:lnTo>
                <a:lnTo>
                  <a:pt x="1160" y="4774"/>
                </a:lnTo>
                <a:lnTo>
                  <a:pt x="1164" y="4670"/>
                </a:lnTo>
                <a:lnTo>
                  <a:pt x="1175" y="4566"/>
                </a:lnTo>
                <a:lnTo>
                  <a:pt x="1193" y="4459"/>
                </a:lnTo>
                <a:lnTo>
                  <a:pt x="1199" y="4445"/>
                </a:lnTo>
                <a:lnTo>
                  <a:pt x="1208" y="4435"/>
                </a:lnTo>
                <a:lnTo>
                  <a:pt x="1219" y="4429"/>
                </a:lnTo>
                <a:lnTo>
                  <a:pt x="1232" y="4422"/>
                </a:lnTo>
                <a:lnTo>
                  <a:pt x="1244" y="4418"/>
                </a:lnTo>
                <a:lnTo>
                  <a:pt x="1256" y="4410"/>
                </a:lnTo>
                <a:lnTo>
                  <a:pt x="1265" y="4401"/>
                </a:lnTo>
                <a:lnTo>
                  <a:pt x="1272" y="4386"/>
                </a:lnTo>
                <a:lnTo>
                  <a:pt x="1288" y="4305"/>
                </a:lnTo>
                <a:lnTo>
                  <a:pt x="1300" y="4220"/>
                </a:lnTo>
                <a:lnTo>
                  <a:pt x="1308" y="4134"/>
                </a:lnTo>
                <a:lnTo>
                  <a:pt x="1315" y="4047"/>
                </a:lnTo>
                <a:lnTo>
                  <a:pt x="1324" y="3959"/>
                </a:lnTo>
                <a:lnTo>
                  <a:pt x="1335" y="3869"/>
                </a:lnTo>
                <a:lnTo>
                  <a:pt x="1348" y="3780"/>
                </a:lnTo>
                <a:lnTo>
                  <a:pt x="1365" y="3701"/>
                </a:lnTo>
                <a:lnTo>
                  <a:pt x="1383" y="3623"/>
                </a:lnTo>
                <a:lnTo>
                  <a:pt x="1404" y="3546"/>
                </a:lnTo>
                <a:lnTo>
                  <a:pt x="1424" y="3468"/>
                </a:lnTo>
                <a:lnTo>
                  <a:pt x="1442" y="3392"/>
                </a:lnTo>
                <a:lnTo>
                  <a:pt x="1457" y="3315"/>
                </a:lnTo>
                <a:lnTo>
                  <a:pt x="1468" y="3241"/>
                </a:lnTo>
                <a:lnTo>
                  <a:pt x="1471" y="3169"/>
                </a:lnTo>
                <a:lnTo>
                  <a:pt x="1471" y="3088"/>
                </a:lnTo>
                <a:lnTo>
                  <a:pt x="1474" y="3006"/>
                </a:lnTo>
                <a:lnTo>
                  <a:pt x="1478" y="2925"/>
                </a:lnTo>
                <a:lnTo>
                  <a:pt x="1486" y="2843"/>
                </a:lnTo>
                <a:lnTo>
                  <a:pt x="1496" y="2762"/>
                </a:lnTo>
                <a:lnTo>
                  <a:pt x="1511" y="2680"/>
                </a:lnTo>
                <a:lnTo>
                  <a:pt x="1529" y="2602"/>
                </a:lnTo>
                <a:lnTo>
                  <a:pt x="1553" y="2525"/>
                </a:lnTo>
                <a:lnTo>
                  <a:pt x="1582" y="2450"/>
                </a:lnTo>
                <a:lnTo>
                  <a:pt x="1618" y="2379"/>
                </a:lnTo>
                <a:lnTo>
                  <a:pt x="1659" y="2309"/>
                </a:lnTo>
                <a:lnTo>
                  <a:pt x="1528" y="2309"/>
                </a:lnTo>
                <a:lnTo>
                  <a:pt x="1569" y="1631"/>
                </a:lnTo>
                <a:lnTo>
                  <a:pt x="1540" y="1311"/>
                </a:lnTo>
                <a:lnTo>
                  <a:pt x="1501" y="1306"/>
                </a:lnTo>
                <a:lnTo>
                  <a:pt x="1458" y="1309"/>
                </a:lnTo>
                <a:lnTo>
                  <a:pt x="1413" y="1318"/>
                </a:lnTo>
                <a:lnTo>
                  <a:pt x="1368" y="1330"/>
                </a:lnTo>
                <a:lnTo>
                  <a:pt x="1323" y="1344"/>
                </a:lnTo>
                <a:lnTo>
                  <a:pt x="1232" y="1374"/>
                </a:lnTo>
                <a:lnTo>
                  <a:pt x="1187" y="1388"/>
                </a:lnTo>
                <a:lnTo>
                  <a:pt x="1145" y="1397"/>
                </a:lnTo>
                <a:lnTo>
                  <a:pt x="1106" y="1401"/>
                </a:lnTo>
                <a:lnTo>
                  <a:pt x="756" y="1484"/>
                </a:lnTo>
                <a:lnTo>
                  <a:pt x="720" y="1493"/>
                </a:lnTo>
                <a:lnTo>
                  <a:pt x="680" y="1498"/>
                </a:lnTo>
                <a:lnTo>
                  <a:pt x="638" y="1498"/>
                </a:lnTo>
                <a:lnTo>
                  <a:pt x="595" y="1495"/>
                </a:lnTo>
                <a:lnTo>
                  <a:pt x="551" y="1490"/>
                </a:lnTo>
                <a:lnTo>
                  <a:pt x="507" y="1483"/>
                </a:lnTo>
                <a:lnTo>
                  <a:pt x="463" y="1477"/>
                </a:lnTo>
                <a:lnTo>
                  <a:pt x="421" y="1471"/>
                </a:lnTo>
                <a:lnTo>
                  <a:pt x="382" y="1466"/>
                </a:lnTo>
                <a:lnTo>
                  <a:pt x="346" y="1465"/>
                </a:lnTo>
                <a:lnTo>
                  <a:pt x="340" y="1471"/>
                </a:lnTo>
                <a:lnTo>
                  <a:pt x="337" y="1480"/>
                </a:lnTo>
                <a:lnTo>
                  <a:pt x="334" y="1492"/>
                </a:lnTo>
                <a:lnTo>
                  <a:pt x="332" y="1504"/>
                </a:lnTo>
                <a:lnTo>
                  <a:pt x="329" y="1513"/>
                </a:lnTo>
                <a:lnTo>
                  <a:pt x="323" y="1519"/>
                </a:lnTo>
                <a:lnTo>
                  <a:pt x="285" y="1531"/>
                </a:lnTo>
                <a:lnTo>
                  <a:pt x="251" y="1542"/>
                </a:lnTo>
                <a:lnTo>
                  <a:pt x="222" y="1551"/>
                </a:lnTo>
                <a:lnTo>
                  <a:pt x="198" y="1557"/>
                </a:lnTo>
                <a:lnTo>
                  <a:pt x="175" y="1563"/>
                </a:lnTo>
                <a:lnTo>
                  <a:pt x="157" y="1566"/>
                </a:lnTo>
                <a:lnTo>
                  <a:pt x="144" y="1567"/>
                </a:lnTo>
                <a:lnTo>
                  <a:pt x="135" y="1566"/>
                </a:lnTo>
                <a:lnTo>
                  <a:pt x="132" y="1563"/>
                </a:lnTo>
                <a:lnTo>
                  <a:pt x="135" y="1557"/>
                </a:lnTo>
                <a:lnTo>
                  <a:pt x="144" y="1546"/>
                </a:lnTo>
                <a:lnTo>
                  <a:pt x="160" y="1534"/>
                </a:lnTo>
                <a:lnTo>
                  <a:pt x="184" y="1517"/>
                </a:lnTo>
                <a:lnTo>
                  <a:pt x="159" y="1526"/>
                </a:lnTo>
                <a:lnTo>
                  <a:pt x="136" y="1534"/>
                </a:lnTo>
                <a:lnTo>
                  <a:pt x="115" y="1542"/>
                </a:lnTo>
                <a:lnTo>
                  <a:pt x="98" y="1546"/>
                </a:lnTo>
                <a:lnTo>
                  <a:pt x="85" y="1549"/>
                </a:lnTo>
                <a:lnTo>
                  <a:pt x="74" y="1549"/>
                </a:lnTo>
                <a:lnTo>
                  <a:pt x="68" y="1548"/>
                </a:lnTo>
                <a:lnTo>
                  <a:pt x="67" y="1542"/>
                </a:lnTo>
                <a:lnTo>
                  <a:pt x="70" y="1534"/>
                </a:lnTo>
                <a:lnTo>
                  <a:pt x="77" y="1522"/>
                </a:lnTo>
                <a:lnTo>
                  <a:pt x="89" y="1505"/>
                </a:lnTo>
                <a:lnTo>
                  <a:pt x="108" y="1486"/>
                </a:lnTo>
                <a:lnTo>
                  <a:pt x="132" y="1462"/>
                </a:lnTo>
                <a:lnTo>
                  <a:pt x="92" y="1475"/>
                </a:lnTo>
                <a:lnTo>
                  <a:pt x="61" y="1484"/>
                </a:lnTo>
                <a:lnTo>
                  <a:pt x="35" y="1489"/>
                </a:lnTo>
                <a:lnTo>
                  <a:pt x="17" y="1492"/>
                </a:lnTo>
                <a:lnTo>
                  <a:pt x="5" y="1490"/>
                </a:lnTo>
                <a:lnTo>
                  <a:pt x="0" y="1486"/>
                </a:lnTo>
                <a:lnTo>
                  <a:pt x="4" y="1480"/>
                </a:lnTo>
                <a:lnTo>
                  <a:pt x="13" y="1471"/>
                </a:lnTo>
                <a:lnTo>
                  <a:pt x="29" y="1459"/>
                </a:lnTo>
                <a:lnTo>
                  <a:pt x="50" y="1445"/>
                </a:lnTo>
                <a:lnTo>
                  <a:pt x="80" y="1430"/>
                </a:lnTo>
                <a:lnTo>
                  <a:pt x="115" y="1413"/>
                </a:lnTo>
                <a:lnTo>
                  <a:pt x="77" y="1407"/>
                </a:lnTo>
                <a:lnTo>
                  <a:pt x="49" y="1403"/>
                </a:lnTo>
                <a:lnTo>
                  <a:pt x="28" y="1400"/>
                </a:lnTo>
                <a:lnTo>
                  <a:pt x="17" y="1397"/>
                </a:lnTo>
                <a:lnTo>
                  <a:pt x="13" y="1394"/>
                </a:lnTo>
                <a:lnTo>
                  <a:pt x="14" y="1391"/>
                </a:lnTo>
                <a:lnTo>
                  <a:pt x="22" y="1389"/>
                </a:lnTo>
                <a:lnTo>
                  <a:pt x="34" y="1388"/>
                </a:lnTo>
                <a:lnTo>
                  <a:pt x="49" y="1386"/>
                </a:lnTo>
                <a:lnTo>
                  <a:pt x="68" y="1383"/>
                </a:lnTo>
                <a:lnTo>
                  <a:pt x="89" y="1382"/>
                </a:lnTo>
                <a:lnTo>
                  <a:pt x="112" y="1380"/>
                </a:lnTo>
                <a:lnTo>
                  <a:pt x="160" y="1374"/>
                </a:lnTo>
                <a:lnTo>
                  <a:pt x="183" y="1371"/>
                </a:lnTo>
                <a:lnTo>
                  <a:pt x="204" y="1368"/>
                </a:lnTo>
                <a:lnTo>
                  <a:pt x="222" y="1364"/>
                </a:lnTo>
                <a:lnTo>
                  <a:pt x="237" y="1358"/>
                </a:lnTo>
                <a:lnTo>
                  <a:pt x="248" y="1352"/>
                </a:lnTo>
                <a:lnTo>
                  <a:pt x="234" y="1314"/>
                </a:lnTo>
                <a:lnTo>
                  <a:pt x="224" y="1281"/>
                </a:lnTo>
                <a:lnTo>
                  <a:pt x="218" y="1256"/>
                </a:lnTo>
                <a:lnTo>
                  <a:pt x="213" y="1237"/>
                </a:lnTo>
                <a:lnTo>
                  <a:pt x="212" y="1222"/>
                </a:lnTo>
                <a:lnTo>
                  <a:pt x="213" y="1213"/>
                </a:lnTo>
                <a:lnTo>
                  <a:pt x="216" y="1210"/>
                </a:lnTo>
                <a:lnTo>
                  <a:pt x="221" y="1210"/>
                </a:lnTo>
                <a:lnTo>
                  <a:pt x="228" y="1214"/>
                </a:lnTo>
                <a:lnTo>
                  <a:pt x="236" y="1223"/>
                </a:lnTo>
                <a:lnTo>
                  <a:pt x="245" y="1235"/>
                </a:lnTo>
                <a:lnTo>
                  <a:pt x="254" y="1250"/>
                </a:lnTo>
                <a:lnTo>
                  <a:pt x="264" y="1267"/>
                </a:lnTo>
                <a:lnTo>
                  <a:pt x="285" y="1309"/>
                </a:lnTo>
                <a:lnTo>
                  <a:pt x="294" y="1333"/>
                </a:lnTo>
                <a:lnTo>
                  <a:pt x="302" y="1342"/>
                </a:lnTo>
                <a:lnTo>
                  <a:pt x="319" y="1347"/>
                </a:lnTo>
                <a:lnTo>
                  <a:pt x="341" y="1350"/>
                </a:lnTo>
                <a:lnTo>
                  <a:pt x="370" y="1352"/>
                </a:lnTo>
                <a:lnTo>
                  <a:pt x="405" y="1350"/>
                </a:lnTo>
                <a:lnTo>
                  <a:pt x="444" y="1347"/>
                </a:lnTo>
                <a:lnTo>
                  <a:pt x="486" y="1342"/>
                </a:lnTo>
                <a:lnTo>
                  <a:pt x="533" y="1336"/>
                </a:lnTo>
                <a:lnTo>
                  <a:pt x="579" y="1329"/>
                </a:lnTo>
                <a:lnTo>
                  <a:pt x="628" y="1320"/>
                </a:lnTo>
                <a:lnTo>
                  <a:pt x="676" y="1312"/>
                </a:lnTo>
                <a:lnTo>
                  <a:pt x="724" y="1302"/>
                </a:lnTo>
                <a:lnTo>
                  <a:pt x="771" y="1293"/>
                </a:lnTo>
                <a:lnTo>
                  <a:pt x="813" y="1282"/>
                </a:lnTo>
                <a:lnTo>
                  <a:pt x="854" y="1273"/>
                </a:lnTo>
                <a:lnTo>
                  <a:pt x="890" y="1264"/>
                </a:lnTo>
                <a:lnTo>
                  <a:pt x="920" y="1255"/>
                </a:lnTo>
                <a:lnTo>
                  <a:pt x="944" y="1247"/>
                </a:lnTo>
                <a:lnTo>
                  <a:pt x="962" y="1241"/>
                </a:lnTo>
                <a:lnTo>
                  <a:pt x="965" y="1237"/>
                </a:lnTo>
                <a:lnTo>
                  <a:pt x="976" y="1232"/>
                </a:lnTo>
                <a:lnTo>
                  <a:pt x="993" y="1228"/>
                </a:lnTo>
                <a:lnTo>
                  <a:pt x="1014" y="1225"/>
                </a:lnTo>
                <a:lnTo>
                  <a:pt x="1038" y="1220"/>
                </a:lnTo>
                <a:lnTo>
                  <a:pt x="1089" y="1208"/>
                </a:lnTo>
                <a:lnTo>
                  <a:pt x="1112" y="1201"/>
                </a:lnTo>
                <a:lnTo>
                  <a:pt x="1130" y="1192"/>
                </a:lnTo>
                <a:lnTo>
                  <a:pt x="1172" y="1166"/>
                </a:lnTo>
                <a:lnTo>
                  <a:pt x="1210" y="1143"/>
                </a:lnTo>
                <a:lnTo>
                  <a:pt x="1244" y="1122"/>
                </a:lnTo>
                <a:lnTo>
                  <a:pt x="1279" y="1103"/>
                </a:lnTo>
                <a:lnTo>
                  <a:pt x="1315" y="1085"/>
                </a:lnTo>
                <a:lnTo>
                  <a:pt x="1353" y="1065"/>
                </a:lnTo>
                <a:lnTo>
                  <a:pt x="1395" y="1045"/>
                </a:lnTo>
                <a:lnTo>
                  <a:pt x="1442" y="1024"/>
                </a:lnTo>
                <a:lnTo>
                  <a:pt x="1480" y="977"/>
                </a:lnTo>
                <a:lnTo>
                  <a:pt x="1517" y="938"/>
                </a:lnTo>
                <a:lnTo>
                  <a:pt x="1555" y="907"/>
                </a:lnTo>
                <a:lnTo>
                  <a:pt x="1591" y="879"/>
                </a:lnTo>
                <a:lnTo>
                  <a:pt x="1626" y="858"/>
                </a:lnTo>
                <a:lnTo>
                  <a:pt x="1661" y="842"/>
                </a:lnTo>
                <a:lnTo>
                  <a:pt x="1694" y="828"/>
                </a:lnTo>
                <a:lnTo>
                  <a:pt x="1725" y="818"/>
                </a:lnTo>
                <a:lnTo>
                  <a:pt x="1754" y="810"/>
                </a:lnTo>
                <a:lnTo>
                  <a:pt x="1781" y="804"/>
                </a:lnTo>
                <a:lnTo>
                  <a:pt x="1807" y="798"/>
                </a:lnTo>
                <a:lnTo>
                  <a:pt x="1829" y="792"/>
                </a:lnTo>
                <a:lnTo>
                  <a:pt x="1849" y="784"/>
                </a:lnTo>
                <a:lnTo>
                  <a:pt x="1866" y="777"/>
                </a:lnTo>
                <a:lnTo>
                  <a:pt x="1879" y="765"/>
                </a:lnTo>
                <a:lnTo>
                  <a:pt x="1888" y="751"/>
                </a:lnTo>
                <a:lnTo>
                  <a:pt x="1894" y="733"/>
                </a:lnTo>
                <a:lnTo>
                  <a:pt x="1897" y="710"/>
                </a:lnTo>
                <a:lnTo>
                  <a:pt x="1894" y="683"/>
                </a:lnTo>
                <a:lnTo>
                  <a:pt x="1888" y="649"/>
                </a:lnTo>
                <a:lnTo>
                  <a:pt x="1885" y="634"/>
                </a:lnTo>
                <a:lnTo>
                  <a:pt x="1876" y="617"/>
                </a:lnTo>
                <a:lnTo>
                  <a:pt x="1863" y="597"/>
                </a:lnTo>
                <a:lnTo>
                  <a:pt x="1847" y="575"/>
                </a:lnTo>
                <a:lnTo>
                  <a:pt x="1831" y="545"/>
                </a:lnTo>
                <a:lnTo>
                  <a:pt x="1816" y="510"/>
                </a:lnTo>
                <a:lnTo>
                  <a:pt x="1807" y="487"/>
                </a:lnTo>
                <a:lnTo>
                  <a:pt x="1798" y="459"/>
                </a:lnTo>
                <a:lnTo>
                  <a:pt x="1786" y="427"/>
                </a:lnTo>
                <a:lnTo>
                  <a:pt x="1765" y="361"/>
                </a:lnTo>
                <a:lnTo>
                  <a:pt x="1755" y="327"/>
                </a:lnTo>
                <a:lnTo>
                  <a:pt x="1748" y="299"/>
                </a:lnTo>
                <a:lnTo>
                  <a:pt x="1742" y="273"/>
                </a:lnTo>
                <a:lnTo>
                  <a:pt x="1740" y="255"/>
                </a:lnTo>
                <a:lnTo>
                  <a:pt x="1746" y="223"/>
                </a:lnTo>
                <a:lnTo>
                  <a:pt x="1762" y="192"/>
                </a:lnTo>
                <a:lnTo>
                  <a:pt x="1784" y="161"/>
                </a:lnTo>
                <a:lnTo>
                  <a:pt x="1814" y="133"/>
                </a:lnTo>
                <a:lnTo>
                  <a:pt x="1850" y="106"/>
                </a:lnTo>
                <a:lnTo>
                  <a:pt x="1890" y="85"/>
                </a:lnTo>
                <a:lnTo>
                  <a:pt x="1932" y="66"/>
                </a:lnTo>
                <a:lnTo>
                  <a:pt x="1976" y="54"/>
                </a:lnTo>
                <a:lnTo>
                  <a:pt x="2018" y="48"/>
                </a:lnTo>
                <a:lnTo>
                  <a:pt x="2053" y="50"/>
                </a:lnTo>
                <a:lnTo>
                  <a:pt x="2086" y="59"/>
                </a:lnTo>
                <a:lnTo>
                  <a:pt x="2114" y="71"/>
                </a:lnTo>
                <a:lnTo>
                  <a:pt x="2141" y="88"/>
                </a:lnTo>
                <a:lnTo>
                  <a:pt x="2163" y="104"/>
                </a:lnTo>
                <a:lnTo>
                  <a:pt x="2181" y="121"/>
                </a:lnTo>
                <a:lnTo>
                  <a:pt x="2193" y="134"/>
                </a:lnTo>
                <a:lnTo>
                  <a:pt x="2200" y="145"/>
                </a:lnTo>
                <a:lnTo>
                  <a:pt x="2214" y="170"/>
                </a:lnTo>
                <a:lnTo>
                  <a:pt x="2226" y="201"/>
                </a:lnTo>
                <a:lnTo>
                  <a:pt x="2236" y="232"/>
                </a:lnTo>
                <a:lnTo>
                  <a:pt x="2247" y="267"/>
                </a:lnTo>
                <a:lnTo>
                  <a:pt x="2255" y="303"/>
                </a:lnTo>
                <a:lnTo>
                  <a:pt x="2261" y="341"/>
                </a:lnTo>
                <a:lnTo>
                  <a:pt x="2265" y="380"/>
                </a:lnTo>
                <a:lnTo>
                  <a:pt x="2268" y="416"/>
                </a:lnTo>
                <a:lnTo>
                  <a:pt x="2268" y="454"/>
                </a:lnTo>
                <a:lnTo>
                  <a:pt x="2267" y="489"/>
                </a:lnTo>
                <a:lnTo>
                  <a:pt x="2262" y="522"/>
                </a:lnTo>
                <a:lnTo>
                  <a:pt x="2255" y="552"/>
                </a:lnTo>
                <a:lnTo>
                  <a:pt x="2244" y="579"/>
                </a:lnTo>
                <a:lnTo>
                  <a:pt x="2232" y="602"/>
                </a:lnTo>
                <a:lnTo>
                  <a:pt x="2217" y="620"/>
                </a:lnTo>
                <a:lnTo>
                  <a:pt x="2197" y="634"/>
                </a:lnTo>
                <a:lnTo>
                  <a:pt x="2175" y="640"/>
                </a:lnTo>
                <a:lnTo>
                  <a:pt x="2149" y="640"/>
                </a:lnTo>
                <a:lnTo>
                  <a:pt x="2132" y="641"/>
                </a:lnTo>
                <a:lnTo>
                  <a:pt x="2122" y="647"/>
                </a:lnTo>
                <a:lnTo>
                  <a:pt x="2117" y="655"/>
                </a:lnTo>
                <a:lnTo>
                  <a:pt x="2116" y="665"/>
                </a:lnTo>
                <a:lnTo>
                  <a:pt x="2120" y="679"/>
                </a:lnTo>
                <a:lnTo>
                  <a:pt x="2126" y="692"/>
                </a:lnTo>
                <a:lnTo>
                  <a:pt x="2137" y="707"/>
                </a:lnTo>
                <a:lnTo>
                  <a:pt x="2151" y="723"/>
                </a:lnTo>
                <a:lnTo>
                  <a:pt x="2167" y="738"/>
                </a:lnTo>
                <a:lnTo>
                  <a:pt x="2185" y="753"/>
                </a:lnTo>
                <a:lnTo>
                  <a:pt x="2276" y="727"/>
                </a:lnTo>
                <a:lnTo>
                  <a:pt x="2711" y="603"/>
                </a:lnTo>
                <a:lnTo>
                  <a:pt x="2812" y="517"/>
                </a:lnTo>
                <a:lnTo>
                  <a:pt x="2827" y="507"/>
                </a:lnTo>
                <a:lnTo>
                  <a:pt x="2852" y="496"/>
                </a:lnTo>
                <a:lnTo>
                  <a:pt x="2882" y="484"/>
                </a:lnTo>
                <a:lnTo>
                  <a:pt x="2918" y="471"/>
                </a:lnTo>
                <a:lnTo>
                  <a:pt x="2959" y="456"/>
                </a:lnTo>
                <a:lnTo>
                  <a:pt x="3002" y="440"/>
                </a:lnTo>
                <a:lnTo>
                  <a:pt x="3090" y="407"/>
                </a:lnTo>
                <a:lnTo>
                  <a:pt x="3132" y="392"/>
                </a:lnTo>
                <a:lnTo>
                  <a:pt x="3171" y="376"/>
                </a:lnTo>
                <a:lnTo>
                  <a:pt x="3206" y="359"/>
                </a:lnTo>
                <a:lnTo>
                  <a:pt x="3233" y="344"/>
                </a:lnTo>
                <a:lnTo>
                  <a:pt x="3254" y="329"/>
                </a:lnTo>
                <a:lnTo>
                  <a:pt x="3266" y="314"/>
                </a:lnTo>
                <a:lnTo>
                  <a:pt x="3274" y="300"/>
                </a:lnTo>
                <a:lnTo>
                  <a:pt x="3284" y="281"/>
                </a:lnTo>
                <a:lnTo>
                  <a:pt x="3295" y="255"/>
                </a:lnTo>
                <a:lnTo>
                  <a:pt x="3305" y="222"/>
                </a:lnTo>
                <a:lnTo>
                  <a:pt x="3311" y="193"/>
                </a:lnTo>
                <a:lnTo>
                  <a:pt x="3317" y="163"/>
                </a:lnTo>
                <a:lnTo>
                  <a:pt x="3322" y="133"/>
                </a:lnTo>
                <a:lnTo>
                  <a:pt x="3325" y="106"/>
                </a:lnTo>
                <a:lnTo>
                  <a:pt x="3328" y="80"/>
                </a:lnTo>
                <a:lnTo>
                  <a:pt x="3331" y="57"/>
                </a:lnTo>
                <a:lnTo>
                  <a:pt x="3334" y="39"/>
                </a:lnTo>
                <a:lnTo>
                  <a:pt x="3337" y="27"/>
                </a:lnTo>
                <a:lnTo>
                  <a:pt x="3342" y="21"/>
                </a:lnTo>
                <a:lnTo>
                  <a:pt x="3346" y="21"/>
                </a:lnTo>
                <a:lnTo>
                  <a:pt x="3352" y="32"/>
                </a:lnTo>
                <a:lnTo>
                  <a:pt x="3360" y="50"/>
                </a:lnTo>
                <a:lnTo>
                  <a:pt x="3361" y="54"/>
                </a:lnTo>
                <a:lnTo>
                  <a:pt x="3363" y="62"/>
                </a:lnTo>
                <a:lnTo>
                  <a:pt x="3366" y="75"/>
                </a:lnTo>
                <a:lnTo>
                  <a:pt x="3370" y="91"/>
                </a:lnTo>
                <a:lnTo>
                  <a:pt x="3382" y="124"/>
                </a:lnTo>
                <a:lnTo>
                  <a:pt x="3390" y="140"/>
                </a:lnTo>
                <a:lnTo>
                  <a:pt x="3397" y="155"/>
                </a:lnTo>
                <a:lnTo>
                  <a:pt x="3406" y="167"/>
                </a:lnTo>
                <a:lnTo>
                  <a:pt x="3417" y="175"/>
                </a:lnTo>
                <a:lnTo>
                  <a:pt x="3429" y="178"/>
                </a:lnTo>
                <a:lnTo>
                  <a:pt x="3441" y="175"/>
                </a:lnTo>
                <a:lnTo>
                  <a:pt x="3455" y="164"/>
                </a:lnTo>
                <a:lnTo>
                  <a:pt x="3470" y="146"/>
                </a:lnTo>
                <a:lnTo>
                  <a:pt x="3485" y="118"/>
                </a:lnTo>
                <a:lnTo>
                  <a:pt x="3489" y="109"/>
                </a:lnTo>
                <a:lnTo>
                  <a:pt x="3497" y="97"/>
                </a:lnTo>
                <a:lnTo>
                  <a:pt x="3506" y="85"/>
                </a:lnTo>
                <a:lnTo>
                  <a:pt x="3527" y="57"/>
                </a:lnTo>
                <a:lnTo>
                  <a:pt x="3539" y="44"/>
                </a:lnTo>
                <a:lnTo>
                  <a:pt x="3572" y="11"/>
                </a:lnTo>
                <a:lnTo>
                  <a:pt x="3583" y="5"/>
                </a:lnTo>
                <a:lnTo>
                  <a:pt x="359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/>
            <a:endParaRPr lang="en-US" strike="noStrike" noProof="1">
              <a:ln>
                <a:solidFill>
                  <a:srgbClr val="127210"/>
                </a:solidFill>
              </a:ln>
            </a:endParaRPr>
          </a:p>
        </p:txBody>
      </p:sp>
      <p:grpSp>
        <p:nvGrpSpPr>
          <p:cNvPr id="42" name="Group 34"/>
          <p:cNvGrpSpPr/>
          <p:nvPr/>
        </p:nvGrpSpPr>
        <p:grpSpPr>
          <a:xfrm>
            <a:off x="4179888" y="1679575"/>
            <a:ext cx="325437" cy="1146175"/>
            <a:chOff x="3643306" y="896957"/>
            <a:chExt cx="1530350" cy="5389563"/>
          </a:xfrm>
        </p:grpSpPr>
        <p:sp>
          <p:nvSpPr>
            <p:cNvPr id="43" name="Freeform 7"/>
            <p:cNvSpPr/>
            <p:nvPr>
              <p:custDataLst>
                <p:tags r:id="rId12"/>
              </p:custDataLst>
            </p:nvPr>
          </p:nvSpPr>
          <p:spPr bwMode="auto">
            <a:xfrm>
              <a:off x="3643306" y="896957"/>
              <a:ext cx="1530350" cy="5389563"/>
            </a:xfrm>
            <a:custGeom>
              <a:avLst/>
              <a:gdLst/>
              <a:ahLst/>
              <a:cxnLst>
                <a:cxn ang="0">
                  <a:pos x="621" y="14"/>
                </a:cxn>
                <a:cxn ang="0">
                  <a:pos x="809" y="85"/>
                </a:cxn>
                <a:cxn ang="0">
                  <a:pos x="964" y="219"/>
                </a:cxn>
                <a:cxn ang="0">
                  <a:pos x="942" y="243"/>
                </a:cxn>
                <a:cxn ang="0">
                  <a:pos x="912" y="255"/>
                </a:cxn>
                <a:cxn ang="0">
                  <a:pos x="901" y="354"/>
                </a:cxn>
                <a:cxn ang="0">
                  <a:pos x="892" y="538"/>
                </a:cxn>
                <a:cxn ang="0">
                  <a:pos x="881" y="770"/>
                </a:cxn>
                <a:cxn ang="0">
                  <a:pos x="854" y="1141"/>
                </a:cxn>
                <a:cxn ang="0">
                  <a:pos x="823" y="1361"/>
                </a:cxn>
                <a:cxn ang="0">
                  <a:pos x="779" y="1527"/>
                </a:cxn>
                <a:cxn ang="0">
                  <a:pos x="734" y="1610"/>
                </a:cxn>
                <a:cxn ang="0">
                  <a:pos x="723" y="1622"/>
                </a:cxn>
                <a:cxn ang="0">
                  <a:pos x="694" y="1635"/>
                </a:cxn>
                <a:cxn ang="0">
                  <a:pos x="695" y="1682"/>
                </a:cxn>
                <a:cxn ang="0">
                  <a:pos x="703" y="1740"/>
                </a:cxn>
                <a:cxn ang="0">
                  <a:pos x="685" y="1759"/>
                </a:cxn>
                <a:cxn ang="0">
                  <a:pos x="668" y="1793"/>
                </a:cxn>
                <a:cxn ang="0">
                  <a:pos x="674" y="1848"/>
                </a:cxn>
                <a:cxn ang="0">
                  <a:pos x="692" y="1900"/>
                </a:cxn>
                <a:cxn ang="0">
                  <a:pos x="672" y="1944"/>
                </a:cxn>
                <a:cxn ang="0">
                  <a:pos x="646" y="1994"/>
                </a:cxn>
                <a:cxn ang="0">
                  <a:pos x="640" y="2104"/>
                </a:cxn>
                <a:cxn ang="0">
                  <a:pos x="648" y="2220"/>
                </a:cxn>
                <a:cxn ang="0">
                  <a:pos x="646" y="2273"/>
                </a:cxn>
                <a:cxn ang="0">
                  <a:pos x="644" y="2318"/>
                </a:cxn>
                <a:cxn ang="0">
                  <a:pos x="657" y="2510"/>
                </a:cxn>
                <a:cxn ang="0">
                  <a:pos x="730" y="2719"/>
                </a:cxn>
                <a:cxn ang="0">
                  <a:pos x="962" y="3159"/>
                </a:cxn>
                <a:cxn ang="0">
                  <a:pos x="54" y="3211"/>
                </a:cxn>
                <a:cxn ang="0">
                  <a:pos x="103" y="2826"/>
                </a:cxn>
                <a:cxn ang="0">
                  <a:pos x="355" y="2555"/>
                </a:cxn>
                <a:cxn ang="0">
                  <a:pos x="364" y="2431"/>
                </a:cxn>
                <a:cxn ang="0">
                  <a:pos x="338" y="1979"/>
                </a:cxn>
                <a:cxn ang="0">
                  <a:pos x="307" y="1914"/>
                </a:cxn>
                <a:cxn ang="0">
                  <a:pos x="312" y="1852"/>
                </a:cxn>
                <a:cxn ang="0">
                  <a:pos x="292" y="1804"/>
                </a:cxn>
                <a:cxn ang="0">
                  <a:pos x="283" y="1779"/>
                </a:cxn>
                <a:cxn ang="0">
                  <a:pos x="255" y="1764"/>
                </a:cxn>
                <a:cxn ang="0">
                  <a:pos x="240" y="1741"/>
                </a:cxn>
                <a:cxn ang="0">
                  <a:pos x="255" y="1688"/>
                </a:cxn>
                <a:cxn ang="0">
                  <a:pos x="245" y="1609"/>
                </a:cxn>
                <a:cxn ang="0">
                  <a:pos x="202" y="1573"/>
                </a:cxn>
                <a:cxn ang="0">
                  <a:pos x="170" y="1518"/>
                </a:cxn>
                <a:cxn ang="0">
                  <a:pos x="123" y="1400"/>
                </a:cxn>
                <a:cxn ang="0">
                  <a:pos x="87" y="1209"/>
                </a:cxn>
                <a:cxn ang="0">
                  <a:pos x="60" y="974"/>
                </a:cxn>
                <a:cxn ang="0">
                  <a:pos x="38" y="729"/>
                </a:cxn>
                <a:cxn ang="0">
                  <a:pos x="23" y="503"/>
                </a:cxn>
                <a:cxn ang="0">
                  <a:pos x="10" y="328"/>
                </a:cxn>
                <a:cxn ang="0">
                  <a:pos x="0" y="235"/>
                </a:cxn>
                <a:cxn ang="0">
                  <a:pos x="117" y="109"/>
                </a:cxn>
                <a:cxn ang="0">
                  <a:pos x="282" y="29"/>
                </a:cxn>
                <a:cxn ang="0">
                  <a:pos x="473" y="0"/>
                </a:cxn>
              </a:cxnLst>
              <a:rect l="0" t="0" r="r" b="b"/>
              <a:pathLst>
                <a:path w="964" h="3395">
                  <a:moveTo>
                    <a:pt x="473" y="0"/>
                  </a:moveTo>
                  <a:lnTo>
                    <a:pt x="523" y="1"/>
                  </a:lnTo>
                  <a:lnTo>
                    <a:pt x="573" y="6"/>
                  </a:lnTo>
                  <a:lnTo>
                    <a:pt x="621" y="14"/>
                  </a:lnTo>
                  <a:lnTo>
                    <a:pt x="671" y="27"/>
                  </a:lnTo>
                  <a:lnTo>
                    <a:pt x="718" y="42"/>
                  </a:lnTo>
                  <a:lnTo>
                    <a:pt x="764" y="62"/>
                  </a:lnTo>
                  <a:lnTo>
                    <a:pt x="809" y="85"/>
                  </a:lnTo>
                  <a:lnTo>
                    <a:pt x="852" y="112"/>
                  </a:lnTo>
                  <a:lnTo>
                    <a:pt x="892" y="144"/>
                  </a:lnTo>
                  <a:lnTo>
                    <a:pt x="929" y="179"/>
                  </a:lnTo>
                  <a:lnTo>
                    <a:pt x="964" y="219"/>
                  </a:lnTo>
                  <a:lnTo>
                    <a:pt x="962" y="230"/>
                  </a:lnTo>
                  <a:lnTo>
                    <a:pt x="957" y="236"/>
                  </a:lnTo>
                  <a:lnTo>
                    <a:pt x="950" y="240"/>
                  </a:lnTo>
                  <a:lnTo>
                    <a:pt x="942" y="243"/>
                  </a:lnTo>
                  <a:lnTo>
                    <a:pt x="933" y="245"/>
                  </a:lnTo>
                  <a:lnTo>
                    <a:pt x="925" y="247"/>
                  </a:lnTo>
                  <a:lnTo>
                    <a:pt x="918" y="250"/>
                  </a:lnTo>
                  <a:lnTo>
                    <a:pt x="912" y="255"/>
                  </a:lnTo>
                  <a:lnTo>
                    <a:pt x="909" y="264"/>
                  </a:lnTo>
                  <a:lnTo>
                    <a:pt x="906" y="288"/>
                  </a:lnTo>
                  <a:lnTo>
                    <a:pt x="904" y="318"/>
                  </a:lnTo>
                  <a:lnTo>
                    <a:pt x="901" y="354"/>
                  </a:lnTo>
                  <a:lnTo>
                    <a:pt x="899" y="394"/>
                  </a:lnTo>
                  <a:lnTo>
                    <a:pt x="897" y="439"/>
                  </a:lnTo>
                  <a:lnTo>
                    <a:pt x="895" y="487"/>
                  </a:lnTo>
                  <a:lnTo>
                    <a:pt x="892" y="538"/>
                  </a:lnTo>
                  <a:lnTo>
                    <a:pt x="890" y="593"/>
                  </a:lnTo>
                  <a:lnTo>
                    <a:pt x="887" y="650"/>
                  </a:lnTo>
                  <a:lnTo>
                    <a:pt x="885" y="709"/>
                  </a:lnTo>
                  <a:lnTo>
                    <a:pt x="881" y="770"/>
                  </a:lnTo>
                  <a:lnTo>
                    <a:pt x="877" y="831"/>
                  </a:lnTo>
                  <a:lnTo>
                    <a:pt x="869" y="956"/>
                  </a:lnTo>
                  <a:lnTo>
                    <a:pt x="859" y="1080"/>
                  </a:lnTo>
                  <a:lnTo>
                    <a:pt x="854" y="1141"/>
                  </a:lnTo>
                  <a:lnTo>
                    <a:pt x="847" y="1199"/>
                  </a:lnTo>
                  <a:lnTo>
                    <a:pt x="839" y="1256"/>
                  </a:lnTo>
                  <a:lnTo>
                    <a:pt x="831" y="1310"/>
                  </a:lnTo>
                  <a:lnTo>
                    <a:pt x="823" y="1361"/>
                  </a:lnTo>
                  <a:lnTo>
                    <a:pt x="813" y="1409"/>
                  </a:lnTo>
                  <a:lnTo>
                    <a:pt x="802" y="1453"/>
                  </a:lnTo>
                  <a:lnTo>
                    <a:pt x="791" y="1493"/>
                  </a:lnTo>
                  <a:lnTo>
                    <a:pt x="779" y="1527"/>
                  </a:lnTo>
                  <a:lnTo>
                    <a:pt x="765" y="1556"/>
                  </a:lnTo>
                  <a:lnTo>
                    <a:pt x="750" y="1580"/>
                  </a:lnTo>
                  <a:lnTo>
                    <a:pt x="734" y="1598"/>
                  </a:lnTo>
                  <a:lnTo>
                    <a:pt x="734" y="1610"/>
                  </a:lnTo>
                  <a:lnTo>
                    <a:pt x="733" y="1618"/>
                  </a:lnTo>
                  <a:lnTo>
                    <a:pt x="730" y="1622"/>
                  </a:lnTo>
                  <a:lnTo>
                    <a:pt x="727" y="1623"/>
                  </a:lnTo>
                  <a:lnTo>
                    <a:pt x="723" y="1622"/>
                  </a:lnTo>
                  <a:lnTo>
                    <a:pt x="713" y="1620"/>
                  </a:lnTo>
                  <a:lnTo>
                    <a:pt x="707" y="1622"/>
                  </a:lnTo>
                  <a:lnTo>
                    <a:pt x="701" y="1626"/>
                  </a:lnTo>
                  <a:lnTo>
                    <a:pt x="694" y="1635"/>
                  </a:lnTo>
                  <a:lnTo>
                    <a:pt x="692" y="1642"/>
                  </a:lnTo>
                  <a:lnTo>
                    <a:pt x="692" y="1653"/>
                  </a:lnTo>
                  <a:lnTo>
                    <a:pt x="693" y="1667"/>
                  </a:lnTo>
                  <a:lnTo>
                    <a:pt x="695" y="1682"/>
                  </a:lnTo>
                  <a:lnTo>
                    <a:pt x="697" y="1699"/>
                  </a:lnTo>
                  <a:lnTo>
                    <a:pt x="699" y="1714"/>
                  </a:lnTo>
                  <a:lnTo>
                    <a:pt x="702" y="1727"/>
                  </a:lnTo>
                  <a:lnTo>
                    <a:pt x="703" y="1740"/>
                  </a:lnTo>
                  <a:lnTo>
                    <a:pt x="702" y="1748"/>
                  </a:lnTo>
                  <a:lnTo>
                    <a:pt x="697" y="1753"/>
                  </a:lnTo>
                  <a:lnTo>
                    <a:pt x="691" y="1757"/>
                  </a:lnTo>
                  <a:lnTo>
                    <a:pt x="685" y="1759"/>
                  </a:lnTo>
                  <a:lnTo>
                    <a:pt x="678" y="1763"/>
                  </a:lnTo>
                  <a:lnTo>
                    <a:pt x="673" y="1770"/>
                  </a:lnTo>
                  <a:lnTo>
                    <a:pt x="670" y="1780"/>
                  </a:lnTo>
                  <a:lnTo>
                    <a:pt x="668" y="1793"/>
                  </a:lnTo>
                  <a:lnTo>
                    <a:pt x="667" y="1808"/>
                  </a:lnTo>
                  <a:lnTo>
                    <a:pt x="666" y="1821"/>
                  </a:lnTo>
                  <a:lnTo>
                    <a:pt x="663" y="1831"/>
                  </a:lnTo>
                  <a:lnTo>
                    <a:pt x="674" y="1848"/>
                  </a:lnTo>
                  <a:lnTo>
                    <a:pt x="682" y="1861"/>
                  </a:lnTo>
                  <a:lnTo>
                    <a:pt x="689" y="1873"/>
                  </a:lnTo>
                  <a:lnTo>
                    <a:pt x="692" y="1886"/>
                  </a:lnTo>
                  <a:lnTo>
                    <a:pt x="692" y="1900"/>
                  </a:lnTo>
                  <a:lnTo>
                    <a:pt x="690" y="1914"/>
                  </a:lnTo>
                  <a:lnTo>
                    <a:pt x="685" y="1924"/>
                  </a:lnTo>
                  <a:lnTo>
                    <a:pt x="679" y="1934"/>
                  </a:lnTo>
                  <a:lnTo>
                    <a:pt x="672" y="1944"/>
                  </a:lnTo>
                  <a:lnTo>
                    <a:pt x="665" y="1954"/>
                  </a:lnTo>
                  <a:lnTo>
                    <a:pt x="657" y="1965"/>
                  </a:lnTo>
                  <a:lnTo>
                    <a:pt x="651" y="1979"/>
                  </a:lnTo>
                  <a:lnTo>
                    <a:pt x="646" y="1994"/>
                  </a:lnTo>
                  <a:lnTo>
                    <a:pt x="643" y="2014"/>
                  </a:lnTo>
                  <a:lnTo>
                    <a:pt x="642" y="2036"/>
                  </a:lnTo>
                  <a:lnTo>
                    <a:pt x="641" y="2069"/>
                  </a:lnTo>
                  <a:lnTo>
                    <a:pt x="640" y="2104"/>
                  </a:lnTo>
                  <a:lnTo>
                    <a:pt x="639" y="2140"/>
                  </a:lnTo>
                  <a:lnTo>
                    <a:pt x="643" y="2177"/>
                  </a:lnTo>
                  <a:lnTo>
                    <a:pt x="647" y="2201"/>
                  </a:lnTo>
                  <a:lnTo>
                    <a:pt x="648" y="2220"/>
                  </a:lnTo>
                  <a:lnTo>
                    <a:pt x="649" y="2237"/>
                  </a:lnTo>
                  <a:lnTo>
                    <a:pt x="648" y="2250"/>
                  </a:lnTo>
                  <a:lnTo>
                    <a:pt x="647" y="2263"/>
                  </a:lnTo>
                  <a:lnTo>
                    <a:pt x="646" y="2273"/>
                  </a:lnTo>
                  <a:lnTo>
                    <a:pt x="647" y="2281"/>
                  </a:lnTo>
                  <a:lnTo>
                    <a:pt x="649" y="2300"/>
                  </a:lnTo>
                  <a:lnTo>
                    <a:pt x="647" y="2309"/>
                  </a:lnTo>
                  <a:lnTo>
                    <a:pt x="644" y="2318"/>
                  </a:lnTo>
                  <a:lnTo>
                    <a:pt x="636" y="2330"/>
                  </a:lnTo>
                  <a:lnTo>
                    <a:pt x="640" y="2393"/>
                  </a:lnTo>
                  <a:lnTo>
                    <a:pt x="647" y="2453"/>
                  </a:lnTo>
                  <a:lnTo>
                    <a:pt x="657" y="2510"/>
                  </a:lnTo>
                  <a:lnTo>
                    <a:pt x="671" y="2564"/>
                  </a:lnTo>
                  <a:lnTo>
                    <a:pt x="687" y="2617"/>
                  </a:lnTo>
                  <a:lnTo>
                    <a:pt x="707" y="2668"/>
                  </a:lnTo>
                  <a:lnTo>
                    <a:pt x="730" y="2719"/>
                  </a:lnTo>
                  <a:lnTo>
                    <a:pt x="756" y="2769"/>
                  </a:lnTo>
                  <a:lnTo>
                    <a:pt x="920" y="2861"/>
                  </a:lnTo>
                  <a:lnTo>
                    <a:pt x="929" y="3138"/>
                  </a:lnTo>
                  <a:lnTo>
                    <a:pt x="962" y="3159"/>
                  </a:lnTo>
                  <a:lnTo>
                    <a:pt x="964" y="3228"/>
                  </a:lnTo>
                  <a:lnTo>
                    <a:pt x="503" y="3395"/>
                  </a:lnTo>
                  <a:lnTo>
                    <a:pt x="392" y="3385"/>
                  </a:lnTo>
                  <a:lnTo>
                    <a:pt x="54" y="3211"/>
                  </a:lnTo>
                  <a:lnTo>
                    <a:pt x="81" y="3173"/>
                  </a:lnTo>
                  <a:lnTo>
                    <a:pt x="58" y="3151"/>
                  </a:lnTo>
                  <a:lnTo>
                    <a:pt x="93" y="3094"/>
                  </a:lnTo>
                  <a:lnTo>
                    <a:pt x="103" y="2826"/>
                  </a:lnTo>
                  <a:lnTo>
                    <a:pt x="267" y="2779"/>
                  </a:lnTo>
                  <a:lnTo>
                    <a:pt x="340" y="2606"/>
                  </a:lnTo>
                  <a:lnTo>
                    <a:pt x="349" y="2583"/>
                  </a:lnTo>
                  <a:lnTo>
                    <a:pt x="355" y="2555"/>
                  </a:lnTo>
                  <a:lnTo>
                    <a:pt x="359" y="2524"/>
                  </a:lnTo>
                  <a:lnTo>
                    <a:pt x="362" y="2492"/>
                  </a:lnTo>
                  <a:lnTo>
                    <a:pt x="363" y="2461"/>
                  </a:lnTo>
                  <a:lnTo>
                    <a:pt x="364" y="2431"/>
                  </a:lnTo>
                  <a:lnTo>
                    <a:pt x="365" y="2340"/>
                  </a:lnTo>
                  <a:lnTo>
                    <a:pt x="343" y="2301"/>
                  </a:lnTo>
                  <a:lnTo>
                    <a:pt x="340" y="1992"/>
                  </a:lnTo>
                  <a:lnTo>
                    <a:pt x="338" y="1979"/>
                  </a:lnTo>
                  <a:lnTo>
                    <a:pt x="334" y="1966"/>
                  </a:lnTo>
                  <a:lnTo>
                    <a:pt x="329" y="1956"/>
                  </a:lnTo>
                  <a:lnTo>
                    <a:pt x="311" y="1925"/>
                  </a:lnTo>
                  <a:lnTo>
                    <a:pt x="307" y="1914"/>
                  </a:lnTo>
                  <a:lnTo>
                    <a:pt x="303" y="1901"/>
                  </a:lnTo>
                  <a:lnTo>
                    <a:pt x="302" y="1887"/>
                  </a:lnTo>
                  <a:lnTo>
                    <a:pt x="305" y="1870"/>
                  </a:lnTo>
                  <a:lnTo>
                    <a:pt x="312" y="1852"/>
                  </a:lnTo>
                  <a:lnTo>
                    <a:pt x="312" y="1846"/>
                  </a:lnTo>
                  <a:lnTo>
                    <a:pt x="308" y="1836"/>
                  </a:lnTo>
                  <a:lnTo>
                    <a:pt x="302" y="1826"/>
                  </a:lnTo>
                  <a:lnTo>
                    <a:pt x="292" y="1804"/>
                  </a:lnTo>
                  <a:lnTo>
                    <a:pt x="288" y="1794"/>
                  </a:lnTo>
                  <a:lnTo>
                    <a:pt x="288" y="1787"/>
                  </a:lnTo>
                  <a:lnTo>
                    <a:pt x="286" y="1782"/>
                  </a:lnTo>
                  <a:lnTo>
                    <a:pt x="283" y="1779"/>
                  </a:lnTo>
                  <a:lnTo>
                    <a:pt x="277" y="1775"/>
                  </a:lnTo>
                  <a:lnTo>
                    <a:pt x="271" y="1772"/>
                  </a:lnTo>
                  <a:lnTo>
                    <a:pt x="262" y="1769"/>
                  </a:lnTo>
                  <a:lnTo>
                    <a:pt x="255" y="1764"/>
                  </a:lnTo>
                  <a:lnTo>
                    <a:pt x="249" y="1760"/>
                  </a:lnTo>
                  <a:lnTo>
                    <a:pt x="244" y="1755"/>
                  </a:lnTo>
                  <a:lnTo>
                    <a:pt x="241" y="1748"/>
                  </a:lnTo>
                  <a:lnTo>
                    <a:pt x="240" y="1741"/>
                  </a:lnTo>
                  <a:lnTo>
                    <a:pt x="242" y="1730"/>
                  </a:lnTo>
                  <a:lnTo>
                    <a:pt x="247" y="1719"/>
                  </a:lnTo>
                  <a:lnTo>
                    <a:pt x="257" y="1705"/>
                  </a:lnTo>
                  <a:lnTo>
                    <a:pt x="255" y="1688"/>
                  </a:lnTo>
                  <a:lnTo>
                    <a:pt x="251" y="1672"/>
                  </a:lnTo>
                  <a:lnTo>
                    <a:pt x="248" y="1653"/>
                  </a:lnTo>
                  <a:lnTo>
                    <a:pt x="245" y="1633"/>
                  </a:lnTo>
                  <a:lnTo>
                    <a:pt x="245" y="1609"/>
                  </a:lnTo>
                  <a:lnTo>
                    <a:pt x="231" y="1607"/>
                  </a:lnTo>
                  <a:lnTo>
                    <a:pt x="220" y="1599"/>
                  </a:lnTo>
                  <a:lnTo>
                    <a:pt x="210" y="1587"/>
                  </a:lnTo>
                  <a:lnTo>
                    <a:pt x="202" y="1573"/>
                  </a:lnTo>
                  <a:lnTo>
                    <a:pt x="197" y="1558"/>
                  </a:lnTo>
                  <a:lnTo>
                    <a:pt x="196" y="1541"/>
                  </a:lnTo>
                  <a:lnTo>
                    <a:pt x="183" y="1534"/>
                  </a:lnTo>
                  <a:lnTo>
                    <a:pt x="170" y="1518"/>
                  </a:lnTo>
                  <a:lnTo>
                    <a:pt x="157" y="1498"/>
                  </a:lnTo>
                  <a:lnTo>
                    <a:pt x="145" y="1471"/>
                  </a:lnTo>
                  <a:lnTo>
                    <a:pt x="135" y="1438"/>
                  </a:lnTo>
                  <a:lnTo>
                    <a:pt x="123" y="1400"/>
                  </a:lnTo>
                  <a:lnTo>
                    <a:pt x="114" y="1358"/>
                  </a:lnTo>
                  <a:lnTo>
                    <a:pt x="105" y="1311"/>
                  </a:lnTo>
                  <a:lnTo>
                    <a:pt x="96" y="1261"/>
                  </a:lnTo>
                  <a:lnTo>
                    <a:pt x="87" y="1209"/>
                  </a:lnTo>
                  <a:lnTo>
                    <a:pt x="80" y="1153"/>
                  </a:lnTo>
                  <a:lnTo>
                    <a:pt x="73" y="1094"/>
                  </a:lnTo>
                  <a:lnTo>
                    <a:pt x="66" y="1035"/>
                  </a:lnTo>
                  <a:lnTo>
                    <a:pt x="60" y="974"/>
                  </a:lnTo>
                  <a:lnTo>
                    <a:pt x="53" y="912"/>
                  </a:lnTo>
                  <a:lnTo>
                    <a:pt x="48" y="851"/>
                  </a:lnTo>
                  <a:lnTo>
                    <a:pt x="43" y="790"/>
                  </a:lnTo>
                  <a:lnTo>
                    <a:pt x="38" y="729"/>
                  </a:lnTo>
                  <a:lnTo>
                    <a:pt x="34" y="669"/>
                  </a:lnTo>
                  <a:lnTo>
                    <a:pt x="30" y="611"/>
                  </a:lnTo>
                  <a:lnTo>
                    <a:pt x="26" y="556"/>
                  </a:lnTo>
                  <a:lnTo>
                    <a:pt x="23" y="503"/>
                  </a:lnTo>
                  <a:lnTo>
                    <a:pt x="20" y="453"/>
                  </a:lnTo>
                  <a:lnTo>
                    <a:pt x="15" y="407"/>
                  </a:lnTo>
                  <a:lnTo>
                    <a:pt x="13" y="365"/>
                  </a:lnTo>
                  <a:lnTo>
                    <a:pt x="10" y="328"/>
                  </a:lnTo>
                  <a:lnTo>
                    <a:pt x="7" y="295"/>
                  </a:lnTo>
                  <a:lnTo>
                    <a:pt x="5" y="269"/>
                  </a:lnTo>
                  <a:lnTo>
                    <a:pt x="2" y="249"/>
                  </a:lnTo>
                  <a:lnTo>
                    <a:pt x="0" y="235"/>
                  </a:lnTo>
                  <a:lnTo>
                    <a:pt x="24" y="199"/>
                  </a:lnTo>
                  <a:lnTo>
                    <a:pt x="51" y="166"/>
                  </a:lnTo>
                  <a:lnTo>
                    <a:pt x="82" y="136"/>
                  </a:lnTo>
                  <a:lnTo>
                    <a:pt x="117" y="109"/>
                  </a:lnTo>
                  <a:lnTo>
                    <a:pt x="154" y="84"/>
                  </a:lnTo>
                  <a:lnTo>
                    <a:pt x="194" y="63"/>
                  </a:lnTo>
                  <a:lnTo>
                    <a:pt x="238" y="44"/>
                  </a:lnTo>
                  <a:lnTo>
                    <a:pt x="282" y="29"/>
                  </a:lnTo>
                  <a:lnTo>
                    <a:pt x="328" y="16"/>
                  </a:lnTo>
                  <a:lnTo>
                    <a:pt x="375" y="8"/>
                  </a:lnTo>
                  <a:lnTo>
                    <a:pt x="424" y="2"/>
                  </a:lnTo>
                  <a:lnTo>
                    <a:pt x="473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4" name="Freeform 8"/>
            <p:cNvSpPr/>
            <p:nvPr>
              <p:custDataLst>
                <p:tags r:id="rId13"/>
              </p:custDataLst>
            </p:nvPr>
          </p:nvSpPr>
          <p:spPr bwMode="auto">
            <a:xfrm>
              <a:off x="3938581" y="2008207"/>
              <a:ext cx="906463" cy="906463"/>
            </a:xfrm>
            <a:custGeom>
              <a:avLst/>
              <a:gdLst/>
              <a:ahLst/>
              <a:cxnLst>
                <a:cxn ang="0">
                  <a:pos x="286" y="0"/>
                </a:cxn>
                <a:cxn ang="0">
                  <a:pos x="571" y="285"/>
                </a:cxn>
                <a:cxn ang="0">
                  <a:pos x="286" y="571"/>
                </a:cxn>
                <a:cxn ang="0">
                  <a:pos x="0" y="285"/>
                </a:cxn>
                <a:cxn ang="0">
                  <a:pos x="286" y="0"/>
                </a:cxn>
              </a:cxnLst>
              <a:rect l="0" t="0" r="r" b="b"/>
              <a:pathLst>
                <a:path w="571" h="571">
                  <a:moveTo>
                    <a:pt x="286" y="0"/>
                  </a:moveTo>
                  <a:lnTo>
                    <a:pt x="571" y="285"/>
                  </a:lnTo>
                  <a:lnTo>
                    <a:pt x="286" y="571"/>
                  </a:lnTo>
                  <a:lnTo>
                    <a:pt x="0" y="285"/>
                  </a:lnTo>
                  <a:lnTo>
                    <a:pt x="28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5" name="Freeform 9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3935406" y="2173307"/>
              <a:ext cx="1104900" cy="3267075"/>
            </a:xfrm>
            <a:custGeom>
              <a:avLst/>
              <a:gdLst/>
              <a:ahLst/>
              <a:cxnLst>
                <a:cxn ang="0">
                  <a:pos x="12" y="741"/>
                </a:cxn>
                <a:cxn ang="0">
                  <a:pos x="688" y="120"/>
                </a:cxn>
                <a:cxn ang="0">
                  <a:pos x="668" y="358"/>
                </a:cxn>
                <a:cxn ang="0">
                  <a:pos x="637" y="568"/>
                </a:cxn>
                <a:cxn ang="0">
                  <a:pos x="594" y="726"/>
                </a:cxn>
                <a:cxn ang="0">
                  <a:pos x="550" y="806"/>
                </a:cxn>
                <a:cxn ang="0">
                  <a:pos x="539" y="818"/>
                </a:cxn>
                <a:cxn ang="0">
                  <a:pos x="510" y="831"/>
                </a:cxn>
                <a:cxn ang="0">
                  <a:pos x="511" y="878"/>
                </a:cxn>
                <a:cxn ang="0">
                  <a:pos x="519" y="936"/>
                </a:cxn>
                <a:cxn ang="0">
                  <a:pos x="501" y="955"/>
                </a:cxn>
                <a:cxn ang="0">
                  <a:pos x="484" y="989"/>
                </a:cxn>
                <a:cxn ang="0">
                  <a:pos x="490" y="1044"/>
                </a:cxn>
                <a:cxn ang="0">
                  <a:pos x="508" y="1096"/>
                </a:cxn>
                <a:cxn ang="0">
                  <a:pos x="488" y="1140"/>
                </a:cxn>
                <a:cxn ang="0">
                  <a:pos x="462" y="1190"/>
                </a:cxn>
                <a:cxn ang="0">
                  <a:pos x="456" y="1300"/>
                </a:cxn>
                <a:cxn ang="0">
                  <a:pos x="464" y="1416"/>
                </a:cxn>
                <a:cxn ang="0">
                  <a:pos x="462" y="1469"/>
                </a:cxn>
                <a:cxn ang="0">
                  <a:pos x="460" y="1514"/>
                </a:cxn>
                <a:cxn ang="0">
                  <a:pos x="473" y="1705"/>
                </a:cxn>
                <a:cxn ang="0">
                  <a:pos x="544" y="1913"/>
                </a:cxn>
                <a:cxn ang="0">
                  <a:pos x="515" y="2011"/>
                </a:cxn>
                <a:cxn ang="0">
                  <a:pos x="466" y="2051"/>
                </a:cxn>
                <a:cxn ang="0">
                  <a:pos x="462" y="2040"/>
                </a:cxn>
                <a:cxn ang="0">
                  <a:pos x="452" y="2022"/>
                </a:cxn>
                <a:cxn ang="0">
                  <a:pos x="442" y="2004"/>
                </a:cxn>
                <a:cxn ang="0">
                  <a:pos x="460" y="1977"/>
                </a:cxn>
                <a:cxn ang="0">
                  <a:pos x="426" y="1904"/>
                </a:cxn>
                <a:cxn ang="0">
                  <a:pos x="414" y="1770"/>
                </a:cxn>
                <a:cxn ang="0">
                  <a:pos x="415" y="1515"/>
                </a:cxn>
                <a:cxn ang="0">
                  <a:pos x="415" y="1317"/>
                </a:cxn>
                <a:cxn ang="0">
                  <a:pos x="403" y="1206"/>
                </a:cxn>
                <a:cxn ang="0">
                  <a:pos x="374" y="1169"/>
                </a:cxn>
                <a:cxn ang="0">
                  <a:pos x="293" y="1165"/>
                </a:cxn>
                <a:cxn ang="0">
                  <a:pos x="173" y="1160"/>
                </a:cxn>
                <a:cxn ang="0">
                  <a:pos x="129" y="1123"/>
                </a:cxn>
                <a:cxn ang="0">
                  <a:pos x="121" y="1067"/>
                </a:cxn>
                <a:cxn ang="0">
                  <a:pos x="118" y="1022"/>
                </a:cxn>
                <a:cxn ang="0">
                  <a:pos x="102" y="978"/>
                </a:cxn>
                <a:cxn ang="0">
                  <a:pos x="78" y="965"/>
                </a:cxn>
                <a:cxn ang="0">
                  <a:pos x="57" y="944"/>
                </a:cxn>
                <a:cxn ang="0">
                  <a:pos x="73" y="901"/>
                </a:cxn>
                <a:cxn ang="0">
                  <a:pos x="61" y="829"/>
                </a:cxn>
                <a:cxn ang="0">
                  <a:pos x="26" y="783"/>
                </a:cxn>
                <a:cxn ang="0">
                  <a:pos x="33" y="757"/>
                </a:cxn>
                <a:cxn ang="0">
                  <a:pos x="177" y="812"/>
                </a:cxn>
                <a:cxn ang="0">
                  <a:pos x="330" y="792"/>
                </a:cxn>
                <a:cxn ang="0">
                  <a:pos x="465" y="705"/>
                </a:cxn>
                <a:cxn ang="0">
                  <a:pos x="561" y="573"/>
                </a:cxn>
                <a:cxn ang="0">
                  <a:pos x="625" y="418"/>
                </a:cxn>
                <a:cxn ang="0">
                  <a:pos x="663" y="259"/>
                </a:cxn>
                <a:cxn ang="0">
                  <a:pos x="683" y="117"/>
                </a:cxn>
                <a:cxn ang="0">
                  <a:pos x="696" y="0"/>
                </a:cxn>
              </a:cxnLst>
              <a:rect l="0" t="0" r="r" b="b"/>
              <a:pathLst>
                <a:path w="696" h="2058">
                  <a:moveTo>
                    <a:pt x="0" y="731"/>
                  </a:moveTo>
                  <a:lnTo>
                    <a:pt x="6" y="735"/>
                  </a:lnTo>
                  <a:lnTo>
                    <a:pt x="12" y="737"/>
                  </a:lnTo>
                  <a:lnTo>
                    <a:pt x="12" y="741"/>
                  </a:lnTo>
                  <a:lnTo>
                    <a:pt x="0" y="731"/>
                  </a:lnTo>
                  <a:close/>
                  <a:moveTo>
                    <a:pt x="696" y="0"/>
                  </a:moveTo>
                  <a:lnTo>
                    <a:pt x="691" y="60"/>
                  </a:lnTo>
                  <a:lnTo>
                    <a:pt x="688" y="120"/>
                  </a:lnTo>
                  <a:lnTo>
                    <a:pt x="683" y="181"/>
                  </a:lnTo>
                  <a:lnTo>
                    <a:pt x="679" y="241"/>
                  </a:lnTo>
                  <a:lnTo>
                    <a:pt x="673" y="301"/>
                  </a:lnTo>
                  <a:lnTo>
                    <a:pt x="668" y="358"/>
                  </a:lnTo>
                  <a:lnTo>
                    <a:pt x="661" y="414"/>
                  </a:lnTo>
                  <a:lnTo>
                    <a:pt x="653" y="468"/>
                  </a:lnTo>
                  <a:lnTo>
                    <a:pt x="645" y="520"/>
                  </a:lnTo>
                  <a:lnTo>
                    <a:pt x="637" y="568"/>
                  </a:lnTo>
                  <a:lnTo>
                    <a:pt x="628" y="615"/>
                  </a:lnTo>
                  <a:lnTo>
                    <a:pt x="617" y="656"/>
                  </a:lnTo>
                  <a:lnTo>
                    <a:pt x="606" y="693"/>
                  </a:lnTo>
                  <a:lnTo>
                    <a:pt x="594" y="726"/>
                  </a:lnTo>
                  <a:lnTo>
                    <a:pt x="580" y="755"/>
                  </a:lnTo>
                  <a:lnTo>
                    <a:pt x="566" y="777"/>
                  </a:lnTo>
                  <a:lnTo>
                    <a:pt x="550" y="794"/>
                  </a:lnTo>
                  <a:lnTo>
                    <a:pt x="550" y="806"/>
                  </a:lnTo>
                  <a:lnTo>
                    <a:pt x="549" y="814"/>
                  </a:lnTo>
                  <a:lnTo>
                    <a:pt x="546" y="818"/>
                  </a:lnTo>
                  <a:lnTo>
                    <a:pt x="543" y="819"/>
                  </a:lnTo>
                  <a:lnTo>
                    <a:pt x="539" y="818"/>
                  </a:lnTo>
                  <a:lnTo>
                    <a:pt x="529" y="816"/>
                  </a:lnTo>
                  <a:lnTo>
                    <a:pt x="523" y="818"/>
                  </a:lnTo>
                  <a:lnTo>
                    <a:pt x="517" y="822"/>
                  </a:lnTo>
                  <a:lnTo>
                    <a:pt x="510" y="831"/>
                  </a:lnTo>
                  <a:lnTo>
                    <a:pt x="508" y="838"/>
                  </a:lnTo>
                  <a:lnTo>
                    <a:pt x="508" y="849"/>
                  </a:lnTo>
                  <a:lnTo>
                    <a:pt x="509" y="863"/>
                  </a:lnTo>
                  <a:lnTo>
                    <a:pt x="511" y="878"/>
                  </a:lnTo>
                  <a:lnTo>
                    <a:pt x="513" y="895"/>
                  </a:lnTo>
                  <a:lnTo>
                    <a:pt x="515" y="910"/>
                  </a:lnTo>
                  <a:lnTo>
                    <a:pt x="518" y="923"/>
                  </a:lnTo>
                  <a:lnTo>
                    <a:pt x="519" y="936"/>
                  </a:lnTo>
                  <a:lnTo>
                    <a:pt x="518" y="944"/>
                  </a:lnTo>
                  <a:lnTo>
                    <a:pt x="513" y="949"/>
                  </a:lnTo>
                  <a:lnTo>
                    <a:pt x="507" y="953"/>
                  </a:lnTo>
                  <a:lnTo>
                    <a:pt x="501" y="955"/>
                  </a:lnTo>
                  <a:lnTo>
                    <a:pt x="494" y="959"/>
                  </a:lnTo>
                  <a:lnTo>
                    <a:pt x="489" y="966"/>
                  </a:lnTo>
                  <a:lnTo>
                    <a:pt x="486" y="976"/>
                  </a:lnTo>
                  <a:lnTo>
                    <a:pt x="484" y="989"/>
                  </a:lnTo>
                  <a:lnTo>
                    <a:pt x="483" y="1004"/>
                  </a:lnTo>
                  <a:lnTo>
                    <a:pt x="482" y="1017"/>
                  </a:lnTo>
                  <a:lnTo>
                    <a:pt x="479" y="1027"/>
                  </a:lnTo>
                  <a:lnTo>
                    <a:pt x="490" y="1044"/>
                  </a:lnTo>
                  <a:lnTo>
                    <a:pt x="498" y="1057"/>
                  </a:lnTo>
                  <a:lnTo>
                    <a:pt x="505" y="1069"/>
                  </a:lnTo>
                  <a:lnTo>
                    <a:pt x="508" y="1082"/>
                  </a:lnTo>
                  <a:lnTo>
                    <a:pt x="508" y="1096"/>
                  </a:lnTo>
                  <a:lnTo>
                    <a:pt x="506" y="1110"/>
                  </a:lnTo>
                  <a:lnTo>
                    <a:pt x="501" y="1120"/>
                  </a:lnTo>
                  <a:lnTo>
                    <a:pt x="495" y="1130"/>
                  </a:lnTo>
                  <a:lnTo>
                    <a:pt x="488" y="1140"/>
                  </a:lnTo>
                  <a:lnTo>
                    <a:pt x="481" y="1150"/>
                  </a:lnTo>
                  <a:lnTo>
                    <a:pt x="473" y="1161"/>
                  </a:lnTo>
                  <a:lnTo>
                    <a:pt x="467" y="1175"/>
                  </a:lnTo>
                  <a:lnTo>
                    <a:pt x="462" y="1190"/>
                  </a:lnTo>
                  <a:lnTo>
                    <a:pt x="459" y="1210"/>
                  </a:lnTo>
                  <a:lnTo>
                    <a:pt x="458" y="1232"/>
                  </a:lnTo>
                  <a:lnTo>
                    <a:pt x="457" y="1265"/>
                  </a:lnTo>
                  <a:lnTo>
                    <a:pt x="456" y="1300"/>
                  </a:lnTo>
                  <a:lnTo>
                    <a:pt x="455" y="1336"/>
                  </a:lnTo>
                  <a:lnTo>
                    <a:pt x="459" y="1373"/>
                  </a:lnTo>
                  <a:lnTo>
                    <a:pt x="463" y="1397"/>
                  </a:lnTo>
                  <a:lnTo>
                    <a:pt x="464" y="1416"/>
                  </a:lnTo>
                  <a:lnTo>
                    <a:pt x="465" y="1433"/>
                  </a:lnTo>
                  <a:lnTo>
                    <a:pt x="464" y="1446"/>
                  </a:lnTo>
                  <a:lnTo>
                    <a:pt x="463" y="1459"/>
                  </a:lnTo>
                  <a:lnTo>
                    <a:pt x="462" y="1469"/>
                  </a:lnTo>
                  <a:lnTo>
                    <a:pt x="463" y="1477"/>
                  </a:lnTo>
                  <a:lnTo>
                    <a:pt x="465" y="1496"/>
                  </a:lnTo>
                  <a:lnTo>
                    <a:pt x="463" y="1505"/>
                  </a:lnTo>
                  <a:lnTo>
                    <a:pt x="460" y="1514"/>
                  </a:lnTo>
                  <a:lnTo>
                    <a:pt x="452" y="1526"/>
                  </a:lnTo>
                  <a:lnTo>
                    <a:pt x="456" y="1588"/>
                  </a:lnTo>
                  <a:lnTo>
                    <a:pt x="463" y="1648"/>
                  </a:lnTo>
                  <a:lnTo>
                    <a:pt x="473" y="1705"/>
                  </a:lnTo>
                  <a:lnTo>
                    <a:pt x="487" y="1758"/>
                  </a:lnTo>
                  <a:lnTo>
                    <a:pt x="502" y="1811"/>
                  </a:lnTo>
                  <a:lnTo>
                    <a:pt x="522" y="1862"/>
                  </a:lnTo>
                  <a:lnTo>
                    <a:pt x="544" y="1913"/>
                  </a:lnTo>
                  <a:lnTo>
                    <a:pt x="570" y="1963"/>
                  </a:lnTo>
                  <a:lnTo>
                    <a:pt x="558" y="1974"/>
                  </a:lnTo>
                  <a:lnTo>
                    <a:pt x="531" y="1999"/>
                  </a:lnTo>
                  <a:lnTo>
                    <a:pt x="515" y="2011"/>
                  </a:lnTo>
                  <a:lnTo>
                    <a:pt x="501" y="2023"/>
                  </a:lnTo>
                  <a:lnTo>
                    <a:pt x="488" y="2033"/>
                  </a:lnTo>
                  <a:lnTo>
                    <a:pt x="475" y="2042"/>
                  </a:lnTo>
                  <a:lnTo>
                    <a:pt x="466" y="2051"/>
                  </a:lnTo>
                  <a:lnTo>
                    <a:pt x="458" y="2056"/>
                  </a:lnTo>
                  <a:lnTo>
                    <a:pt x="454" y="2058"/>
                  </a:lnTo>
                  <a:lnTo>
                    <a:pt x="460" y="2049"/>
                  </a:lnTo>
                  <a:lnTo>
                    <a:pt x="462" y="2040"/>
                  </a:lnTo>
                  <a:lnTo>
                    <a:pt x="462" y="2034"/>
                  </a:lnTo>
                  <a:lnTo>
                    <a:pt x="459" y="2029"/>
                  </a:lnTo>
                  <a:lnTo>
                    <a:pt x="456" y="2025"/>
                  </a:lnTo>
                  <a:lnTo>
                    <a:pt x="452" y="2022"/>
                  </a:lnTo>
                  <a:lnTo>
                    <a:pt x="447" y="2019"/>
                  </a:lnTo>
                  <a:lnTo>
                    <a:pt x="440" y="2012"/>
                  </a:lnTo>
                  <a:lnTo>
                    <a:pt x="440" y="2008"/>
                  </a:lnTo>
                  <a:lnTo>
                    <a:pt x="442" y="2004"/>
                  </a:lnTo>
                  <a:lnTo>
                    <a:pt x="449" y="1998"/>
                  </a:lnTo>
                  <a:lnTo>
                    <a:pt x="458" y="1991"/>
                  </a:lnTo>
                  <a:lnTo>
                    <a:pt x="472" y="1983"/>
                  </a:lnTo>
                  <a:lnTo>
                    <a:pt x="460" y="1977"/>
                  </a:lnTo>
                  <a:lnTo>
                    <a:pt x="449" y="1966"/>
                  </a:lnTo>
                  <a:lnTo>
                    <a:pt x="440" y="1951"/>
                  </a:lnTo>
                  <a:lnTo>
                    <a:pt x="432" y="1929"/>
                  </a:lnTo>
                  <a:lnTo>
                    <a:pt x="426" y="1904"/>
                  </a:lnTo>
                  <a:lnTo>
                    <a:pt x="422" y="1876"/>
                  </a:lnTo>
                  <a:lnTo>
                    <a:pt x="418" y="1844"/>
                  </a:lnTo>
                  <a:lnTo>
                    <a:pt x="416" y="1808"/>
                  </a:lnTo>
                  <a:lnTo>
                    <a:pt x="414" y="1770"/>
                  </a:lnTo>
                  <a:lnTo>
                    <a:pt x="413" y="1730"/>
                  </a:lnTo>
                  <a:lnTo>
                    <a:pt x="413" y="1603"/>
                  </a:lnTo>
                  <a:lnTo>
                    <a:pt x="414" y="1560"/>
                  </a:lnTo>
                  <a:lnTo>
                    <a:pt x="415" y="1515"/>
                  </a:lnTo>
                  <a:lnTo>
                    <a:pt x="415" y="1473"/>
                  </a:lnTo>
                  <a:lnTo>
                    <a:pt x="416" y="1431"/>
                  </a:lnTo>
                  <a:lnTo>
                    <a:pt x="416" y="1353"/>
                  </a:lnTo>
                  <a:lnTo>
                    <a:pt x="415" y="1317"/>
                  </a:lnTo>
                  <a:lnTo>
                    <a:pt x="414" y="1284"/>
                  </a:lnTo>
                  <a:lnTo>
                    <a:pt x="411" y="1254"/>
                  </a:lnTo>
                  <a:lnTo>
                    <a:pt x="407" y="1228"/>
                  </a:lnTo>
                  <a:lnTo>
                    <a:pt x="403" y="1206"/>
                  </a:lnTo>
                  <a:lnTo>
                    <a:pt x="397" y="1190"/>
                  </a:lnTo>
                  <a:lnTo>
                    <a:pt x="390" y="1178"/>
                  </a:lnTo>
                  <a:lnTo>
                    <a:pt x="382" y="1171"/>
                  </a:lnTo>
                  <a:lnTo>
                    <a:pt x="374" y="1169"/>
                  </a:lnTo>
                  <a:lnTo>
                    <a:pt x="359" y="1168"/>
                  </a:lnTo>
                  <a:lnTo>
                    <a:pt x="341" y="1167"/>
                  </a:lnTo>
                  <a:lnTo>
                    <a:pt x="318" y="1166"/>
                  </a:lnTo>
                  <a:lnTo>
                    <a:pt x="293" y="1165"/>
                  </a:lnTo>
                  <a:lnTo>
                    <a:pt x="268" y="1165"/>
                  </a:lnTo>
                  <a:lnTo>
                    <a:pt x="216" y="1163"/>
                  </a:lnTo>
                  <a:lnTo>
                    <a:pt x="194" y="1161"/>
                  </a:lnTo>
                  <a:lnTo>
                    <a:pt x="173" y="1160"/>
                  </a:lnTo>
                  <a:lnTo>
                    <a:pt x="157" y="1158"/>
                  </a:lnTo>
                  <a:lnTo>
                    <a:pt x="147" y="1155"/>
                  </a:lnTo>
                  <a:lnTo>
                    <a:pt x="135" y="1134"/>
                  </a:lnTo>
                  <a:lnTo>
                    <a:pt x="129" y="1123"/>
                  </a:lnTo>
                  <a:lnTo>
                    <a:pt x="124" y="1112"/>
                  </a:lnTo>
                  <a:lnTo>
                    <a:pt x="119" y="1099"/>
                  </a:lnTo>
                  <a:lnTo>
                    <a:pt x="119" y="1085"/>
                  </a:lnTo>
                  <a:lnTo>
                    <a:pt x="121" y="1067"/>
                  </a:lnTo>
                  <a:lnTo>
                    <a:pt x="128" y="1048"/>
                  </a:lnTo>
                  <a:lnTo>
                    <a:pt x="128" y="1042"/>
                  </a:lnTo>
                  <a:lnTo>
                    <a:pt x="124" y="1032"/>
                  </a:lnTo>
                  <a:lnTo>
                    <a:pt x="118" y="1022"/>
                  </a:lnTo>
                  <a:lnTo>
                    <a:pt x="108" y="1000"/>
                  </a:lnTo>
                  <a:lnTo>
                    <a:pt x="104" y="990"/>
                  </a:lnTo>
                  <a:lnTo>
                    <a:pt x="104" y="983"/>
                  </a:lnTo>
                  <a:lnTo>
                    <a:pt x="102" y="978"/>
                  </a:lnTo>
                  <a:lnTo>
                    <a:pt x="99" y="975"/>
                  </a:lnTo>
                  <a:lnTo>
                    <a:pt x="93" y="971"/>
                  </a:lnTo>
                  <a:lnTo>
                    <a:pt x="87" y="968"/>
                  </a:lnTo>
                  <a:lnTo>
                    <a:pt x="78" y="965"/>
                  </a:lnTo>
                  <a:lnTo>
                    <a:pt x="71" y="960"/>
                  </a:lnTo>
                  <a:lnTo>
                    <a:pt x="65" y="956"/>
                  </a:lnTo>
                  <a:lnTo>
                    <a:pt x="60" y="951"/>
                  </a:lnTo>
                  <a:lnTo>
                    <a:pt x="57" y="944"/>
                  </a:lnTo>
                  <a:lnTo>
                    <a:pt x="56" y="937"/>
                  </a:lnTo>
                  <a:lnTo>
                    <a:pt x="58" y="926"/>
                  </a:lnTo>
                  <a:lnTo>
                    <a:pt x="63" y="915"/>
                  </a:lnTo>
                  <a:lnTo>
                    <a:pt x="73" y="901"/>
                  </a:lnTo>
                  <a:lnTo>
                    <a:pt x="71" y="884"/>
                  </a:lnTo>
                  <a:lnTo>
                    <a:pt x="67" y="868"/>
                  </a:lnTo>
                  <a:lnTo>
                    <a:pt x="64" y="849"/>
                  </a:lnTo>
                  <a:lnTo>
                    <a:pt x="61" y="829"/>
                  </a:lnTo>
                  <a:lnTo>
                    <a:pt x="61" y="805"/>
                  </a:lnTo>
                  <a:lnTo>
                    <a:pt x="47" y="803"/>
                  </a:lnTo>
                  <a:lnTo>
                    <a:pt x="36" y="795"/>
                  </a:lnTo>
                  <a:lnTo>
                    <a:pt x="26" y="783"/>
                  </a:lnTo>
                  <a:lnTo>
                    <a:pt x="18" y="769"/>
                  </a:lnTo>
                  <a:lnTo>
                    <a:pt x="13" y="754"/>
                  </a:lnTo>
                  <a:lnTo>
                    <a:pt x="12" y="741"/>
                  </a:lnTo>
                  <a:lnTo>
                    <a:pt x="33" y="757"/>
                  </a:lnTo>
                  <a:lnTo>
                    <a:pt x="68" y="777"/>
                  </a:lnTo>
                  <a:lnTo>
                    <a:pt x="104" y="794"/>
                  </a:lnTo>
                  <a:lnTo>
                    <a:pt x="140" y="805"/>
                  </a:lnTo>
                  <a:lnTo>
                    <a:pt x="177" y="812"/>
                  </a:lnTo>
                  <a:lnTo>
                    <a:pt x="212" y="814"/>
                  </a:lnTo>
                  <a:lnTo>
                    <a:pt x="247" y="812"/>
                  </a:lnTo>
                  <a:lnTo>
                    <a:pt x="290" y="804"/>
                  </a:lnTo>
                  <a:lnTo>
                    <a:pt x="330" y="792"/>
                  </a:lnTo>
                  <a:lnTo>
                    <a:pt x="368" y="775"/>
                  </a:lnTo>
                  <a:lnTo>
                    <a:pt x="403" y="756"/>
                  </a:lnTo>
                  <a:lnTo>
                    <a:pt x="435" y="732"/>
                  </a:lnTo>
                  <a:lnTo>
                    <a:pt x="465" y="705"/>
                  </a:lnTo>
                  <a:lnTo>
                    <a:pt x="492" y="675"/>
                  </a:lnTo>
                  <a:lnTo>
                    <a:pt x="517" y="643"/>
                  </a:lnTo>
                  <a:lnTo>
                    <a:pt x="539" y="609"/>
                  </a:lnTo>
                  <a:lnTo>
                    <a:pt x="561" y="573"/>
                  </a:lnTo>
                  <a:lnTo>
                    <a:pt x="579" y="536"/>
                  </a:lnTo>
                  <a:lnTo>
                    <a:pt x="596" y="497"/>
                  </a:lnTo>
                  <a:lnTo>
                    <a:pt x="611" y="458"/>
                  </a:lnTo>
                  <a:lnTo>
                    <a:pt x="625" y="418"/>
                  </a:lnTo>
                  <a:lnTo>
                    <a:pt x="636" y="378"/>
                  </a:lnTo>
                  <a:lnTo>
                    <a:pt x="646" y="338"/>
                  </a:lnTo>
                  <a:lnTo>
                    <a:pt x="655" y="299"/>
                  </a:lnTo>
                  <a:lnTo>
                    <a:pt x="663" y="259"/>
                  </a:lnTo>
                  <a:lnTo>
                    <a:pt x="670" y="221"/>
                  </a:lnTo>
                  <a:lnTo>
                    <a:pt x="675" y="184"/>
                  </a:lnTo>
                  <a:lnTo>
                    <a:pt x="680" y="150"/>
                  </a:lnTo>
                  <a:lnTo>
                    <a:pt x="683" y="117"/>
                  </a:lnTo>
                  <a:lnTo>
                    <a:pt x="687" y="86"/>
                  </a:lnTo>
                  <a:lnTo>
                    <a:pt x="689" y="59"/>
                  </a:lnTo>
                  <a:lnTo>
                    <a:pt x="691" y="34"/>
                  </a:lnTo>
                  <a:lnTo>
                    <a:pt x="69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6" name="Freeform 10"/>
            <p:cNvSpPr/>
            <p:nvPr>
              <p:custDataLst>
                <p:tags r:id="rId15"/>
              </p:custDataLst>
            </p:nvPr>
          </p:nvSpPr>
          <p:spPr bwMode="auto">
            <a:xfrm>
              <a:off x="3662356" y="896957"/>
              <a:ext cx="1511300" cy="417513"/>
            </a:xfrm>
            <a:custGeom>
              <a:avLst/>
              <a:gdLst/>
              <a:ahLst/>
              <a:cxnLst>
                <a:cxn ang="0">
                  <a:pos x="450" y="0"/>
                </a:cxn>
                <a:cxn ang="0">
                  <a:pos x="500" y="0"/>
                </a:cxn>
                <a:cxn ang="0">
                  <a:pos x="551" y="4"/>
                </a:cxn>
                <a:cxn ang="0">
                  <a:pos x="601" y="12"/>
                </a:cxn>
                <a:cxn ang="0">
                  <a:pos x="651" y="25"/>
                </a:cxn>
                <a:cxn ang="0">
                  <a:pos x="700" y="40"/>
                </a:cxn>
                <a:cxn ang="0">
                  <a:pos x="747" y="60"/>
                </a:cxn>
                <a:cxn ang="0">
                  <a:pos x="793" y="83"/>
                </a:cxn>
                <a:cxn ang="0">
                  <a:pos x="837" y="111"/>
                </a:cxn>
                <a:cxn ang="0">
                  <a:pos x="878" y="143"/>
                </a:cxn>
                <a:cxn ang="0">
                  <a:pos x="917" y="179"/>
                </a:cxn>
                <a:cxn ang="0">
                  <a:pos x="952" y="219"/>
                </a:cxn>
                <a:cxn ang="0">
                  <a:pos x="950" y="230"/>
                </a:cxn>
                <a:cxn ang="0">
                  <a:pos x="945" y="236"/>
                </a:cxn>
                <a:cxn ang="0">
                  <a:pos x="938" y="240"/>
                </a:cxn>
                <a:cxn ang="0">
                  <a:pos x="930" y="243"/>
                </a:cxn>
                <a:cxn ang="0">
                  <a:pos x="914" y="247"/>
                </a:cxn>
                <a:cxn ang="0">
                  <a:pos x="907" y="250"/>
                </a:cxn>
                <a:cxn ang="0">
                  <a:pos x="900" y="255"/>
                </a:cxn>
                <a:cxn ang="0">
                  <a:pos x="897" y="263"/>
                </a:cxn>
                <a:cxn ang="0">
                  <a:pos x="843" y="222"/>
                </a:cxn>
                <a:cxn ang="0">
                  <a:pos x="788" y="186"/>
                </a:cxn>
                <a:cxn ang="0">
                  <a:pos x="733" y="154"/>
                </a:cxn>
                <a:cxn ang="0">
                  <a:pos x="677" y="127"/>
                </a:cxn>
                <a:cxn ang="0">
                  <a:pos x="622" y="103"/>
                </a:cxn>
                <a:cxn ang="0">
                  <a:pos x="566" y="84"/>
                </a:cxn>
                <a:cxn ang="0">
                  <a:pos x="511" y="71"/>
                </a:cxn>
                <a:cxn ang="0">
                  <a:pos x="454" y="63"/>
                </a:cxn>
                <a:cxn ang="0">
                  <a:pos x="398" y="60"/>
                </a:cxn>
                <a:cxn ang="0">
                  <a:pos x="342" y="63"/>
                </a:cxn>
                <a:cxn ang="0">
                  <a:pos x="285" y="72"/>
                </a:cxn>
                <a:cxn ang="0">
                  <a:pos x="228" y="88"/>
                </a:cxn>
                <a:cxn ang="0">
                  <a:pos x="171" y="109"/>
                </a:cxn>
                <a:cxn ang="0">
                  <a:pos x="115" y="137"/>
                </a:cxn>
                <a:cxn ang="0">
                  <a:pos x="57" y="173"/>
                </a:cxn>
                <a:cxn ang="0">
                  <a:pos x="0" y="215"/>
                </a:cxn>
                <a:cxn ang="0">
                  <a:pos x="27" y="180"/>
                </a:cxn>
                <a:cxn ang="0">
                  <a:pos x="57" y="148"/>
                </a:cxn>
                <a:cxn ang="0">
                  <a:pos x="91" y="119"/>
                </a:cxn>
                <a:cxn ang="0">
                  <a:pos x="128" y="93"/>
                </a:cxn>
                <a:cxn ang="0">
                  <a:pos x="168" y="70"/>
                </a:cxn>
                <a:cxn ang="0">
                  <a:pos x="210" y="49"/>
                </a:cxn>
                <a:cxn ang="0">
                  <a:pos x="255" y="33"/>
                </a:cxn>
                <a:cxn ang="0">
                  <a:pos x="302" y="20"/>
                </a:cxn>
                <a:cxn ang="0">
                  <a:pos x="350" y="9"/>
                </a:cxn>
                <a:cxn ang="0">
                  <a:pos x="399" y="3"/>
                </a:cxn>
                <a:cxn ang="0">
                  <a:pos x="450" y="0"/>
                </a:cxn>
              </a:cxnLst>
              <a:rect l="0" t="0" r="r" b="b"/>
              <a:pathLst>
                <a:path w="952" h="263">
                  <a:moveTo>
                    <a:pt x="450" y="0"/>
                  </a:moveTo>
                  <a:lnTo>
                    <a:pt x="500" y="0"/>
                  </a:lnTo>
                  <a:lnTo>
                    <a:pt x="551" y="4"/>
                  </a:lnTo>
                  <a:lnTo>
                    <a:pt x="601" y="12"/>
                  </a:lnTo>
                  <a:lnTo>
                    <a:pt x="651" y="25"/>
                  </a:lnTo>
                  <a:lnTo>
                    <a:pt x="700" y="40"/>
                  </a:lnTo>
                  <a:lnTo>
                    <a:pt x="747" y="60"/>
                  </a:lnTo>
                  <a:lnTo>
                    <a:pt x="793" y="83"/>
                  </a:lnTo>
                  <a:lnTo>
                    <a:pt x="837" y="111"/>
                  </a:lnTo>
                  <a:lnTo>
                    <a:pt x="878" y="143"/>
                  </a:lnTo>
                  <a:lnTo>
                    <a:pt x="917" y="179"/>
                  </a:lnTo>
                  <a:lnTo>
                    <a:pt x="952" y="219"/>
                  </a:lnTo>
                  <a:lnTo>
                    <a:pt x="950" y="230"/>
                  </a:lnTo>
                  <a:lnTo>
                    <a:pt x="945" y="236"/>
                  </a:lnTo>
                  <a:lnTo>
                    <a:pt x="938" y="240"/>
                  </a:lnTo>
                  <a:lnTo>
                    <a:pt x="930" y="243"/>
                  </a:lnTo>
                  <a:lnTo>
                    <a:pt x="914" y="247"/>
                  </a:lnTo>
                  <a:lnTo>
                    <a:pt x="907" y="250"/>
                  </a:lnTo>
                  <a:lnTo>
                    <a:pt x="900" y="255"/>
                  </a:lnTo>
                  <a:lnTo>
                    <a:pt x="897" y="263"/>
                  </a:lnTo>
                  <a:lnTo>
                    <a:pt x="843" y="222"/>
                  </a:lnTo>
                  <a:lnTo>
                    <a:pt x="788" y="186"/>
                  </a:lnTo>
                  <a:lnTo>
                    <a:pt x="733" y="154"/>
                  </a:lnTo>
                  <a:lnTo>
                    <a:pt x="677" y="127"/>
                  </a:lnTo>
                  <a:lnTo>
                    <a:pt x="622" y="103"/>
                  </a:lnTo>
                  <a:lnTo>
                    <a:pt x="566" y="84"/>
                  </a:lnTo>
                  <a:lnTo>
                    <a:pt x="511" y="71"/>
                  </a:lnTo>
                  <a:lnTo>
                    <a:pt x="454" y="63"/>
                  </a:lnTo>
                  <a:lnTo>
                    <a:pt x="398" y="60"/>
                  </a:lnTo>
                  <a:lnTo>
                    <a:pt x="342" y="63"/>
                  </a:lnTo>
                  <a:lnTo>
                    <a:pt x="285" y="72"/>
                  </a:lnTo>
                  <a:lnTo>
                    <a:pt x="228" y="88"/>
                  </a:lnTo>
                  <a:lnTo>
                    <a:pt x="171" y="109"/>
                  </a:lnTo>
                  <a:lnTo>
                    <a:pt x="115" y="137"/>
                  </a:lnTo>
                  <a:lnTo>
                    <a:pt x="57" y="173"/>
                  </a:lnTo>
                  <a:lnTo>
                    <a:pt x="0" y="215"/>
                  </a:lnTo>
                  <a:lnTo>
                    <a:pt x="27" y="180"/>
                  </a:lnTo>
                  <a:lnTo>
                    <a:pt x="57" y="148"/>
                  </a:lnTo>
                  <a:lnTo>
                    <a:pt x="91" y="119"/>
                  </a:lnTo>
                  <a:lnTo>
                    <a:pt x="128" y="93"/>
                  </a:lnTo>
                  <a:lnTo>
                    <a:pt x="168" y="70"/>
                  </a:lnTo>
                  <a:lnTo>
                    <a:pt x="210" y="49"/>
                  </a:lnTo>
                  <a:lnTo>
                    <a:pt x="255" y="33"/>
                  </a:lnTo>
                  <a:lnTo>
                    <a:pt x="302" y="20"/>
                  </a:lnTo>
                  <a:lnTo>
                    <a:pt x="350" y="9"/>
                  </a:lnTo>
                  <a:lnTo>
                    <a:pt x="399" y="3"/>
                  </a:lnTo>
                  <a:lnTo>
                    <a:pt x="45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7" name="Freeform 11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3675056" y="1331932"/>
              <a:ext cx="388938" cy="2057400"/>
            </a:xfrm>
            <a:custGeom>
              <a:avLst/>
              <a:gdLst/>
              <a:ahLst/>
              <a:cxnLst>
                <a:cxn ang="0">
                  <a:pos x="245" y="1296"/>
                </a:cxn>
                <a:cxn ang="0">
                  <a:pos x="235" y="1295"/>
                </a:cxn>
                <a:cxn ang="0">
                  <a:pos x="0" y="0"/>
                </a:cxn>
                <a:cxn ang="0">
                  <a:pos x="16" y="230"/>
                </a:cxn>
                <a:cxn ang="0">
                  <a:pos x="33" y="433"/>
                </a:cxn>
                <a:cxn ang="0">
                  <a:pos x="53" y="607"/>
                </a:cxn>
                <a:cxn ang="0">
                  <a:pos x="72" y="756"/>
                </a:cxn>
                <a:cxn ang="0">
                  <a:pos x="92" y="883"/>
                </a:cxn>
                <a:cxn ang="0">
                  <a:pos x="112" y="988"/>
                </a:cxn>
                <a:cxn ang="0">
                  <a:pos x="131" y="1074"/>
                </a:cxn>
                <a:cxn ang="0">
                  <a:pos x="150" y="1141"/>
                </a:cxn>
                <a:cxn ang="0">
                  <a:pos x="168" y="1194"/>
                </a:cxn>
                <a:cxn ang="0">
                  <a:pos x="186" y="1233"/>
                </a:cxn>
                <a:cxn ang="0">
                  <a:pos x="201" y="1261"/>
                </a:cxn>
                <a:cxn ang="0">
                  <a:pos x="215" y="1279"/>
                </a:cxn>
                <a:cxn ang="0">
                  <a:pos x="226" y="1290"/>
                </a:cxn>
                <a:cxn ang="0">
                  <a:pos x="227" y="1292"/>
                </a:cxn>
                <a:cxn ang="0">
                  <a:pos x="194" y="1265"/>
                </a:cxn>
                <a:cxn ang="0">
                  <a:pos x="163" y="1215"/>
                </a:cxn>
                <a:cxn ang="0">
                  <a:pos x="136" y="1145"/>
                </a:cxn>
                <a:cxn ang="0">
                  <a:pos x="112" y="1057"/>
                </a:cxn>
                <a:cxn ang="0">
                  <a:pos x="91" y="958"/>
                </a:cxn>
                <a:cxn ang="0">
                  <a:pos x="73" y="849"/>
                </a:cxn>
                <a:cxn ang="0">
                  <a:pos x="56" y="734"/>
                </a:cxn>
                <a:cxn ang="0">
                  <a:pos x="43" y="616"/>
                </a:cxn>
                <a:cxn ang="0">
                  <a:pos x="31" y="500"/>
                </a:cxn>
                <a:cxn ang="0">
                  <a:pos x="22" y="388"/>
                </a:cxn>
                <a:cxn ang="0">
                  <a:pos x="14" y="284"/>
                </a:cxn>
                <a:cxn ang="0">
                  <a:pos x="9" y="191"/>
                </a:cxn>
                <a:cxn ang="0">
                  <a:pos x="5" y="112"/>
                </a:cxn>
                <a:cxn ang="0">
                  <a:pos x="2" y="52"/>
                </a:cxn>
                <a:cxn ang="0">
                  <a:pos x="0" y="13"/>
                </a:cxn>
              </a:cxnLst>
              <a:rect l="0" t="0" r="r" b="b"/>
              <a:pathLst>
                <a:path w="245" h="1296">
                  <a:moveTo>
                    <a:pt x="231" y="1293"/>
                  </a:moveTo>
                  <a:lnTo>
                    <a:pt x="245" y="1296"/>
                  </a:lnTo>
                  <a:lnTo>
                    <a:pt x="239" y="1296"/>
                  </a:lnTo>
                  <a:lnTo>
                    <a:pt x="235" y="1295"/>
                  </a:lnTo>
                  <a:lnTo>
                    <a:pt x="231" y="1293"/>
                  </a:lnTo>
                  <a:close/>
                  <a:moveTo>
                    <a:pt x="0" y="0"/>
                  </a:moveTo>
                  <a:lnTo>
                    <a:pt x="8" y="119"/>
                  </a:lnTo>
                  <a:lnTo>
                    <a:pt x="16" y="230"/>
                  </a:lnTo>
                  <a:lnTo>
                    <a:pt x="24" y="335"/>
                  </a:lnTo>
                  <a:lnTo>
                    <a:pt x="33" y="433"/>
                  </a:lnTo>
                  <a:lnTo>
                    <a:pt x="43" y="524"/>
                  </a:lnTo>
                  <a:lnTo>
                    <a:pt x="53" y="607"/>
                  </a:lnTo>
                  <a:lnTo>
                    <a:pt x="62" y="685"/>
                  </a:lnTo>
                  <a:lnTo>
                    <a:pt x="72" y="756"/>
                  </a:lnTo>
                  <a:lnTo>
                    <a:pt x="82" y="822"/>
                  </a:lnTo>
                  <a:lnTo>
                    <a:pt x="92" y="883"/>
                  </a:lnTo>
                  <a:lnTo>
                    <a:pt x="101" y="938"/>
                  </a:lnTo>
                  <a:lnTo>
                    <a:pt x="112" y="988"/>
                  </a:lnTo>
                  <a:lnTo>
                    <a:pt x="122" y="1032"/>
                  </a:lnTo>
                  <a:lnTo>
                    <a:pt x="131" y="1074"/>
                  </a:lnTo>
                  <a:lnTo>
                    <a:pt x="140" y="1110"/>
                  </a:lnTo>
                  <a:lnTo>
                    <a:pt x="150" y="1141"/>
                  </a:lnTo>
                  <a:lnTo>
                    <a:pt x="159" y="1169"/>
                  </a:lnTo>
                  <a:lnTo>
                    <a:pt x="168" y="1194"/>
                  </a:lnTo>
                  <a:lnTo>
                    <a:pt x="177" y="1216"/>
                  </a:lnTo>
                  <a:lnTo>
                    <a:pt x="186" y="1233"/>
                  </a:lnTo>
                  <a:lnTo>
                    <a:pt x="193" y="1249"/>
                  </a:lnTo>
                  <a:lnTo>
                    <a:pt x="201" y="1261"/>
                  </a:lnTo>
                  <a:lnTo>
                    <a:pt x="208" y="1271"/>
                  </a:lnTo>
                  <a:lnTo>
                    <a:pt x="215" y="1279"/>
                  </a:lnTo>
                  <a:lnTo>
                    <a:pt x="221" y="1286"/>
                  </a:lnTo>
                  <a:lnTo>
                    <a:pt x="226" y="1290"/>
                  </a:lnTo>
                  <a:lnTo>
                    <a:pt x="231" y="1293"/>
                  </a:lnTo>
                  <a:lnTo>
                    <a:pt x="227" y="1292"/>
                  </a:lnTo>
                  <a:lnTo>
                    <a:pt x="210" y="1281"/>
                  </a:lnTo>
                  <a:lnTo>
                    <a:pt x="194" y="1265"/>
                  </a:lnTo>
                  <a:lnTo>
                    <a:pt x="177" y="1242"/>
                  </a:lnTo>
                  <a:lnTo>
                    <a:pt x="163" y="1215"/>
                  </a:lnTo>
                  <a:lnTo>
                    <a:pt x="150" y="1182"/>
                  </a:lnTo>
                  <a:lnTo>
                    <a:pt x="136" y="1145"/>
                  </a:lnTo>
                  <a:lnTo>
                    <a:pt x="124" y="1102"/>
                  </a:lnTo>
                  <a:lnTo>
                    <a:pt x="112" y="1057"/>
                  </a:lnTo>
                  <a:lnTo>
                    <a:pt x="101" y="1009"/>
                  </a:lnTo>
                  <a:lnTo>
                    <a:pt x="91" y="958"/>
                  </a:lnTo>
                  <a:lnTo>
                    <a:pt x="81" y="905"/>
                  </a:lnTo>
                  <a:lnTo>
                    <a:pt x="73" y="849"/>
                  </a:lnTo>
                  <a:lnTo>
                    <a:pt x="63" y="792"/>
                  </a:lnTo>
                  <a:lnTo>
                    <a:pt x="56" y="734"/>
                  </a:lnTo>
                  <a:lnTo>
                    <a:pt x="49" y="676"/>
                  </a:lnTo>
                  <a:lnTo>
                    <a:pt x="43" y="616"/>
                  </a:lnTo>
                  <a:lnTo>
                    <a:pt x="37" y="559"/>
                  </a:lnTo>
                  <a:lnTo>
                    <a:pt x="31" y="500"/>
                  </a:lnTo>
                  <a:lnTo>
                    <a:pt x="26" y="444"/>
                  </a:lnTo>
                  <a:lnTo>
                    <a:pt x="22" y="388"/>
                  </a:lnTo>
                  <a:lnTo>
                    <a:pt x="18" y="335"/>
                  </a:lnTo>
                  <a:lnTo>
                    <a:pt x="14" y="284"/>
                  </a:lnTo>
                  <a:lnTo>
                    <a:pt x="11" y="236"/>
                  </a:lnTo>
                  <a:lnTo>
                    <a:pt x="9" y="191"/>
                  </a:lnTo>
                  <a:lnTo>
                    <a:pt x="7" y="149"/>
                  </a:lnTo>
                  <a:lnTo>
                    <a:pt x="5" y="112"/>
                  </a:lnTo>
                  <a:lnTo>
                    <a:pt x="3" y="80"/>
                  </a:lnTo>
                  <a:lnTo>
                    <a:pt x="2" y="52"/>
                  </a:lnTo>
                  <a:lnTo>
                    <a:pt x="1" y="30"/>
                  </a:lnTo>
                  <a:lnTo>
                    <a:pt x="0" y="1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8" name="Freeform 12"/>
            <p:cNvSpPr/>
            <p:nvPr>
              <p:custDataLst>
                <p:tags r:id="rId17"/>
              </p:custDataLst>
            </p:nvPr>
          </p:nvSpPr>
          <p:spPr bwMode="auto">
            <a:xfrm>
              <a:off x="3938581" y="1981219"/>
              <a:ext cx="906463" cy="906463"/>
            </a:xfrm>
            <a:custGeom>
              <a:avLst/>
              <a:gdLst/>
              <a:ahLst/>
              <a:cxnLst>
                <a:cxn ang="0">
                  <a:pos x="286" y="0"/>
                </a:cxn>
                <a:cxn ang="0">
                  <a:pos x="571" y="286"/>
                </a:cxn>
                <a:cxn ang="0">
                  <a:pos x="286" y="571"/>
                </a:cxn>
                <a:cxn ang="0">
                  <a:pos x="0" y="286"/>
                </a:cxn>
                <a:cxn ang="0">
                  <a:pos x="286" y="0"/>
                </a:cxn>
              </a:cxnLst>
              <a:rect l="0" t="0" r="r" b="b"/>
              <a:pathLst>
                <a:path w="571" h="571">
                  <a:moveTo>
                    <a:pt x="286" y="0"/>
                  </a:moveTo>
                  <a:lnTo>
                    <a:pt x="571" y="286"/>
                  </a:lnTo>
                  <a:lnTo>
                    <a:pt x="286" y="571"/>
                  </a:lnTo>
                  <a:lnTo>
                    <a:pt x="0" y="286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9" name="Freeform 13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3773481" y="2246332"/>
              <a:ext cx="530225" cy="1193800"/>
            </a:xfrm>
            <a:custGeom>
              <a:avLst/>
              <a:gdLst/>
              <a:ahLst/>
              <a:cxnLst>
                <a:cxn ang="0">
                  <a:pos x="333" y="743"/>
                </a:cxn>
                <a:cxn ang="0">
                  <a:pos x="330" y="745"/>
                </a:cxn>
                <a:cxn ang="0">
                  <a:pos x="326" y="746"/>
                </a:cxn>
                <a:cxn ang="0">
                  <a:pos x="321" y="748"/>
                </a:cxn>
                <a:cxn ang="0">
                  <a:pos x="312" y="749"/>
                </a:cxn>
                <a:cxn ang="0">
                  <a:pos x="334" y="743"/>
                </a:cxn>
                <a:cxn ang="0">
                  <a:pos x="333" y="743"/>
                </a:cxn>
                <a:cxn ang="0">
                  <a:pos x="0" y="0"/>
                </a:cxn>
                <a:cxn ang="0">
                  <a:pos x="11" y="88"/>
                </a:cxn>
                <a:cxn ang="0">
                  <a:pos x="22" y="168"/>
                </a:cxn>
                <a:cxn ang="0">
                  <a:pos x="34" y="241"/>
                </a:cxn>
                <a:cxn ang="0">
                  <a:pos x="48" y="308"/>
                </a:cxn>
                <a:cxn ang="0">
                  <a:pos x="61" y="370"/>
                </a:cxn>
                <a:cxn ang="0">
                  <a:pos x="75" y="424"/>
                </a:cxn>
                <a:cxn ang="0">
                  <a:pos x="90" y="475"/>
                </a:cxn>
                <a:cxn ang="0">
                  <a:pos x="105" y="519"/>
                </a:cxn>
                <a:cxn ang="0">
                  <a:pos x="120" y="559"/>
                </a:cxn>
                <a:cxn ang="0">
                  <a:pos x="135" y="593"/>
                </a:cxn>
                <a:cxn ang="0">
                  <a:pos x="150" y="624"/>
                </a:cxn>
                <a:cxn ang="0">
                  <a:pos x="166" y="651"/>
                </a:cxn>
                <a:cxn ang="0">
                  <a:pos x="181" y="674"/>
                </a:cxn>
                <a:cxn ang="0">
                  <a:pos x="196" y="692"/>
                </a:cxn>
                <a:cxn ang="0">
                  <a:pos x="211" y="708"/>
                </a:cxn>
                <a:cxn ang="0">
                  <a:pos x="226" y="721"/>
                </a:cxn>
                <a:cxn ang="0">
                  <a:pos x="239" y="730"/>
                </a:cxn>
                <a:cxn ang="0">
                  <a:pos x="252" y="738"/>
                </a:cxn>
                <a:cxn ang="0">
                  <a:pos x="265" y="744"/>
                </a:cxn>
                <a:cxn ang="0">
                  <a:pos x="277" y="748"/>
                </a:cxn>
                <a:cxn ang="0">
                  <a:pos x="287" y="750"/>
                </a:cxn>
                <a:cxn ang="0">
                  <a:pos x="307" y="750"/>
                </a:cxn>
                <a:cxn ang="0">
                  <a:pos x="312" y="749"/>
                </a:cxn>
                <a:cxn ang="0">
                  <a:pos x="306" y="751"/>
                </a:cxn>
                <a:cxn ang="0">
                  <a:pos x="279" y="752"/>
                </a:cxn>
                <a:cxn ang="0">
                  <a:pos x="254" y="749"/>
                </a:cxn>
                <a:cxn ang="0">
                  <a:pos x="232" y="739"/>
                </a:cxn>
                <a:cxn ang="0">
                  <a:pos x="209" y="726"/>
                </a:cxn>
                <a:cxn ang="0">
                  <a:pos x="190" y="708"/>
                </a:cxn>
                <a:cxn ang="0">
                  <a:pos x="170" y="686"/>
                </a:cxn>
                <a:cxn ang="0">
                  <a:pos x="153" y="660"/>
                </a:cxn>
                <a:cxn ang="0">
                  <a:pos x="135" y="630"/>
                </a:cxn>
                <a:cxn ang="0">
                  <a:pos x="120" y="599"/>
                </a:cxn>
                <a:cxn ang="0">
                  <a:pos x="106" y="564"/>
                </a:cxn>
                <a:cxn ang="0">
                  <a:pos x="93" y="528"/>
                </a:cxn>
                <a:cxn ang="0">
                  <a:pos x="81" y="491"/>
                </a:cxn>
                <a:cxn ang="0">
                  <a:pos x="69" y="452"/>
                </a:cxn>
                <a:cxn ang="0">
                  <a:pos x="60" y="413"/>
                </a:cxn>
                <a:cxn ang="0">
                  <a:pos x="51" y="373"/>
                </a:cxn>
                <a:cxn ang="0">
                  <a:pos x="42" y="333"/>
                </a:cxn>
                <a:cxn ang="0">
                  <a:pos x="35" y="294"/>
                </a:cxn>
                <a:cxn ang="0">
                  <a:pos x="29" y="255"/>
                </a:cxn>
                <a:cxn ang="0">
                  <a:pos x="23" y="218"/>
                </a:cxn>
                <a:cxn ang="0">
                  <a:pos x="18" y="181"/>
                </a:cxn>
                <a:cxn ang="0">
                  <a:pos x="14" y="148"/>
                </a:cxn>
                <a:cxn ang="0">
                  <a:pos x="11" y="117"/>
                </a:cxn>
                <a:cxn ang="0">
                  <a:pos x="7" y="88"/>
                </a:cxn>
                <a:cxn ang="0">
                  <a:pos x="5" y="63"/>
                </a:cxn>
                <a:cxn ang="0">
                  <a:pos x="3" y="41"/>
                </a:cxn>
                <a:cxn ang="0">
                  <a:pos x="2" y="24"/>
                </a:cxn>
                <a:cxn ang="0">
                  <a:pos x="1" y="12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334" h="752">
                  <a:moveTo>
                    <a:pt x="333" y="743"/>
                  </a:moveTo>
                  <a:lnTo>
                    <a:pt x="330" y="745"/>
                  </a:lnTo>
                  <a:lnTo>
                    <a:pt x="326" y="746"/>
                  </a:lnTo>
                  <a:lnTo>
                    <a:pt x="321" y="748"/>
                  </a:lnTo>
                  <a:lnTo>
                    <a:pt x="312" y="749"/>
                  </a:lnTo>
                  <a:lnTo>
                    <a:pt x="334" y="743"/>
                  </a:lnTo>
                  <a:lnTo>
                    <a:pt x="333" y="743"/>
                  </a:lnTo>
                  <a:close/>
                  <a:moveTo>
                    <a:pt x="0" y="0"/>
                  </a:moveTo>
                  <a:lnTo>
                    <a:pt x="11" y="88"/>
                  </a:lnTo>
                  <a:lnTo>
                    <a:pt x="22" y="168"/>
                  </a:lnTo>
                  <a:lnTo>
                    <a:pt x="34" y="241"/>
                  </a:lnTo>
                  <a:lnTo>
                    <a:pt x="48" y="308"/>
                  </a:lnTo>
                  <a:lnTo>
                    <a:pt x="61" y="370"/>
                  </a:lnTo>
                  <a:lnTo>
                    <a:pt x="75" y="424"/>
                  </a:lnTo>
                  <a:lnTo>
                    <a:pt x="90" y="475"/>
                  </a:lnTo>
                  <a:lnTo>
                    <a:pt x="105" y="519"/>
                  </a:lnTo>
                  <a:lnTo>
                    <a:pt x="120" y="559"/>
                  </a:lnTo>
                  <a:lnTo>
                    <a:pt x="135" y="593"/>
                  </a:lnTo>
                  <a:lnTo>
                    <a:pt x="150" y="624"/>
                  </a:lnTo>
                  <a:lnTo>
                    <a:pt x="166" y="651"/>
                  </a:lnTo>
                  <a:lnTo>
                    <a:pt x="181" y="674"/>
                  </a:lnTo>
                  <a:lnTo>
                    <a:pt x="196" y="692"/>
                  </a:lnTo>
                  <a:lnTo>
                    <a:pt x="211" y="708"/>
                  </a:lnTo>
                  <a:lnTo>
                    <a:pt x="226" y="721"/>
                  </a:lnTo>
                  <a:lnTo>
                    <a:pt x="239" y="730"/>
                  </a:lnTo>
                  <a:lnTo>
                    <a:pt x="252" y="738"/>
                  </a:lnTo>
                  <a:lnTo>
                    <a:pt x="265" y="744"/>
                  </a:lnTo>
                  <a:lnTo>
                    <a:pt x="277" y="748"/>
                  </a:lnTo>
                  <a:lnTo>
                    <a:pt x="287" y="750"/>
                  </a:lnTo>
                  <a:lnTo>
                    <a:pt x="307" y="750"/>
                  </a:lnTo>
                  <a:lnTo>
                    <a:pt x="312" y="749"/>
                  </a:lnTo>
                  <a:lnTo>
                    <a:pt x="306" y="751"/>
                  </a:lnTo>
                  <a:lnTo>
                    <a:pt x="279" y="752"/>
                  </a:lnTo>
                  <a:lnTo>
                    <a:pt x="254" y="749"/>
                  </a:lnTo>
                  <a:lnTo>
                    <a:pt x="232" y="739"/>
                  </a:lnTo>
                  <a:lnTo>
                    <a:pt x="209" y="726"/>
                  </a:lnTo>
                  <a:lnTo>
                    <a:pt x="190" y="708"/>
                  </a:lnTo>
                  <a:lnTo>
                    <a:pt x="170" y="686"/>
                  </a:lnTo>
                  <a:lnTo>
                    <a:pt x="153" y="660"/>
                  </a:lnTo>
                  <a:lnTo>
                    <a:pt x="135" y="630"/>
                  </a:lnTo>
                  <a:lnTo>
                    <a:pt x="120" y="599"/>
                  </a:lnTo>
                  <a:lnTo>
                    <a:pt x="106" y="564"/>
                  </a:lnTo>
                  <a:lnTo>
                    <a:pt x="93" y="528"/>
                  </a:lnTo>
                  <a:lnTo>
                    <a:pt x="81" y="491"/>
                  </a:lnTo>
                  <a:lnTo>
                    <a:pt x="69" y="452"/>
                  </a:lnTo>
                  <a:lnTo>
                    <a:pt x="60" y="413"/>
                  </a:lnTo>
                  <a:lnTo>
                    <a:pt x="51" y="373"/>
                  </a:lnTo>
                  <a:lnTo>
                    <a:pt x="42" y="333"/>
                  </a:lnTo>
                  <a:lnTo>
                    <a:pt x="35" y="294"/>
                  </a:lnTo>
                  <a:lnTo>
                    <a:pt x="29" y="255"/>
                  </a:lnTo>
                  <a:lnTo>
                    <a:pt x="23" y="218"/>
                  </a:lnTo>
                  <a:lnTo>
                    <a:pt x="18" y="181"/>
                  </a:lnTo>
                  <a:lnTo>
                    <a:pt x="14" y="148"/>
                  </a:lnTo>
                  <a:lnTo>
                    <a:pt x="11" y="117"/>
                  </a:lnTo>
                  <a:lnTo>
                    <a:pt x="7" y="88"/>
                  </a:lnTo>
                  <a:lnTo>
                    <a:pt x="5" y="63"/>
                  </a:lnTo>
                  <a:lnTo>
                    <a:pt x="3" y="41"/>
                  </a:lnTo>
                  <a:lnTo>
                    <a:pt x="2" y="24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50" name="Freeform 14"/>
            <p:cNvSpPr/>
            <p:nvPr>
              <p:custDataLst>
                <p:tags r:id="rId19"/>
              </p:custDataLst>
            </p:nvPr>
          </p:nvSpPr>
          <p:spPr bwMode="auto">
            <a:xfrm>
              <a:off x="3746493" y="4025919"/>
              <a:ext cx="509588" cy="1863725"/>
            </a:xfrm>
            <a:custGeom>
              <a:avLst/>
              <a:gdLst/>
              <a:ahLst/>
              <a:cxnLst>
                <a:cxn ang="0">
                  <a:pos x="280" y="0"/>
                </a:cxn>
                <a:cxn ang="0">
                  <a:pos x="291" y="46"/>
                </a:cxn>
                <a:cxn ang="0">
                  <a:pos x="297" y="317"/>
                </a:cxn>
                <a:cxn ang="0">
                  <a:pos x="317" y="345"/>
                </a:cxn>
                <a:cxn ang="0">
                  <a:pos x="320" y="399"/>
                </a:cxn>
                <a:cxn ang="0">
                  <a:pos x="321" y="447"/>
                </a:cxn>
                <a:cxn ang="0">
                  <a:pos x="320" y="491"/>
                </a:cxn>
                <a:cxn ang="0">
                  <a:pos x="317" y="530"/>
                </a:cxn>
                <a:cxn ang="0">
                  <a:pos x="314" y="565"/>
                </a:cxn>
                <a:cxn ang="0">
                  <a:pos x="308" y="596"/>
                </a:cxn>
                <a:cxn ang="0">
                  <a:pos x="303" y="622"/>
                </a:cxn>
                <a:cxn ang="0">
                  <a:pos x="298" y="645"/>
                </a:cxn>
                <a:cxn ang="0">
                  <a:pos x="287" y="679"/>
                </a:cxn>
                <a:cxn ang="0">
                  <a:pos x="283" y="690"/>
                </a:cxn>
                <a:cxn ang="0">
                  <a:pos x="279" y="698"/>
                </a:cxn>
                <a:cxn ang="0">
                  <a:pos x="276" y="703"/>
                </a:cxn>
                <a:cxn ang="0">
                  <a:pos x="275" y="704"/>
                </a:cxn>
                <a:cxn ang="0">
                  <a:pos x="220" y="821"/>
                </a:cxn>
                <a:cxn ang="0">
                  <a:pos x="58" y="872"/>
                </a:cxn>
                <a:cxn ang="0">
                  <a:pos x="49" y="1117"/>
                </a:cxn>
                <a:cxn ang="0">
                  <a:pos x="0" y="1174"/>
                </a:cxn>
                <a:cxn ang="0">
                  <a:pos x="39" y="1117"/>
                </a:cxn>
                <a:cxn ang="0">
                  <a:pos x="49" y="866"/>
                </a:cxn>
                <a:cxn ang="0">
                  <a:pos x="211" y="819"/>
                </a:cxn>
                <a:cxn ang="0">
                  <a:pos x="267" y="700"/>
                </a:cxn>
                <a:cxn ang="0">
                  <a:pos x="282" y="663"/>
                </a:cxn>
                <a:cxn ang="0">
                  <a:pos x="293" y="625"/>
                </a:cxn>
                <a:cxn ang="0">
                  <a:pos x="301" y="588"/>
                </a:cxn>
                <a:cxn ang="0">
                  <a:pos x="306" y="552"/>
                </a:cxn>
                <a:cxn ang="0">
                  <a:pos x="310" y="517"/>
                </a:cxn>
                <a:cxn ang="0">
                  <a:pos x="313" y="484"/>
                </a:cxn>
                <a:cxn ang="0">
                  <a:pos x="314" y="453"/>
                </a:cxn>
                <a:cxn ang="0">
                  <a:pos x="313" y="425"/>
                </a:cxn>
                <a:cxn ang="0">
                  <a:pos x="311" y="402"/>
                </a:cxn>
                <a:cxn ang="0">
                  <a:pos x="310" y="382"/>
                </a:cxn>
                <a:cxn ang="0">
                  <a:pos x="309" y="368"/>
                </a:cxn>
                <a:cxn ang="0">
                  <a:pos x="307" y="359"/>
                </a:cxn>
                <a:cxn ang="0">
                  <a:pos x="307" y="355"/>
                </a:cxn>
                <a:cxn ang="0">
                  <a:pos x="289" y="324"/>
                </a:cxn>
                <a:cxn ang="0">
                  <a:pos x="289" y="310"/>
                </a:cxn>
                <a:cxn ang="0">
                  <a:pos x="288" y="295"/>
                </a:cxn>
                <a:cxn ang="0">
                  <a:pos x="288" y="250"/>
                </a:cxn>
                <a:cxn ang="0">
                  <a:pos x="287" y="225"/>
                </a:cxn>
                <a:cxn ang="0">
                  <a:pos x="286" y="198"/>
                </a:cxn>
                <a:cxn ang="0">
                  <a:pos x="286" y="170"/>
                </a:cxn>
                <a:cxn ang="0">
                  <a:pos x="285" y="143"/>
                </a:cxn>
                <a:cxn ang="0">
                  <a:pos x="285" y="95"/>
                </a:cxn>
                <a:cxn ang="0">
                  <a:pos x="284" y="77"/>
                </a:cxn>
                <a:cxn ang="0">
                  <a:pos x="284" y="39"/>
                </a:cxn>
                <a:cxn ang="0">
                  <a:pos x="283" y="25"/>
                </a:cxn>
                <a:cxn ang="0">
                  <a:pos x="281" y="13"/>
                </a:cxn>
                <a:cxn ang="0">
                  <a:pos x="280" y="3"/>
                </a:cxn>
                <a:cxn ang="0">
                  <a:pos x="280" y="0"/>
                </a:cxn>
              </a:cxnLst>
              <a:rect l="0" t="0" r="r" b="b"/>
              <a:pathLst>
                <a:path w="321" h="1174">
                  <a:moveTo>
                    <a:pt x="280" y="0"/>
                  </a:moveTo>
                  <a:lnTo>
                    <a:pt x="291" y="46"/>
                  </a:lnTo>
                  <a:lnTo>
                    <a:pt x="297" y="317"/>
                  </a:lnTo>
                  <a:lnTo>
                    <a:pt x="317" y="345"/>
                  </a:lnTo>
                  <a:lnTo>
                    <a:pt x="320" y="399"/>
                  </a:lnTo>
                  <a:lnTo>
                    <a:pt x="321" y="447"/>
                  </a:lnTo>
                  <a:lnTo>
                    <a:pt x="320" y="491"/>
                  </a:lnTo>
                  <a:lnTo>
                    <a:pt x="317" y="530"/>
                  </a:lnTo>
                  <a:lnTo>
                    <a:pt x="314" y="565"/>
                  </a:lnTo>
                  <a:lnTo>
                    <a:pt x="308" y="596"/>
                  </a:lnTo>
                  <a:lnTo>
                    <a:pt x="303" y="622"/>
                  </a:lnTo>
                  <a:lnTo>
                    <a:pt x="298" y="645"/>
                  </a:lnTo>
                  <a:lnTo>
                    <a:pt x="287" y="679"/>
                  </a:lnTo>
                  <a:lnTo>
                    <a:pt x="283" y="690"/>
                  </a:lnTo>
                  <a:lnTo>
                    <a:pt x="279" y="698"/>
                  </a:lnTo>
                  <a:lnTo>
                    <a:pt x="276" y="703"/>
                  </a:lnTo>
                  <a:lnTo>
                    <a:pt x="275" y="704"/>
                  </a:lnTo>
                  <a:lnTo>
                    <a:pt x="220" y="821"/>
                  </a:lnTo>
                  <a:lnTo>
                    <a:pt x="58" y="872"/>
                  </a:lnTo>
                  <a:lnTo>
                    <a:pt x="49" y="1117"/>
                  </a:lnTo>
                  <a:lnTo>
                    <a:pt x="0" y="1174"/>
                  </a:lnTo>
                  <a:lnTo>
                    <a:pt x="39" y="1117"/>
                  </a:lnTo>
                  <a:lnTo>
                    <a:pt x="49" y="866"/>
                  </a:lnTo>
                  <a:lnTo>
                    <a:pt x="211" y="819"/>
                  </a:lnTo>
                  <a:lnTo>
                    <a:pt x="267" y="700"/>
                  </a:lnTo>
                  <a:lnTo>
                    <a:pt x="282" y="663"/>
                  </a:lnTo>
                  <a:lnTo>
                    <a:pt x="293" y="625"/>
                  </a:lnTo>
                  <a:lnTo>
                    <a:pt x="301" y="588"/>
                  </a:lnTo>
                  <a:lnTo>
                    <a:pt x="306" y="552"/>
                  </a:lnTo>
                  <a:lnTo>
                    <a:pt x="310" y="517"/>
                  </a:lnTo>
                  <a:lnTo>
                    <a:pt x="313" y="484"/>
                  </a:lnTo>
                  <a:lnTo>
                    <a:pt x="314" y="453"/>
                  </a:lnTo>
                  <a:lnTo>
                    <a:pt x="313" y="425"/>
                  </a:lnTo>
                  <a:lnTo>
                    <a:pt x="311" y="402"/>
                  </a:lnTo>
                  <a:lnTo>
                    <a:pt x="310" y="382"/>
                  </a:lnTo>
                  <a:lnTo>
                    <a:pt x="309" y="368"/>
                  </a:lnTo>
                  <a:lnTo>
                    <a:pt x="307" y="359"/>
                  </a:lnTo>
                  <a:lnTo>
                    <a:pt x="307" y="355"/>
                  </a:lnTo>
                  <a:lnTo>
                    <a:pt x="289" y="324"/>
                  </a:lnTo>
                  <a:lnTo>
                    <a:pt x="289" y="310"/>
                  </a:lnTo>
                  <a:lnTo>
                    <a:pt x="288" y="295"/>
                  </a:lnTo>
                  <a:lnTo>
                    <a:pt x="288" y="250"/>
                  </a:lnTo>
                  <a:lnTo>
                    <a:pt x="287" y="225"/>
                  </a:lnTo>
                  <a:lnTo>
                    <a:pt x="286" y="198"/>
                  </a:lnTo>
                  <a:lnTo>
                    <a:pt x="286" y="170"/>
                  </a:lnTo>
                  <a:lnTo>
                    <a:pt x="285" y="143"/>
                  </a:lnTo>
                  <a:lnTo>
                    <a:pt x="285" y="95"/>
                  </a:lnTo>
                  <a:lnTo>
                    <a:pt x="284" y="77"/>
                  </a:lnTo>
                  <a:lnTo>
                    <a:pt x="284" y="39"/>
                  </a:lnTo>
                  <a:lnTo>
                    <a:pt x="283" y="25"/>
                  </a:lnTo>
                  <a:lnTo>
                    <a:pt x="281" y="13"/>
                  </a:lnTo>
                  <a:lnTo>
                    <a:pt x="280" y="3"/>
                  </a:lnTo>
                  <a:lnTo>
                    <a:pt x="28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51" name="Freeform 15"/>
            <p:cNvSpPr/>
            <p:nvPr>
              <p:custDataLst>
                <p:tags r:id="rId20"/>
              </p:custDataLst>
            </p:nvPr>
          </p:nvSpPr>
          <p:spPr bwMode="auto">
            <a:xfrm>
              <a:off x="3962393" y="5457844"/>
              <a:ext cx="1095375" cy="206375"/>
            </a:xfrm>
            <a:custGeom>
              <a:avLst/>
              <a:gdLst/>
              <a:ahLst/>
              <a:cxnLst>
                <a:cxn ang="0">
                  <a:pos x="690" y="0"/>
                </a:cxn>
                <a:cxn ang="0">
                  <a:pos x="275" y="130"/>
                </a:cxn>
                <a:cxn ang="0">
                  <a:pos x="0" y="7"/>
                </a:cxn>
                <a:cxn ang="0">
                  <a:pos x="277" y="114"/>
                </a:cxn>
                <a:cxn ang="0">
                  <a:pos x="690" y="0"/>
                </a:cxn>
              </a:cxnLst>
              <a:rect l="0" t="0" r="r" b="b"/>
              <a:pathLst>
                <a:path w="690" h="130">
                  <a:moveTo>
                    <a:pt x="690" y="0"/>
                  </a:moveTo>
                  <a:lnTo>
                    <a:pt x="275" y="130"/>
                  </a:lnTo>
                  <a:lnTo>
                    <a:pt x="0" y="7"/>
                  </a:lnTo>
                  <a:lnTo>
                    <a:pt x="277" y="114"/>
                  </a:lnTo>
                  <a:lnTo>
                    <a:pt x="69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98D21"/>
                </a:gs>
                <a:gs pos="74000">
                  <a:srgbClr val="F3EB4F"/>
                </a:gs>
                <a:gs pos="54000">
                  <a:srgbClr val="F3CB69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en-US" sz="24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9775825" y="4322445"/>
            <a:ext cx="1452563" cy="1604963"/>
            <a:chOff x="9805968" y="2919911"/>
            <a:chExt cx="1452528" cy="1605507"/>
          </a:xfrm>
        </p:grpSpPr>
        <p:sp>
          <p:nvSpPr>
            <p:cNvPr id="62" name="任意多边形 61"/>
            <p:cNvSpPr/>
            <p:nvPr>
              <p:custDataLst>
                <p:tags r:id="rId10"/>
              </p:custDataLst>
            </p:nvPr>
          </p:nvSpPr>
          <p:spPr bwMode="auto">
            <a:xfrm>
              <a:off x="9805968" y="2919911"/>
              <a:ext cx="1396535" cy="1605507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solidFill>
              <a:srgbClr val="005392"/>
            </a:solidFill>
            <a:ln>
              <a:noFill/>
            </a:ln>
            <a:effectLst>
              <a:outerShdw blurRad="571500" dist="546100" dir="8100000" sx="98000" sy="98000" algn="tr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zh-CN" altLang="en-US" sz="40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3033" name="文本框 36"/>
            <p:cNvSpPr txBox="1"/>
            <p:nvPr>
              <p:custDataLst>
                <p:tags r:id="rId11"/>
              </p:custDataLst>
            </p:nvPr>
          </p:nvSpPr>
          <p:spPr>
            <a:xfrm>
              <a:off x="9855991" y="3174817"/>
              <a:ext cx="1402505" cy="95345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冷冻</a:t>
              </a:r>
              <a:r>
                <a:rPr lang="zh-CN" altLang="en-US" sz="2800" b="1" dirty="0" smtClean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空分运</a:t>
              </a: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维</a:t>
              </a: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8184198" y="1449705"/>
            <a:ext cx="1446212" cy="1604963"/>
            <a:chOff x="9768279" y="2950406"/>
            <a:chExt cx="1446558" cy="1605507"/>
          </a:xfrm>
        </p:grpSpPr>
        <p:sp>
          <p:nvSpPr>
            <p:cNvPr id="65" name="任意多边形 64"/>
            <p:cNvSpPr/>
            <p:nvPr>
              <p:custDataLst>
                <p:tags r:id="rId8"/>
              </p:custDataLst>
            </p:nvPr>
          </p:nvSpPr>
          <p:spPr bwMode="auto">
            <a:xfrm>
              <a:off x="9768279" y="2950406"/>
              <a:ext cx="1396535" cy="1605507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ffectLst>
              <a:outerShdw blurRad="571500" dist="546100" dir="8100000" sx="98000" sy="98000" algn="tr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/>
              <a:endParaRPr lang="zh-CN" altLang="en-US" sz="4000" strike="noStrike" noProof="1">
                <a:ln>
                  <a:solidFill>
                    <a:srgbClr val="127210"/>
                  </a:solidFill>
                </a:ln>
              </a:endParaRPr>
            </a:p>
          </p:txBody>
        </p:sp>
        <p:sp>
          <p:nvSpPr>
            <p:cNvPr id="43036" name="文本框 36"/>
            <p:cNvSpPr txBox="1"/>
            <p:nvPr>
              <p:custDataLst>
                <p:tags r:id="rId9"/>
              </p:custDataLst>
            </p:nvPr>
          </p:nvSpPr>
          <p:spPr>
            <a:xfrm>
              <a:off x="9812332" y="3184119"/>
              <a:ext cx="1402505" cy="95345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生产</a:t>
              </a:r>
              <a:endParaRPr lang="en-US" altLang="zh-CN" sz="2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运行</a:t>
              </a:r>
            </a:p>
          </p:txBody>
        </p:sp>
      </p:grpSp>
      <p:sp>
        <p:nvSpPr>
          <p:cNvPr id="52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53" name="箭头: 五边形 26"/>
          <p:cNvSpPr/>
          <p:nvPr>
            <p:custDataLst>
              <p:tags r:id="rId6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43039" name="矩形 53"/>
          <p:cNvSpPr/>
          <p:nvPr>
            <p:custDataLst>
              <p:tags r:id="rId7"/>
            </p:custDataLst>
          </p:nvPr>
        </p:nvSpPr>
        <p:spPr>
          <a:xfrm>
            <a:off x="1784350" y="276225"/>
            <a:ext cx="7334250" cy="73723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招聘岗位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——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储备类</a:t>
            </a: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bldLvl="0" animBg="1"/>
      <p:bldP spid="40" grpId="0" bldLvl="0" animBg="1"/>
      <p:bldP spid="41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>
            <p:custDataLst>
              <p:tags r:id="rId2"/>
            </p:custDataLst>
          </p:nvPr>
        </p:nvSpPr>
        <p:spPr>
          <a:xfrm>
            <a:off x="13335" y="0"/>
            <a:ext cx="4120896" cy="6858000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 dirty="0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2" name="直接连接符 1"/>
          <p:cNvCxnSpPr/>
          <p:nvPr>
            <p:custDataLst>
              <p:tags r:id="rId3"/>
            </p:custDataLst>
          </p:nvPr>
        </p:nvCxnSpPr>
        <p:spPr>
          <a:xfrm>
            <a:off x="609605" y="6324651"/>
            <a:ext cx="762006" cy="0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>
            <p:custDataLst>
              <p:tags r:id="rId4"/>
            </p:custDataLst>
          </p:nvPr>
        </p:nvSpPr>
        <p:spPr>
          <a:xfrm>
            <a:off x="88265" y="2707640"/>
            <a:ext cx="3971290" cy="1442720"/>
          </a:xfrm>
          <a:prstGeom prst="rect">
            <a:avLst/>
          </a:prstGeom>
          <a:noFill/>
        </p:spPr>
        <p:txBody>
          <a:bodyPr wrap="square" lIns="63500" tIns="25400" rIns="63500" bIns="25400" rtlCol="0" anchor="t" anchorCtr="0">
            <a:normAutofit fontScale="85000" lnSpcReduction="20000"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</a:pPr>
            <a:r>
              <a:rPr lang="zh-CN" altLang="en-US" sz="4000" b="1" spc="24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rPr>
              <a:t>江苏瑞恒新材料科技有限公司校园宣讲</a:t>
            </a:r>
          </a:p>
        </p:txBody>
      </p:sp>
      <p:pic>
        <p:nvPicPr>
          <p:cNvPr id="10" name="图片 9" descr="placingpictureplaceholder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rcRect t="5489" b="5489"/>
          <a:stretch>
            <a:fillRect/>
          </a:stretch>
        </p:blipFill>
        <p:spPr>
          <a:xfrm>
            <a:off x="7075170" y="916305"/>
            <a:ext cx="2214880" cy="1771650"/>
          </a:xfrm>
          <a:prstGeom prst="rect">
            <a:avLst/>
          </a:prstGeom>
        </p:spPr>
      </p:pic>
      <p:pic>
        <p:nvPicPr>
          <p:cNvPr id="12" name="图片 11" descr="placingpictureplaceholder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/>
          <a:srcRect l="12621" r="12621"/>
          <a:stretch>
            <a:fillRect/>
          </a:stretch>
        </p:blipFill>
        <p:spPr>
          <a:xfrm>
            <a:off x="4716459" y="916293"/>
            <a:ext cx="2215265" cy="1771658"/>
          </a:xfrm>
          <a:prstGeom prst="rect">
            <a:avLst/>
          </a:prstGeom>
        </p:spPr>
      </p:pic>
      <p:pic>
        <p:nvPicPr>
          <p:cNvPr id="13" name="图片 12" descr="placingpictureplaceholder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/>
          <a:srcRect l="12621" r="12621"/>
          <a:stretch>
            <a:fillRect/>
          </a:stretch>
        </p:blipFill>
        <p:spPr>
          <a:xfrm>
            <a:off x="9404164" y="916293"/>
            <a:ext cx="2215265" cy="1771658"/>
          </a:xfrm>
          <a:prstGeom prst="rect">
            <a:avLst/>
          </a:prstGeom>
        </p:spPr>
      </p:pic>
      <p:pic>
        <p:nvPicPr>
          <p:cNvPr id="3" name="图片 2" descr="DJI_0020_2020040310105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16145" y="2867660"/>
            <a:ext cx="6903085" cy="289750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>
            <p:custDataLst>
              <p:tags r:id="rId2"/>
            </p:custDataLst>
          </p:nvPr>
        </p:nvSpPr>
        <p:spPr>
          <a:xfrm>
            <a:off x="493318" y="307501"/>
            <a:ext cx="3928557" cy="514350"/>
          </a:xfrm>
          <a:prstGeom prst="rect">
            <a:avLst/>
          </a:prstGeom>
          <a:noFill/>
        </p:spPr>
        <p:txBody>
          <a:bodyPr wrap="square" lIns="63500" tIns="25400" rIns="63500" bIns="25400" rtlCol="0" anchor="b" anchorCtr="0">
            <a:normAutofit fontScale="92500" lnSpcReduction="20000"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4000" b="1" spc="240" dirty="0" smtClean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招聘岗位及条件</a:t>
            </a:r>
            <a:endParaRPr lang="zh-CN" altLang="en-US" sz="4000" b="1" spc="240" dirty="0">
              <a:solidFill>
                <a:schemeClr val="dk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3965264"/>
              </p:ext>
            </p:extLst>
          </p:nvPr>
        </p:nvGraphicFramePr>
        <p:xfrm>
          <a:off x="762759" y="1047208"/>
          <a:ext cx="10987963" cy="518981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56885"/>
                <a:gridCol w="6256368"/>
                <a:gridCol w="2374710"/>
              </a:tblGrid>
              <a:tr h="578019"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招聘岗位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业要求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共性要求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1008445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工生产运行</a:t>
                      </a:r>
                      <a:endParaRPr lang="zh-CN" altLang="en-US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用化工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石油化工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精细化工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海洋化工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分子材料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生产技术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生物技术等相关专业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rowSpan="5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及以上学历；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吃苦耐劳，具有上进心、责任心和敬业精神；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zh-CN" sz="1800" b="1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具有相关专业工作经历者优先。</a:t>
                      </a:r>
                      <a:endParaRPr lang="zh-CN" altLang="zh-CN" sz="1800" b="1" kern="1200" dirty="0" smtClean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1008445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气仪表运维</a:t>
                      </a:r>
                      <a:endParaRPr lang="zh-CN" altLang="en-US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气自动化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业自动化仪表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算机应用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电一体化</a:t>
                      </a:r>
                      <a:r>
                        <a:rPr lang="en-US" altLang="zh-CN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2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工装备等相关专业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1008445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800" b="1" strike="noStrike" spc="220" noProof="0" dirty="0" smtClean="0">
                          <a:ln w="3175">
                            <a:noFill/>
                            <a:prstDash val="dash"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冷冻空分运维</a:t>
                      </a:r>
                      <a:endParaRPr lang="zh-CN" altLang="en-US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热能动力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电一体化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制冷与空调技术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械设计与制造等相关专业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1008445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800" b="1" strike="noStrike" spc="220" noProof="0" dirty="0" smtClean="0">
                          <a:ln w="3175">
                            <a:noFill/>
                            <a:prstDash val="dash"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质量检验</a:t>
                      </a:r>
                      <a:endParaRPr lang="zh-CN" altLang="en-US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工工艺</a:t>
                      </a:r>
                      <a:r>
                        <a:rPr lang="en-US" altLang="zh-CN" sz="1800" b="1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业分析与检验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学分析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用化学</a:t>
                      </a:r>
                      <a:r>
                        <a:rPr lang="en-US" altLang="zh-CN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strike="noStrike" spc="18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学等相关专业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578019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800" b="1" strike="noStrike" spc="220" noProof="0" dirty="0" smtClean="0">
                          <a:ln w="3175">
                            <a:noFill/>
                            <a:prstDash val="dash"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仓储物流</a:t>
                      </a:r>
                      <a:endParaRPr lang="zh-CN" altLang="en-US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800" b="1" strike="noStrike" spc="14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</a:t>
                      </a:r>
                      <a:r>
                        <a:rPr lang="en-US" altLang="zh-CN" sz="1800" b="1" strike="noStrike" spc="140" dirty="0" err="1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熟练使用电脑</a:t>
                      </a:r>
                      <a:r>
                        <a:rPr lang="zh-CN" altLang="en-US" sz="1800" b="1" strike="noStrike" spc="14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800" b="1" strike="noStrike" spc="140" dirty="0" err="1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物流管理、交通运输</a:t>
                      </a:r>
                      <a:r>
                        <a:rPr lang="zh-CN" altLang="en-US" sz="1800" b="1" strike="noStrike" spc="140" dirty="0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</a:t>
                      </a:r>
                      <a:r>
                        <a:rPr lang="en-US" altLang="zh-CN" sz="1800" b="1" strike="noStrike" spc="140" dirty="0" err="1" smtClean="0">
                          <a:ln w="3175">
                            <a:noFill/>
                            <a:prstDash val="dash"/>
                          </a:ln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专业</a:t>
                      </a:r>
                      <a:endParaRPr lang="zh-CN" altLang="en-US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8479701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D:\meihua_service_cache\jpg/e6a2491ad0648fadb4097e12eed3d9d7.jpge6a2491ad0648fadb4097e12eed3d9d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/>
          <a:stretch>
            <a:fillRect/>
          </a:stretch>
        </p:blipFill>
        <p:spPr>
          <a:xfrm>
            <a:off x="7014845" y="0"/>
            <a:ext cx="5177142" cy="685800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8153" h="10800">
                <a:moveTo>
                  <a:pt x="0" y="0"/>
                </a:moveTo>
                <a:lnTo>
                  <a:pt x="8153" y="0"/>
                </a:lnTo>
                <a:lnTo>
                  <a:pt x="8153" y="10800"/>
                </a:lnTo>
                <a:lnTo>
                  <a:pt x="0" y="108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5" name="Object 901"/>
          <p:cNvSpPr txBox="1"/>
          <p:nvPr>
            <p:custDataLst>
              <p:tags r:id="rId3"/>
            </p:custDataLst>
          </p:nvPr>
        </p:nvSpPr>
        <p:spPr>
          <a:xfrm>
            <a:off x="914400" y="1523251"/>
            <a:ext cx="5181600" cy="789305"/>
          </a:xfrm>
          <a:prstGeom prst="rect">
            <a:avLst/>
          </a:prstGeom>
        </p:spPr>
        <p:txBody>
          <a:bodyPr vert="horz" lIns="63500" tIns="25400" rIns="63500" bIns="25400" rtlCol="0" anchor="b" anchorCtr="0">
            <a:normAutofit/>
          </a:bodyPr>
          <a:lstStyle/>
          <a:p>
            <a:pPr marL="0" indent="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4400" b="1" i="0" spc="28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如何加入我们 </a:t>
            </a:r>
          </a:p>
        </p:txBody>
      </p:sp>
      <p:sp>
        <p:nvSpPr>
          <p:cNvPr id="6" name="Object 902"/>
          <p:cNvSpPr txBox="1"/>
          <p:nvPr>
            <p:custDataLst>
              <p:tags r:id="rId4"/>
            </p:custDataLst>
          </p:nvPr>
        </p:nvSpPr>
        <p:spPr>
          <a:xfrm>
            <a:off x="914400" y="2337956"/>
            <a:ext cx="5181600" cy="559841"/>
          </a:xfrm>
          <a:prstGeom prst="rect">
            <a:avLst/>
          </a:prstGeom>
        </p:spPr>
        <p:txBody>
          <a:bodyPr vert="horz" lIns="63500" tIns="25400" rIns="63500" bIns="25400" rtlCol="0" anchor="t" anchorCtr="0">
            <a:normAutofit/>
          </a:bodyPr>
          <a:lstStyle/>
          <a:p>
            <a:pPr marL="0" indent="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pc="100" dirty="0">
                <a:solidFill>
                  <a:schemeClr val="dk1"/>
                </a:solidFill>
                <a:latin typeface="微软雅黑" panose="020B0503020204020204" charset="-122"/>
                <a:ea typeface="微软雅黑" panose="020B0503020204020204" charset="-122"/>
              </a:rPr>
              <a:t>——应聘方式与就业指导</a:t>
            </a:r>
          </a:p>
        </p:txBody>
      </p:sp>
      <p:sp>
        <p:nvSpPr>
          <p:cNvPr id="11" name="Title 6"/>
          <p:cNvSpPr txBox="1"/>
          <p:nvPr>
            <p:custDataLst>
              <p:tags r:id="rId5"/>
            </p:custDataLst>
          </p:nvPr>
        </p:nvSpPr>
        <p:spPr>
          <a:xfrm>
            <a:off x="914400" y="3047365"/>
            <a:ext cx="5181600" cy="1627492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t" anchorCtr="0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en-US" altLang="zh-CN" sz="8800" spc="72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04</a:t>
            </a:r>
          </a:p>
        </p:txBody>
      </p:sp>
    </p:spTree>
    <p:custDataLst>
      <p:tags r:id="rId1"/>
    </p:custData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>
            <p:custDataLst>
              <p:tags r:id="rId2"/>
            </p:custDataLst>
          </p:nvPr>
        </p:nvCxnSpPr>
        <p:spPr>
          <a:xfrm>
            <a:off x="5468938" y="41275"/>
            <a:ext cx="0" cy="6700838"/>
          </a:xfrm>
          <a:prstGeom prst="line">
            <a:avLst/>
          </a:prstGeom>
          <a:ln w="9525">
            <a:solidFill>
              <a:srgbClr val="646464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组合 3"/>
          <p:cNvGrpSpPr/>
          <p:nvPr/>
        </p:nvGrpSpPr>
        <p:grpSpPr>
          <a:xfrm>
            <a:off x="5468938" y="1301750"/>
            <a:ext cx="2897187" cy="790575"/>
            <a:chOff x="9175165" y="1839291"/>
            <a:chExt cx="2898205" cy="790365"/>
          </a:xfrm>
        </p:grpSpPr>
        <p:grpSp>
          <p:nvGrpSpPr>
            <p:cNvPr id="49155" name="组合 4"/>
            <p:cNvGrpSpPr/>
            <p:nvPr/>
          </p:nvGrpSpPr>
          <p:grpSpPr>
            <a:xfrm>
              <a:off x="9175165" y="1839291"/>
              <a:ext cx="2898205" cy="790365"/>
              <a:chOff x="9175165" y="1839291"/>
              <a:chExt cx="2898205" cy="790365"/>
            </a:xfrm>
          </p:grpSpPr>
          <p:pic>
            <p:nvPicPr>
              <p:cNvPr id="49156" name="图片 6"/>
              <p:cNvPicPr>
                <a:picLocks noChangeAspect="1"/>
              </p:cNvPicPr>
              <p:nvPr>
                <p:custDataLst>
                  <p:tags r:id="rId35"/>
                </p:custDataLst>
              </p:nvPr>
            </p:nvPicPr>
            <p:blipFill>
              <a:blip r:embed="rId39"/>
              <a:stretch>
                <a:fillRect/>
              </a:stretch>
            </p:blipFill>
            <p:spPr>
              <a:xfrm>
                <a:off x="9175165" y="1848456"/>
                <a:ext cx="2680840" cy="78120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" name="Freeform 56"/>
              <p:cNvSpPr/>
              <p:nvPr>
                <p:custDataLst>
                  <p:tags r:id="rId36"/>
                </p:custDataLst>
              </p:nvPr>
            </p:nvSpPr>
            <p:spPr bwMode="auto">
              <a:xfrm>
                <a:off x="9573760" y="1839291"/>
                <a:ext cx="2499610" cy="444660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0" y="425"/>
                      <a:pt x="2385" y="411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5"/>
                      <a:pt x="2370" y="0"/>
                      <a:pt x="2353" y="0"/>
                    </a:cubicBezTo>
                    <a:close/>
                  </a:path>
                </a:pathLst>
              </a:custGeom>
              <a:solidFill>
                <a:srgbClr val="0053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/>
                <a:endParaRPr lang="zh-CN" altLang="en-US" sz="2800" b="1" strike="noStrike" noProof="1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49158" name="文本框 17"/>
            <p:cNvSpPr txBox="1"/>
            <p:nvPr>
              <p:custDataLst>
                <p:tags r:id="rId34"/>
              </p:custDataLst>
            </p:nvPr>
          </p:nvSpPr>
          <p:spPr>
            <a:xfrm>
              <a:off x="10027769" y="1839395"/>
              <a:ext cx="1415772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r>
                <a:rPr lang="zh-CN" altLang="en-US" sz="24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投递简历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468938" y="2992438"/>
            <a:ext cx="2890837" cy="825500"/>
            <a:chOff x="9175165" y="3711603"/>
            <a:chExt cx="2890885" cy="826974"/>
          </a:xfrm>
        </p:grpSpPr>
        <p:grpSp>
          <p:nvGrpSpPr>
            <p:cNvPr id="49160" name="组合 9"/>
            <p:cNvGrpSpPr/>
            <p:nvPr/>
          </p:nvGrpSpPr>
          <p:grpSpPr>
            <a:xfrm>
              <a:off x="9175165" y="3735204"/>
              <a:ext cx="2890885" cy="803373"/>
              <a:chOff x="9175165" y="3735204"/>
              <a:chExt cx="2890885" cy="803373"/>
            </a:xfrm>
          </p:grpSpPr>
          <p:pic>
            <p:nvPicPr>
              <p:cNvPr id="49161" name="图片 11"/>
              <p:cNvPicPr>
                <a:picLocks noChangeAspect="1"/>
              </p:cNvPicPr>
              <p:nvPr>
                <p:custDataLst>
                  <p:tags r:id="rId32"/>
                </p:custDataLst>
              </p:nvPr>
            </p:nvPicPr>
            <p:blipFill>
              <a:blip r:embed="rId39"/>
              <a:stretch>
                <a:fillRect/>
              </a:stretch>
            </p:blipFill>
            <p:spPr>
              <a:xfrm>
                <a:off x="9175165" y="3757377"/>
                <a:ext cx="2680840" cy="78120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3" name="Freeform 59"/>
              <p:cNvSpPr/>
              <p:nvPr>
                <p:custDataLst>
                  <p:tags r:id="rId33"/>
                </p:custDataLst>
              </p:nvPr>
            </p:nvSpPr>
            <p:spPr bwMode="auto">
              <a:xfrm>
                <a:off x="9566441" y="3735204"/>
                <a:ext cx="2499609" cy="444660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1" y="425"/>
                      <a:pt x="2385" y="411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5"/>
                      <a:pt x="2371" y="0"/>
                      <a:pt x="2353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/>
                <a:endParaRPr lang="zh-CN" altLang="en-US" sz="2800" b="1" strike="noStrike" noProof="1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49163" name="文本框 56"/>
            <p:cNvSpPr txBox="1"/>
            <p:nvPr>
              <p:custDataLst>
                <p:tags r:id="rId31"/>
              </p:custDataLst>
            </p:nvPr>
          </p:nvSpPr>
          <p:spPr>
            <a:xfrm>
              <a:off x="10047415" y="3711603"/>
              <a:ext cx="1415772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r>
                <a:rPr lang="zh-CN" altLang="en-US" sz="2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录取通知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2590800" y="2127250"/>
            <a:ext cx="2892425" cy="796925"/>
            <a:chOff x="6298283" y="2775499"/>
            <a:chExt cx="2891201" cy="795983"/>
          </a:xfrm>
        </p:grpSpPr>
        <p:grpSp>
          <p:nvGrpSpPr>
            <p:cNvPr id="49165" name="组合 14"/>
            <p:cNvGrpSpPr/>
            <p:nvPr/>
          </p:nvGrpSpPr>
          <p:grpSpPr>
            <a:xfrm>
              <a:off x="6298283" y="2787247"/>
              <a:ext cx="2891201" cy="784235"/>
              <a:chOff x="6298283" y="2787247"/>
              <a:chExt cx="2891201" cy="784235"/>
            </a:xfrm>
          </p:grpSpPr>
          <p:pic>
            <p:nvPicPr>
              <p:cNvPr id="49166" name="图片 16"/>
              <p:cNvPicPr>
                <a:picLocks noChangeAspect="1"/>
              </p:cNvPicPr>
              <p:nvPr>
                <p:custDataLst>
                  <p:tags r:id="rId29"/>
                </p:custDataLst>
              </p:nvPr>
            </p:nvPicPr>
            <p:blipFill>
              <a:blip r:embed="rId40"/>
              <a:stretch>
                <a:fillRect/>
              </a:stretch>
            </p:blipFill>
            <p:spPr>
              <a:xfrm>
                <a:off x="6298283" y="2788805"/>
                <a:ext cx="2891201" cy="78267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49167" name="Freeform 65"/>
              <p:cNvSpPr/>
              <p:nvPr>
                <p:custDataLst>
                  <p:tags r:id="rId30"/>
                </p:custDataLst>
              </p:nvPr>
            </p:nvSpPr>
            <p:spPr>
              <a:xfrm>
                <a:off x="6298283" y="2787247"/>
                <a:ext cx="2497780" cy="444660"/>
              </a:xfrm>
              <a:custGeom>
                <a:avLst/>
                <a:gdLst/>
                <a:ahLst/>
                <a:cxnLst>
                  <a:cxn ang="0">
                    <a:pos x="33513" y="0"/>
                  </a:cxn>
                  <a:cxn ang="0">
                    <a:pos x="2497780" y="0"/>
                  </a:cxn>
                  <a:cxn ang="0">
                    <a:pos x="2497780" y="444660"/>
                  </a:cxn>
                  <a:cxn ang="0">
                    <a:pos x="33513" y="444660"/>
                  </a:cxn>
                  <a:cxn ang="0">
                    <a:pos x="0" y="411179"/>
                  </a:cxn>
                  <a:cxn ang="0">
                    <a:pos x="0" y="33480"/>
                  </a:cxn>
                  <a:cxn ang="0">
                    <a:pos x="33513" y="0"/>
                  </a:cxn>
                </a:cxnLst>
                <a:rect l="0" t="0" r="0" b="0"/>
                <a:pathLst>
                  <a:path w="2385" h="425">
                    <a:moveTo>
                      <a:pt x="32" y="0"/>
                    </a:moveTo>
                    <a:cubicBezTo>
                      <a:pt x="2385" y="0"/>
                      <a:pt x="2385" y="0"/>
                      <a:pt x="2385" y="0"/>
                    </a:cubicBezTo>
                    <a:cubicBezTo>
                      <a:pt x="2385" y="425"/>
                      <a:pt x="2385" y="425"/>
                      <a:pt x="2385" y="425"/>
                    </a:cubicBezTo>
                    <a:cubicBezTo>
                      <a:pt x="32" y="425"/>
                      <a:pt x="32" y="425"/>
                      <a:pt x="32" y="425"/>
                    </a:cubicBezTo>
                    <a:cubicBezTo>
                      <a:pt x="15" y="425"/>
                      <a:pt x="0" y="410"/>
                      <a:pt x="0" y="39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5"/>
                      <a:pt x="15" y="0"/>
                      <a:pt x="32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49168" name="文本框 58"/>
            <p:cNvSpPr txBox="1"/>
            <p:nvPr>
              <p:custDataLst>
                <p:tags r:id="rId28"/>
              </p:custDataLst>
            </p:nvPr>
          </p:nvSpPr>
          <p:spPr>
            <a:xfrm>
              <a:off x="6906152" y="2775499"/>
              <a:ext cx="800219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r>
                <a:rPr lang="zh-CN" altLang="en-US" sz="2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面试</a:t>
              </a: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2590800" y="3881438"/>
            <a:ext cx="2892425" cy="809625"/>
            <a:chOff x="6298283" y="4683161"/>
            <a:chExt cx="2891201" cy="809292"/>
          </a:xfrm>
        </p:grpSpPr>
        <p:grpSp>
          <p:nvGrpSpPr>
            <p:cNvPr id="49170" name="组合 19"/>
            <p:cNvGrpSpPr/>
            <p:nvPr/>
          </p:nvGrpSpPr>
          <p:grpSpPr>
            <a:xfrm>
              <a:off x="6298283" y="4683161"/>
              <a:ext cx="2891201" cy="809292"/>
              <a:chOff x="6298283" y="4683161"/>
              <a:chExt cx="2891201" cy="809292"/>
            </a:xfrm>
          </p:grpSpPr>
          <p:pic>
            <p:nvPicPr>
              <p:cNvPr id="49171" name="图片 21"/>
              <p:cNvPicPr>
                <a:picLocks noChangeAspect="1"/>
              </p:cNvPicPr>
              <p:nvPr>
                <p:custDataLst>
                  <p:tags r:id="rId26"/>
                </p:custDataLst>
              </p:nvPr>
            </p:nvPicPr>
            <p:blipFill>
              <a:blip r:embed="rId40"/>
              <a:stretch>
                <a:fillRect/>
              </a:stretch>
            </p:blipFill>
            <p:spPr>
              <a:xfrm>
                <a:off x="6298283" y="4709776"/>
                <a:ext cx="2891201" cy="78267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23" name="Freeform 68"/>
              <p:cNvSpPr/>
              <p:nvPr>
                <p:custDataLst>
                  <p:tags r:id="rId27"/>
                </p:custDataLst>
              </p:nvPr>
            </p:nvSpPr>
            <p:spPr bwMode="auto">
              <a:xfrm>
                <a:off x="6298283" y="4683161"/>
                <a:ext cx="2497780" cy="444660"/>
              </a:xfrm>
              <a:custGeom>
                <a:avLst/>
                <a:gdLst>
                  <a:gd name="T0" fmla="*/ 32 w 2385"/>
                  <a:gd name="T1" fmla="*/ 0 h 424"/>
                  <a:gd name="T2" fmla="*/ 2385 w 2385"/>
                  <a:gd name="T3" fmla="*/ 0 h 424"/>
                  <a:gd name="T4" fmla="*/ 2385 w 2385"/>
                  <a:gd name="T5" fmla="*/ 424 h 424"/>
                  <a:gd name="T6" fmla="*/ 32 w 2385"/>
                  <a:gd name="T7" fmla="*/ 424 h 424"/>
                  <a:gd name="T8" fmla="*/ 0 w 2385"/>
                  <a:gd name="T9" fmla="*/ 392 h 424"/>
                  <a:gd name="T10" fmla="*/ 0 w 2385"/>
                  <a:gd name="T11" fmla="*/ 32 h 424"/>
                  <a:gd name="T12" fmla="*/ 32 w 2385"/>
                  <a:gd name="T13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4">
                    <a:moveTo>
                      <a:pt x="32" y="0"/>
                    </a:moveTo>
                    <a:cubicBezTo>
                      <a:pt x="2385" y="0"/>
                      <a:pt x="2385" y="0"/>
                      <a:pt x="2385" y="0"/>
                    </a:cubicBezTo>
                    <a:cubicBezTo>
                      <a:pt x="2385" y="424"/>
                      <a:pt x="2385" y="424"/>
                      <a:pt x="2385" y="424"/>
                    </a:cubicBezTo>
                    <a:cubicBezTo>
                      <a:pt x="32" y="424"/>
                      <a:pt x="32" y="424"/>
                      <a:pt x="32" y="424"/>
                    </a:cubicBezTo>
                    <a:cubicBezTo>
                      <a:pt x="15" y="424"/>
                      <a:pt x="0" y="410"/>
                      <a:pt x="0" y="39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5" y="0"/>
                      <a:pt x="32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/>
                <a:endParaRPr lang="zh-CN" altLang="en-US" sz="2800" b="1" strike="noStrike" noProof="1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49173" name="文本框 59"/>
            <p:cNvSpPr txBox="1"/>
            <p:nvPr>
              <p:custDataLst>
                <p:tags r:id="rId25"/>
              </p:custDataLst>
            </p:nvPr>
          </p:nvSpPr>
          <p:spPr>
            <a:xfrm>
              <a:off x="6842936" y="4690098"/>
              <a:ext cx="184731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endParaRPr lang="zh-CN" altLang="en-US" sz="24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98202" y="1301798"/>
            <a:ext cx="768547" cy="558112"/>
            <a:chOff x="8805212" y="1839291"/>
            <a:chExt cx="768547" cy="558112"/>
          </a:xfrm>
          <a:solidFill>
            <a:srgbClr val="FAB300"/>
          </a:solidFill>
        </p:grpSpPr>
        <p:sp>
          <p:nvSpPr>
            <p:cNvPr id="25" name="Freeform 57"/>
            <p:cNvSpPr/>
            <p:nvPr>
              <p:custDataLst>
                <p:tags r:id="rId22"/>
              </p:custDataLst>
            </p:nvPr>
          </p:nvSpPr>
          <p:spPr bwMode="auto">
            <a:xfrm>
              <a:off x="8805212" y="1839291"/>
              <a:ext cx="768547" cy="444660"/>
            </a:xfrm>
            <a:custGeom>
              <a:avLst/>
              <a:gdLst>
                <a:gd name="T0" fmla="*/ 32 w 734"/>
                <a:gd name="T1" fmla="*/ 0 h 425"/>
                <a:gd name="T2" fmla="*/ 0 w 734"/>
                <a:gd name="T3" fmla="*/ 32 h 425"/>
                <a:gd name="T4" fmla="*/ 0 w 734"/>
                <a:gd name="T5" fmla="*/ 393 h 425"/>
                <a:gd name="T6" fmla="*/ 32 w 734"/>
                <a:gd name="T7" fmla="*/ 425 h 425"/>
                <a:gd name="T8" fmla="*/ 734 w 734"/>
                <a:gd name="T9" fmla="*/ 425 h 425"/>
                <a:gd name="T10" fmla="*/ 734 w 734"/>
                <a:gd name="T11" fmla="*/ 0 h 425"/>
                <a:gd name="T12" fmla="*/ 32 w 734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4" h="425">
                  <a:moveTo>
                    <a:pt x="32" y="0"/>
                  </a:moveTo>
                  <a:cubicBezTo>
                    <a:pt x="14" y="0"/>
                    <a:pt x="0" y="15"/>
                    <a:pt x="0" y="32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0" y="411"/>
                    <a:pt x="14" y="425"/>
                    <a:pt x="32" y="425"/>
                  </a:cubicBezTo>
                  <a:cubicBezTo>
                    <a:pt x="734" y="425"/>
                    <a:pt x="734" y="425"/>
                    <a:pt x="734" y="425"/>
                  </a:cubicBezTo>
                  <a:cubicBezTo>
                    <a:pt x="734" y="0"/>
                    <a:pt x="734" y="0"/>
                    <a:pt x="734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6" name="Freeform 58"/>
            <p:cNvSpPr/>
            <p:nvPr>
              <p:custDataLst>
                <p:tags r:id="rId23"/>
              </p:custDataLst>
            </p:nvPr>
          </p:nvSpPr>
          <p:spPr bwMode="auto">
            <a:xfrm>
              <a:off x="9057735" y="2132071"/>
              <a:ext cx="263502" cy="265332"/>
            </a:xfrm>
            <a:custGeom>
              <a:avLst/>
              <a:gdLst>
                <a:gd name="T0" fmla="*/ 72 w 144"/>
                <a:gd name="T1" fmla="*/ 145 h 145"/>
                <a:gd name="T2" fmla="*/ 0 w 144"/>
                <a:gd name="T3" fmla="*/ 73 h 145"/>
                <a:gd name="T4" fmla="*/ 72 w 144"/>
                <a:gd name="T5" fmla="*/ 0 h 145"/>
                <a:gd name="T6" fmla="*/ 144 w 144"/>
                <a:gd name="T7" fmla="*/ 73 h 145"/>
                <a:gd name="T8" fmla="*/ 72 w 144"/>
                <a:gd name="T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5">
                  <a:moveTo>
                    <a:pt x="72" y="145"/>
                  </a:moveTo>
                  <a:lnTo>
                    <a:pt x="0" y="73"/>
                  </a:lnTo>
                  <a:lnTo>
                    <a:pt x="72" y="0"/>
                  </a:lnTo>
                  <a:lnTo>
                    <a:pt x="144" y="73"/>
                  </a:lnTo>
                  <a:lnTo>
                    <a:pt x="72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" name="文本框 46"/>
            <p:cNvSpPr txBox="1"/>
            <p:nvPr>
              <p:custDataLst>
                <p:tags r:id="rId24"/>
              </p:custDataLst>
            </p:nvPr>
          </p:nvSpPr>
          <p:spPr>
            <a:xfrm>
              <a:off x="8924134" y="1869071"/>
              <a:ext cx="5020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/>
              <a:r>
                <a:rPr lang="en-US" altLang="zh-CN" sz="2000" b="1" strike="noStrike" noProof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Arial Unicode MS" panose="020B0604020202020204" charset="-122"/>
                </a:rPr>
                <a:t>01</a:t>
              </a:r>
              <a:endParaRPr lang="zh-CN" altLang="en-US" sz="20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5089053" y="2139630"/>
            <a:ext cx="768547" cy="558112"/>
            <a:chOff x="8796063" y="2787247"/>
            <a:chExt cx="768547" cy="558112"/>
          </a:xfrm>
          <a:solidFill>
            <a:srgbClr val="FAB300"/>
          </a:solidFill>
        </p:grpSpPr>
        <p:sp>
          <p:nvSpPr>
            <p:cNvPr id="29" name="Freeform 66"/>
            <p:cNvSpPr/>
            <p:nvPr>
              <p:custDataLst>
                <p:tags r:id="rId19"/>
              </p:custDataLst>
            </p:nvPr>
          </p:nvSpPr>
          <p:spPr bwMode="auto">
            <a:xfrm>
              <a:off x="8796063" y="2787247"/>
              <a:ext cx="768547" cy="444660"/>
            </a:xfrm>
            <a:custGeom>
              <a:avLst/>
              <a:gdLst>
                <a:gd name="T0" fmla="*/ 702 w 734"/>
                <a:gd name="T1" fmla="*/ 0 h 425"/>
                <a:gd name="T2" fmla="*/ 734 w 734"/>
                <a:gd name="T3" fmla="*/ 32 h 425"/>
                <a:gd name="T4" fmla="*/ 734 w 734"/>
                <a:gd name="T5" fmla="*/ 393 h 425"/>
                <a:gd name="T6" fmla="*/ 702 w 734"/>
                <a:gd name="T7" fmla="*/ 425 h 425"/>
                <a:gd name="T8" fmla="*/ 0 w 734"/>
                <a:gd name="T9" fmla="*/ 425 h 425"/>
                <a:gd name="T10" fmla="*/ 0 w 734"/>
                <a:gd name="T11" fmla="*/ 0 h 425"/>
                <a:gd name="T12" fmla="*/ 702 w 734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4" h="425">
                  <a:moveTo>
                    <a:pt x="702" y="0"/>
                  </a:moveTo>
                  <a:cubicBezTo>
                    <a:pt x="720" y="0"/>
                    <a:pt x="734" y="15"/>
                    <a:pt x="734" y="32"/>
                  </a:cubicBezTo>
                  <a:cubicBezTo>
                    <a:pt x="734" y="393"/>
                    <a:pt x="734" y="393"/>
                    <a:pt x="734" y="393"/>
                  </a:cubicBezTo>
                  <a:cubicBezTo>
                    <a:pt x="734" y="410"/>
                    <a:pt x="720" y="425"/>
                    <a:pt x="702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" name="Freeform 67"/>
            <p:cNvSpPr/>
            <p:nvPr>
              <p:custDataLst>
                <p:tags r:id="rId20"/>
              </p:custDataLst>
            </p:nvPr>
          </p:nvSpPr>
          <p:spPr bwMode="auto">
            <a:xfrm>
              <a:off x="9048585" y="3081857"/>
              <a:ext cx="263502" cy="263502"/>
            </a:xfrm>
            <a:custGeom>
              <a:avLst/>
              <a:gdLst>
                <a:gd name="T0" fmla="*/ 72 w 144"/>
                <a:gd name="T1" fmla="*/ 144 h 144"/>
                <a:gd name="T2" fmla="*/ 144 w 144"/>
                <a:gd name="T3" fmla="*/ 72 h 144"/>
                <a:gd name="T4" fmla="*/ 72 w 144"/>
                <a:gd name="T5" fmla="*/ 0 h 144"/>
                <a:gd name="T6" fmla="*/ 0 w 144"/>
                <a:gd name="T7" fmla="*/ 72 h 144"/>
                <a:gd name="T8" fmla="*/ 72 w 14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lnTo>
                    <a:pt x="144" y="72"/>
                  </a:lnTo>
                  <a:lnTo>
                    <a:pt x="72" y="0"/>
                  </a:lnTo>
                  <a:lnTo>
                    <a:pt x="0" y="72"/>
                  </a:lnTo>
                  <a:lnTo>
                    <a:pt x="7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" name="文本框 61"/>
            <p:cNvSpPr txBox="1"/>
            <p:nvPr>
              <p:custDataLst>
                <p:tags r:id="rId21"/>
              </p:custDataLst>
            </p:nvPr>
          </p:nvSpPr>
          <p:spPr>
            <a:xfrm>
              <a:off x="8938455" y="2830270"/>
              <a:ext cx="5020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/>
              <a:r>
                <a:rPr lang="en-US" altLang="zh-CN" sz="2000" b="1" strike="noStrike" noProof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Arial Unicode MS" panose="020B0604020202020204" charset="-122"/>
                </a:rPr>
                <a:t>02</a:t>
              </a:r>
              <a:endParaRPr lang="zh-CN" altLang="en-US" sz="20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5092712" y="3015336"/>
            <a:ext cx="766719" cy="558113"/>
            <a:chOff x="8799722" y="3735204"/>
            <a:chExt cx="766719" cy="558113"/>
          </a:xfrm>
          <a:solidFill>
            <a:srgbClr val="FAB300"/>
          </a:solidFill>
        </p:grpSpPr>
        <p:sp>
          <p:nvSpPr>
            <p:cNvPr id="33" name="Freeform 60"/>
            <p:cNvSpPr/>
            <p:nvPr>
              <p:custDataLst>
                <p:tags r:id="rId16"/>
              </p:custDataLst>
            </p:nvPr>
          </p:nvSpPr>
          <p:spPr bwMode="auto">
            <a:xfrm>
              <a:off x="8799722" y="3735204"/>
              <a:ext cx="766719" cy="444660"/>
            </a:xfrm>
            <a:custGeom>
              <a:avLst/>
              <a:gdLst>
                <a:gd name="T0" fmla="*/ 32 w 733"/>
                <a:gd name="T1" fmla="*/ 0 h 425"/>
                <a:gd name="T2" fmla="*/ 0 w 733"/>
                <a:gd name="T3" fmla="*/ 32 h 425"/>
                <a:gd name="T4" fmla="*/ 0 w 733"/>
                <a:gd name="T5" fmla="*/ 393 h 425"/>
                <a:gd name="T6" fmla="*/ 32 w 733"/>
                <a:gd name="T7" fmla="*/ 425 h 425"/>
                <a:gd name="T8" fmla="*/ 733 w 733"/>
                <a:gd name="T9" fmla="*/ 425 h 425"/>
                <a:gd name="T10" fmla="*/ 733 w 733"/>
                <a:gd name="T11" fmla="*/ 0 h 425"/>
                <a:gd name="T12" fmla="*/ 32 w 733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3" h="425">
                  <a:moveTo>
                    <a:pt x="32" y="0"/>
                  </a:moveTo>
                  <a:cubicBezTo>
                    <a:pt x="14" y="0"/>
                    <a:pt x="0" y="15"/>
                    <a:pt x="0" y="32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0" y="411"/>
                    <a:pt x="14" y="425"/>
                    <a:pt x="32" y="425"/>
                  </a:cubicBezTo>
                  <a:cubicBezTo>
                    <a:pt x="733" y="425"/>
                    <a:pt x="733" y="425"/>
                    <a:pt x="733" y="425"/>
                  </a:cubicBezTo>
                  <a:cubicBezTo>
                    <a:pt x="733" y="0"/>
                    <a:pt x="733" y="0"/>
                    <a:pt x="733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" name="Freeform 61"/>
            <p:cNvSpPr/>
            <p:nvPr>
              <p:custDataLst>
                <p:tags r:id="rId17"/>
              </p:custDataLst>
            </p:nvPr>
          </p:nvSpPr>
          <p:spPr bwMode="auto">
            <a:xfrm>
              <a:off x="9050415" y="4027985"/>
              <a:ext cx="263502" cy="265332"/>
            </a:xfrm>
            <a:custGeom>
              <a:avLst/>
              <a:gdLst>
                <a:gd name="T0" fmla="*/ 72 w 144"/>
                <a:gd name="T1" fmla="*/ 145 h 145"/>
                <a:gd name="T2" fmla="*/ 0 w 144"/>
                <a:gd name="T3" fmla="*/ 73 h 145"/>
                <a:gd name="T4" fmla="*/ 72 w 144"/>
                <a:gd name="T5" fmla="*/ 0 h 145"/>
                <a:gd name="T6" fmla="*/ 144 w 144"/>
                <a:gd name="T7" fmla="*/ 73 h 145"/>
                <a:gd name="T8" fmla="*/ 72 w 144"/>
                <a:gd name="T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5">
                  <a:moveTo>
                    <a:pt x="72" y="145"/>
                  </a:moveTo>
                  <a:lnTo>
                    <a:pt x="0" y="73"/>
                  </a:lnTo>
                  <a:lnTo>
                    <a:pt x="72" y="0"/>
                  </a:lnTo>
                  <a:lnTo>
                    <a:pt x="144" y="73"/>
                  </a:lnTo>
                  <a:lnTo>
                    <a:pt x="72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" name="文本框 62"/>
            <p:cNvSpPr txBox="1"/>
            <p:nvPr>
              <p:custDataLst>
                <p:tags r:id="rId18"/>
              </p:custDataLst>
            </p:nvPr>
          </p:nvSpPr>
          <p:spPr>
            <a:xfrm>
              <a:off x="8924133" y="3760541"/>
              <a:ext cx="5020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/>
              <a:r>
                <a:rPr lang="en-US" altLang="zh-CN" sz="2000" b="1" strike="noStrike" noProof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Arial Unicode MS" panose="020B0604020202020204" charset="-122"/>
                </a:rPr>
                <a:t>03</a:t>
              </a:r>
              <a:endParaRPr lang="zh-CN" altLang="en-US" sz="20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5089053" y="3881591"/>
            <a:ext cx="768547" cy="556281"/>
            <a:chOff x="8796063" y="4683161"/>
            <a:chExt cx="768547" cy="556281"/>
          </a:xfrm>
          <a:solidFill>
            <a:srgbClr val="FAB300"/>
          </a:solidFill>
        </p:grpSpPr>
        <p:sp>
          <p:nvSpPr>
            <p:cNvPr id="37" name="Freeform 69"/>
            <p:cNvSpPr/>
            <p:nvPr>
              <p:custDataLst>
                <p:tags r:id="rId13"/>
              </p:custDataLst>
            </p:nvPr>
          </p:nvSpPr>
          <p:spPr bwMode="auto">
            <a:xfrm>
              <a:off x="8796063" y="4683161"/>
              <a:ext cx="768547" cy="444660"/>
            </a:xfrm>
            <a:custGeom>
              <a:avLst/>
              <a:gdLst>
                <a:gd name="T0" fmla="*/ 702 w 734"/>
                <a:gd name="T1" fmla="*/ 0 h 424"/>
                <a:gd name="T2" fmla="*/ 734 w 734"/>
                <a:gd name="T3" fmla="*/ 32 h 424"/>
                <a:gd name="T4" fmla="*/ 734 w 734"/>
                <a:gd name="T5" fmla="*/ 392 h 424"/>
                <a:gd name="T6" fmla="*/ 702 w 734"/>
                <a:gd name="T7" fmla="*/ 424 h 424"/>
                <a:gd name="T8" fmla="*/ 0 w 734"/>
                <a:gd name="T9" fmla="*/ 424 h 424"/>
                <a:gd name="T10" fmla="*/ 0 w 734"/>
                <a:gd name="T11" fmla="*/ 0 h 424"/>
                <a:gd name="T12" fmla="*/ 702 w 734"/>
                <a:gd name="T13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4" h="424">
                  <a:moveTo>
                    <a:pt x="702" y="0"/>
                  </a:moveTo>
                  <a:cubicBezTo>
                    <a:pt x="720" y="0"/>
                    <a:pt x="734" y="14"/>
                    <a:pt x="734" y="32"/>
                  </a:cubicBezTo>
                  <a:cubicBezTo>
                    <a:pt x="734" y="392"/>
                    <a:pt x="734" y="392"/>
                    <a:pt x="734" y="392"/>
                  </a:cubicBezTo>
                  <a:cubicBezTo>
                    <a:pt x="734" y="410"/>
                    <a:pt x="720" y="424"/>
                    <a:pt x="702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" name="Freeform 70"/>
            <p:cNvSpPr/>
            <p:nvPr>
              <p:custDataLst>
                <p:tags r:id="rId14"/>
              </p:custDataLst>
            </p:nvPr>
          </p:nvSpPr>
          <p:spPr bwMode="auto">
            <a:xfrm>
              <a:off x="9048585" y="4975941"/>
              <a:ext cx="263502" cy="263501"/>
            </a:xfrm>
            <a:custGeom>
              <a:avLst/>
              <a:gdLst>
                <a:gd name="T0" fmla="*/ 72 w 144"/>
                <a:gd name="T1" fmla="*/ 144 h 144"/>
                <a:gd name="T2" fmla="*/ 144 w 144"/>
                <a:gd name="T3" fmla="*/ 72 h 144"/>
                <a:gd name="T4" fmla="*/ 72 w 144"/>
                <a:gd name="T5" fmla="*/ 0 h 144"/>
                <a:gd name="T6" fmla="*/ 0 w 144"/>
                <a:gd name="T7" fmla="*/ 72 h 144"/>
                <a:gd name="T8" fmla="*/ 72 w 14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lnTo>
                    <a:pt x="144" y="72"/>
                  </a:lnTo>
                  <a:lnTo>
                    <a:pt x="72" y="0"/>
                  </a:lnTo>
                  <a:lnTo>
                    <a:pt x="0" y="72"/>
                  </a:lnTo>
                  <a:lnTo>
                    <a:pt x="7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" name="文本框 63"/>
            <p:cNvSpPr txBox="1"/>
            <p:nvPr>
              <p:custDataLst>
                <p:tags r:id="rId15"/>
              </p:custDataLst>
            </p:nvPr>
          </p:nvSpPr>
          <p:spPr>
            <a:xfrm>
              <a:off x="8924132" y="4709776"/>
              <a:ext cx="5020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/>
              <a:r>
                <a:rPr lang="en-US" altLang="zh-CN" sz="2000" b="1" strike="noStrike" noProof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Arial Unicode MS" panose="020B0604020202020204" charset="-122"/>
                </a:rPr>
                <a:t>04</a:t>
              </a:r>
              <a:endParaRPr lang="zh-CN" altLang="en-US" sz="20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3481388" y="3852863"/>
            <a:ext cx="4970462" cy="1720850"/>
            <a:chOff x="7187925" y="4714141"/>
            <a:chExt cx="4971221" cy="1719671"/>
          </a:xfrm>
        </p:grpSpPr>
        <p:grpSp>
          <p:nvGrpSpPr>
            <p:cNvPr id="49179" name="组合 40"/>
            <p:cNvGrpSpPr/>
            <p:nvPr/>
          </p:nvGrpSpPr>
          <p:grpSpPr>
            <a:xfrm>
              <a:off x="9175165" y="5647208"/>
              <a:ext cx="2983981" cy="786604"/>
              <a:chOff x="9175165" y="5647208"/>
              <a:chExt cx="2983981" cy="786604"/>
            </a:xfrm>
          </p:grpSpPr>
          <p:pic>
            <p:nvPicPr>
              <p:cNvPr id="49180" name="图片 42"/>
              <p:cNvPicPr>
                <a:picLocks noChangeAspect="1"/>
              </p:cNvPicPr>
              <p:nvPr>
                <p:custDataLst>
                  <p:tags r:id="rId11"/>
                </p:custDataLst>
              </p:nvPr>
            </p:nvPicPr>
            <p:blipFill>
              <a:blip r:embed="rId39"/>
              <a:stretch>
                <a:fillRect/>
              </a:stretch>
            </p:blipFill>
            <p:spPr>
              <a:xfrm>
                <a:off x="9175165" y="5652612"/>
                <a:ext cx="2680840" cy="78120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44" name="Freeform 62"/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9659537" y="5647208"/>
                <a:ext cx="2499609" cy="444660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1" y="425"/>
                      <a:pt x="2385" y="410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4"/>
                      <a:pt x="2371" y="0"/>
                      <a:pt x="2353" y="0"/>
                    </a:cubicBezTo>
                    <a:close/>
                  </a:path>
                </a:pathLst>
              </a:custGeom>
              <a:solidFill>
                <a:srgbClr val="DE3F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/>
                <a:endParaRPr lang="zh-CN" altLang="en-US" sz="2800" b="1" strike="noStrike" noProof="1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49182" name="文本框 57"/>
            <p:cNvSpPr txBox="1"/>
            <p:nvPr>
              <p:custDataLst>
                <p:tags r:id="rId10"/>
              </p:custDataLst>
            </p:nvPr>
          </p:nvSpPr>
          <p:spPr>
            <a:xfrm>
              <a:off x="7187925" y="4714141"/>
              <a:ext cx="1107996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r>
                <a:rPr lang="zh-CN" altLang="en-US" sz="2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试用期</a:t>
              </a: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5092712" y="4760862"/>
            <a:ext cx="766719" cy="558112"/>
            <a:chOff x="8799722" y="5629287"/>
            <a:chExt cx="766719" cy="558112"/>
          </a:xfrm>
          <a:solidFill>
            <a:srgbClr val="FAB300"/>
          </a:solidFill>
        </p:grpSpPr>
        <p:sp>
          <p:nvSpPr>
            <p:cNvPr id="46" name="Freeform 63"/>
            <p:cNvSpPr/>
            <p:nvPr>
              <p:custDataLst>
                <p:tags r:id="rId7"/>
              </p:custDataLst>
            </p:nvPr>
          </p:nvSpPr>
          <p:spPr bwMode="auto">
            <a:xfrm>
              <a:off x="8799722" y="5629287"/>
              <a:ext cx="766719" cy="444660"/>
            </a:xfrm>
            <a:custGeom>
              <a:avLst/>
              <a:gdLst>
                <a:gd name="T0" fmla="*/ 32 w 733"/>
                <a:gd name="T1" fmla="*/ 0 h 425"/>
                <a:gd name="T2" fmla="*/ 0 w 733"/>
                <a:gd name="T3" fmla="*/ 32 h 425"/>
                <a:gd name="T4" fmla="*/ 0 w 733"/>
                <a:gd name="T5" fmla="*/ 393 h 425"/>
                <a:gd name="T6" fmla="*/ 32 w 733"/>
                <a:gd name="T7" fmla="*/ 425 h 425"/>
                <a:gd name="T8" fmla="*/ 733 w 733"/>
                <a:gd name="T9" fmla="*/ 425 h 425"/>
                <a:gd name="T10" fmla="*/ 733 w 733"/>
                <a:gd name="T11" fmla="*/ 0 h 425"/>
                <a:gd name="T12" fmla="*/ 32 w 733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3" h="425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0" y="410"/>
                    <a:pt x="14" y="425"/>
                    <a:pt x="32" y="425"/>
                  </a:cubicBezTo>
                  <a:cubicBezTo>
                    <a:pt x="733" y="425"/>
                    <a:pt x="733" y="425"/>
                    <a:pt x="733" y="425"/>
                  </a:cubicBezTo>
                  <a:cubicBezTo>
                    <a:pt x="733" y="0"/>
                    <a:pt x="733" y="0"/>
                    <a:pt x="733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7" name="Freeform 64"/>
            <p:cNvSpPr/>
            <p:nvPr>
              <p:custDataLst>
                <p:tags r:id="rId8"/>
              </p:custDataLst>
            </p:nvPr>
          </p:nvSpPr>
          <p:spPr bwMode="auto">
            <a:xfrm>
              <a:off x="9050415" y="5923897"/>
              <a:ext cx="263502" cy="263502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144 w 144"/>
                <a:gd name="T7" fmla="*/ 72 h 144"/>
                <a:gd name="T8" fmla="*/ 72 w 14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lnTo>
                    <a:pt x="0" y="72"/>
                  </a:lnTo>
                  <a:lnTo>
                    <a:pt x="72" y="0"/>
                  </a:lnTo>
                  <a:lnTo>
                    <a:pt x="144" y="72"/>
                  </a:lnTo>
                  <a:lnTo>
                    <a:pt x="7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000" b="1" strike="noStrike" noProof="1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8" name="文本框 64"/>
            <p:cNvSpPr txBox="1"/>
            <p:nvPr>
              <p:custDataLst>
                <p:tags r:id="rId9"/>
              </p:custDataLst>
            </p:nvPr>
          </p:nvSpPr>
          <p:spPr>
            <a:xfrm>
              <a:off x="8940910" y="5672665"/>
              <a:ext cx="5020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/>
              <a:r>
                <a:rPr lang="en-US" altLang="zh-CN" sz="2000" b="1" strike="noStrike" noProof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Arial Unicode MS" panose="020B0604020202020204" charset="-122"/>
                </a:rPr>
                <a:t>05</a:t>
              </a:r>
              <a:endParaRPr lang="zh-CN" altLang="en-US" sz="20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charset="-122"/>
              </a:endParaRPr>
            </a:p>
          </p:txBody>
        </p:sp>
      </p:grpSp>
      <p:sp>
        <p:nvSpPr>
          <p:cNvPr id="49184" name="矩形 64"/>
          <p:cNvSpPr/>
          <p:nvPr>
            <p:custDataLst>
              <p:tags r:id="rId3"/>
            </p:custDataLst>
          </p:nvPr>
        </p:nvSpPr>
        <p:spPr>
          <a:xfrm>
            <a:off x="6091238" y="4799013"/>
            <a:ext cx="1416050" cy="461962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r>
              <a:rPr lang="zh-CN" altLang="en-US" sz="24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正式员工</a:t>
            </a:r>
          </a:p>
        </p:txBody>
      </p:sp>
      <p:sp>
        <p:nvSpPr>
          <p:cNvPr id="66" name="箭头: 五边形 26"/>
          <p:cNvSpPr/>
          <p:nvPr>
            <p:custDataLst>
              <p:tags r:id="rId4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67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49187" name="矩形 67"/>
          <p:cNvSpPr/>
          <p:nvPr>
            <p:custDataLst>
              <p:tags r:id="rId6"/>
            </p:custDataLst>
          </p:nvPr>
        </p:nvSpPr>
        <p:spPr>
          <a:xfrm>
            <a:off x="1784350" y="276225"/>
            <a:ext cx="7334250" cy="6635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应聘流程</a:t>
            </a: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框 12"/>
          <p:cNvSpPr txBox="1"/>
          <p:nvPr>
            <p:custDataLst>
              <p:tags r:id="rId2"/>
            </p:custDataLst>
          </p:nvPr>
        </p:nvSpPr>
        <p:spPr>
          <a:xfrm>
            <a:off x="609562" y="609583"/>
            <a:ext cx="10972876" cy="685800"/>
          </a:xfrm>
          <a:prstGeom prst="rect">
            <a:avLst/>
          </a:prstGeom>
          <a:noFill/>
        </p:spPr>
        <p:txBody>
          <a:bodyPr wrap="square" lIns="63500" tIns="25400" rIns="63500" bIns="25400" rtlCol="0" anchor="t" anchorCtr="0"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3600" b="1" spc="16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联系方式</a:t>
            </a:r>
          </a:p>
        </p:txBody>
      </p:sp>
      <p:sp>
        <p:nvSpPr>
          <p:cNvPr id="100" name="任意多边形: 形状 99"/>
          <p:cNvSpPr/>
          <p:nvPr>
            <p:custDataLst>
              <p:tags r:id="rId3"/>
            </p:custDataLst>
          </p:nvPr>
        </p:nvSpPr>
        <p:spPr>
          <a:xfrm>
            <a:off x="2980313" y="1953050"/>
            <a:ext cx="7765624" cy="329787"/>
          </a:xfrm>
          <a:custGeom>
            <a:avLst/>
            <a:gdLst>
              <a:gd name="connsiteX0" fmla="*/ 0 w 8370463"/>
              <a:gd name="connsiteY0" fmla="*/ 0 h 355473"/>
              <a:gd name="connsiteX1" fmla="*/ 6347988 w 8370463"/>
              <a:gd name="connsiteY1" fmla="*/ 0 h 355473"/>
              <a:gd name="connsiteX2" fmla="*/ 6548542 w 8370463"/>
              <a:gd name="connsiteY2" fmla="*/ 0 h 355473"/>
              <a:gd name="connsiteX3" fmla="*/ 8192727 w 8370463"/>
              <a:gd name="connsiteY3" fmla="*/ 0 h 355473"/>
              <a:gd name="connsiteX4" fmla="*/ 8370463 w 8370463"/>
              <a:gd name="connsiteY4" fmla="*/ 177737 h 355473"/>
              <a:gd name="connsiteX5" fmla="*/ 8192727 w 8370463"/>
              <a:gd name="connsiteY5" fmla="*/ 355473 h 355473"/>
              <a:gd name="connsiteX6" fmla="*/ 6548542 w 8370463"/>
              <a:gd name="connsiteY6" fmla="*/ 355473 h 355473"/>
              <a:gd name="connsiteX7" fmla="*/ 6347988 w 8370463"/>
              <a:gd name="connsiteY7" fmla="*/ 355473 h 355473"/>
              <a:gd name="connsiteX8" fmla="*/ 0 w 8370463"/>
              <a:gd name="connsiteY8" fmla="*/ 355473 h 355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70463" h="355473">
                <a:moveTo>
                  <a:pt x="0" y="0"/>
                </a:moveTo>
                <a:lnTo>
                  <a:pt x="6347988" y="0"/>
                </a:lnTo>
                <a:lnTo>
                  <a:pt x="6548542" y="0"/>
                </a:lnTo>
                <a:lnTo>
                  <a:pt x="8192727" y="0"/>
                </a:lnTo>
                <a:lnTo>
                  <a:pt x="8370463" y="177737"/>
                </a:lnTo>
                <a:lnTo>
                  <a:pt x="8192727" y="355473"/>
                </a:lnTo>
                <a:lnTo>
                  <a:pt x="6548542" y="355473"/>
                </a:lnTo>
                <a:lnTo>
                  <a:pt x="6347988" y="355473"/>
                </a:lnTo>
                <a:lnTo>
                  <a:pt x="0" y="355473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2" name="任意多边形: 形状 101"/>
          <p:cNvSpPr/>
          <p:nvPr>
            <p:custDataLst>
              <p:tags r:id="rId4"/>
            </p:custDataLst>
          </p:nvPr>
        </p:nvSpPr>
        <p:spPr>
          <a:xfrm>
            <a:off x="1432311" y="1953050"/>
            <a:ext cx="3019826" cy="329787"/>
          </a:xfrm>
          <a:custGeom>
            <a:avLst/>
            <a:gdLst>
              <a:gd name="connsiteX0" fmla="*/ 0 w 3255030"/>
              <a:gd name="connsiteY0" fmla="*/ 0 h 355473"/>
              <a:gd name="connsiteX1" fmla="*/ 1232555 w 3255030"/>
              <a:gd name="connsiteY1" fmla="*/ 0 h 355473"/>
              <a:gd name="connsiteX2" fmla="*/ 1844739 w 3255030"/>
              <a:gd name="connsiteY2" fmla="*/ 0 h 355473"/>
              <a:gd name="connsiteX3" fmla="*/ 3077294 w 3255030"/>
              <a:gd name="connsiteY3" fmla="*/ 0 h 355473"/>
              <a:gd name="connsiteX4" fmla="*/ 3255030 w 3255030"/>
              <a:gd name="connsiteY4" fmla="*/ 177737 h 355473"/>
              <a:gd name="connsiteX5" fmla="*/ 3077294 w 3255030"/>
              <a:gd name="connsiteY5" fmla="*/ 355473 h 355473"/>
              <a:gd name="connsiteX6" fmla="*/ 1844739 w 3255030"/>
              <a:gd name="connsiteY6" fmla="*/ 355473 h 355473"/>
              <a:gd name="connsiteX7" fmla="*/ 1232555 w 3255030"/>
              <a:gd name="connsiteY7" fmla="*/ 355473 h 355473"/>
              <a:gd name="connsiteX8" fmla="*/ 0 w 3255030"/>
              <a:gd name="connsiteY8" fmla="*/ 355473 h 355473"/>
              <a:gd name="connsiteX9" fmla="*/ 0 w 3255030"/>
              <a:gd name="connsiteY9" fmla="*/ 348879 h 355473"/>
              <a:gd name="connsiteX10" fmla="*/ 171142 w 3255030"/>
              <a:gd name="connsiteY10" fmla="*/ 177737 h 355473"/>
              <a:gd name="connsiteX11" fmla="*/ 0 w 3255030"/>
              <a:gd name="connsiteY11" fmla="*/ 6594 h 355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30" h="355473">
                <a:moveTo>
                  <a:pt x="0" y="0"/>
                </a:moveTo>
                <a:lnTo>
                  <a:pt x="1232555" y="0"/>
                </a:lnTo>
                <a:lnTo>
                  <a:pt x="1844739" y="0"/>
                </a:lnTo>
                <a:lnTo>
                  <a:pt x="3077294" y="0"/>
                </a:lnTo>
                <a:lnTo>
                  <a:pt x="3255030" y="177737"/>
                </a:lnTo>
                <a:lnTo>
                  <a:pt x="3077294" y="355473"/>
                </a:lnTo>
                <a:lnTo>
                  <a:pt x="1844739" y="355473"/>
                </a:lnTo>
                <a:lnTo>
                  <a:pt x="1232555" y="355473"/>
                </a:lnTo>
                <a:lnTo>
                  <a:pt x="0" y="355473"/>
                </a:lnTo>
                <a:lnTo>
                  <a:pt x="0" y="348879"/>
                </a:lnTo>
                <a:lnTo>
                  <a:pt x="171142" y="177737"/>
                </a:lnTo>
                <a:lnTo>
                  <a:pt x="0" y="659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2" name="文本框 91"/>
          <p:cNvSpPr txBox="1"/>
          <p:nvPr>
            <p:custDataLst>
              <p:tags r:id="rId5"/>
            </p:custDataLst>
          </p:nvPr>
        </p:nvSpPr>
        <p:spPr>
          <a:xfrm flipH="1">
            <a:off x="996287" y="3339940"/>
            <a:ext cx="3273794" cy="822628"/>
          </a:xfrm>
          <a:prstGeom prst="rect">
            <a:avLst/>
          </a:prstGeom>
          <a:noFill/>
        </p:spPr>
        <p:txBody>
          <a:bodyPr wrap="square" tIns="0" rtlCol="0">
            <a:normAutofit/>
          </a:bodyPr>
          <a:lstStyle/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zh-CN" altLang="en-US" sz="1600" b="1" spc="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江苏瑞恒新材料科技有限公司</a:t>
            </a:r>
          </a:p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zh-CN" altLang="en-US" sz="1600" b="1" spc="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连云港市徐圩新区石化七道28号</a:t>
            </a:r>
          </a:p>
        </p:txBody>
      </p:sp>
      <p:sp>
        <p:nvSpPr>
          <p:cNvPr id="93" name="文本框 92"/>
          <p:cNvSpPr txBox="1"/>
          <p:nvPr>
            <p:custDataLst>
              <p:tags r:id="rId6"/>
            </p:custDataLst>
          </p:nvPr>
        </p:nvSpPr>
        <p:spPr>
          <a:xfrm>
            <a:off x="1434964" y="2826005"/>
            <a:ext cx="2835118" cy="442107"/>
          </a:xfrm>
          <a:prstGeom prst="rect">
            <a:avLst/>
          </a:prstGeom>
          <a:noFill/>
        </p:spPr>
        <p:txBody>
          <a:bodyPr wrap="square" bIns="0" rtlCol="0" anchor="b" anchorCtr="0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2400" b="1" strike="noStrike" spc="16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地址</a:t>
            </a:r>
          </a:p>
        </p:txBody>
      </p:sp>
      <p:sp>
        <p:nvSpPr>
          <p:cNvPr id="95" name="文本框 94"/>
          <p:cNvSpPr txBox="1"/>
          <p:nvPr>
            <p:custDataLst>
              <p:tags r:id="rId7"/>
            </p:custDataLst>
          </p:nvPr>
        </p:nvSpPr>
        <p:spPr>
          <a:xfrm flipH="1">
            <a:off x="4671566" y="3339939"/>
            <a:ext cx="2837769" cy="1420737"/>
          </a:xfrm>
          <a:prstGeom prst="rect">
            <a:avLst/>
          </a:prstGeom>
          <a:noFill/>
        </p:spPr>
        <p:txBody>
          <a:bodyPr wrap="square" tIns="0" rtlCol="0">
            <a:normAutofit/>
          </a:bodyPr>
          <a:lstStyle/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en-US" altLang="zh-CN" sz="1600" b="1" spc="22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18321504905</a:t>
            </a:r>
          </a:p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en-US" altLang="zh-CN" sz="1600" b="1" spc="22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18061380982</a:t>
            </a:r>
          </a:p>
        </p:txBody>
      </p:sp>
      <p:sp>
        <p:nvSpPr>
          <p:cNvPr id="96" name="文本框 95"/>
          <p:cNvSpPr txBox="1"/>
          <p:nvPr>
            <p:custDataLst>
              <p:tags r:id="rId8"/>
            </p:custDataLst>
          </p:nvPr>
        </p:nvSpPr>
        <p:spPr>
          <a:xfrm>
            <a:off x="4674217" y="2826005"/>
            <a:ext cx="2835118" cy="442107"/>
          </a:xfrm>
          <a:prstGeom prst="rect">
            <a:avLst/>
          </a:prstGeom>
          <a:noFill/>
        </p:spPr>
        <p:txBody>
          <a:bodyPr wrap="square" bIns="0" rtlCol="0" anchor="b" anchorCtr="0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2400" b="1" strike="noStrike" spc="16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电话</a:t>
            </a:r>
          </a:p>
        </p:txBody>
      </p:sp>
      <p:sp>
        <p:nvSpPr>
          <p:cNvPr id="98" name="文本框 97"/>
          <p:cNvSpPr txBox="1"/>
          <p:nvPr>
            <p:custDataLst>
              <p:tags r:id="rId9"/>
            </p:custDataLst>
          </p:nvPr>
        </p:nvSpPr>
        <p:spPr>
          <a:xfrm>
            <a:off x="7910819" y="3339939"/>
            <a:ext cx="2837769" cy="1420737"/>
          </a:xfrm>
          <a:prstGeom prst="rect">
            <a:avLst/>
          </a:prstGeom>
          <a:noFill/>
        </p:spPr>
        <p:txBody>
          <a:bodyPr wrap="square" tIns="0" rtlCol="0">
            <a:normAutofit/>
          </a:bodyPr>
          <a:lstStyle/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en-US" altLang="zh-CN" sz="1600" b="1" spc="14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hwh@yangnong.cn</a:t>
            </a:r>
          </a:p>
          <a:p>
            <a:pPr marL="0" lvl="0" indent="-28575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None/>
            </a:pPr>
            <a:r>
              <a:rPr lang="en-US" altLang="zh-CN" sz="1600" b="1" spc="14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chp@yangnong.cn</a:t>
            </a:r>
          </a:p>
        </p:txBody>
      </p:sp>
      <p:sp>
        <p:nvSpPr>
          <p:cNvPr id="99" name="文本框 98"/>
          <p:cNvSpPr txBox="1"/>
          <p:nvPr>
            <p:custDataLst>
              <p:tags r:id="rId10"/>
            </p:custDataLst>
          </p:nvPr>
        </p:nvSpPr>
        <p:spPr>
          <a:xfrm>
            <a:off x="7913470" y="2826005"/>
            <a:ext cx="2835118" cy="442107"/>
          </a:xfrm>
          <a:prstGeom prst="rect">
            <a:avLst/>
          </a:prstGeom>
          <a:noFill/>
        </p:spPr>
        <p:txBody>
          <a:bodyPr wrap="square" bIns="0" rtlCol="0" anchor="b" anchorCtr="0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2400" b="1" strike="noStrike" spc="16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邮箱</a:t>
            </a:r>
          </a:p>
        </p:txBody>
      </p:sp>
      <p:cxnSp>
        <p:nvCxnSpPr>
          <p:cNvPr id="15" name="直接连接符 14"/>
          <p:cNvCxnSpPr/>
          <p:nvPr>
            <p:custDataLst>
              <p:tags r:id="rId11"/>
            </p:custDataLst>
          </p:nvPr>
        </p:nvCxnSpPr>
        <p:spPr>
          <a:xfrm flipH="1">
            <a:off x="2931611" y="2240922"/>
            <a:ext cx="5302" cy="416505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椭圆 15"/>
          <p:cNvSpPr/>
          <p:nvPr>
            <p:custDataLst>
              <p:tags r:id="rId12"/>
            </p:custDataLst>
          </p:nvPr>
        </p:nvSpPr>
        <p:spPr>
          <a:xfrm>
            <a:off x="2904512" y="2657427"/>
            <a:ext cx="60090" cy="6009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>
            <p:custDataLst>
              <p:tags r:id="rId13"/>
            </p:custDataLst>
          </p:nvPr>
        </p:nvSpPr>
        <p:spPr>
          <a:xfrm>
            <a:off x="2790223" y="1932225"/>
            <a:ext cx="318553" cy="37119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altLang="zh-CN" b="1" spc="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3" name="任意多边形: 形状 102"/>
          <p:cNvSpPr/>
          <p:nvPr>
            <p:custDataLst>
              <p:tags r:id="rId14"/>
            </p:custDataLst>
          </p:nvPr>
        </p:nvSpPr>
        <p:spPr>
          <a:xfrm>
            <a:off x="4586088" y="1953050"/>
            <a:ext cx="3019826" cy="329787"/>
          </a:xfrm>
          <a:custGeom>
            <a:avLst/>
            <a:gdLst>
              <a:gd name="connsiteX0" fmla="*/ 0 w 3255030"/>
              <a:gd name="connsiteY0" fmla="*/ 0 h 355473"/>
              <a:gd name="connsiteX1" fmla="*/ 1232555 w 3255030"/>
              <a:gd name="connsiteY1" fmla="*/ 0 h 355473"/>
              <a:gd name="connsiteX2" fmla="*/ 1844739 w 3255030"/>
              <a:gd name="connsiteY2" fmla="*/ 0 h 355473"/>
              <a:gd name="connsiteX3" fmla="*/ 3077294 w 3255030"/>
              <a:gd name="connsiteY3" fmla="*/ 0 h 355473"/>
              <a:gd name="connsiteX4" fmla="*/ 3255030 w 3255030"/>
              <a:gd name="connsiteY4" fmla="*/ 177737 h 355473"/>
              <a:gd name="connsiteX5" fmla="*/ 3077294 w 3255030"/>
              <a:gd name="connsiteY5" fmla="*/ 355473 h 355473"/>
              <a:gd name="connsiteX6" fmla="*/ 1844739 w 3255030"/>
              <a:gd name="connsiteY6" fmla="*/ 355473 h 355473"/>
              <a:gd name="connsiteX7" fmla="*/ 1232555 w 3255030"/>
              <a:gd name="connsiteY7" fmla="*/ 355473 h 355473"/>
              <a:gd name="connsiteX8" fmla="*/ 0 w 3255030"/>
              <a:gd name="connsiteY8" fmla="*/ 355473 h 355473"/>
              <a:gd name="connsiteX9" fmla="*/ 0 w 3255030"/>
              <a:gd name="connsiteY9" fmla="*/ 348879 h 355473"/>
              <a:gd name="connsiteX10" fmla="*/ 171142 w 3255030"/>
              <a:gd name="connsiteY10" fmla="*/ 177737 h 355473"/>
              <a:gd name="connsiteX11" fmla="*/ 0 w 3255030"/>
              <a:gd name="connsiteY11" fmla="*/ 6594 h 355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30" h="355473">
                <a:moveTo>
                  <a:pt x="0" y="0"/>
                </a:moveTo>
                <a:lnTo>
                  <a:pt x="1232555" y="0"/>
                </a:lnTo>
                <a:lnTo>
                  <a:pt x="1844739" y="0"/>
                </a:lnTo>
                <a:lnTo>
                  <a:pt x="3077294" y="0"/>
                </a:lnTo>
                <a:lnTo>
                  <a:pt x="3255030" y="177737"/>
                </a:lnTo>
                <a:lnTo>
                  <a:pt x="3077294" y="355473"/>
                </a:lnTo>
                <a:lnTo>
                  <a:pt x="1844739" y="355473"/>
                </a:lnTo>
                <a:lnTo>
                  <a:pt x="1232555" y="355473"/>
                </a:lnTo>
                <a:lnTo>
                  <a:pt x="0" y="355473"/>
                </a:lnTo>
                <a:lnTo>
                  <a:pt x="0" y="348879"/>
                </a:lnTo>
                <a:lnTo>
                  <a:pt x="171142" y="177737"/>
                </a:lnTo>
                <a:lnTo>
                  <a:pt x="0" y="659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" name="任意多边形: 形状 103"/>
          <p:cNvSpPr/>
          <p:nvPr>
            <p:custDataLst>
              <p:tags r:id="rId15"/>
            </p:custDataLst>
          </p:nvPr>
        </p:nvSpPr>
        <p:spPr>
          <a:xfrm>
            <a:off x="7739864" y="1953050"/>
            <a:ext cx="3019826" cy="329787"/>
          </a:xfrm>
          <a:custGeom>
            <a:avLst/>
            <a:gdLst>
              <a:gd name="connsiteX0" fmla="*/ 0 w 3255030"/>
              <a:gd name="connsiteY0" fmla="*/ 0 h 355473"/>
              <a:gd name="connsiteX1" fmla="*/ 1232555 w 3255030"/>
              <a:gd name="connsiteY1" fmla="*/ 0 h 355473"/>
              <a:gd name="connsiteX2" fmla="*/ 1844739 w 3255030"/>
              <a:gd name="connsiteY2" fmla="*/ 0 h 355473"/>
              <a:gd name="connsiteX3" fmla="*/ 3077294 w 3255030"/>
              <a:gd name="connsiteY3" fmla="*/ 0 h 355473"/>
              <a:gd name="connsiteX4" fmla="*/ 3255030 w 3255030"/>
              <a:gd name="connsiteY4" fmla="*/ 177737 h 355473"/>
              <a:gd name="connsiteX5" fmla="*/ 3077294 w 3255030"/>
              <a:gd name="connsiteY5" fmla="*/ 355473 h 355473"/>
              <a:gd name="connsiteX6" fmla="*/ 1844739 w 3255030"/>
              <a:gd name="connsiteY6" fmla="*/ 355473 h 355473"/>
              <a:gd name="connsiteX7" fmla="*/ 1232555 w 3255030"/>
              <a:gd name="connsiteY7" fmla="*/ 355473 h 355473"/>
              <a:gd name="connsiteX8" fmla="*/ 0 w 3255030"/>
              <a:gd name="connsiteY8" fmla="*/ 355473 h 355473"/>
              <a:gd name="connsiteX9" fmla="*/ 0 w 3255030"/>
              <a:gd name="connsiteY9" fmla="*/ 348879 h 355473"/>
              <a:gd name="connsiteX10" fmla="*/ 171142 w 3255030"/>
              <a:gd name="connsiteY10" fmla="*/ 177737 h 355473"/>
              <a:gd name="connsiteX11" fmla="*/ 0 w 3255030"/>
              <a:gd name="connsiteY11" fmla="*/ 6594 h 355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30" h="355473">
                <a:moveTo>
                  <a:pt x="0" y="0"/>
                </a:moveTo>
                <a:lnTo>
                  <a:pt x="1232555" y="0"/>
                </a:lnTo>
                <a:lnTo>
                  <a:pt x="1844739" y="0"/>
                </a:lnTo>
                <a:lnTo>
                  <a:pt x="3077294" y="0"/>
                </a:lnTo>
                <a:lnTo>
                  <a:pt x="3255030" y="177737"/>
                </a:lnTo>
                <a:lnTo>
                  <a:pt x="3077294" y="355473"/>
                </a:lnTo>
                <a:lnTo>
                  <a:pt x="1844739" y="355473"/>
                </a:lnTo>
                <a:lnTo>
                  <a:pt x="1232555" y="355473"/>
                </a:lnTo>
                <a:lnTo>
                  <a:pt x="0" y="355473"/>
                </a:lnTo>
                <a:lnTo>
                  <a:pt x="0" y="348879"/>
                </a:lnTo>
                <a:lnTo>
                  <a:pt x="171142" y="177737"/>
                </a:lnTo>
                <a:lnTo>
                  <a:pt x="0" y="659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06" name="直接连接符 105"/>
          <p:cNvCxnSpPr/>
          <p:nvPr>
            <p:custDataLst>
              <p:tags r:id="rId16"/>
            </p:custDataLst>
          </p:nvPr>
        </p:nvCxnSpPr>
        <p:spPr>
          <a:xfrm flipH="1">
            <a:off x="6079845" y="2240922"/>
            <a:ext cx="5302" cy="416505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椭圆 106"/>
          <p:cNvSpPr/>
          <p:nvPr>
            <p:custDataLst>
              <p:tags r:id="rId17"/>
            </p:custDataLst>
          </p:nvPr>
        </p:nvSpPr>
        <p:spPr>
          <a:xfrm>
            <a:off x="6052157" y="2657427"/>
            <a:ext cx="60090" cy="6009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8" name="文本框 107"/>
          <p:cNvSpPr txBox="1"/>
          <p:nvPr>
            <p:custDataLst>
              <p:tags r:id="rId18"/>
            </p:custDataLst>
          </p:nvPr>
        </p:nvSpPr>
        <p:spPr>
          <a:xfrm>
            <a:off x="5938457" y="1932225"/>
            <a:ext cx="318553" cy="37119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altLang="zh-CN" b="1" spc="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10" name="直接连接符 109"/>
          <p:cNvCxnSpPr/>
          <p:nvPr>
            <p:custDataLst>
              <p:tags r:id="rId19"/>
            </p:custDataLst>
          </p:nvPr>
        </p:nvCxnSpPr>
        <p:spPr>
          <a:xfrm flipH="1">
            <a:off x="9239273" y="2240922"/>
            <a:ext cx="5302" cy="416505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椭圆 110"/>
          <p:cNvSpPr/>
          <p:nvPr>
            <p:custDataLst>
              <p:tags r:id="rId20"/>
            </p:custDataLst>
          </p:nvPr>
        </p:nvSpPr>
        <p:spPr>
          <a:xfrm>
            <a:off x="9211584" y="2657427"/>
            <a:ext cx="60090" cy="6009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2" name="文本框 111"/>
          <p:cNvSpPr txBox="1"/>
          <p:nvPr>
            <p:custDataLst>
              <p:tags r:id="rId21"/>
            </p:custDataLst>
          </p:nvPr>
        </p:nvSpPr>
        <p:spPr>
          <a:xfrm>
            <a:off x="9097885" y="1932225"/>
            <a:ext cx="318553" cy="37119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altLang="zh-CN" b="1" spc="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Title 6"/>
          <p:cNvSpPr txBox="1"/>
          <p:nvPr>
            <p:custDataLst>
              <p:tags r:id="rId22"/>
            </p:custDataLst>
          </p:nvPr>
        </p:nvSpPr>
        <p:spPr>
          <a:xfrm>
            <a:off x="595592" y="4882570"/>
            <a:ext cx="10972876" cy="926427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ctr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en-US" sz="2000" b="1" strike="noStrike" spc="100" dirty="0">
                <a:ln w="3175">
                  <a:noFill/>
                  <a:prstDash val="dash"/>
                </a:ln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联系人</a:t>
            </a:r>
          </a:p>
          <a:p>
            <a:pPr marL="0" lvl="0" indent="0" algn="ctr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en-US" sz="2000" b="1" spc="100" dirty="0">
                <a:ln w="3175">
                  <a:noFill/>
                  <a:prstDash val="dash"/>
                </a:ln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瑞恒公司人力资源：    黄女士/曹先生</a:t>
            </a:r>
          </a:p>
        </p:txBody>
      </p:sp>
    </p:spTree>
    <p:custDataLst>
      <p:tags r:id="rId1"/>
    </p:custDataLst>
  </p:cSld>
  <p:clrMapOvr>
    <a:masterClrMapping/>
  </p:clrMapOvr>
  <p:transition spd="slow" advTm="0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F:\PPT加油\2. 成品上传\113\PPT尺寸2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3316288" y="5821363"/>
            <a:ext cx="5803900" cy="7572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矩形 9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2000" cy="4267200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3" name="文本框 2"/>
          <p:cNvSpPr txBox="1"/>
          <p:nvPr>
            <p:custDataLst>
              <p:tags r:id="rId4"/>
            </p:custDataLst>
          </p:nvPr>
        </p:nvSpPr>
        <p:spPr>
          <a:xfrm>
            <a:off x="1219162" y="609580"/>
            <a:ext cx="9753676" cy="1372349"/>
          </a:xfrm>
          <a:prstGeom prst="rect">
            <a:avLst/>
          </a:prstGeom>
          <a:noFill/>
        </p:spPr>
        <p:txBody>
          <a:bodyPr wrap="square" lIns="63500" tIns="25400" rIns="63500" bIns="25400" rtlCol="0" anchor="b" anchorCtr="0"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4200" b="1" spc="260" dirty="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rPr>
              <a:t>谢谢观看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4200" b="1" spc="260" dirty="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rPr>
              <a:t>期待您的加入</a:t>
            </a:r>
          </a:p>
        </p:txBody>
      </p:sp>
      <p:pic>
        <p:nvPicPr>
          <p:cNvPr id="4" name="图片 3" descr="placingpictureplaceholder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rcRect/>
          <a:stretch>
            <a:fillRect/>
          </a:stretch>
        </p:blipFill>
        <p:spPr>
          <a:xfrm>
            <a:off x="8814341" y="3795821"/>
            <a:ext cx="863033" cy="1138501"/>
          </a:xfrm>
          <a:prstGeom prst="rect">
            <a:avLst/>
          </a:prstGeom>
        </p:spPr>
      </p:pic>
      <p:pic>
        <p:nvPicPr>
          <p:cNvPr id="7" name="图片 6" descr="placingpictureplaceholder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>
          <a:xfrm>
            <a:off x="8814341" y="2562070"/>
            <a:ext cx="863033" cy="1138501"/>
          </a:xfrm>
          <a:prstGeom prst="rect">
            <a:avLst/>
          </a:prstGeom>
        </p:spPr>
      </p:pic>
      <p:pic>
        <p:nvPicPr>
          <p:cNvPr id="8" name="图片 7" descr="placingpictureplaceholder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/>
          <a:srcRect/>
          <a:stretch>
            <a:fillRect/>
          </a:stretch>
        </p:blipFill>
        <p:spPr>
          <a:xfrm>
            <a:off x="2514523" y="2562070"/>
            <a:ext cx="6204568" cy="2372252"/>
          </a:xfrm>
          <a:prstGeom prst="rect">
            <a:avLst/>
          </a:prstGeom>
        </p:spPr>
      </p:pic>
      <p:sp>
        <p:nvSpPr>
          <p:cNvPr id="11" name="Title 6"/>
          <p:cNvSpPr txBox="1"/>
          <p:nvPr>
            <p:custDataLst>
              <p:tags r:id="rId8"/>
            </p:custDataLst>
          </p:nvPr>
        </p:nvSpPr>
        <p:spPr>
          <a:xfrm>
            <a:off x="1219162" y="4934507"/>
            <a:ext cx="9753676" cy="713838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t" anchorCtr="0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en-US" sz="3600" b="1" spc="200" dirty="0">
                <a:ln w="3175">
                  <a:noFill/>
                  <a:prstDash val="dash"/>
                </a:ln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江苏瑞恒新材料科技有限公司</a:t>
            </a:r>
          </a:p>
        </p:txBody>
      </p:sp>
    </p:spTree>
    <p:custDataLst>
      <p:tags r:id="rId1"/>
    </p:custDataLst>
  </p:cSld>
  <p:clrMapOvr>
    <a:masterClrMapping/>
  </p:clrMapOvr>
  <p:transition spd="slow" advTm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2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50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 7"/>
          <p:cNvSpPr/>
          <p:nvPr>
            <p:custDataLst>
              <p:tags r:id="rId2"/>
            </p:custDataLst>
          </p:nvPr>
        </p:nvSpPr>
        <p:spPr>
          <a:xfrm>
            <a:off x="0" y="-5715"/>
            <a:ext cx="7924863" cy="685800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2480" h="10800">
                <a:moveTo>
                  <a:pt x="0" y="0"/>
                </a:moveTo>
                <a:lnTo>
                  <a:pt x="12428" y="0"/>
                </a:lnTo>
                <a:lnTo>
                  <a:pt x="12430" y="10"/>
                </a:lnTo>
                <a:cubicBezTo>
                  <a:pt x="12459" y="317"/>
                  <a:pt x="12476" y="630"/>
                  <a:pt x="12480" y="947"/>
                </a:cubicBezTo>
                <a:lnTo>
                  <a:pt x="12480" y="1004"/>
                </a:lnTo>
                <a:lnTo>
                  <a:pt x="12480" y="1204"/>
                </a:lnTo>
                <a:lnTo>
                  <a:pt x="12479" y="1305"/>
                </a:lnTo>
                <a:cubicBezTo>
                  <a:pt x="12443" y="3423"/>
                  <a:pt x="11851" y="5707"/>
                  <a:pt x="10682" y="7776"/>
                </a:cubicBezTo>
                <a:cubicBezTo>
                  <a:pt x="10012" y="8964"/>
                  <a:pt x="9216" y="9967"/>
                  <a:pt x="8351" y="10764"/>
                </a:cubicBezTo>
                <a:lnTo>
                  <a:pt x="8312" y="10800"/>
                </a:lnTo>
                <a:lnTo>
                  <a:pt x="0" y="10800"/>
                </a:lnTo>
                <a:lnTo>
                  <a:pt x="0" y="0"/>
                </a:lnTo>
                <a:close/>
              </a:path>
            </a:pathLst>
          </a:custGeom>
          <a:solidFill>
            <a:schemeClr val="lt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/>
          <a:srcRect l="11555" r="11555"/>
          <a:stretch>
            <a:fillRect/>
          </a:stretch>
        </p:blipFill>
        <p:spPr>
          <a:xfrm>
            <a:off x="0" y="-55"/>
            <a:ext cx="7620051" cy="685800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2000" h="10800">
                <a:moveTo>
                  <a:pt x="0" y="0"/>
                </a:moveTo>
                <a:lnTo>
                  <a:pt x="11950" y="0"/>
                </a:lnTo>
                <a:lnTo>
                  <a:pt x="11952" y="10"/>
                </a:lnTo>
                <a:cubicBezTo>
                  <a:pt x="11980" y="305"/>
                  <a:pt x="11996" y="605"/>
                  <a:pt x="12000" y="910"/>
                </a:cubicBezTo>
                <a:lnTo>
                  <a:pt x="12000" y="963"/>
                </a:lnTo>
                <a:lnTo>
                  <a:pt x="12000" y="1158"/>
                </a:lnTo>
                <a:lnTo>
                  <a:pt x="11999" y="1254"/>
                </a:lnTo>
                <a:cubicBezTo>
                  <a:pt x="11964" y="3290"/>
                  <a:pt x="11395" y="5485"/>
                  <a:pt x="10271" y="7474"/>
                </a:cubicBezTo>
                <a:cubicBezTo>
                  <a:pt x="9493" y="8852"/>
                  <a:pt x="8539" y="9972"/>
                  <a:pt x="7504" y="10796"/>
                </a:cubicBezTo>
                <a:lnTo>
                  <a:pt x="7499" y="10800"/>
                </a:lnTo>
                <a:lnTo>
                  <a:pt x="0" y="108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2" name="文本框 11"/>
          <p:cNvSpPr txBox="1"/>
          <p:nvPr>
            <p:custDataLst>
              <p:tags r:id="rId4"/>
            </p:custDataLst>
          </p:nvPr>
        </p:nvSpPr>
        <p:spPr>
          <a:xfrm>
            <a:off x="7519670" y="3017520"/>
            <a:ext cx="4215130" cy="109728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3200" b="1" spc="16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有志之士    携手并进</a:t>
            </a:r>
          </a:p>
        </p:txBody>
      </p:sp>
      <p:sp>
        <p:nvSpPr>
          <p:cNvPr id="13" name="Title 6"/>
          <p:cNvSpPr txBox="1"/>
          <p:nvPr>
            <p:custDataLst>
              <p:tags r:id="rId5"/>
            </p:custDataLst>
          </p:nvPr>
        </p:nvSpPr>
        <p:spPr>
          <a:xfrm>
            <a:off x="8077264" y="4267235"/>
            <a:ext cx="3657600" cy="1676413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330200" lvl="0" indent="-3302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Char char="l"/>
            </a:pPr>
            <a:r>
              <a:rPr lang="zh-CN" altLang="en-US" sz="1800" spc="20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联系人：黄女生/曹先生</a:t>
            </a:r>
          </a:p>
          <a:p>
            <a:pPr marL="330200" lvl="0" indent="-3302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charset="0"/>
              <a:buChar char="l"/>
            </a:pPr>
            <a:r>
              <a:rPr lang="zh-CN" altLang="en-US" sz="1800" spc="20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联系电话：</a:t>
            </a:r>
          </a:p>
          <a:p>
            <a:pPr marL="635000" lvl="1" indent="-3048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8321504905</a:t>
            </a:r>
          </a:p>
          <a:p>
            <a:pPr marL="635000" lvl="1" indent="-3048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8061380982</a:t>
            </a:r>
          </a:p>
        </p:txBody>
      </p:sp>
    </p:spTree>
    <p:custDataLst>
      <p:tags r:id="rId1"/>
    </p:custData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>
            <p:custDataLst>
              <p:tags r:id="rId2"/>
            </p:custDataLst>
          </p:nvPr>
        </p:nvSpPr>
        <p:spPr>
          <a:xfrm>
            <a:off x="2551650" y="2526127"/>
            <a:ext cx="866775" cy="83121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4200" b="1" spc="34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1</a:t>
            </a:r>
          </a:p>
        </p:txBody>
      </p:sp>
      <p:sp>
        <p:nvSpPr>
          <p:cNvPr id="23" name="文本框 22"/>
          <p:cNvSpPr txBox="1"/>
          <p:nvPr>
            <p:custDataLst>
              <p:tags r:id="rId3"/>
            </p:custDataLst>
          </p:nvPr>
        </p:nvSpPr>
        <p:spPr>
          <a:xfrm>
            <a:off x="3664439" y="2516554"/>
            <a:ext cx="264858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</a:rPr>
              <a:t>企业简介</a:t>
            </a:r>
          </a:p>
        </p:txBody>
      </p:sp>
      <p:cxnSp>
        <p:nvCxnSpPr>
          <p:cNvPr id="24" name="直线连接符 17"/>
          <p:cNvCxnSpPr/>
          <p:nvPr>
            <p:custDataLst>
              <p:tags r:id="rId4"/>
            </p:custDataLst>
          </p:nvPr>
        </p:nvCxnSpPr>
        <p:spPr>
          <a:xfrm>
            <a:off x="3481755" y="2590863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文本框 24"/>
          <p:cNvSpPr txBox="1"/>
          <p:nvPr>
            <p:custDataLst>
              <p:tags r:id="rId5"/>
            </p:custDataLst>
          </p:nvPr>
        </p:nvSpPr>
        <p:spPr>
          <a:xfrm>
            <a:off x="8337275" y="2515919"/>
            <a:ext cx="264731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</a:rPr>
              <a:t>企业文化</a:t>
            </a:r>
          </a:p>
        </p:txBody>
      </p:sp>
      <p:sp>
        <p:nvSpPr>
          <p:cNvPr id="28" name="文本框 27"/>
          <p:cNvSpPr txBox="1"/>
          <p:nvPr>
            <p:custDataLst>
              <p:tags r:id="rId6"/>
            </p:custDataLst>
          </p:nvPr>
        </p:nvSpPr>
        <p:spPr>
          <a:xfrm>
            <a:off x="7222581" y="2526127"/>
            <a:ext cx="870585" cy="83121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4200" b="1" spc="34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2</a:t>
            </a:r>
          </a:p>
        </p:txBody>
      </p:sp>
      <p:cxnSp>
        <p:nvCxnSpPr>
          <p:cNvPr id="29" name="直线连接符 29"/>
          <p:cNvCxnSpPr/>
          <p:nvPr>
            <p:custDataLst>
              <p:tags r:id="rId7"/>
            </p:custDataLst>
          </p:nvPr>
        </p:nvCxnSpPr>
        <p:spPr>
          <a:xfrm>
            <a:off x="8154591" y="2590863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>
            <p:custDataLst>
              <p:tags r:id="rId8"/>
            </p:custDataLst>
          </p:nvPr>
        </p:nvSpPr>
        <p:spPr>
          <a:xfrm>
            <a:off x="3664439" y="3639446"/>
            <a:ext cx="264858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  <a:sym typeface="宋体" panose="02010600030101010101" pitchFamily="2" charset="-122"/>
              </a:rPr>
              <a:t>招聘岗位</a:t>
            </a:r>
          </a:p>
        </p:txBody>
      </p:sp>
      <p:sp>
        <p:nvSpPr>
          <p:cNvPr id="31" name="文本框 30"/>
          <p:cNvSpPr txBox="1"/>
          <p:nvPr>
            <p:custDataLst>
              <p:tags r:id="rId9"/>
            </p:custDataLst>
          </p:nvPr>
        </p:nvSpPr>
        <p:spPr>
          <a:xfrm>
            <a:off x="2551650" y="3650408"/>
            <a:ext cx="870585" cy="83121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4200" b="1" spc="34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3</a:t>
            </a:r>
          </a:p>
        </p:txBody>
      </p:sp>
      <p:cxnSp>
        <p:nvCxnSpPr>
          <p:cNvPr id="32" name="直线连接符 21"/>
          <p:cNvCxnSpPr/>
          <p:nvPr>
            <p:custDataLst>
              <p:tags r:id="rId10"/>
            </p:custDataLst>
          </p:nvPr>
        </p:nvCxnSpPr>
        <p:spPr>
          <a:xfrm>
            <a:off x="3481755" y="3715144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文本框 32"/>
          <p:cNvSpPr txBox="1"/>
          <p:nvPr>
            <p:custDataLst>
              <p:tags r:id="rId11"/>
            </p:custDataLst>
          </p:nvPr>
        </p:nvSpPr>
        <p:spPr>
          <a:xfrm>
            <a:off x="8338545" y="3639022"/>
            <a:ext cx="264731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  <a:sym typeface="宋体" panose="02010600030101010101" pitchFamily="2" charset="-122"/>
              </a:rPr>
              <a:t>晋升发展</a:t>
            </a:r>
          </a:p>
        </p:txBody>
      </p:sp>
      <p:sp>
        <p:nvSpPr>
          <p:cNvPr id="34" name="文本框 33"/>
          <p:cNvSpPr txBox="1"/>
          <p:nvPr>
            <p:custDataLst>
              <p:tags r:id="rId12"/>
            </p:custDataLst>
          </p:nvPr>
        </p:nvSpPr>
        <p:spPr>
          <a:xfrm>
            <a:off x="7222581" y="3650408"/>
            <a:ext cx="870585" cy="83121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4200" b="1" spc="34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4</a:t>
            </a:r>
          </a:p>
        </p:txBody>
      </p:sp>
      <p:cxnSp>
        <p:nvCxnSpPr>
          <p:cNvPr id="35" name="直线连接符 29"/>
          <p:cNvCxnSpPr/>
          <p:nvPr>
            <p:custDataLst>
              <p:tags r:id="rId13"/>
            </p:custDataLst>
          </p:nvPr>
        </p:nvCxnSpPr>
        <p:spPr>
          <a:xfrm>
            <a:off x="8154591" y="3715144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>
            <p:custDataLst>
              <p:tags r:id="rId14"/>
            </p:custDataLst>
          </p:nvPr>
        </p:nvSpPr>
        <p:spPr>
          <a:xfrm>
            <a:off x="3664439" y="4762338"/>
            <a:ext cx="264858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  <a:sym typeface="宋体" panose="02010600030101010101" pitchFamily="2" charset="-122"/>
              </a:rPr>
              <a:t>薪酬福利</a:t>
            </a:r>
          </a:p>
        </p:txBody>
      </p:sp>
      <p:sp>
        <p:nvSpPr>
          <p:cNvPr id="37" name="文本框 36"/>
          <p:cNvSpPr txBox="1"/>
          <p:nvPr>
            <p:custDataLst>
              <p:tags r:id="rId15"/>
            </p:custDataLst>
          </p:nvPr>
        </p:nvSpPr>
        <p:spPr>
          <a:xfrm>
            <a:off x="2551650" y="4774054"/>
            <a:ext cx="870585" cy="83121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4200" b="1" spc="34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5</a:t>
            </a:r>
          </a:p>
        </p:txBody>
      </p:sp>
      <p:cxnSp>
        <p:nvCxnSpPr>
          <p:cNvPr id="38" name="直线连接符 25"/>
          <p:cNvCxnSpPr/>
          <p:nvPr>
            <p:custDataLst>
              <p:tags r:id="rId16"/>
            </p:custDataLst>
          </p:nvPr>
        </p:nvCxnSpPr>
        <p:spPr>
          <a:xfrm>
            <a:off x="3481755" y="4838790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文本框 38"/>
          <p:cNvSpPr txBox="1"/>
          <p:nvPr>
            <p:custDataLst>
              <p:tags r:id="rId17"/>
            </p:custDataLst>
          </p:nvPr>
        </p:nvSpPr>
        <p:spPr>
          <a:xfrm>
            <a:off x="8337275" y="4762760"/>
            <a:ext cx="2647315" cy="56515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kumimoji="1" lang="zh-CN" altLang="en-US" sz="2800" spc="20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charset="-122"/>
                <a:sym typeface="宋体" panose="02010600030101010101" pitchFamily="2" charset="-122"/>
              </a:rPr>
              <a:t>答疑环节</a:t>
            </a:r>
          </a:p>
        </p:txBody>
      </p:sp>
      <p:sp>
        <p:nvSpPr>
          <p:cNvPr id="40" name="文本框 39"/>
          <p:cNvSpPr txBox="1"/>
          <p:nvPr>
            <p:custDataLst>
              <p:tags r:id="rId18"/>
            </p:custDataLst>
          </p:nvPr>
        </p:nvSpPr>
        <p:spPr>
          <a:xfrm>
            <a:off x="7222581" y="4774054"/>
            <a:ext cx="825500" cy="82994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kumimoji="1" lang="en-US" altLang="zh-CN" sz="3800" b="1" spc="30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微软雅黑" panose="020B0503020204020204" charset="-122"/>
              </a:rPr>
              <a:t>06</a:t>
            </a:r>
          </a:p>
        </p:txBody>
      </p:sp>
      <p:cxnSp>
        <p:nvCxnSpPr>
          <p:cNvPr id="41" name="直线连接符 29"/>
          <p:cNvCxnSpPr/>
          <p:nvPr>
            <p:custDataLst>
              <p:tags r:id="rId19"/>
            </p:custDataLst>
          </p:nvPr>
        </p:nvCxnSpPr>
        <p:spPr>
          <a:xfrm>
            <a:off x="8154591" y="4838790"/>
            <a:ext cx="0" cy="48069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文本框 41"/>
          <p:cNvSpPr txBox="1"/>
          <p:nvPr>
            <p:custDataLst>
              <p:tags r:id="rId20"/>
            </p:custDataLst>
          </p:nvPr>
        </p:nvSpPr>
        <p:spPr>
          <a:xfrm>
            <a:off x="5496560" y="655157"/>
            <a:ext cx="1198880" cy="706755"/>
          </a:xfrm>
          <a:prstGeom prst="rect">
            <a:avLst/>
          </a:prstGeom>
          <a:noFill/>
        </p:spPr>
        <p:txBody>
          <a:bodyPr wrap="none" rtlCol="0" anchor="t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3600" spc="200" dirty="0">
                <a:solidFill>
                  <a:schemeClr val="dk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汉仪旗黑-85S" panose="00020600040101010101" pitchFamily="18" charset="-122"/>
              </a:rPr>
              <a:t>目录</a:t>
            </a:r>
          </a:p>
        </p:txBody>
      </p:sp>
    </p:spTree>
    <p:custDataLst>
      <p:tags r:id="rId1"/>
    </p:custData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67" name="矩形 99"/>
          <p:cNvSpPr/>
          <p:nvPr>
            <p:custDataLst>
              <p:tags r:id="rId2"/>
            </p:custDataLst>
          </p:nvPr>
        </p:nvSpPr>
        <p:spPr>
          <a:xfrm>
            <a:off x="432435" y="1391920"/>
            <a:ext cx="6105525" cy="470789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indent="457200" eaLnBrk="0" hangingPunct="0">
              <a:lnSpc>
                <a:spcPct val="125000"/>
              </a:lnSpc>
              <a:spcBef>
                <a:spcPct val="0"/>
              </a:spcBef>
              <a:buClr>
                <a:schemeClr val="accent2"/>
              </a:buClr>
            </a:pP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中化集团，成立于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195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年，新中国第一家专业从事对外贸易的国有进出口企业，现为国务院国资委管理的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53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家国有企业重要骨干企业之一，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3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次入围《财务》全球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50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强。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202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年世界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50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强排行榜排名第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109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位。五大事业部：能源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/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化工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/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农业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/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地产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/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金融，全球员工金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67000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人。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2011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12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月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日，扬农与中化国际签署战略合作协议后，中化国际为扬农提供了一个全新的国际化发展平台，扬农与中化国际进行全方位融合。</a:t>
            </a:r>
          </a:p>
        </p:txBody>
      </p:sp>
      <p:sp>
        <p:nvSpPr>
          <p:cNvPr id="24668" name="矩形 100"/>
          <p:cNvSpPr/>
          <p:nvPr>
            <p:custDataLst>
              <p:tags r:id="rId3"/>
            </p:custDataLst>
          </p:nvPr>
        </p:nvSpPr>
        <p:spPr>
          <a:xfrm>
            <a:off x="1784350" y="276225"/>
            <a:ext cx="3893820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中化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我们的大股东</a:t>
            </a:r>
          </a:p>
        </p:txBody>
      </p:sp>
      <p:sp>
        <p:nvSpPr>
          <p:cNvPr id="102" name="箭头: 五边形 26"/>
          <p:cNvSpPr/>
          <p:nvPr>
            <p:custDataLst>
              <p:tags r:id="rId4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103" name="箭头: 五边形 26"/>
          <p:cNvSpPr/>
          <p:nvPr>
            <p:custDataLst>
              <p:tags r:id="rId5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1015" y="1840865"/>
            <a:ext cx="5055235" cy="344678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>
    <p:wheel spokes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4"/>
          <p:cNvGrpSpPr/>
          <p:nvPr/>
        </p:nvGrpSpPr>
        <p:grpSpPr>
          <a:xfrm>
            <a:off x="122532" y="1530383"/>
            <a:ext cx="11929905" cy="4984717"/>
            <a:chOff x="407988" y="981075"/>
            <a:chExt cx="8328025" cy="4319588"/>
          </a:xfrm>
          <a:solidFill>
            <a:schemeClr val="accent5">
              <a:lumMod val="20000"/>
              <a:lumOff val="80000"/>
              <a:alpha val="82000"/>
            </a:schemeClr>
          </a:solidFill>
        </p:grpSpPr>
        <p:sp>
          <p:nvSpPr>
            <p:cNvPr id="266" name="Freeform 741"/>
            <p:cNvSpPr/>
            <p:nvPr/>
          </p:nvSpPr>
          <p:spPr bwMode="auto">
            <a:xfrm>
              <a:off x="7745413" y="5141913"/>
              <a:ext cx="30162" cy="36512"/>
            </a:xfrm>
            <a:custGeom>
              <a:avLst/>
              <a:gdLst>
                <a:gd name="T0" fmla="*/ 6 w 64"/>
                <a:gd name="T1" fmla="*/ 3 h 98"/>
                <a:gd name="T2" fmla="*/ 7 w 64"/>
                <a:gd name="T3" fmla="*/ 0 h 98"/>
                <a:gd name="T4" fmla="*/ 4 w 64"/>
                <a:gd name="T5" fmla="*/ 0 h 98"/>
                <a:gd name="T6" fmla="*/ 0 w 64"/>
                <a:gd name="T7" fmla="*/ 6 h 98"/>
                <a:gd name="T8" fmla="*/ 3 w 64"/>
                <a:gd name="T9" fmla="*/ 9 h 98"/>
                <a:gd name="T10" fmla="*/ 4 w 64"/>
                <a:gd name="T11" fmla="*/ 8 h 98"/>
                <a:gd name="T12" fmla="*/ 4 w 64"/>
                <a:gd name="T13" fmla="*/ 6 h 98"/>
                <a:gd name="T14" fmla="*/ 6 w 64"/>
                <a:gd name="T15" fmla="*/ 3 h 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4"/>
                <a:gd name="T25" fmla="*/ 0 h 98"/>
                <a:gd name="T26" fmla="*/ 64 w 64"/>
                <a:gd name="T27" fmla="*/ 98 h 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4" h="98">
                  <a:moveTo>
                    <a:pt x="58" y="28"/>
                  </a:moveTo>
                  <a:lnTo>
                    <a:pt x="64" y="0"/>
                  </a:lnTo>
                  <a:lnTo>
                    <a:pt x="41" y="5"/>
                  </a:lnTo>
                  <a:lnTo>
                    <a:pt x="0" y="70"/>
                  </a:lnTo>
                  <a:lnTo>
                    <a:pt x="24" y="98"/>
                  </a:lnTo>
                  <a:lnTo>
                    <a:pt x="35" y="87"/>
                  </a:lnTo>
                  <a:lnTo>
                    <a:pt x="41" y="63"/>
                  </a:lnTo>
                  <a:lnTo>
                    <a:pt x="58" y="2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67" name="Freeform 742"/>
            <p:cNvSpPr/>
            <p:nvPr/>
          </p:nvSpPr>
          <p:spPr bwMode="auto">
            <a:xfrm>
              <a:off x="7448550" y="5073650"/>
              <a:ext cx="15875" cy="25400"/>
            </a:xfrm>
            <a:custGeom>
              <a:avLst/>
              <a:gdLst>
                <a:gd name="T0" fmla="*/ 2 w 29"/>
                <a:gd name="T1" fmla="*/ 0 h 63"/>
                <a:gd name="T2" fmla="*/ 0 w 29"/>
                <a:gd name="T3" fmla="*/ 0 h 63"/>
                <a:gd name="T4" fmla="*/ 0 w 29"/>
                <a:gd name="T5" fmla="*/ 6 h 63"/>
                <a:gd name="T6" fmla="*/ 3 w 29"/>
                <a:gd name="T7" fmla="*/ 4 h 63"/>
                <a:gd name="T8" fmla="*/ 3 w 29"/>
                <a:gd name="T9" fmla="*/ 2 h 63"/>
                <a:gd name="T10" fmla="*/ 4 w 29"/>
                <a:gd name="T11" fmla="*/ 0 h 63"/>
                <a:gd name="T12" fmla="*/ 2 w 29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63"/>
                <a:gd name="T23" fmla="*/ 29 w 29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63">
                  <a:moveTo>
                    <a:pt x="17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24" y="40"/>
                  </a:lnTo>
                  <a:lnTo>
                    <a:pt x="24" y="17"/>
                  </a:lnTo>
                  <a:lnTo>
                    <a:pt x="29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6" name="Freeform 743"/>
            <p:cNvSpPr/>
            <p:nvPr/>
          </p:nvSpPr>
          <p:spPr bwMode="auto">
            <a:xfrm>
              <a:off x="7472363" y="5170488"/>
              <a:ext cx="22225" cy="20637"/>
            </a:xfrm>
            <a:custGeom>
              <a:avLst/>
              <a:gdLst>
                <a:gd name="T0" fmla="*/ 4 w 35"/>
                <a:gd name="T1" fmla="*/ 2 h 46"/>
                <a:gd name="T2" fmla="*/ 1 w 35"/>
                <a:gd name="T3" fmla="*/ 0 h 46"/>
                <a:gd name="T4" fmla="*/ 0 w 35"/>
                <a:gd name="T5" fmla="*/ 3 h 46"/>
                <a:gd name="T6" fmla="*/ 3 w 35"/>
                <a:gd name="T7" fmla="*/ 5 h 46"/>
                <a:gd name="T8" fmla="*/ 5 w 35"/>
                <a:gd name="T9" fmla="*/ 3 h 46"/>
                <a:gd name="T10" fmla="*/ 4 w 35"/>
                <a:gd name="T11" fmla="*/ 2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6"/>
                <a:gd name="T20" fmla="*/ 35 w 35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6">
                  <a:moveTo>
                    <a:pt x="29" y="17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24" y="46"/>
                  </a:lnTo>
                  <a:lnTo>
                    <a:pt x="35" y="23"/>
                  </a:lnTo>
                  <a:lnTo>
                    <a:pt x="29" y="1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7" name="Freeform 744"/>
            <p:cNvSpPr/>
            <p:nvPr/>
          </p:nvSpPr>
          <p:spPr bwMode="auto">
            <a:xfrm>
              <a:off x="7515225" y="5221288"/>
              <a:ext cx="33338" cy="20637"/>
            </a:xfrm>
            <a:custGeom>
              <a:avLst/>
              <a:gdLst>
                <a:gd name="T0" fmla="*/ 5 w 70"/>
                <a:gd name="T1" fmla="*/ 1 h 34"/>
                <a:gd name="T2" fmla="*/ 1 w 70"/>
                <a:gd name="T3" fmla="*/ 0 h 34"/>
                <a:gd name="T4" fmla="*/ 0 w 70"/>
                <a:gd name="T5" fmla="*/ 2 h 34"/>
                <a:gd name="T6" fmla="*/ 2 w 70"/>
                <a:gd name="T7" fmla="*/ 5 h 34"/>
                <a:gd name="T8" fmla="*/ 6 w 70"/>
                <a:gd name="T9" fmla="*/ 4 h 34"/>
                <a:gd name="T10" fmla="*/ 8 w 70"/>
                <a:gd name="T11" fmla="*/ 4 h 34"/>
                <a:gd name="T12" fmla="*/ 8 w 70"/>
                <a:gd name="T13" fmla="*/ 3 h 34"/>
                <a:gd name="T14" fmla="*/ 5 w 70"/>
                <a:gd name="T15" fmla="*/ 1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0"/>
                <a:gd name="T25" fmla="*/ 0 h 34"/>
                <a:gd name="T26" fmla="*/ 70 w 70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0" h="34">
                  <a:moveTo>
                    <a:pt x="41" y="5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17" y="34"/>
                  </a:lnTo>
                  <a:lnTo>
                    <a:pt x="52" y="29"/>
                  </a:lnTo>
                  <a:lnTo>
                    <a:pt x="70" y="29"/>
                  </a:lnTo>
                  <a:lnTo>
                    <a:pt x="70" y="17"/>
                  </a:lnTo>
                  <a:lnTo>
                    <a:pt x="41" y="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8" name="Freeform 745"/>
            <p:cNvSpPr/>
            <p:nvPr/>
          </p:nvSpPr>
          <p:spPr bwMode="auto">
            <a:xfrm>
              <a:off x="8278813" y="3856038"/>
              <a:ext cx="12700" cy="9525"/>
            </a:xfrm>
            <a:custGeom>
              <a:avLst/>
              <a:gdLst>
                <a:gd name="T0" fmla="*/ 1 w 30"/>
                <a:gd name="T1" fmla="*/ 0 h 18"/>
                <a:gd name="T2" fmla="*/ 1 w 30"/>
                <a:gd name="T3" fmla="*/ 0 h 18"/>
                <a:gd name="T4" fmla="*/ 0 w 30"/>
                <a:gd name="T5" fmla="*/ 1 h 18"/>
                <a:gd name="T6" fmla="*/ 1 w 30"/>
                <a:gd name="T7" fmla="*/ 2 h 18"/>
                <a:gd name="T8" fmla="*/ 3 w 30"/>
                <a:gd name="T9" fmla="*/ 1 h 18"/>
                <a:gd name="T10" fmla="*/ 1 w 3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12" y="0"/>
                  </a:moveTo>
                  <a:lnTo>
                    <a:pt x="6" y="0"/>
                  </a:lnTo>
                  <a:lnTo>
                    <a:pt x="0" y="11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9" name="Freeform 746"/>
            <p:cNvSpPr/>
            <p:nvPr/>
          </p:nvSpPr>
          <p:spPr bwMode="auto">
            <a:xfrm>
              <a:off x="8312150" y="3840163"/>
              <a:ext cx="25400" cy="15875"/>
            </a:xfrm>
            <a:custGeom>
              <a:avLst/>
              <a:gdLst>
                <a:gd name="T0" fmla="*/ 2 w 53"/>
                <a:gd name="T1" fmla="*/ 0 h 47"/>
                <a:gd name="T2" fmla="*/ 0 w 53"/>
                <a:gd name="T3" fmla="*/ 2 h 47"/>
                <a:gd name="T4" fmla="*/ 0 w 53"/>
                <a:gd name="T5" fmla="*/ 3 h 47"/>
                <a:gd name="T6" fmla="*/ 4 w 53"/>
                <a:gd name="T7" fmla="*/ 4 h 47"/>
                <a:gd name="T8" fmla="*/ 4 w 53"/>
                <a:gd name="T9" fmla="*/ 3 h 47"/>
                <a:gd name="T10" fmla="*/ 6 w 53"/>
                <a:gd name="T11" fmla="*/ 2 h 47"/>
                <a:gd name="T12" fmla="*/ 5 w 53"/>
                <a:gd name="T13" fmla="*/ 1 h 47"/>
                <a:gd name="T14" fmla="*/ 2 w 53"/>
                <a:gd name="T15" fmla="*/ 0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3"/>
                <a:gd name="T25" fmla="*/ 0 h 47"/>
                <a:gd name="T26" fmla="*/ 53 w 53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3" h="47">
                  <a:moveTo>
                    <a:pt x="18" y="0"/>
                  </a:moveTo>
                  <a:lnTo>
                    <a:pt x="0" y="18"/>
                  </a:lnTo>
                  <a:lnTo>
                    <a:pt x="0" y="41"/>
                  </a:lnTo>
                  <a:lnTo>
                    <a:pt x="35" y="47"/>
                  </a:lnTo>
                  <a:lnTo>
                    <a:pt x="35" y="35"/>
                  </a:lnTo>
                  <a:lnTo>
                    <a:pt x="53" y="23"/>
                  </a:lnTo>
                  <a:lnTo>
                    <a:pt x="4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0" name="Freeform 747"/>
            <p:cNvSpPr/>
            <p:nvPr/>
          </p:nvSpPr>
          <p:spPr bwMode="auto">
            <a:xfrm>
              <a:off x="7367588" y="3440113"/>
              <a:ext cx="390525" cy="449262"/>
            </a:xfrm>
            <a:custGeom>
              <a:avLst/>
              <a:gdLst>
                <a:gd name="T0" fmla="*/ 17 w 860"/>
                <a:gd name="T1" fmla="*/ 55 h 1116"/>
                <a:gd name="T2" fmla="*/ 0 w 860"/>
                <a:gd name="T3" fmla="*/ 66 h 1116"/>
                <a:gd name="T4" fmla="*/ 11 w 860"/>
                <a:gd name="T5" fmla="*/ 71 h 1116"/>
                <a:gd name="T6" fmla="*/ 11 w 860"/>
                <a:gd name="T7" fmla="*/ 75 h 1116"/>
                <a:gd name="T8" fmla="*/ 26 w 860"/>
                <a:gd name="T9" fmla="*/ 76 h 1116"/>
                <a:gd name="T10" fmla="*/ 31 w 860"/>
                <a:gd name="T11" fmla="*/ 77 h 1116"/>
                <a:gd name="T12" fmla="*/ 38 w 860"/>
                <a:gd name="T13" fmla="*/ 90 h 1116"/>
                <a:gd name="T14" fmla="*/ 52 w 860"/>
                <a:gd name="T15" fmla="*/ 91 h 1116"/>
                <a:gd name="T16" fmla="*/ 62 w 860"/>
                <a:gd name="T17" fmla="*/ 95 h 1116"/>
                <a:gd name="T18" fmla="*/ 60 w 860"/>
                <a:gd name="T19" fmla="*/ 107 h 1116"/>
                <a:gd name="T20" fmla="*/ 63 w 860"/>
                <a:gd name="T21" fmla="*/ 107 h 1116"/>
                <a:gd name="T22" fmla="*/ 73 w 860"/>
                <a:gd name="T23" fmla="*/ 88 h 1116"/>
                <a:gd name="T24" fmla="*/ 68 w 860"/>
                <a:gd name="T25" fmla="*/ 84 h 1116"/>
                <a:gd name="T26" fmla="*/ 69 w 860"/>
                <a:gd name="T27" fmla="*/ 80 h 1116"/>
                <a:gd name="T28" fmla="*/ 75 w 860"/>
                <a:gd name="T29" fmla="*/ 75 h 1116"/>
                <a:gd name="T30" fmla="*/ 71 w 860"/>
                <a:gd name="T31" fmla="*/ 74 h 1116"/>
                <a:gd name="T32" fmla="*/ 72 w 860"/>
                <a:gd name="T33" fmla="*/ 71 h 1116"/>
                <a:gd name="T34" fmla="*/ 75 w 860"/>
                <a:gd name="T35" fmla="*/ 71 h 1116"/>
                <a:gd name="T36" fmla="*/ 80 w 860"/>
                <a:gd name="T37" fmla="*/ 75 h 1116"/>
                <a:gd name="T38" fmla="*/ 86 w 860"/>
                <a:gd name="T39" fmla="*/ 75 h 1116"/>
                <a:gd name="T40" fmla="*/ 89 w 860"/>
                <a:gd name="T41" fmla="*/ 80 h 1116"/>
                <a:gd name="T42" fmla="*/ 93 w 860"/>
                <a:gd name="T43" fmla="*/ 80 h 1116"/>
                <a:gd name="T44" fmla="*/ 92 w 860"/>
                <a:gd name="T45" fmla="*/ 76 h 1116"/>
                <a:gd name="T46" fmla="*/ 92 w 860"/>
                <a:gd name="T47" fmla="*/ 72 h 1116"/>
                <a:gd name="T48" fmla="*/ 87 w 860"/>
                <a:gd name="T49" fmla="*/ 64 h 1116"/>
                <a:gd name="T50" fmla="*/ 90 w 860"/>
                <a:gd name="T51" fmla="*/ 58 h 1116"/>
                <a:gd name="T52" fmla="*/ 88 w 860"/>
                <a:gd name="T53" fmla="*/ 55 h 1116"/>
                <a:gd name="T54" fmla="*/ 91 w 860"/>
                <a:gd name="T55" fmla="*/ 46 h 1116"/>
                <a:gd name="T56" fmla="*/ 78 w 860"/>
                <a:gd name="T57" fmla="*/ 45 h 1116"/>
                <a:gd name="T58" fmla="*/ 59 w 860"/>
                <a:gd name="T59" fmla="*/ 35 h 1116"/>
                <a:gd name="T60" fmla="*/ 54 w 860"/>
                <a:gd name="T61" fmla="*/ 26 h 1116"/>
                <a:gd name="T62" fmla="*/ 49 w 860"/>
                <a:gd name="T63" fmla="*/ 27 h 1116"/>
                <a:gd name="T64" fmla="*/ 55 w 860"/>
                <a:gd name="T65" fmla="*/ 18 h 1116"/>
                <a:gd name="T66" fmla="*/ 53 w 860"/>
                <a:gd name="T67" fmla="*/ 12 h 1116"/>
                <a:gd name="T68" fmla="*/ 59 w 860"/>
                <a:gd name="T69" fmla="*/ 10 h 1116"/>
                <a:gd name="T70" fmla="*/ 64 w 860"/>
                <a:gd name="T71" fmla="*/ 2 h 1116"/>
                <a:gd name="T72" fmla="*/ 60 w 860"/>
                <a:gd name="T73" fmla="*/ 0 h 1116"/>
                <a:gd name="T74" fmla="*/ 57 w 860"/>
                <a:gd name="T75" fmla="*/ 2 h 1116"/>
                <a:gd name="T76" fmla="*/ 33 w 860"/>
                <a:gd name="T77" fmla="*/ 9 h 1116"/>
                <a:gd name="T78" fmla="*/ 31 w 860"/>
                <a:gd name="T79" fmla="*/ 13 h 1116"/>
                <a:gd name="T80" fmla="*/ 25 w 860"/>
                <a:gd name="T81" fmla="*/ 23 h 1116"/>
                <a:gd name="T82" fmla="*/ 19 w 860"/>
                <a:gd name="T83" fmla="*/ 25 h 1116"/>
                <a:gd name="T84" fmla="*/ 17 w 860"/>
                <a:gd name="T85" fmla="*/ 31 h 1116"/>
                <a:gd name="T86" fmla="*/ 19 w 860"/>
                <a:gd name="T87" fmla="*/ 46 h 1116"/>
                <a:gd name="T88" fmla="*/ 15 w 860"/>
                <a:gd name="T89" fmla="*/ 48 h 1116"/>
                <a:gd name="T90" fmla="*/ 17 w 860"/>
                <a:gd name="T91" fmla="*/ 55 h 11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0"/>
                <a:gd name="T139" fmla="*/ 0 h 1116"/>
                <a:gd name="T140" fmla="*/ 860 w 860"/>
                <a:gd name="T141" fmla="*/ 1116 h 11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0" h="1116">
                  <a:moveTo>
                    <a:pt x="157" y="570"/>
                  </a:moveTo>
                  <a:lnTo>
                    <a:pt x="0" y="687"/>
                  </a:lnTo>
                  <a:lnTo>
                    <a:pt x="105" y="744"/>
                  </a:lnTo>
                  <a:lnTo>
                    <a:pt x="99" y="785"/>
                  </a:lnTo>
                  <a:lnTo>
                    <a:pt x="244" y="797"/>
                  </a:lnTo>
                  <a:lnTo>
                    <a:pt x="285" y="802"/>
                  </a:lnTo>
                  <a:lnTo>
                    <a:pt x="354" y="936"/>
                  </a:lnTo>
                  <a:lnTo>
                    <a:pt x="482" y="954"/>
                  </a:lnTo>
                  <a:lnTo>
                    <a:pt x="569" y="994"/>
                  </a:lnTo>
                  <a:lnTo>
                    <a:pt x="558" y="1111"/>
                  </a:lnTo>
                  <a:lnTo>
                    <a:pt x="581" y="1116"/>
                  </a:lnTo>
                  <a:lnTo>
                    <a:pt x="674" y="919"/>
                  </a:lnTo>
                  <a:lnTo>
                    <a:pt x="633" y="872"/>
                  </a:lnTo>
                  <a:lnTo>
                    <a:pt x="639" y="832"/>
                  </a:lnTo>
                  <a:lnTo>
                    <a:pt x="698" y="785"/>
                  </a:lnTo>
                  <a:lnTo>
                    <a:pt x="656" y="767"/>
                  </a:lnTo>
                  <a:lnTo>
                    <a:pt x="663" y="739"/>
                  </a:lnTo>
                  <a:lnTo>
                    <a:pt x="698" y="744"/>
                  </a:lnTo>
                  <a:lnTo>
                    <a:pt x="743" y="779"/>
                  </a:lnTo>
                  <a:lnTo>
                    <a:pt x="796" y="779"/>
                  </a:lnTo>
                  <a:lnTo>
                    <a:pt x="825" y="832"/>
                  </a:lnTo>
                  <a:lnTo>
                    <a:pt x="860" y="837"/>
                  </a:lnTo>
                  <a:lnTo>
                    <a:pt x="848" y="797"/>
                  </a:lnTo>
                  <a:lnTo>
                    <a:pt x="855" y="756"/>
                  </a:lnTo>
                  <a:lnTo>
                    <a:pt x="808" y="669"/>
                  </a:lnTo>
                  <a:lnTo>
                    <a:pt x="831" y="605"/>
                  </a:lnTo>
                  <a:lnTo>
                    <a:pt x="813" y="576"/>
                  </a:lnTo>
                  <a:lnTo>
                    <a:pt x="843" y="478"/>
                  </a:lnTo>
                  <a:lnTo>
                    <a:pt x="721" y="471"/>
                  </a:lnTo>
                  <a:lnTo>
                    <a:pt x="541" y="361"/>
                  </a:lnTo>
                  <a:lnTo>
                    <a:pt x="499" y="274"/>
                  </a:lnTo>
                  <a:lnTo>
                    <a:pt x="453" y="279"/>
                  </a:lnTo>
                  <a:lnTo>
                    <a:pt x="511" y="192"/>
                  </a:lnTo>
                  <a:lnTo>
                    <a:pt x="494" y="122"/>
                  </a:lnTo>
                  <a:lnTo>
                    <a:pt x="541" y="105"/>
                  </a:lnTo>
                  <a:lnTo>
                    <a:pt x="593" y="18"/>
                  </a:lnTo>
                  <a:lnTo>
                    <a:pt x="552" y="0"/>
                  </a:lnTo>
                  <a:lnTo>
                    <a:pt x="523" y="24"/>
                  </a:lnTo>
                  <a:lnTo>
                    <a:pt x="302" y="94"/>
                  </a:lnTo>
                  <a:lnTo>
                    <a:pt x="290" y="134"/>
                  </a:lnTo>
                  <a:lnTo>
                    <a:pt x="232" y="244"/>
                  </a:lnTo>
                  <a:lnTo>
                    <a:pt x="180" y="262"/>
                  </a:lnTo>
                  <a:lnTo>
                    <a:pt x="157" y="326"/>
                  </a:lnTo>
                  <a:lnTo>
                    <a:pt x="174" y="478"/>
                  </a:lnTo>
                  <a:lnTo>
                    <a:pt x="140" y="500"/>
                  </a:lnTo>
                  <a:lnTo>
                    <a:pt x="157" y="57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1" name="Freeform 748"/>
            <p:cNvSpPr/>
            <p:nvPr/>
          </p:nvSpPr>
          <p:spPr bwMode="auto">
            <a:xfrm>
              <a:off x="7313613" y="3717925"/>
              <a:ext cx="163512" cy="163513"/>
            </a:xfrm>
            <a:custGeom>
              <a:avLst/>
              <a:gdLst>
                <a:gd name="T0" fmla="*/ 13 w 361"/>
                <a:gd name="T1" fmla="*/ 0 h 412"/>
                <a:gd name="T2" fmla="*/ 6 w 361"/>
                <a:gd name="T3" fmla="*/ 4 h 412"/>
                <a:gd name="T4" fmla="*/ 0 w 361"/>
                <a:gd name="T5" fmla="*/ 19 h 412"/>
                <a:gd name="T6" fmla="*/ 0 w 361"/>
                <a:gd name="T7" fmla="*/ 25 h 412"/>
                <a:gd name="T8" fmla="*/ 3 w 361"/>
                <a:gd name="T9" fmla="*/ 26 h 412"/>
                <a:gd name="T10" fmla="*/ 7 w 361"/>
                <a:gd name="T11" fmla="*/ 21 h 412"/>
                <a:gd name="T12" fmla="*/ 8 w 361"/>
                <a:gd name="T13" fmla="*/ 22 h 412"/>
                <a:gd name="T14" fmla="*/ 5 w 361"/>
                <a:gd name="T15" fmla="*/ 32 h 412"/>
                <a:gd name="T16" fmla="*/ 11 w 361"/>
                <a:gd name="T17" fmla="*/ 39 h 412"/>
                <a:gd name="T18" fmla="*/ 23 w 361"/>
                <a:gd name="T19" fmla="*/ 31 h 412"/>
                <a:gd name="T20" fmla="*/ 25 w 361"/>
                <a:gd name="T21" fmla="*/ 26 h 412"/>
                <a:gd name="T22" fmla="*/ 33 w 361"/>
                <a:gd name="T23" fmla="*/ 24 h 412"/>
                <a:gd name="T24" fmla="*/ 39 w 361"/>
                <a:gd name="T25" fmla="*/ 10 h 412"/>
                <a:gd name="T26" fmla="*/ 23 w 361"/>
                <a:gd name="T27" fmla="*/ 9 h 412"/>
                <a:gd name="T28" fmla="*/ 24 w 361"/>
                <a:gd name="T29" fmla="*/ 5 h 412"/>
                <a:gd name="T30" fmla="*/ 13 w 361"/>
                <a:gd name="T31" fmla="*/ 0 h 4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61"/>
                <a:gd name="T49" fmla="*/ 0 h 412"/>
                <a:gd name="T50" fmla="*/ 361 w 361"/>
                <a:gd name="T51" fmla="*/ 412 h 4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61" h="412">
                  <a:moveTo>
                    <a:pt x="123" y="0"/>
                  </a:moveTo>
                  <a:lnTo>
                    <a:pt x="59" y="45"/>
                  </a:lnTo>
                  <a:lnTo>
                    <a:pt x="0" y="197"/>
                  </a:lnTo>
                  <a:lnTo>
                    <a:pt x="0" y="267"/>
                  </a:lnTo>
                  <a:lnTo>
                    <a:pt x="24" y="272"/>
                  </a:lnTo>
                  <a:lnTo>
                    <a:pt x="65" y="220"/>
                  </a:lnTo>
                  <a:lnTo>
                    <a:pt x="70" y="237"/>
                  </a:lnTo>
                  <a:lnTo>
                    <a:pt x="42" y="336"/>
                  </a:lnTo>
                  <a:lnTo>
                    <a:pt x="100" y="412"/>
                  </a:lnTo>
                  <a:lnTo>
                    <a:pt x="216" y="324"/>
                  </a:lnTo>
                  <a:lnTo>
                    <a:pt x="227" y="272"/>
                  </a:lnTo>
                  <a:lnTo>
                    <a:pt x="309" y="249"/>
                  </a:lnTo>
                  <a:lnTo>
                    <a:pt x="361" y="110"/>
                  </a:lnTo>
                  <a:lnTo>
                    <a:pt x="216" y="98"/>
                  </a:lnTo>
                  <a:lnTo>
                    <a:pt x="222" y="57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2" name="Freeform 749"/>
            <p:cNvSpPr/>
            <p:nvPr/>
          </p:nvSpPr>
          <p:spPr bwMode="auto">
            <a:xfrm>
              <a:off x="7578725" y="3457575"/>
              <a:ext cx="439738" cy="327025"/>
            </a:xfrm>
            <a:custGeom>
              <a:avLst/>
              <a:gdLst>
                <a:gd name="T0" fmla="*/ 8 w 977"/>
                <a:gd name="T1" fmla="*/ 5 h 808"/>
                <a:gd name="T2" fmla="*/ 10 w 977"/>
                <a:gd name="T3" fmla="*/ 13 h 808"/>
                <a:gd name="T4" fmla="*/ 15 w 977"/>
                <a:gd name="T5" fmla="*/ 17 h 808"/>
                <a:gd name="T6" fmla="*/ 16 w 977"/>
                <a:gd name="T7" fmla="*/ 14 h 808"/>
                <a:gd name="T8" fmla="*/ 14 w 977"/>
                <a:gd name="T9" fmla="*/ 8 h 808"/>
                <a:gd name="T10" fmla="*/ 19 w 977"/>
                <a:gd name="T11" fmla="*/ 6 h 808"/>
                <a:gd name="T12" fmla="*/ 21 w 977"/>
                <a:gd name="T13" fmla="*/ 0 h 808"/>
                <a:gd name="T14" fmla="*/ 34 w 977"/>
                <a:gd name="T15" fmla="*/ 5 h 808"/>
                <a:gd name="T16" fmla="*/ 38 w 977"/>
                <a:gd name="T17" fmla="*/ 11 h 808"/>
                <a:gd name="T18" fmla="*/ 81 w 977"/>
                <a:gd name="T19" fmla="*/ 14 h 808"/>
                <a:gd name="T20" fmla="*/ 81 w 977"/>
                <a:gd name="T21" fmla="*/ 17 h 808"/>
                <a:gd name="T22" fmla="*/ 92 w 977"/>
                <a:gd name="T23" fmla="*/ 23 h 808"/>
                <a:gd name="T24" fmla="*/ 91 w 977"/>
                <a:gd name="T25" fmla="*/ 28 h 808"/>
                <a:gd name="T26" fmla="*/ 105 w 977"/>
                <a:gd name="T27" fmla="*/ 36 h 808"/>
                <a:gd name="T28" fmla="*/ 94 w 977"/>
                <a:gd name="T29" fmla="*/ 38 h 808"/>
                <a:gd name="T30" fmla="*/ 97 w 977"/>
                <a:gd name="T31" fmla="*/ 43 h 808"/>
                <a:gd name="T32" fmla="*/ 94 w 977"/>
                <a:gd name="T33" fmla="*/ 45 h 808"/>
                <a:gd name="T34" fmla="*/ 91 w 977"/>
                <a:gd name="T35" fmla="*/ 45 h 808"/>
                <a:gd name="T36" fmla="*/ 92 w 977"/>
                <a:gd name="T37" fmla="*/ 54 h 808"/>
                <a:gd name="T38" fmla="*/ 88 w 977"/>
                <a:gd name="T39" fmla="*/ 62 h 808"/>
                <a:gd name="T40" fmla="*/ 78 w 977"/>
                <a:gd name="T41" fmla="*/ 61 h 808"/>
                <a:gd name="T42" fmla="*/ 75 w 977"/>
                <a:gd name="T43" fmla="*/ 62 h 808"/>
                <a:gd name="T44" fmla="*/ 61 w 977"/>
                <a:gd name="T45" fmla="*/ 55 h 808"/>
                <a:gd name="T46" fmla="*/ 59 w 977"/>
                <a:gd name="T47" fmla="*/ 57 h 808"/>
                <a:gd name="T48" fmla="*/ 68 w 977"/>
                <a:gd name="T49" fmla="*/ 69 h 808"/>
                <a:gd name="T50" fmla="*/ 55 w 977"/>
                <a:gd name="T51" fmla="*/ 78 h 808"/>
                <a:gd name="T52" fmla="*/ 43 w 977"/>
                <a:gd name="T53" fmla="*/ 76 h 808"/>
                <a:gd name="T54" fmla="*/ 42 w 977"/>
                <a:gd name="T55" fmla="*/ 72 h 808"/>
                <a:gd name="T56" fmla="*/ 43 w 977"/>
                <a:gd name="T57" fmla="*/ 68 h 808"/>
                <a:gd name="T58" fmla="*/ 38 w 977"/>
                <a:gd name="T59" fmla="*/ 60 h 808"/>
                <a:gd name="T60" fmla="*/ 40 w 977"/>
                <a:gd name="T61" fmla="*/ 53 h 808"/>
                <a:gd name="T62" fmla="*/ 38 w 977"/>
                <a:gd name="T63" fmla="*/ 50 h 808"/>
                <a:gd name="T64" fmla="*/ 41 w 977"/>
                <a:gd name="T65" fmla="*/ 41 h 808"/>
                <a:gd name="T66" fmla="*/ 27 w 977"/>
                <a:gd name="T67" fmla="*/ 40 h 808"/>
                <a:gd name="T68" fmla="*/ 8 w 977"/>
                <a:gd name="T69" fmla="*/ 30 h 808"/>
                <a:gd name="T70" fmla="*/ 4 w 977"/>
                <a:gd name="T71" fmla="*/ 21 h 808"/>
                <a:gd name="T72" fmla="*/ 0 w 977"/>
                <a:gd name="T73" fmla="*/ 22 h 808"/>
                <a:gd name="T74" fmla="*/ 6 w 977"/>
                <a:gd name="T75" fmla="*/ 13 h 808"/>
                <a:gd name="T76" fmla="*/ 4 w 977"/>
                <a:gd name="T77" fmla="*/ 7 h 808"/>
                <a:gd name="T78" fmla="*/ 8 w 977"/>
                <a:gd name="T79" fmla="*/ 5 h 80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77"/>
                <a:gd name="T121" fmla="*/ 0 h 808"/>
                <a:gd name="T122" fmla="*/ 977 w 977"/>
                <a:gd name="T123" fmla="*/ 808 h 80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77" h="808">
                  <a:moveTo>
                    <a:pt x="75" y="52"/>
                  </a:moveTo>
                  <a:lnTo>
                    <a:pt x="93" y="134"/>
                  </a:lnTo>
                  <a:lnTo>
                    <a:pt x="139" y="180"/>
                  </a:lnTo>
                  <a:lnTo>
                    <a:pt x="145" y="146"/>
                  </a:lnTo>
                  <a:lnTo>
                    <a:pt x="127" y="87"/>
                  </a:lnTo>
                  <a:lnTo>
                    <a:pt x="174" y="64"/>
                  </a:lnTo>
                  <a:lnTo>
                    <a:pt x="197" y="0"/>
                  </a:lnTo>
                  <a:lnTo>
                    <a:pt x="319" y="52"/>
                  </a:lnTo>
                  <a:lnTo>
                    <a:pt x="354" y="111"/>
                  </a:lnTo>
                  <a:lnTo>
                    <a:pt x="750" y="146"/>
                  </a:lnTo>
                  <a:lnTo>
                    <a:pt x="750" y="174"/>
                  </a:lnTo>
                  <a:lnTo>
                    <a:pt x="855" y="238"/>
                  </a:lnTo>
                  <a:lnTo>
                    <a:pt x="849" y="290"/>
                  </a:lnTo>
                  <a:lnTo>
                    <a:pt x="977" y="372"/>
                  </a:lnTo>
                  <a:lnTo>
                    <a:pt x="872" y="395"/>
                  </a:lnTo>
                  <a:lnTo>
                    <a:pt x="901" y="442"/>
                  </a:lnTo>
                  <a:lnTo>
                    <a:pt x="872" y="470"/>
                  </a:lnTo>
                  <a:lnTo>
                    <a:pt x="849" y="470"/>
                  </a:lnTo>
                  <a:lnTo>
                    <a:pt x="855" y="564"/>
                  </a:lnTo>
                  <a:lnTo>
                    <a:pt x="820" y="639"/>
                  </a:lnTo>
                  <a:lnTo>
                    <a:pt x="727" y="627"/>
                  </a:lnTo>
                  <a:lnTo>
                    <a:pt x="698" y="645"/>
                  </a:lnTo>
                  <a:lnTo>
                    <a:pt x="570" y="569"/>
                  </a:lnTo>
                  <a:lnTo>
                    <a:pt x="546" y="592"/>
                  </a:lnTo>
                  <a:lnTo>
                    <a:pt x="633" y="714"/>
                  </a:lnTo>
                  <a:lnTo>
                    <a:pt x="511" y="808"/>
                  </a:lnTo>
                  <a:lnTo>
                    <a:pt x="401" y="784"/>
                  </a:lnTo>
                  <a:lnTo>
                    <a:pt x="389" y="744"/>
                  </a:lnTo>
                  <a:lnTo>
                    <a:pt x="396" y="703"/>
                  </a:lnTo>
                  <a:lnTo>
                    <a:pt x="354" y="622"/>
                  </a:lnTo>
                  <a:lnTo>
                    <a:pt x="372" y="552"/>
                  </a:lnTo>
                  <a:lnTo>
                    <a:pt x="354" y="523"/>
                  </a:lnTo>
                  <a:lnTo>
                    <a:pt x="384" y="425"/>
                  </a:lnTo>
                  <a:lnTo>
                    <a:pt x="250" y="413"/>
                  </a:lnTo>
                  <a:lnTo>
                    <a:pt x="70" y="308"/>
                  </a:lnTo>
                  <a:lnTo>
                    <a:pt x="40" y="221"/>
                  </a:lnTo>
                  <a:lnTo>
                    <a:pt x="0" y="226"/>
                  </a:lnTo>
                  <a:lnTo>
                    <a:pt x="52" y="139"/>
                  </a:lnTo>
                  <a:lnTo>
                    <a:pt x="35" y="69"/>
                  </a:lnTo>
                  <a:lnTo>
                    <a:pt x="75" y="5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3" name="Freeform 750"/>
            <p:cNvSpPr/>
            <p:nvPr/>
          </p:nvSpPr>
          <p:spPr bwMode="auto">
            <a:xfrm>
              <a:off x="7292975" y="3759200"/>
              <a:ext cx="377825" cy="520700"/>
            </a:xfrm>
            <a:custGeom>
              <a:avLst/>
              <a:gdLst>
                <a:gd name="T0" fmla="*/ 9 w 825"/>
                <a:gd name="T1" fmla="*/ 22 h 1283"/>
                <a:gd name="T2" fmla="*/ 0 w 825"/>
                <a:gd name="T3" fmla="*/ 28 h 1283"/>
                <a:gd name="T4" fmla="*/ 1 w 825"/>
                <a:gd name="T5" fmla="*/ 39 h 1283"/>
                <a:gd name="T6" fmla="*/ 10 w 825"/>
                <a:gd name="T7" fmla="*/ 45 h 1283"/>
                <a:gd name="T8" fmla="*/ 11 w 825"/>
                <a:gd name="T9" fmla="*/ 53 h 1283"/>
                <a:gd name="T10" fmla="*/ 17 w 825"/>
                <a:gd name="T11" fmla="*/ 56 h 1283"/>
                <a:gd name="T12" fmla="*/ 18 w 825"/>
                <a:gd name="T13" fmla="*/ 70 h 1283"/>
                <a:gd name="T14" fmla="*/ 31 w 825"/>
                <a:gd name="T15" fmla="*/ 83 h 1283"/>
                <a:gd name="T16" fmla="*/ 31 w 825"/>
                <a:gd name="T17" fmla="*/ 92 h 1283"/>
                <a:gd name="T18" fmla="*/ 45 w 825"/>
                <a:gd name="T19" fmla="*/ 108 h 1283"/>
                <a:gd name="T20" fmla="*/ 66 w 825"/>
                <a:gd name="T21" fmla="*/ 114 h 1283"/>
                <a:gd name="T22" fmla="*/ 71 w 825"/>
                <a:gd name="T23" fmla="*/ 124 h 1283"/>
                <a:gd name="T24" fmla="*/ 84 w 825"/>
                <a:gd name="T25" fmla="*/ 113 h 1283"/>
                <a:gd name="T26" fmla="*/ 84 w 825"/>
                <a:gd name="T27" fmla="*/ 105 h 1283"/>
                <a:gd name="T28" fmla="*/ 90 w 825"/>
                <a:gd name="T29" fmla="*/ 94 h 1283"/>
                <a:gd name="T30" fmla="*/ 82 w 825"/>
                <a:gd name="T31" fmla="*/ 79 h 1283"/>
                <a:gd name="T32" fmla="*/ 76 w 825"/>
                <a:gd name="T33" fmla="*/ 75 h 1283"/>
                <a:gd name="T34" fmla="*/ 77 w 825"/>
                <a:gd name="T35" fmla="*/ 69 h 1283"/>
                <a:gd name="T36" fmla="*/ 73 w 825"/>
                <a:gd name="T37" fmla="*/ 66 h 1283"/>
                <a:gd name="T38" fmla="*/ 65 w 825"/>
                <a:gd name="T39" fmla="*/ 69 h 1283"/>
                <a:gd name="T40" fmla="*/ 60 w 825"/>
                <a:gd name="T41" fmla="*/ 63 h 1283"/>
                <a:gd name="T42" fmla="*/ 54 w 825"/>
                <a:gd name="T43" fmla="*/ 67 h 1283"/>
                <a:gd name="T44" fmla="*/ 51 w 825"/>
                <a:gd name="T45" fmla="*/ 57 h 1283"/>
                <a:gd name="T46" fmla="*/ 58 w 825"/>
                <a:gd name="T47" fmla="*/ 47 h 1283"/>
                <a:gd name="T48" fmla="*/ 58 w 825"/>
                <a:gd name="T49" fmla="*/ 42 h 1283"/>
                <a:gd name="T50" fmla="*/ 81 w 825"/>
                <a:gd name="T51" fmla="*/ 31 h 1283"/>
                <a:gd name="T52" fmla="*/ 79 w 825"/>
                <a:gd name="T53" fmla="*/ 30 h 1283"/>
                <a:gd name="T54" fmla="*/ 80 w 825"/>
                <a:gd name="T55" fmla="*/ 19 h 1283"/>
                <a:gd name="T56" fmla="*/ 71 w 825"/>
                <a:gd name="T57" fmla="*/ 15 h 1283"/>
                <a:gd name="T58" fmla="*/ 56 w 825"/>
                <a:gd name="T59" fmla="*/ 13 h 1283"/>
                <a:gd name="T60" fmla="*/ 49 w 825"/>
                <a:gd name="T61" fmla="*/ 0 h 1283"/>
                <a:gd name="T62" fmla="*/ 44 w 825"/>
                <a:gd name="T63" fmla="*/ 0 h 1283"/>
                <a:gd name="T64" fmla="*/ 39 w 825"/>
                <a:gd name="T65" fmla="*/ 13 h 1283"/>
                <a:gd name="T66" fmla="*/ 30 w 825"/>
                <a:gd name="T67" fmla="*/ 16 h 1283"/>
                <a:gd name="T68" fmla="*/ 28 w 825"/>
                <a:gd name="T69" fmla="*/ 22 h 1283"/>
                <a:gd name="T70" fmla="*/ 15 w 825"/>
                <a:gd name="T71" fmla="*/ 30 h 1283"/>
                <a:gd name="T72" fmla="*/ 9 w 825"/>
                <a:gd name="T73" fmla="*/ 22 h 128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25"/>
                <a:gd name="T112" fmla="*/ 0 h 1283"/>
                <a:gd name="T113" fmla="*/ 825 w 825"/>
                <a:gd name="T114" fmla="*/ 1283 h 128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25" h="1283">
                  <a:moveTo>
                    <a:pt x="87" y="226"/>
                  </a:moveTo>
                  <a:lnTo>
                    <a:pt x="0" y="291"/>
                  </a:lnTo>
                  <a:lnTo>
                    <a:pt x="5" y="406"/>
                  </a:lnTo>
                  <a:lnTo>
                    <a:pt x="92" y="470"/>
                  </a:lnTo>
                  <a:lnTo>
                    <a:pt x="104" y="551"/>
                  </a:lnTo>
                  <a:lnTo>
                    <a:pt x="157" y="575"/>
                  </a:lnTo>
                  <a:lnTo>
                    <a:pt x="168" y="725"/>
                  </a:lnTo>
                  <a:lnTo>
                    <a:pt x="284" y="854"/>
                  </a:lnTo>
                  <a:lnTo>
                    <a:pt x="284" y="952"/>
                  </a:lnTo>
                  <a:lnTo>
                    <a:pt x="417" y="1115"/>
                  </a:lnTo>
                  <a:lnTo>
                    <a:pt x="604" y="1179"/>
                  </a:lnTo>
                  <a:lnTo>
                    <a:pt x="650" y="1283"/>
                  </a:lnTo>
                  <a:lnTo>
                    <a:pt x="766" y="1168"/>
                  </a:lnTo>
                  <a:lnTo>
                    <a:pt x="772" y="1086"/>
                  </a:lnTo>
                  <a:lnTo>
                    <a:pt x="825" y="976"/>
                  </a:lnTo>
                  <a:lnTo>
                    <a:pt x="755" y="819"/>
                  </a:lnTo>
                  <a:lnTo>
                    <a:pt x="696" y="778"/>
                  </a:lnTo>
                  <a:lnTo>
                    <a:pt x="708" y="714"/>
                  </a:lnTo>
                  <a:lnTo>
                    <a:pt x="673" y="680"/>
                  </a:lnTo>
                  <a:lnTo>
                    <a:pt x="598" y="714"/>
                  </a:lnTo>
                  <a:lnTo>
                    <a:pt x="551" y="650"/>
                  </a:lnTo>
                  <a:lnTo>
                    <a:pt x="493" y="697"/>
                  </a:lnTo>
                  <a:lnTo>
                    <a:pt x="469" y="586"/>
                  </a:lnTo>
                  <a:lnTo>
                    <a:pt x="528" y="488"/>
                  </a:lnTo>
                  <a:lnTo>
                    <a:pt x="534" y="436"/>
                  </a:lnTo>
                  <a:lnTo>
                    <a:pt x="743" y="319"/>
                  </a:lnTo>
                  <a:lnTo>
                    <a:pt x="720" y="314"/>
                  </a:lnTo>
                  <a:lnTo>
                    <a:pt x="731" y="197"/>
                  </a:lnTo>
                  <a:lnTo>
                    <a:pt x="650" y="157"/>
                  </a:lnTo>
                  <a:lnTo>
                    <a:pt x="516" y="139"/>
                  </a:lnTo>
                  <a:lnTo>
                    <a:pt x="447" y="5"/>
                  </a:lnTo>
                  <a:lnTo>
                    <a:pt x="406" y="0"/>
                  </a:lnTo>
                  <a:lnTo>
                    <a:pt x="354" y="139"/>
                  </a:lnTo>
                  <a:lnTo>
                    <a:pt x="272" y="162"/>
                  </a:lnTo>
                  <a:lnTo>
                    <a:pt x="261" y="226"/>
                  </a:lnTo>
                  <a:lnTo>
                    <a:pt x="139" y="308"/>
                  </a:lnTo>
                  <a:lnTo>
                    <a:pt x="87" y="22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4" name="Freeform 751"/>
            <p:cNvSpPr/>
            <p:nvPr/>
          </p:nvSpPr>
          <p:spPr bwMode="auto">
            <a:xfrm>
              <a:off x="7472363" y="4256088"/>
              <a:ext cx="219075" cy="965200"/>
            </a:xfrm>
            <a:custGeom>
              <a:avLst/>
              <a:gdLst>
                <a:gd name="T0" fmla="*/ 31 w 471"/>
                <a:gd name="T1" fmla="*/ 13 h 2399"/>
                <a:gd name="T2" fmla="*/ 30 w 471"/>
                <a:gd name="T3" fmla="*/ 56 h 2399"/>
                <a:gd name="T4" fmla="*/ 18 w 471"/>
                <a:gd name="T5" fmla="*/ 80 h 2399"/>
                <a:gd name="T6" fmla="*/ 14 w 471"/>
                <a:gd name="T7" fmla="*/ 116 h 2399"/>
                <a:gd name="T8" fmla="*/ 10 w 471"/>
                <a:gd name="T9" fmla="*/ 136 h 2399"/>
                <a:gd name="T10" fmla="*/ 14 w 471"/>
                <a:gd name="T11" fmla="*/ 156 h 2399"/>
                <a:gd name="T12" fmla="*/ 10 w 471"/>
                <a:gd name="T13" fmla="*/ 165 h 2399"/>
                <a:gd name="T14" fmla="*/ 11 w 471"/>
                <a:gd name="T15" fmla="*/ 179 h 2399"/>
                <a:gd name="T16" fmla="*/ 0 w 471"/>
                <a:gd name="T17" fmla="*/ 185 h 2399"/>
                <a:gd name="T18" fmla="*/ 5 w 471"/>
                <a:gd name="T19" fmla="*/ 192 h 2399"/>
                <a:gd name="T20" fmla="*/ 7 w 471"/>
                <a:gd name="T21" fmla="*/ 198 h 2399"/>
                <a:gd name="T22" fmla="*/ 8 w 471"/>
                <a:gd name="T23" fmla="*/ 217 h 2399"/>
                <a:gd name="T24" fmla="*/ 11 w 471"/>
                <a:gd name="T25" fmla="*/ 226 h 2399"/>
                <a:gd name="T26" fmla="*/ 17 w 471"/>
                <a:gd name="T27" fmla="*/ 225 h 2399"/>
                <a:gd name="T28" fmla="*/ 19 w 471"/>
                <a:gd name="T29" fmla="*/ 224 h 2399"/>
                <a:gd name="T30" fmla="*/ 21 w 471"/>
                <a:gd name="T31" fmla="*/ 230 h 2399"/>
                <a:gd name="T32" fmla="*/ 31 w 471"/>
                <a:gd name="T33" fmla="*/ 223 h 2399"/>
                <a:gd name="T34" fmla="*/ 24 w 471"/>
                <a:gd name="T35" fmla="*/ 224 h 2399"/>
                <a:gd name="T36" fmla="*/ 17 w 471"/>
                <a:gd name="T37" fmla="*/ 218 h 2399"/>
                <a:gd name="T38" fmla="*/ 10 w 471"/>
                <a:gd name="T39" fmla="*/ 208 h 2399"/>
                <a:gd name="T40" fmla="*/ 17 w 471"/>
                <a:gd name="T41" fmla="*/ 196 h 2399"/>
                <a:gd name="T42" fmla="*/ 13 w 471"/>
                <a:gd name="T43" fmla="*/ 192 h 2399"/>
                <a:gd name="T44" fmla="*/ 18 w 471"/>
                <a:gd name="T45" fmla="*/ 183 h 2399"/>
                <a:gd name="T46" fmla="*/ 23 w 471"/>
                <a:gd name="T47" fmla="*/ 176 h 2399"/>
                <a:gd name="T48" fmla="*/ 24 w 471"/>
                <a:gd name="T49" fmla="*/ 125 h 2399"/>
                <a:gd name="T50" fmla="*/ 35 w 471"/>
                <a:gd name="T51" fmla="*/ 119 h 2399"/>
                <a:gd name="T52" fmla="*/ 32 w 471"/>
                <a:gd name="T53" fmla="*/ 105 h 2399"/>
                <a:gd name="T54" fmla="*/ 42 w 471"/>
                <a:gd name="T55" fmla="*/ 60 h 2399"/>
                <a:gd name="T56" fmla="*/ 46 w 471"/>
                <a:gd name="T57" fmla="*/ 45 h 2399"/>
                <a:gd name="T58" fmla="*/ 52 w 471"/>
                <a:gd name="T59" fmla="*/ 44 h 2399"/>
                <a:gd name="T60" fmla="*/ 47 w 471"/>
                <a:gd name="T61" fmla="*/ 34 h 2399"/>
                <a:gd name="T62" fmla="*/ 35 w 471"/>
                <a:gd name="T63" fmla="*/ 0 h 23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71"/>
                <a:gd name="T97" fmla="*/ 0 h 2399"/>
                <a:gd name="T98" fmla="*/ 471 w 471"/>
                <a:gd name="T99" fmla="*/ 2399 h 23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71" h="2399">
                  <a:moveTo>
                    <a:pt x="250" y="63"/>
                  </a:moveTo>
                  <a:lnTo>
                    <a:pt x="285" y="133"/>
                  </a:lnTo>
                  <a:lnTo>
                    <a:pt x="233" y="558"/>
                  </a:lnTo>
                  <a:lnTo>
                    <a:pt x="268" y="586"/>
                  </a:lnTo>
                  <a:lnTo>
                    <a:pt x="204" y="650"/>
                  </a:lnTo>
                  <a:lnTo>
                    <a:pt x="163" y="830"/>
                  </a:lnTo>
                  <a:lnTo>
                    <a:pt x="204" y="929"/>
                  </a:lnTo>
                  <a:lnTo>
                    <a:pt x="128" y="1208"/>
                  </a:lnTo>
                  <a:lnTo>
                    <a:pt x="69" y="1324"/>
                  </a:lnTo>
                  <a:lnTo>
                    <a:pt x="93" y="1417"/>
                  </a:lnTo>
                  <a:lnTo>
                    <a:pt x="87" y="1550"/>
                  </a:lnTo>
                  <a:lnTo>
                    <a:pt x="128" y="1632"/>
                  </a:lnTo>
                  <a:lnTo>
                    <a:pt x="139" y="1679"/>
                  </a:lnTo>
                  <a:lnTo>
                    <a:pt x="93" y="1719"/>
                  </a:lnTo>
                  <a:lnTo>
                    <a:pt x="128" y="1812"/>
                  </a:lnTo>
                  <a:lnTo>
                    <a:pt x="104" y="1864"/>
                  </a:lnTo>
                  <a:lnTo>
                    <a:pt x="6" y="1899"/>
                  </a:lnTo>
                  <a:lnTo>
                    <a:pt x="0" y="1928"/>
                  </a:lnTo>
                  <a:lnTo>
                    <a:pt x="52" y="1946"/>
                  </a:lnTo>
                  <a:lnTo>
                    <a:pt x="41" y="1998"/>
                  </a:lnTo>
                  <a:lnTo>
                    <a:pt x="81" y="2021"/>
                  </a:lnTo>
                  <a:lnTo>
                    <a:pt x="59" y="2068"/>
                  </a:lnTo>
                  <a:lnTo>
                    <a:pt x="41" y="2172"/>
                  </a:lnTo>
                  <a:lnTo>
                    <a:pt x="69" y="2260"/>
                  </a:lnTo>
                  <a:lnTo>
                    <a:pt x="93" y="2282"/>
                  </a:lnTo>
                  <a:lnTo>
                    <a:pt x="104" y="2358"/>
                  </a:lnTo>
                  <a:lnTo>
                    <a:pt x="134" y="2364"/>
                  </a:lnTo>
                  <a:lnTo>
                    <a:pt x="151" y="2352"/>
                  </a:lnTo>
                  <a:lnTo>
                    <a:pt x="163" y="2329"/>
                  </a:lnTo>
                  <a:lnTo>
                    <a:pt x="174" y="2340"/>
                  </a:lnTo>
                  <a:lnTo>
                    <a:pt x="157" y="2382"/>
                  </a:lnTo>
                  <a:lnTo>
                    <a:pt x="192" y="2399"/>
                  </a:lnTo>
                  <a:lnTo>
                    <a:pt x="256" y="2364"/>
                  </a:lnTo>
                  <a:lnTo>
                    <a:pt x="279" y="2329"/>
                  </a:lnTo>
                  <a:lnTo>
                    <a:pt x="238" y="2317"/>
                  </a:lnTo>
                  <a:lnTo>
                    <a:pt x="221" y="2335"/>
                  </a:lnTo>
                  <a:lnTo>
                    <a:pt x="169" y="2312"/>
                  </a:lnTo>
                  <a:lnTo>
                    <a:pt x="157" y="2271"/>
                  </a:lnTo>
                  <a:lnTo>
                    <a:pt x="93" y="2248"/>
                  </a:lnTo>
                  <a:lnTo>
                    <a:pt x="93" y="2166"/>
                  </a:lnTo>
                  <a:lnTo>
                    <a:pt x="146" y="2114"/>
                  </a:lnTo>
                  <a:lnTo>
                    <a:pt x="157" y="2045"/>
                  </a:lnTo>
                  <a:lnTo>
                    <a:pt x="122" y="2010"/>
                  </a:lnTo>
                  <a:lnTo>
                    <a:pt x="122" y="1998"/>
                  </a:lnTo>
                  <a:lnTo>
                    <a:pt x="157" y="1963"/>
                  </a:lnTo>
                  <a:lnTo>
                    <a:pt x="163" y="1911"/>
                  </a:lnTo>
                  <a:lnTo>
                    <a:pt x="181" y="1888"/>
                  </a:lnTo>
                  <a:lnTo>
                    <a:pt x="204" y="1836"/>
                  </a:lnTo>
                  <a:lnTo>
                    <a:pt x="198" y="1801"/>
                  </a:lnTo>
                  <a:lnTo>
                    <a:pt x="221" y="1306"/>
                  </a:lnTo>
                  <a:lnTo>
                    <a:pt x="308" y="1278"/>
                  </a:lnTo>
                  <a:lnTo>
                    <a:pt x="314" y="1243"/>
                  </a:lnTo>
                  <a:lnTo>
                    <a:pt x="261" y="1214"/>
                  </a:lnTo>
                  <a:lnTo>
                    <a:pt x="291" y="1092"/>
                  </a:lnTo>
                  <a:lnTo>
                    <a:pt x="261" y="900"/>
                  </a:lnTo>
                  <a:lnTo>
                    <a:pt x="383" y="621"/>
                  </a:lnTo>
                  <a:lnTo>
                    <a:pt x="383" y="511"/>
                  </a:lnTo>
                  <a:lnTo>
                    <a:pt x="418" y="471"/>
                  </a:lnTo>
                  <a:lnTo>
                    <a:pt x="460" y="488"/>
                  </a:lnTo>
                  <a:lnTo>
                    <a:pt x="471" y="464"/>
                  </a:lnTo>
                  <a:lnTo>
                    <a:pt x="471" y="394"/>
                  </a:lnTo>
                  <a:lnTo>
                    <a:pt x="425" y="354"/>
                  </a:lnTo>
                  <a:lnTo>
                    <a:pt x="372" y="11"/>
                  </a:lnTo>
                  <a:lnTo>
                    <a:pt x="314" y="0"/>
                  </a:lnTo>
                  <a:lnTo>
                    <a:pt x="250" y="6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5" name="Freeform 752"/>
            <p:cNvSpPr/>
            <p:nvPr/>
          </p:nvSpPr>
          <p:spPr bwMode="auto">
            <a:xfrm>
              <a:off x="7472363" y="4986338"/>
              <a:ext cx="17462" cy="12700"/>
            </a:xfrm>
            <a:custGeom>
              <a:avLst/>
              <a:gdLst>
                <a:gd name="T0" fmla="*/ 1 w 29"/>
                <a:gd name="T1" fmla="*/ 0 h 29"/>
                <a:gd name="T2" fmla="*/ 0 w 29"/>
                <a:gd name="T3" fmla="*/ 1 h 29"/>
                <a:gd name="T4" fmla="*/ 1 w 29"/>
                <a:gd name="T5" fmla="*/ 3 h 29"/>
                <a:gd name="T6" fmla="*/ 4 w 29"/>
                <a:gd name="T7" fmla="*/ 2 h 29"/>
                <a:gd name="T8" fmla="*/ 2 w 29"/>
                <a:gd name="T9" fmla="*/ 1 h 29"/>
                <a:gd name="T10" fmla="*/ 1 w 29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29"/>
                <a:gd name="T20" fmla="*/ 29 w 29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29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29" y="18"/>
                  </a:lnTo>
                  <a:lnTo>
                    <a:pt x="17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6" name="Freeform 753"/>
            <p:cNvSpPr/>
            <p:nvPr/>
          </p:nvSpPr>
          <p:spPr bwMode="auto">
            <a:xfrm>
              <a:off x="7489825" y="4902200"/>
              <a:ext cx="17463" cy="41275"/>
            </a:xfrm>
            <a:custGeom>
              <a:avLst/>
              <a:gdLst>
                <a:gd name="T0" fmla="*/ 2 w 40"/>
                <a:gd name="T1" fmla="*/ 0 h 111"/>
                <a:gd name="T2" fmla="*/ 0 w 40"/>
                <a:gd name="T3" fmla="*/ 2 h 111"/>
                <a:gd name="T4" fmla="*/ 1 w 40"/>
                <a:gd name="T5" fmla="*/ 5 h 111"/>
                <a:gd name="T6" fmla="*/ 0 w 40"/>
                <a:gd name="T7" fmla="*/ 8 h 111"/>
                <a:gd name="T8" fmla="*/ 2 w 40"/>
                <a:gd name="T9" fmla="*/ 10 h 111"/>
                <a:gd name="T10" fmla="*/ 4 w 40"/>
                <a:gd name="T11" fmla="*/ 9 h 111"/>
                <a:gd name="T12" fmla="*/ 3 w 40"/>
                <a:gd name="T13" fmla="*/ 6 h 111"/>
                <a:gd name="T14" fmla="*/ 4 w 40"/>
                <a:gd name="T15" fmla="*/ 3 h 111"/>
                <a:gd name="T16" fmla="*/ 2 w 40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111"/>
                <a:gd name="T29" fmla="*/ 40 w 40"/>
                <a:gd name="T30" fmla="*/ 111 h 1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111">
                  <a:moveTo>
                    <a:pt x="23" y="0"/>
                  </a:moveTo>
                  <a:lnTo>
                    <a:pt x="0" y="24"/>
                  </a:lnTo>
                  <a:lnTo>
                    <a:pt x="6" y="52"/>
                  </a:lnTo>
                  <a:lnTo>
                    <a:pt x="0" y="93"/>
                  </a:lnTo>
                  <a:lnTo>
                    <a:pt x="23" y="111"/>
                  </a:lnTo>
                  <a:lnTo>
                    <a:pt x="40" y="99"/>
                  </a:lnTo>
                  <a:lnTo>
                    <a:pt x="30" y="69"/>
                  </a:lnTo>
                  <a:lnTo>
                    <a:pt x="40" y="29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7" name="Freeform 754"/>
            <p:cNvSpPr/>
            <p:nvPr/>
          </p:nvSpPr>
          <p:spPr bwMode="auto">
            <a:xfrm>
              <a:off x="7553325" y="5216525"/>
              <a:ext cx="84138" cy="84138"/>
            </a:xfrm>
            <a:custGeom>
              <a:avLst/>
              <a:gdLst>
                <a:gd name="T0" fmla="*/ 16 w 179"/>
                <a:gd name="T1" fmla="*/ 0 h 198"/>
                <a:gd name="T2" fmla="*/ 10 w 179"/>
                <a:gd name="T3" fmla="*/ 3 h 198"/>
                <a:gd name="T4" fmla="*/ 10 w 179"/>
                <a:gd name="T5" fmla="*/ 8 h 198"/>
                <a:gd name="T6" fmla="*/ 3 w 179"/>
                <a:gd name="T7" fmla="*/ 10 h 198"/>
                <a:gd name="T8" fmla="*/ 0 w 179"/>
                <a:gd name="T9" fmla="*/ 14 h 198"/>
                <a:gd name="T10" fmla="*/ 9 w 179"/>
                <a:gd name="T11" fmla="*/ 14 h 198"/>
                <a:gd name="T12" fmla="*/ 12 w 179"/>
                <a:gd name="T13" fmla="*/ 18 h 198"/>
                <a:gd name="T14" fmla="*/ 16 w 179"/>
                <a:gd name="T15" fmla="*/ 20 h 198"/>
                <a:gd name="T16" fmla="*/ 20 w 179"/>
                <a:gd name="T17" fmla="*/ 17 h 198"/>
                <a:gd name="T18" fmla="*/ 18 w 179"/>
                <a:gd name="T19" fmla="*/ 11 h 198"/>
                <a:gd name="T20" fmla="*/ 16 w 179"/>
                <a:gd name="T21" fmla="*/ 0 h 1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9"/>
                <a:gd name="T34" fmla="*/ 0 h 198"/>
                <a:gd name="T35" fmla="*/ 179 w 179"/>
                <a:gd name="T36" fmla="*/ 198 h 1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9" h="198">
                  <a:moveTo>
                    <a:pt x="139" y="0"/>
                  </a:moveTo>
                  <a:lnTo>
                    <a:pt x="87" y="29"/>
                  </a:lnTo>
                  <a:lnTo>
                    <a:pt x="92" y="81"/>
                  </a:lnTo>
                  <a:lnTo>
                    <a:pt x="23" y="99"/>
                  </a:lnTo>
                  <a:lnTo>
                    <a:pt x="0" y="134"/>
                  </a:lnTo>
                  <a:lnTo>
                    <a:pt x="81" y="134"/>
                  </a:lnTo>
                  <a:lnTo>
                    <a:pt x="104" y="180"/>
                  </a:lnTo>
                  <a:lnTo>
                    <a:pt x="139" y="198"/>
                  </a:lnTo>
                  <a:lnTo>
                    <a:pt x="179" y="168"/>
                  </a:lnTo>
                  <a:lnTo>
                    <a:pt x="157" y="104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8" name="Freeform 755"/>
            <p:cNvSpPr/>
            <p:nvPr/>
          </p:nvSpPr>
          <p:spPr bwMode="auto">
            <a:xfrm>
              <a:off x="7615238" y="5216525"/>
              <a:ext cx="76200" cy="79375"/>
            </a:xfrm>
            <a:custGeom>
              <a:avLst/>
              <a:gdLst>
                <a:gd name="T0" fmla="*/ 0 w 169"/>
                <a:gd name="T1" fmla="*/ 0 h 186"/>
                <a:gd name="T2" fmla="*/ 2 w 169"/>
                <a:gd name="T3" fmla="*/ 11 h 186"/>
                <a:gd name="T4" fmla="*/ 4 w 169"/>
                <a:gd name="T5" fmla="*/ 17 h 186"/>
                <a:gd name="T6" fmla="*/ 11 w 169"/>
                <a:gd name="T7" fmla="*/ 19 h 186"/>
                <a:gd name="T8" fmla="*/ 18 w 169"/>
                <a:gd name="T9" fmla="*/ 18 h 186"/>
                <a:gd name="T10" fmla="*/ 14 w 169"/>
                <a:gd name="T11" fmla="*/ 12 h 186"/>
                <a:gd name="T12" fmla="*/ 12 w 169"/>
                <a:gd name="T13" fmla="*/ 12 h 186"/>
                <a:gd name="T14" fmla="*/ 7 w 169"/>
                <a:gd name="T15" fmla="*/ 10 h 186"/>
                <a:gd name="T16" fmla="*/ 3 w 169"/>
                <a:gd name="T17" fmla="*/ 1 h 186"/>
                <a:gd name="T18" fmla="*/ 0 w 169"/>
                <a:gd name="T19" fmla="*/ 0 h 1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9"/>
                <a:gd name="T31" fmla="*/ 0 h 186"/>
                <a:gd name="T32" fmla="*/ 169 w 169"/>
                <a:gd name="T33" fmla="*/ 186 h 1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9" h="186">
                  <a:moveTo>
                    <a:pt x="0" y="0"/>
                  </a:moveTo>
                  <a:lnTo>
                    <a:pt x="18" y="104"/>
                  </a:lnTo>
                  <a:lnTo>
                    <a:pt x="40" y="168"/>
                  </a:lnTo>
                  <a:lnTo>
                    <a:pt x="99" y="186"/>
                  </a:lnTo>
                  <a:lnTo>
                    <a:pt x="169" y="174"/>
                  </a:lnTo>
                  <a:lnTo>
                    <a:pt x="134" y="122"/>
                  </a:lnTo>
                  <a:lnTo>
                    <a:pt x="110" y="122"/>
                  </a:lnTo>
                  <a:lnTo>
                    <a:pt x="70" y="99"/>
                  </a:lnTo>
                  <a:lnTo>
                    <a:pt x="30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9" name="Freeform 756"/>
            <p:cNvSpPr/>
            <p:nvPr/>
          </p:nvSpPr>
          <p:spPr bwMode="auto">
            <a:xfrm>
              <a:off x="7518400" y="4381500"/>
              <a:ext cx="550863" cy="819150"/>
            </a:xfrm>
            <a:custGeom>
              <a:avLst/>
              <a:gdLst>
                <a:gd name="T0" fmla="*/ 42 w 1209"/>
                <a:gd name="T1" fmla="*/ 13 h 2010"/>
                <a:gd name="T2" fmla="*/ 35 w 1209"/>
                <a:gd name="T3" fmla="*/ 14 h 2010"/>
                <a:gd name="T4" fmla="*/ 31 w 1209"/>
                <a:gd name="T5" fmla="*/ 28 h 2010"/>
                <a:gd name="T6" fmla="*/ 22 w 1209"/>
                <a:gd name="T7" fmla="*/ 74 h 2010"/>
                <a:gd name="T8" fmla="*/ 24 w 1209"/>
                <a:gd name="T9" fmla="*/ 89 h 2010"/>
                <a:gd name="T10" fmla="*/ 14 w 1209"/>
                <a:gd name="T11" fmla="*/ 95 h 2010"/>
                <a:gd name="T12" fmla="*/ 12 w 1209"/>
                <a:gd name="T13" fmla="*/ 147 h 2010"/>
                <a:gd name="T14" fmla="*/ 7 w 1209"/>
                <a:gd name="T15" fmla="*/ 155 h 2010"/>
                <a:gd name="T16" fmla="*/ 3 w 1209"/>
                <a:gd name="T17" fmla="*/ 162 h 2010"/>
                <a:gd name="T18" fmla="*/ 7 w 1209"/>
                <a:gd name="T19" fmla="*/ 167 h 2010"/>
                <a:gd name="T20" fmla="*/ 0 w 1209"/>
                <a:gd name="T21" fmla="*/ 179 h 2010"/>
                <a:gd name="T22" fmla="*/ 8 w 1209"/>
                <a:gd name="T23" fmla="*/ 190 h 2010"/>
                <a:gd name="T24" fmla="*/ 14 w 1209"/>
                <a:gd name="T25" fmla="*/ 195 h 2010"/>
                <a:gd name="T26" fmla="*/ 20 w 1209"/>
                <a:gd name="T27" fmla="*/ 194 h 2010"/>
                <a:gd name="T28" fmla="*/ 20 w 1209"/>
                <a:gd name="T29" fmla="*/ 188 h 2010"/>
                <a:gd name="T30" fmla="*/ 38 w 1209"/>
                <a:gd name="T31" fmla="*/ 172 h 2010"/>
                <a:gd name="T32" fmla="*/ 31 w 1209"/>
                <a:gd name="T33" fmla="*/ 162 h 2010"/>
                <a:gd name="T34" fmla="*/ 41 w 1209"/>
                <a:gd name="T35" fmla="*/ 152 h 2010"/>
                <a:gd name="T36" fmla="*/ 54 w 1209"/>
                <a:gd name="T37" fmla="*/ 137 h 2010"/>
                <a:gd name="T38" fmla="*/ 50 w 1209"/>
                <a:gd name="T39" fmla="*/ 134 h 2010"/>
                <a:gd name="T40" fmla="*/ 64 w 1209"/>
                <a:gd name="T41" fmla="*/ 126 h 2010"/>
                <a:gd name="T42" fmla="*/ 65 w 1209"/>
                <a:gd name="T43" fmla="*/ 117 h 2010"/>
                <a:gd name="T44" fmla="*/ 96 w 1209"/>
                <a:gd name="T45" fmla="*/ 109 h 2010"/>
                <a:gd name="T46" fmla="*/ 91 w 1209"/>
                <a:gd name="T47" fmla="*/ 84 h 2010"/>
                <a:gd name="T48" fmla="*/ 104 w 1209"/>
                <a:gd name="T49" fmla="*/ 56 h 2010"/>
                <a:gd name="T50" fmla="*/ 131 w 1209"/>
                <a:gd name="T51" fmla="*/ 34 h 2010"/>
                <a:gd name="T52" fmla="*/ 121 w 1209"/>
                <a:gd name="T53" fmla="*/ 39 h 2010"/>
                <a:gd name="T54" fmla="*/ 96 w 1209"/>
                <a:gd name="T55" fmla="*/ 43 h 2010"/>
                <a:gd name="T56" fmla="*/ 104 w 1209"/>
                <a:gd name="T57" fmla="*/ 30 h 2010"/>
                <a:gd name="T58" fmla="*/ 90 w 1209"/>
                <a:gd name="T59" fmla="*/ 21 h 2010"/>
                <a:gd name="T60" fmla="*/ 79 w 1209"/>
                <a:gd name="T61" fmla="*/ 15 h 2010"/>
                <a:gd name="T62" fmla="*/ 66 w 1209"/>
                <a:gd name="T63" fmla="*/ 3 h 2010"/>
                <a:gd name="T64" fmla="*/ 61 w 1209"/>
                <a:gd name="T65" fmla="*/ 7 h 2010"/>
                <a:gd name="T66" fmla="*/ 50 w 1209"/>
                <a:gd name="T67" fmla="*/ 0 h 2010"/>
                <a:gd name="T68" fmla="*/ 40 w 1209"/>
                <a:gd name="T69" fmla="*/ 7 h 201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209"/>
                <a:gd name="T106" fmla="*/ 0 h 2010"/>
                <a:gd name="T107" fmla="*/ 1209 w 1209"/>
                <a:gd name="T108" fmla="*/ 2010 h 201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209" h="2010">
                  <a:moveTo>
                    <a:pt x="372" y="69"/>
                  </a:moveTo>
                  <a:lnTo>
                    <a:pt x="384" y="134"/>
                  </a:lnTo>
                  <a:lnTo>
                    <a:pt x="367" y="163"/>
                  </a:lnTo>
                  <a:lnTo>
                    <a:pt x="325" y="146"/>
                  </a:lnTo>
                  <a:lnTo>
                    <a:pt x="290" y="186"/>
                  </a:lnTo>
                  <a:lnTo>
                    <a:pt x="290" y="285"/>
                  </a:lnTo>
                  <a:lnTo>
                    <a:pt x="168" y="575"/>
                  </a:lnTo>
                  <a:lnTo>
                    <a:pt x="203" y="767"/>
                  </a:lnTo>
                  <a:lnTo>
                    <a:pt x="168" y="889"/>
                  </a:lnTo>
                  <a:lnTo>
                    <a:pt x="221" y="918"/>
                  </a:lnTo>
                  <a:lnTo>
                    <a:pt x="215" y="953"/>
                  </a:lnTo>
                  <a:lnTo>
                    <a:pt x="128" y="981"/>
                  </a:lnTo>
                  <a:lnTo>
                    <a:pt x="105" y="1476"/>
                  </a:lnTo>
                  <a:lnTo>
                    <a:pt x="111" y="1511"/>
                  </a:lnTo>
                  <a:lnTo>
                    <a:pt x="93" y="1563"/>
                  </a:lnTo>
                  <a:lnTo>
                    <a:pt x="64" y="1598"/>
                  </a:lnTo>
                  <a:lnTo>
                    <a:pt x="64" y="1644"/>
                  </a:lnTo>
                  <a:lnTo>
                    <a:pt x="29" y="1668"/>
                  </a:lnTo>
                  <a:lnTo>
                    <a:pt x="29" y="1685"/>
                  </a:lnTo>
                  <a:lnTo>
                    <a:pt x="64" y="1720"/>
                  </a:lnTo>
                  <a:lnTo>
                    <a:pt x="58" y="1783"/>
                  </a:lnTo>
                  <a:lnTo>
                    <a:pt x="0" y="1841"/>
                  </a:lnTo>
                  <a:lnTo>
                    <a:pt x="6" y="1923"/>
                  </a:lnTo>
                  <a:lnTo>
                    <a:pt x="70" y="1957"/>
                  </a:lnTo>
                  <a:lnTo>
                    <a:pt x="76" y="1987"/>
                  </a:lnTo>
                  <a:lnTo>
                    <a:pt x="128" y="2010"/>
                  </a:lnTo>
                  <a:lnTo>
                    <a:pt x="140" y="1998"/>
                  </a:lnTo>
                  <a:lnTo>
                    <a:pt x="186" y="2004"/>
                  </a:lnTo>
                  <a:lnTo>
                    <a:pt x="198" y="1980"/>
                  </a:lnTo>
                  <a:lnTo>
                    <a:pt x="186" y="1940"/>
                  </a:lnTo>
                  <a:lnTo>
                    <a:pt x="198" y="1905"/>
                  </a:lnTo>
                  <a:lnTo>
                    <a:pt x="349" y="1778"/>
                  </a:lnTo>
                  <a:lnTo>
                    <a:pt x="337" y="1691"/>
                  </a:lnTo>
                  <a:lnTo>
                    <a:pt x="285" y="1673"/>
                  </a:lnTo>
                  <a:lnTo>
                    <a:pt x="302" y="1598"/>
                  </a:lnTo>
                  <a:lnTo>
                    <a:pt x="378" y="1569"/>
                  </a:lnTo>
                  <a:lnTo>
                    <a:pt x="419" y="1435"/>
                  </a:lnTo>
                  <a:lnTo>
                    <a:pt x="500" y="1417"/>
                  </a:lnTo>
                  <a:lnTo>
                    <a:pt x="494" y="1389"/>
                  </a:lnTo>
                  <a:lnTo>
                    <a:pt x="459" y="1377"/>
                  </a:lnTo>
                  <a:lnTo>
                    <a:pt x="482" y="1342"/>
                  </a:lnTo>
                  <a:lnTo>
                    <a:pt x="587" y="1302"/>
                  </a:lnTo>
                  <a:lnTo>
                    <a:pt x="611" y="1232"/>
                  </a:lnTo>
                  <a:lnTo>
                    <a:pt x="604" y="1208"/>
                  </a:lnTo>
                  <a:lnTo>
                    <a:pt x="791" y="1185"/>
                  </a:lnTo>
                  <a:lnTo>
                    <a:pt x="883" y="1127"/>
                  </a:lnTo>
                  <a:lnTo>
                    <a:pt x="907" y="999"/>
                  </a:lnTo>
                  <a:lnTo>
                    <a:pt x="843" y="866"/>
                  </a:lnTo>
                  <a:lnTo>
                    <a:pt x="860" y="709"/>
                  </a:lnTo>
                  <a:lnTo>
                    <a:pt x="960" y="575"/>
                  </a:lnTo>
                  <a:lnTo>
                    <a:pt x="1204" y="453"/>
                  </a:lnTo>
                  <a:lnTo>
                    <a:pt x="1209" y="348"/>
                  </a:lnTo>
                  <a:lnTo>
                    <a:pt x="1169" y="343"/>
                  </a:lnTo>
                  <a:lnTo>
                    <a:pt x="1117" y="401"/>
                  </a:lnTo>
                  <a:lnTo>
                    <a:pt x="1005" y="465"/>
                  </a:lnTo>
                  <a:lnTo>
                    <a:pt x="883" y="441"/>
                  </a:lnTo>
                  <a:lnTo>
                    <a:pt x="872" y="401"/>
                  </a:lnTo>
                  <a:lnTo>
                    <a:pt x="960" y="308"/>
                  </a:lnTo>
                  <a:lnTo>
                    <a:pt x="878" y="226"/>
                  </a:lnTo>
                  <a:lnTo>
                    <a:pt x="826" y="221"/>
                  </a:lnTo>
                  <a:lnTo>
                    <a:pt x="808" y="163"/>
                  </a:lnTo>
                  <a:lnTo>
                    <a:pt x="726" y="151"/>
                  </a:lnTo>
                  <a:lnTo>
                    <a:pt x="674" y="41"/>
                  </a:lnTo>
                  <a:lnTo>
                    <a:pt x="611" y="29"/>
                  </a:lnTo>
                  <a:lnTo>
                    <a:pt x="581" y="76"/>
                  </a:lnTo>
                  <a:lnTo>
                    <a:pt x="564" y="69"/>
                  </a:lnTo>
                  <a:lnTo>
                    <a:pt x="512" y="6"/>
                  </a:lnTo>
                  <a:lnTo>
                    <a:pt x="459" y="0"/>
                  </a:lnTo>
                  <a:lnTo>
                    <a:pt x="407" y="58"/>
                  </a:lnTo>
                  <a:lnTo>
                    <a:pt x="372" y="6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0" name="Freeform 757"/>
            <p:cNvSpPr/>
            <p:nvPr/>
          </p:nvSpPr>
          <p:spPr bwMode="auto">
            <a:xfrm>
              <a:off x="7900988" y="4616450"/>
              <a:ext cx="160337" cy="150813"/>
            </a:xfrm>
            <a:custGeom>
              <a:avLst/>
              <a:gdLst>
                <a:gd name="T0" fmla="*/ 13 w 343"/>
                <a:gd name="T1" fmla="*/ 0 h 371"/>
                <a:gd name="T2" fmla="*/ 18 w 343"/>
                <a:gd name="T3" fmla="*/ 3 h 371"/>
                <a:gd name="T4" fmla="*/ 19 w 343"/>
                <a:gd name="T5" fmla="*/ 9 h 371"/>
                <a:gd name="T6" fmla="*/ 24 w 343"/>
                <a:gd name="T7" fmla="*/ 10 h 371"/>
                <a:gd name="T8" fmla="*/ 32 w 343"/>
                <a:gd name="T9" fmla="*/ 16 h 371"/>
                <a:gd name="T10" fmla="*/ 31 w 343"/>
                <a:gd name="T11" fmla="*/ 20 h 371"/>
                <a:gd name="T12" fmla="*/ 38 w 343"/>
                <a:gd name="T13" fmla="*/ 27 h 371"/>
                <a:gd name="T14" fmla="*/ 27 w 343"/>
                <a:gd name="T15" fmla="*/ 36 h 371"/>
                <a:gd name="T16" fmla="*/ 10 w 343"/>
                <a:gd name="T17" fmla="*/ 33 h 371"/>
                <a:gd name="T18" fmla="*/ 0 w 343"/>
                <a:gd name="T19" fmla="*/ 28 h 371"/>
                <a:gd name="T20" fmla="*/ 2 w 343"/>
                <a:gd name="T21" fmla="*/ 13 h 371"/>
                <a:gd name="T22" fmla="*/ 13 w 343"/>
                <a:gd name="T23" fmla="*/ 0 h 3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3"/>
                <a:gd name="T37" fmla="*/ 0 h 371"/>
                <a:gd name="T38" fmla="*/ 343 w 343"/>
                <a:gd name="T39" fmla="*/ 371 h 37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3" h="371">
                  <a:moveTo>
                    <a:pt x="117" y="0"/>
                  </a:moveTo>
                  <a:lnTo>
                    <a:pt x="162" y="35"/>
                  </a:lnTo>
                  <a:lnTo>
                    <a:pt x="169" y="93"/>
                  </a:lnTo>
                  <a:lnTo>
                    <a:pt x="221" y="99"/>
                  </a:lnTo>
                  <a:lnTo>
                    <a:pt x="291" y="162"/>
                  </a:lnTo>
                  <a:lnTo>
                    <a:pt x="284" y="204"/>
                  </a:lnTo>
                  <a:lnTo>
                    <a:pt x="343" y="279"/>
                  </a:lnTo>
                  <a:lnTo>
                    <a:pt x="244" y="371"/>
                  </a:lnTo>
                  <a:lnTo>
                    <a:pt x="87" y="343"/>
                  </a:lnTo>
                  <a:lnTo>
                    <a:pt x="0" y="291"/>
                  </a:lnTo>
                  <a:lnTo>
                    <a:pt x="17" y="134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1" name="Freeform 758"/>
            <p:cNvSpPr/>
            <p:nvPr/>
          </p:nvSpPr>
          <p:spPr bwMode="auto">
            <a:xfrm>
              <a:off x="7615238" y="4067175"/>
              <a:ext cx="374650" cy="342900"/>
            </a:xfrm>
            <a:custGeom>
              <a:avLst/>
              <a:gdLst>
                <a:gd name="T0" fmla="*/ 0 w 820"/>
                <a:gd name="T1" fmla="*/ 44 h 854"/>
                <a:gd name="T2" fmla="*/ 6 w 820"/>
                <a:gd name="T3" fmla="*/ 45 h 854"/>
                <a:gd name="T4" fmla="*/ 13 w 820"/>
                <a:gd name="T5" fmla="*/ 78 h 854"/>
                <a:gd name="T6" fmla="*/ 17 w 820"/>
                <a:gd name="T7" fmla="*/ 82 h 854"/>
                <a:gd name="T8" fmla="*/ 21 w 820"/>
                <a:gd name="T9" fmla="*/ 81 h 854"/>
                <a:gd name="T10" fmla="*/ 26 w 820"/>
                <a:gd name="T11" fmla="*/ 75 h 854"/>
                <a:gd name="T12" fmla="*/ 32 w 820"/>
                <a:gd name="T13" fmla="*/ 75 h 854"/>
                <a:gd name="T14" fmla="*/ 38 w 820"/>
                <a:gd name="T15" fmla="*/ 82 h 854"/>
                <a:gd name="T16" fmla="*/ 40 w 820"/>
                <a:gd name="T17" fmla="*/ 82 h 854"/>
                <a:gd name="T18" fmla="*/ 43 w 820"/>
                <a:gd name="T19" fmla="*/ 78 h 854"/>
                <a:gd name="T20" fmla="*/ 51 w 820"/>
                <a:gd name="T21" fmla="*/ 79 h 854"/>
                <a:gd name="T22" fmla="*/ 55 w 820"/>
                <a:gd name="T23" fmla="*/ 70 h 854"/>
                <a:gd name="T24" fmla="*/ 66 w 820"/>
                <a:gd name="T25" fmla="*/ 66 h 854"/>
                <a:gd name="T26" fmla="*/ 81 w 820"/>
                <a:gd name="T27" fmla="*/ 66 h 854"/>
                <a:gd name="T28" fmla="*/ 81 w 820"/>
                <a:gd name="T29" fmla="*/ 70 h 854"/>
                <a:gd name="T30" fmla="*/ 85 w 820"/>
                <a:gd name="T31" fmla="*/ 71 h 854"/>
                <a:gd name="T32" fmla="*/ 86 w 820"/>
                <a:gd name="T33" fmla="*/ 68 h 854"/>
                <a:gd name="T34" fmla="*/ 89 w 820"/>
                <a:gd name="T35" fmla="*/ 64 h 854"/>
                <a:gd name="T36" fmla="*/ 85 w 820"/>
                <a:gd name="T37" fmla="*/ 49 h 854"/>
                <a:gd name="T38" fmla="*/ 74 w 820"/>
                <a:gd name="T39" fmla="*/ 46 h 854"/>
                <a:gd name="T40" fmla="*/ 73 w 820"/>
                <a:gd name="T41" fmla="*/ 40 h 854"/>
                <a:gd name="T42" fmla="*/ 69 w 820"/>
                <a:gd name="T43" fmla="*/ 38 h 854"/>
                <a:gd name="T44" fmla="*/ 70 w 820"/>
                <a:gd name="T45" fmla="*/ 36 h 854"/>
                <a:gd name="T46" fmla="*/ 73 w 820"/>
                <a:gd name="T47" fmla="*/ 34 h 854"/>
                <a:gd name="T48" fmla="*/ 54 w 820"/>
                <a:gd name="T49" fmla="*/ 19 h 854"/>
                <a:gd name="T50" fmla="*/ 44 w 820"/>
                <a:gd name="T51" fmla="*/ 17 h 854"/>
                <a:gd name="T52" fmla="*/ 38 w 820"/>
                <a:gd name="T53" fmla="*/ 11 h 854"/>
                <a:gd name="T54" fmla="*/ 43 w 820"/>
                <a:gd name="T55" fmla="*/ 8 h 854"/>
                <a:gd name="T56" fmla="*/ 44 w 820"/>
                <a:gd name="T57" fmla="*/ 1 h 854"/>
                <a:gd name="T58" fmla="*/ 40 w 820"/>
                <a:gd name="T59" fmla="*/ 0 h 854"/>
                <a:gd name="T60" fmla="*/ 21 w 820"/>
                <a:gd name="T61" fmla="*/ 3 h 854"/>
                <a:gd name="T62" fmla="*/ 21 w 820"/>
                <a:gd name="T63" fmla="*/ 2 h 854"/>
                <a:gd name="T64" fmla="*/ 15 w 820"/>
                <a:gd name="T65" fmla="*/ 2 h 854"/>
                <a:gd name="T66" fmla="*/ 12 w 820"/>
                <a:gd name="T67" fmla="*/ 7 h 854"/>
                <a:gd name="T68" fmla="*/ 5 w 820"/>
                <a:gd name="T69" fmla="*/ 6 h 854"/>
                <a:gd name="T70" fmla="*/ 13 w 820"/>
                <a:gd name="T71" fmla="*/ 21 h 854"/>
                <a:gd name="T72" fmla="*/ 6 w 820"/>
                <a:gd name="T73" fmla="*/ 32 h 854"/>
                <a:gd name="T74" fmla="*/ 6 w 820"/>
                <a:gd name="T75" fmla="*/ 39 h 854"/>
                <a:gd name="T76" fmla="*/ 0 w 820"/>
                <a:gd name="T77" fmla="*/ 44 h 8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20"/>
                <a:gd name="T118" fmla="*/ 0 h 854"/>
                <a:gd name="T119" fmla="*/ 820 w 820"/>
                <a:gd name="T120" fmla="*/ 854 h 8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20" h="854">
                  <a:moveTo>
                    <a:pt x="0" y="460"/>
                  </a:moveTo>
                  <a:lnTo>
                    <a:pt x="58" y="471"/>
                  </a:lnTo>
                  <a:lnTo>
                    <a:pt x="117" y="809"/>
                  </a:lnTo>
                  <a:lnTo>
                    <a:pt x="157" y="854"/>
                  </a:lnTo>
                  <a:lnTo>
                    <a:pt x="197" y="843"/>
                  </a:lnTo>
                  <a:lnTo>
                    <a:pt x="244" y="779"/>
                  </a:lnTo>
                  <a:lnTo>
                    <a:pt x="297" y="785"/>
                  </a:lnTo>
                  <a:lnTo>
                    <a:pt x="349" y="854"/>
                  </a:lnTo>
                  <a:lnTo>
                    <a:pt x="366" y="854"/>
                  </a:lnTo>
                  <a:lnTo>
                    <a:pt x="396" y="814"/>
                  </a:lnTo>
                  <a:lnTo>
                    <a:pt x="466" y="826"/>
                  </a:lnTo>
                  <a:lnTo>
                    <a:pt x="506" y="727"/>
                  </a:lnTo>
                  <a:lnTo>
                    <a:pt x="611" y="687"/>
                  </a:lnTo>
                  <a:lnTo>
                    <a:pt x="750" y="687"/>
                  </a:lnTo>
                  <a:lnTo>
                    <a:pt x="750" y="727"/>
                  </a:lnTo>
                  <a:lnTo>
                    <a:pt x="785" y="744"/>
                  </a:lnTo>
                  <a:lnTo>
                    <a:pt x="790" y="704"/>
                  </a:lnTo>
                  <a:lnTo>
                    <a:pt x="820" y="669"/>
                  </a:lnTo>
                  <a:lnTo>
                    <a:pt x="779" y="512"/>
                  </a:lnTo>
                  <a:lnTo>
                    <a:pt x="686" y="483"/>
                  </a:lnTo>
                  <a:lnTo>
                    <a:pt x="668" y="413"/>
                  </a:lnTo>
                  <a:lnTo>
                    <a:pt x="640" y="396"/>
                  </a:lnTo>
                  <a:lnTo>
                    <a:pt x="645" y="373"/>
                  </a:lnTo>
                  <a:lnTo>
                    <a:pt x="675" y="349"/>
                  </a:lnTo>
                  <a:lnTo>
                    <a:pt x="500" y="198"/>
                  </a:lnTo>
                  <a:lnTo>
                    <a:pt x="407" y="181"/>
                  </a:lnTo>
                  <a:lnTo>
                    <a:pt x="349" y="111"/>
                  </a:lnTo>
                  <a:lnTo>
                    <a:pt x="396" y="87"/>
                  </a:lnTo>
                  <a:lnTo>
                    <a:pt x="407" y="7"/>
                  </a:lnTo>
                  <a:lnTo>
                    <a:pt x="366" y="0"/>
                  </a:lnTo>
                  <a:lnTo>
                    <a:pt x="197" y="30"/>
                  </a:lnTo>
                  <a:lnTo>
                    <a:pt x="192" y="18"/>
                  </a:lnTo>
                  <a:lnTo>
                    <a:pt x="134" y="18"/>
                  </a:lnTo>
                  <a:lnTo>
                    <a:pt x="110" y="70"/>
                  </a:lnTo>
                  <a:lnTo>
                    <a:pt x="47" y="59"/>
                  </a:lnTo>
                  <a:lnTo>
                    <a:pt x="117" y="221"/>
                  </a:lnTo>
                  <a:lnTo>
                    <a:pt x="58" y="331"/>
                  </a:lnTo>
                  <a:lnTo>
                    <a:pt x="58" y="408"/>
                  </a:lnTo>
                  <a:lnTo>
                    <a:pt x="0" y="46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2" name="Freeform 759"/>
            <p:cNvSpPr/>
            <p:nvPr/>
          </p:nvSpPr>
          <p:spPr bwMode="auto">
            <a:xfrm>
              <a:off x="7826375" y="4343400"/>
              <a:ext cx="242888" cy="231775"/>
            </a:xfrm>
            <a:custGeom>
              <a:avLst/>
              <a:gdLst>
                <a:gd name="T0" fmla="*/ 35 w 535"/>
                <a:gd name="T1" fmla="*/ 6 h 563"/>
                <a:gd name="T2" fmla="*/ 33 w 535"/>
                <a:gd name="T3" fmla="*/ 16 h 563"/>
                <a:gd name="T4" fmla="*/ 37 w 535"/>
                <a:gd name="T5" fmla="*/ 20 h 563"/>
                <a:gd name="T6" fmla="*/ 42 w 535"/>
                <a:gd name="T7" fmla="*/ 19 h 563"/>
                <a:gd name="T8" fmla="*/ 54 w 535"/>
                <a:gd name="T9" fmla="*/ 26 h 563"/>
                <a:gd name="T10" fmla="*/ 52 w 535"/>
                <a:gd name="T11" fmla="*/ 32 h 563"/>
                <a:gd name="T12" fmla="*/ 58 w 535"/>
                <a:gd name="T13" fmla="*/ 36 h 563"/>
                <a:gd name="T14" fmla="*/ 57 w 535"/>
                <a:gd name="T15" fmla="*/ 44 h 563"/>
                <a:gd name="T16" fmla="*/ 54 w 535"/>
                <a:gd name="T17" fmla="*/ 43 h 563"/>
                <a:gd name="T18" fmla="*/ 48 w 535"/>
                <a:gd name="T19" fmla="*/ 49 h 563"/>
                <a:gd name="T20" fmla="*/ 36 w 535"/>
                <a:gd name="T21" fmla="*/ 55 h 563"/>
                <a:gd name="T22" fmla="*/ 23 w 535"/>
                <a:gd name="T23" fmla="*/ 53 h 563"/>
                <a:gd name="T24" fmla="*/ 21 w 535"/>
                <a:gd name="T25" fmla="*/ 49 h 563"/>
                <a:gd name="T26" fmla="*/ 31 w 535"/>
                <a:gd name="T27" fmla="*/ 40 h 563"/>
                <a:gd name="T28" fmla="*/ 23 w 535"/>
                <a:gd name="T29" fmla="*/ 32 h 563"/>
                <a:gd name="T30" fmla="*/ 16 w 535"/>
                <a:gd name="T31" fmla="*/ 31 h 563"/>
                <a:gd name="T32" fmla="*/ 15 w 535"/>
                <a:gd name="T33" fmla="*/ 26 h 563"/>
                <a:gd name="T34" fmla="*/ 6 w 535"/>
                <a:gd name="T35" fmla="*/ 25 h 563"/>
                <a:gd name="T36" fmla="*/ 0 w 535"/>
                <a:gd name="T37" fmla="*/ 14 h 563"/>
                <a:gd name="T38" fmla="*/ 5 w 535"/>
                <a:gd name="T39" fmla="*/ 4 h 563"/>
                <a:gd name="T40" fmla="*/ 16 w 535"/>
                <a:gd name="T41" fmla="*/ 0 h 563"/>
                <a:gd name="T42" fmla="*/ 32 w 535"/>
                <a:gd name="T43" fmla="*/ 0 h 563"/>
                <a:gd name="T44" fmla="*/ 32 w 535"/>
                <a:gd name="T45" fmla="*/ 4 h 563"/>
                <a:gd name="T46" fmla="*/ 35 w 535"/>
                <a:gd name="T47" fmla="*/ 6 h 56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35"/>
                <a:gd name="T73" fmla="*/ 0 h 563"/>
                <a:gd name="T74" fmla="*/ 535 w 535"/>
                <a:gd name="T75" fmla="*/ 563 h 56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35" h="563">
                  <a:moveTo>
                    <a:pt x="326" y="57"/>
                  </a:moveTo>
                  <a:lnTo>
                    <a:pt x="309" y="162"/>
                  </a:lnTo>
                  <a:lnTo>
                    <a:pt x="343" y="202"/>
                  </a:lnTo>
                  <a:lnTo>
                    <a:pt x="384" y="191"/>
                  </a:lnTo>
                  <a:lnTo>
                    <a:pt x="495" y="267"/>
                  </a:lnTo>
                  <a:lnTo>
                    <a:pt x="483" y="331"/>
                  </a:lnTo>
                  <a:lnTo>
                    <a:pt x="535" y="366"/>
                  </a:lnTo>
                  <a:lnTo>
                    <a:pt x="523" y="446"/>
                  </a:lnTo>
                  <a:lnTo>
                    <a:pt x="495" y="441"/>
                  </a:lnTo>
                  <a:lnTo>
                    <a:pt x="443" y="499"/>
                  </a:lnTo>
                  <a:lnTo>
                    <a:pt x="331" y="563"/>
                  </a:lnTo>
                  <a:lnTo>
                    <a:pt x="209" y="539"/>
                  </a:lnTo>
                  <a:lnTo>
                    <a:pt x="198" y="499"/>
                  </a:lnTo>
                  <a:lnTo>
                    <a:pt x="286" y="411"/>
                  </a:lnTo>
                  <a:lnTo>
                    <a:pt x="209" y="331"/>
                  </a:lnTo>
                  <a:lnTo>
                    <a:pt x="152" y="319"/>
                  </a:lnTo>
                  <a:lnTo>
                    <a:pt x="134" y="267"/>
                  </a:lnTo>
                  <a:lnTo>
                    <a:pt x="52" y="255"/>
                  </a:lnTo>
                  <a:lnTo>
                    <a:pt x="0" y="139"/>
                  </a:lnTo>
                  <a:lnTo>
                    <a:pt x="47" y="40"/>
                  </a:lnTo>
                  <a:lnTo>
                    <a:pt x="152" y="0"/>
                  </a:lnTo>
                  <a:lnTo>
                    <a:pt x="291" y="0"/>
                  </a:lnTo>
                  <a:lnTo>
                    <a:pt x="291" y="40"/>
                  </a:lnTo>
                  <a:lnTo>
                    <a:pt x="326" y="5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3" name="Freeform 760"/>
            <p:cNvSpPr/>
            <p:nvPr/>
          </p:nvSpPr>
          <p:spPr bwMode="auto">
            <a:xfrm>
              <a:off x="7959725" y="3613150"/>
              <a:ext cx="163513" cy="188913"/>
            </a:xfrm>
            <a:custGeom>
              <a:avLst/>
              <a:gdLst>
                <a:gd name="T0" fmla="*/ 15 w 354"/>
                <a:gd name="T1" fmla="*/ 0 h 471"/>
                <a:gd name="T2" fmla="*/ 8 w 354"/>
                <a:gd name="T3" fmla="*/ 1 h 471"/>
                <a:gd name="T4" fmla="*/ 4 w 354"/>
                <a:gd name="T5" fmla="*/ 2 h 471"/>
                <a:gd name="T6" fmla="*/ 6 w 354"/>
                <a:gd name="T7" fmla="*/ 7 h 471"/>
                <a:gd name="T8" fmla="*/ 3 w 354"/>
                <a:gd name="T9" fmla="*/ 9 h 471"/>
                <a:gd name="T10" fmla="*/ 0 w 354"/>
                <a:gd name="T11" fmla="*/ 9 h 471"/>
                <a:gd name="T12" fmla="*/ 1 w 354"/>
                <a:gd name="T13" fmla="*/ 16 h 471"/>
                <a:gd name="T14" fmla="*/ 8 w 354"/>
                <a:gd name="T15" fmla="*/ 18 h 471"/>
                <a:gd name="T16" fmla="*/ 7 w 354"/>
                <a:gd name="T17" fmla="*/ 22 h 471"/>
                <a:gd name="T18" fmla="*/ 10 w 354"/>
                <a:gd name="T19" fmla="*/ 24 h 471"/>
                <a:gd name="T20" fmla="*/ 10 w 354"/>
                <a:gd name="T21" fmla="*/ 41 h 471"/>
                <a:gd name="T22" fmla="*/ 12 w 354"/>
                <a:gd name="T23" fmla="*/ 45 h 471"/>
                <a:gd name="T24" fmla="*/ 34 w 354"/>
                <a:gd name="T25" fmla="*/ 42 h 471"/>
                <a:gd name="T26" fmla="*/ 31 w 354"/>
                <a:gd name="T27" fmla="*/ 34 h 471"/>
                <a:gd name="T28" fmla="*/ 24 w 354"/>
                <a:gd name="T29" fmla="*/ 31 h 471"/>
                <a:gd name="T30" fmla="*/ 26 w 354"/>
                <a:gd name="T31" fmla="*/ 23 h 471"/>
                <a:gd name="T32" fmla="*/ 39 w 354"/>
                <a:gd name="T33" fmla="*/ 14 h 471"/>
                <a:gd name="T34" fmla="*/ 26 w 354"/>
                <a:gd name="T35" fmla="*/ 14 h 471"/>
                <a:gd name="T36" fmla="*/ 15 w 354"/>
                <a:gd name="T37" fmla="*/ 0 h 47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54"/>
                <a:gd name="T58" fmla="*/ 0 h 471"/>
                <a:gd name="T59" fmla="*/ 354 w 354"/>
                <a:gd name="T60" fmla="*/ 471 h 47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54" h="471">
                  <a:moveTo>
                    <a:pt x="134" y="0"/>
                  </a:moveTo>
                  <a:lnTo>
                    <a:pt x="69" y="6"/>
                  </a:lnTo>
                  <a:lnTo>
                    <a:pt x="34" y="23"/>
                  </a:lnTo>
                  <a:lnTo>
                    <a:pt x="58" y="70"/>
                  </a:lnTo>
                  <a:lnTo>
                    <a:pt x="29" y="98"/>
                  </a:lnTo>
                  <a:lnTo>
                    <a:pt x="0" y="98"/>
                  </a:lnTo>
                  <a:lnTo>
                    <a:pt x="12" y="168"/>
                  </a:lnTo>
                  <a:lnTo>
                    <a:pt x="69" y="192"/>
                  </a:lnTo>
                  <a:lnTo>
                    <a:pt x="64" y="232"/>
                  </a:lnTo>
                  <a:lnTo>
                    <a:pt x="87" y="250"/>
                  </a:lnTo>
                  <a:lnTo>
                    <a:pt x="87" y="424"/>
                  </a:lnTo>
                  <a:lnTo>
                    <a:pt x="111" y="471"/>
                  </a:lnTo>
                  <a:lnTo>
                    <a:pt x="308" y="436"/>
                  </a:lnTo>
                  <a:lnTo>
                    <a:pt x="285" y="360"/>
                  </a:lnTo>
                  <a:lnTo>
                    <a:pt x="221" y="325"/>
                  </a:lnTo>
                  <a:lnTo>
                    <a:pt x="233" y="244"/>
                  </a:lnTo>
                  <a:lnTo>
                    <a:pt x="354" y="151"/>
                  </a:lnTo>
                  <a:lnTo>
                    <a:pt x="238" y="145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4" name="Freeform 761"/>
            <p:cNvSpPr/>
            <p:nvPr/>
          </p:nvSpPr>
          <p:spPr bwMode="auto">
            <a:xfrm>
              <a:off x="8061325" y="3671888"/>
              <a:ext cx="138113" cy="112712"/>
            </a:xfrm>
            <a:custGeom>
              <a:avLst/>
              <a:gdLst>
                <a:gd name="T0" fmla="*/ 15 w 302"/>
                <a:gd name="T1" fmla="*/ 0 h 285"/>
                <a:gd name="T2" fmla="*/ 1 w 302"/>
                <a:gd name="T3" fmla="*/ 9 h 285"/>
                <a:gd name="T4" fmla="*/ 0 w 302"/>
                <a:gd name="T5" fmla="*/ 16 h 285"/>
                <a:gd name="T6" fmla="*/ 7 w 302"/>
                <a:gd name="T7" fmla="*/ 20 h 285"/>
                <a:gd name="T8" fmla="*/ 10 w 302"/>
                <a:gd name="T9" fmla="*/ 27 h 285"/>
                <a:gd name="T10" fmla="*/ 15 w 302"/>
                <a:gd name="T11" fmla="*/ 24 h 285"/>
                <a:gd name="T12" fmla="*/ 20 w 302"/>
                <a:gd name="T13" fmla="*/ 27 h 285"/>
                <a:gd name="T14" fmla="*/ 28 w 302"/>
                <a:gd name="T15" fmla="*/ 27 h 285"/>
                <a:gd name="T16" fmla="*/ 32 w 302"/>
                <a:gd name="T17" fmla="*/ 17 h 285"/>
                <a:gd name="T18" fmla="*/ 30 w 302"/>
                <a:gd name="T19" fmla="*/ 13 h 285"/>
                <a:gd name="T20" fmla="*/ 33 w 302"/>
                <a:gd name="T21" fmla="*/ 8 h 285"/>
                <a:gd name="T22" fmla="*/ 27 w 302"/>
                <a:gd name="T23" fmla="*/ 7 h 285"/>
                <a:gd name="T24" fmla="*/ 18 w 302"/>
                <a:gd name="T25" fmla="*/ 1 h 285"/>
                <a:gd name="T26" fmla="*/ 15 w 302"/>
                <a:gd name="T27" fmla="*/ 0 h 28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02"/>
                <a:gd name="T43" fmla="*/ 0 h 285"/>
                <a:gd name="T44" fmla="*/ 302 w 302"/>
                <a:gd name="T45" fmla="*/ 285 h 28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02" h="285">
                  <a:moveTo>
                    <a:pt x="133" y="0"/>
                  </a:moveTo>
                  <a:lnTo>
                    <a:pt x="12" y="93"/>
                  </a:lnTo>
                  <a:lnTo>
                    <a:pt x="0" y="174"/>
                  </a:lnTo>
                  <a:lnTo>
                    <a:pt x="64" y="209"/>
                  </a:lnTo>
                  <a:lnTo>
                    <a:pt x="87" y="285"/>
                  </a:lnTo>
                  <a:lnTo>
                    <a:pt x="133" y="250"/>
                  </a:lnTo>
                  <a:lnTo>
                    <a:pt x="185" y="285"/>
                  </a:lnTo>
                  <a:lnTo>
                    <a:pt x="255" y="285"/>
                  </a:lnTo>
                  <a:lnTo>
                    <a:pt x="296" y="180"/>
                  </a:lnTo>
                  <a:lnTo>
                    <a:pt x="272" y="134"/>
                  </a:lnTo>
                  <a:lnTo>
                    <a:pt x="302" y="87"/>
                  </a:lnTo>
                  <a:lnTo>
                    <a:pt x="244" y="76"/>
                  </a:lnTo>
                  <a:lnTo>
                    <a:pt x="162" y="6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5" name="Freeform 762"/>
            <p:cNvSpPr/>
            <p:nvPr/>
          </p:nvSpPr>
          <p:spPr bwMode="auto">
            <a:xfrm>
              <a:off x="8178800" y="3709988"/>
              <a:ext cx="71438" cy="87312"/>
            </a:xfrm>
            <a:custGeom>
              <a:avLst/>
              <a:gdLst>
                <a:gd name="T0" fmla="*/ 5 w 163"/>
                <a:gd name="T1" fmla="*/ 0 h 226"/>
                <a:gd name="T2" fmla="*/ 2 w 163"/>
                <a:gd name="T3" fmla="*/ 4 h 226"/>
                <a:gd name="T4" fmla="*/ 4 w 163"/>
                <a:gd name="T5" fmla="*/ 9 h 226"/>
                <a:gd name="T6" fmla="*/ 0 w 163"/>
                <a:gd name="T7" fmla="*/ 18 h 226"/>
                <a:gd name="T8" fmla="*/ 4 w 163"/>
                <a:gd name="T9" fmla="*/ 21 h 226"/>
                <a:gd name="T10" fmla="*/ 8 w 163"/>
                <a:gd name="T11" fmla="*/ 21 h 226"/>
                <a:gd name="T12" fmla="*/ 17 w 163"/>
                <a:gd name="T13" fmla="*/ 9 h 226"/>
                <a:gd name="T14" fmla="*/ 9 w 163"/>
                <a:gd name="T15" fmla="*/ 1 h 226"/>
                <a:gd name="T16" fmla="*/ 5 w 163"/>
                <a:gd name="T17" fmla="*/ 0 h 2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3"/>
                <a:gd name="T28" fmla="*/ 0 h 226"/>
                <a:gd name="T29" fmla="*/ 163 w 163"/>
                <a:gd name="T30" fmla="*/ 226 h 2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3" h="226">
                  <a:moveTo>
                    <a:pt x="47" y="0"/>
                  </a:moveTo>
                  <a:lnTo>
                    <a:pt x="17" y="47"/>
                  </a:lnTo>
                  <a:lnTo>
                    <a:pt x="41" y="93"/>
                  </a:lnTo>
                  <a:lnTo>
                    <a:pt x="0" y="198"/>
                  </a:lnTo>
                  <a:lnTo>
                    <a:pt x="35" y="226"/>
                  </a:lnTo>
                  <a:lnTo>
                    <a:pt x="76" y="221"/>
                  </a:lnTo>
                  <a:lnTo>
                    <a:pt x="163" y="93"/>
                  </a:lnTo>
                  <a:lnTo>
                    <a:pt x="82" y="12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6" name="Freeform 763"/>
            <p:cNvSpPr/>
            <p:nvPr/>
          </p:nvSpPr>
          <p:spPr bwMode="auto">
            <a:xfrm>
              <a:off x="7510463" y="3676650"/>
              <a:ext cx="1225550" cy="1052513"/>
            </a:xfrm>
            <a:custGeom>
              <a:avLst/>
              <a:gdLst>
                <a:gd name="T0" fmla="*/ 181 w 2685"/>
                <a:gd name="T1" fmla="*/ 19 h 2603"/>
                <a:gd name="T2" fmla="*/ 191 w 2685"/>
                <a:gd name="T3" fmla="*/ 33 h 2603"/>
                <a:gd name="T4" fmla="*/ 182 w 2685"/>
                <a:gd name="T5" fmla="*/ 49 h 2603"/>
                <a:gd name="T6" fmla="*/ 195 w 2685"/>
                <a:gd name="T7" fmla="*/ 47 h 2603"/>
                <a:gd name="T8" fmla="*/ 185 w 2685"/>
                <a:gd name="T9" fmla="*/ 52 h 2603"/>
                <a:gd name="T10" fmla="*/ 202 w 2685"/>
                <a:gd name="T11" fmla="*/ 50 h 2603"/>
                <a:gd name="T12" fmla="*/ 221 w 2685"/>
                <a:gd name="T13" fmla="*/ 55 h 2603"/>
                <a:gd name="T14" fmla="*/ 223 w 2685"/>
                <a:gd name="T15" fmla="*/ 60 h 2603"/>
                <a:gd name="T16" fmla="*/ 225 w 2685"/>
                <a:gd name="T17" fmla="*/ 64 h 2603"/>
                <a:gd name="T18" fmla="*/ 248 w 2685"/>
                <a:gd name="T19" fmla="*/ 70 h 2603"/>
                <a:gd name="T20" fmla="*/ 260 w 2685"/>
                <a:gd name="T21" fmla="*/ 68 h 2603"/>
                <a:gd name="T22" fmla="*/ 281 w 2685"/>
                <a:gd name="T23" fmla="*/ 85 h 2603"/>
                <a:gd name="T24" fmla="*/ 291 w 2685"/>
                <a:gd name="T25" fmla="*/ 86 h 2603"/>
                <a:gd name="T26" fmla="*/ 288 w 2685"/>
                <a:gd name="T27" fmla="*/ 111 h 2603"/>
                <a:gd name="T28" fmla="*/ 261 w 2685"/>
                <a:gd name="T29" fmla="*/ 129 h 2603"/>
                <a:gd name="T30" fmla="*/ 254 w 2685"/>
                <a:gd name="T31" fmla="*/ 144 h 2603"/>
                <a:gd name="T32" fmla="*/ 246 w 2685"/>
                <a:gd name="T33" fmla="*/ 164 h 2603"/>
                <a:gd name="T34" fmla="*/ 218 w 2685"/>
                <a:gd name="T35" fmla="*/ 192 h 2603"/>
                <a:gd name="T36" fmla="*/ 195 w 2685"/>
                <a:gd name="T37" fmla="*/ 197 h 2603"/>
                <a:gd name="T38" fmla="*/ 169 w 2685"/>
                <a:gd name="T39" fmla="*/ 205 h 2603"/>
                <a:gd name="T40" fmla="*/ 143 w 2685"/>
                <a:gd name="T41" fmla="*/ 243 h 2603"/>
                <a:gd name="T42" fmla="*/ 146 w 2685"/>
                <a:gd name="T43" fmla="*/ 230 h 2603"/>
                <a:gd name="T44" fmla="*/ 131 w 2685"/>
                <a:gd name="T45" fmla="*/ 251 h 2603"/>
                <a:gd name="T46" fmla="*/ 125 w 2685"/>
                <a:gd name="T47" fmla="*/ 240 h 2603"/>
                <a:gd name="T48" fmla="*/ 112 w 2685"/>
                <a:gd name="T49" fmla="*/ 233 h 2603"/>
                <a:gd name="T50" fmla="*/ 106 w 2685"/>
                <a:gd name="T51" fmla="*/ 224 h 2603"/>
                <a:gd name="T52" fmla="*/ 133 w 2685"/>
                <a:gd name="T53" fmla="*/ 203 h 2603"/>
                <a:gd name="T54" fmla="*/ 133 w 2685"/>
                <a:gd name="T55" fmla="*/ 194 h 2603"/>
                <a:gd name="T56" fmla="*/ 129 w 2685"/>
                <a:gd name="T57" fmla="*/ 185 h 2603"/>
                <a:gd name="T58" fmla="*/ 112 w 2685"/>
                <a:gd name="T59" fmla="*/ 179 h 2603"/>
                <a:gd name="T60" fmla="*/ 111 w 2685"/>
                <a:gd name="T61" fmla="*/ 161 h 2603"/>
                <a:gd name="T62" fmla="*/ 110 w 2685"/>
                <a:gd name="T63" fmla="*/ 142 h 2603"/>
                <a:gd name="T64" fmla="*/ 98 w 2685"/>
                <a:gd name="T65" fmla="*/ 133 h 2603"/>
                <a:gd name="T66" fmla="*/ 95 w 2685"/>
                <a:gd name="T67" fmla="*/ 129 h 2603"/>
                <a:gd name="T68" fmla="*/ 79 w 2685"/>
                <a:gd name="T69" fmla="*/ 111 h 2603"/>
                <a:gd name="T70" fmla="*/ 63 w 2685"/>
                <a:gd name="T71" fmla="*/ 103 h 2603"/>
                <a:gd name="T72" fmla="*/ 69 w 2685"/>
                <a:gd name="T73" fmla="*/ 94 h 2603"/>
                <a:gd name="T74" fmla="*/ 47 w 2685"/>
                <a:gd name="T75" fmla="*/ 96 h 2603"/>
                <a:gd name="T76" fmla="*/ 40 w 2685"/>
                <a:gd name="T77" fmla="*/ 95 h 2603"/>
                <a:gd name="T78" fmla="*/ 31 w 2685"/>
                <a:gd name="T79" fmla="*/ 99 h 2603"/>
                <a:gd name="T80" fmla="*/ 25 w 2685"/>
                <a:gd name="T81" fmla="*/ 89 h 2603"/>
                <a:gd name="T82" fmla="*/ 13 w 2685"/>
                <a:gd name="T83" fmla="*/ 89 h 2603"/>
                <a:gd name="T84" fmla="*/ 3 w 2685"/>
                <a:gd name="T85" fmla="*/ 87 h 2603"/>
                <a:gd name="T86" fmla="*/ 6 w 2685"/>
                <a:gd name="T87" fmla="*/ 67 h 2603"/>
                <a:gd name="T88" fmla="*/ 28 w 2685"/>
                <a:gd name="T89" fmla="*/ 51 h 2603"/>
                <a:gd name="T90" fmla="*/ 34 w 2685"/>
                <a:gd name="T91" fmla="*/ 27 h 2603"/>
                <a:gd name="T92" fmla="*/ 42 w 2685"/>
                <a:gd name="T93" fmla="*/ 19 h 2603"/>
                <a:gd name="T94" fmla="*/ 37 w 2685"/>
                <a:gd name="T95" fmla="*/ 17 h 2603"/>
                <a:gd name="T96" fmla="*/ 41 w 2685"/>
                <a:gd name="T97" fmla="*/ 15 h 2603"/>
                <a:gd name="T98" fmla="*/ 52 w 2685"/>
                <a:gd name="T99" fmla="*/ 18 h 2603"/>
                <a:gd name="T100" fmla="*/ 71 w 2685"/>
                <a:gd name="T101" fmla="*/ 26 h 2603"/>
                <a:gd name="T102" fmla="*/ 75 w 2685"/>
                <a:gd name="T103" fmla="*/ 5 h 2603"/>
                <a:gd name="T104" fmla="*/ 92 w 2685"/>
                <a:gd name="T105" fmla="*/ 10 h 2603"/>
                <a:gd name="T106" fmla="*/ 105 w 2685"/>
                <a:gd name="T107" fmla="*/ 10 h 2603"/>
                <a:gd name="T108" fmla="*/ 109 w 2685"/>
                <a:gd name="T109" fmla="*/ 0 h 2603"/>
                <a:gd name="T110" fmla="*/ 114 w 2685"/>
                <a:gd name="T111" fmla="*/ 6 h 2603"/>
                <a:gd name="T112" fmla="*/ 117 w 2685"/>
                <a:gd name="T113" fmla="*/ 25 h 2603"/>
                <a:gd name="T114" fmla="*/ 141 w 2685"/>
                <a:gd name="T115" fmla="*/ 26 h 2603"/>
                <a:gd name="T116" fmla="*/ 152 w 2685"/>
                <a:gd name="T117" fmla="*/ 26 h 2603"/>
                <a:gd name="T118" fmla="*/ 163 w 2685"/>
                <a:gd name="T119" fmla="*/ 29 h 2603"/>
                <a:gd name="T120" fmla="*/ 178 w 2685"/>
                <a:gd name="T121" fmla="*/ 16 h 26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85"/>
                <a:gd name="T184" fmla="*/ 0 h 2603"/>
                <a:gd name="T185" fmla="*/ 2685 w 2685"/>
                <a:gd name="T186" fmla="*/ 2603 h 26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85" h="2603">
                  <a:moveTo>
                    <a:pt x="1633" y="163"/>
                  </a:moveTo>
                  <a:lnTo>
                    <a:pt x="1662" y="192"/>
                  </a:lnTo>
                  <a:lnTo>
                    <a:pt x="1715" y="308"/>
                  </a:lnTo>
                  <a:lnTo>
                    <a:pt x="1760" y="343"/>
                  </a:lnTo>
                  <a:lnTo>
                    <a:pt x="1580" y="523"/>
                  </a:lnTo>
                  <a:lnTo>
                    <a:pt x="1673" y="512"/>
                  </a:lnTo>
                  <a:lnTo>
                    <a:pt x="1737" y="477"/>
                  </a:lnTo>
                  <a:lnTo>
                    <a:pt x="1790" y="488"/>
                  </a:lnTo>
                  <a:lnTo>
                    <a:pt x="1772" y="535"/>
                  </a:lnTo>
                  <a:lnTo>
                    <a:pt x="1703" y="540"/>
                  </a:lnTo>
                  <a:lnTo>
                    <a:pt x="1778" y="582"/>
                  </a:lnTo>
                  <a:lnTo>
                    <a:pt x="1854" y="523"/>
                  </a:lnTo>
                  <a:lnTo>
                    <a:pt x="2022" y="535"/>
                  </a:lnTo>
                  <a:lnTo>
                    <a:pt x="2028" y="570"/>
                  </a:lnTo>
                  <a:lnTo>
                    <a:pt x="2057" y="570"/>
                  </a:lnTo>
                  <a:lnTo>
                    <a:pt x="2046" y="622"/>
                  </a:lnTo>
                  <a:lnTo>
                    <a:pt x="2086" y="640"/>
                  </a:lnTo>
                  <a:lnTo>
                    <a:pt x="2069" y="662"/>
                  </a:lnTo>
                  <a:lnTo>
                    <a:pt x="2191" y="669"/>
                  </a:lnTo>
                  <a:lnTo>
                    <a:pt x="2284" y="721"/>
                  </a:lnTo>
                  <a:lnTo>
                    <a:pt x="2348" y="680"/>
                  </a:lnTo>
                  <a:lnTo>
                    <a:pt x="2395" y="704"/>
                  </a:lnTo>
                  <a:lnTo>
                    <a:pt x="2545" y="872"/>
                  </a:lnTo>
                  <a:lnTo>
                    <a:pt x="2587" y="884"/>
                  </a:lnTo>
                  <a:lnTo>
                    <a:pt x="2644" y="860"/>
                  </a:lnTo>
                  <a:lnTo>
                    <a:pt x="2679" y="894"/>
                  </a:lnTo>
                  <a:lnTo>
                    <a:pt x="2685" y="1081"/>
                  </a:lnTo>
                  <a:lnTo>
                    <a:pt x="2644" y="1156"/>
                  </a:lnTo>
                  <a:lnTo>
                    <a:pt x="2580" y="1180"/>
                  </a:lnTo>
                  <a:lnTo>
                    <a:pt x="2400" y="1342"/>
                  </a:lnTo>
                  <a:lnTo>
                    <a:pt x="2348" y="1372"/>
                  </a:lnTo>
                  <a:lnTo>
                    <a:pt x="2336" y="1494"/>
                  </a:lnTo>
                  <a:lnTo>
                    <a:pt x="2290" y="1592"/>
                  </a:lnTo>
                  <a:lnTo>
                    <a:pt x="2266" y="1703"/>
                  </a:lnTo>
                  <a:lnTo>
                    <a:pt x="2051" y="1975"/>
                  </a:lnTo>
                  <a:lnTo>
                    <a:pt x="2004" y="1993"/>
                  </a:lnTo>
                  <a:lnTo>
                    <a:pt x="1917" y="1982"/>
                  </a:lnTo>
                  <a:lnTo>
                    <a:pt x="1795" y="2045"/>
                  </a:lnTo>
                  <a:lnTo>
                    <a:pt x="1743" y="2034"/>
                  </a:lnTo>
                  <a:lnTo>
                    <a:pt x="1558" y="2127"/>
                  </a:lnTo>
                  <a:lnTo>
                    <a:pt x="1516" y="2306"/>
                  </a:lnTo>
                  <a:lnTo>
                    <a:pt x="1319" y="2521"/>
                  </a:lnTo>
                  <a:lnTo>
                    <a:pt x="1279" y="2521"/>
                  </a:lnTo>
                  <a:lnTo>
                    <a:pt x="1342" y="2382"/>
                  </a:lnTo>
                  <a:lnTo>
                    <a:pt x="1313" y="2394"/>
                  </a:lnTo>
                  <a:lnTo>
                    <a:pt x="1203" y="2603"/>
                  </a:lnTo>
                  <a:lnTo>
                    <a:pt x="1144" y="2528"/>
                  </a:lnTo>
                  <a:lnTo>
                    <a:pt x="1151" y="2486"/>
                  </a:lnTo>
                  <a:lnTo>
                    <a:pt x="1081" y="2423"/>
                  </a:lnTo>
                  <a:lnTo>
                    <a:pt x="1034" y="2417"/>
                  </a:lnTo>
                  <a:lnTo>
                    <a:pt x="1029" y="2359"/>
                  </a:lnTo>
                  <a:lnTo>
                    <a:pt x="977" y="2324"/>
                  </a:lnTo>
                  <a:lnTo>
                    <a:pt x="1226" y="2196"/>
                  </a:lnTo>
                  <a:lnTo>
                    <a:pt x="1226" y="2104"/>
                  </a:lnTo>
                  <a:lnTo>
                    <a:pt x="1214" y="2097"/>
                  </a:lnTo>
                  <a:lnTo>
                    <a:pt x="1226" y="2017"/>
                  </a:lnTo>
                  <a:lnTo>
                    <a:pt x="1174" y="1982"/>
                  </a:lnTo>
                  <a:lnTo>
                    <a:pt x="1186" y="1918"/>
                  </a:lnTo>
                  <a:lnTo>
                    <a:pt x="1075" y="1842"/>
                  </a:lnTo>
                  <a:lnTo>
                    <a:pt x="1034" y="1853"/>
                  </a:lnTo>
                  <a:lnTo>
                    <a:pt x="1000" y="1825"/>
                  </a:lnTo>
                  <a:lnTo>
                    <a:pt x="1022" y="1668"/>
                  </a:lnTo>
                  <a:lnTo>
                    <a:pt x="1052" y="1633"/>
                  </a:lnTo>
                  <a:lnTo>
                    <a:pt x="1011" y="1476"/>
                  </a:lnTo>
                  <a:lnTo>
                    <a:pt x="918" y="1447"/>
                  </a:lnTo>
                  <a:lnTo>
                    <a:pt x="900" y="1383"/>
                  </a:lnTo>
                  <a:lnTo>
                    <a:pt x="877" y="1360"/>
                  </a:lnTo>
                  <a:lnTo>
                    <a:pt x="877" y="1342"/>
                  </a:lnTo>
                  <a:lnTo>
                    <a:pt x="918" y="1313"/>
                  </a:lnTo>
                  <a:lnTo>
                    <a:pt x="726" y="1156"/>
                  </a:lnTo>
                  <a:lnTo>
                    <a:pt x="639" y="1145"/>
                  </a:lnTo>
                  <a:lnTo>
                    <a:pt x="581" y="1069"/>
                  </a:lnTo>
                  <a:lnTo>
                    <a:pt x="628" y="1051"/>
                  </a:lnTo>
                  <a:lnTo>
                    <a:pt x="639" y="971"/>
                  </a:lnTo>
                  <a:lnTo>
                    <a:pt x="598" y="964"/>
                  </a:lnTo>
                  <a:lnTo>
                    <a:pt x="429" y="994"/>
                  </a:lnTo>
                  <a:lnTo>
                    <a:pt x="424" y="976"/>
                  </a:lnTo>
                  <a:lnTo>
                    <a:pt x="366" y="982"/>
                  </a:lnTo>
                  <a:lnTo>
                    <a:pt x="342" y="1034"/>
                  </a:lnTo>
                  <a:lnTo>
                    <a:pt x="284" y="1023"/>
                  </a:lnTo>
                  <a:lnTo>
                    <a:pt x="215" y="988"/>
                  </a:lnTo>
                  <a:lnTo>
                    <a:pt x="232" y="918"/>
                  </a:lnTo>
                  <a:lnTo>
                    <a:pt x="203" y="889"/>
                  </a:lnTo>
                  <a:lnTo>
                    <a:pt x="122" y="918"/>
                  </a:lnTo>
                  <a:lnTo>
                    <a:pt x="87" y="860"/>
                  </a:lnTo>
                  <a:lnTo>
                    <a:pt x="23" y="901"/>
                  </a:lnTo>
                  <a:lnTo>
                    <a:pt x="0" y="784"/>
                  </a:lnTo>
                  <a:lnTo>
                    <a:pt x="52" y="692"/>
                  </a:lnTo>
                  <a:lnTo>
                    <a:pt x="58" y="640"/>
                  </a:lnTo>
                  <a:lnTo>
                    <a:pt x="262" y="529"/>
                  </a:lnTo>
                  <a:lnTo>
                    <a:pt x="360" y="326"/>
                  </a:lnTo>
                  <a:lnTo>
                    <a:pt x="314" y="285"/>
                  </a:lnTo>
                  <a:lnTo>
                    <a:pt x="319" y="239"/>
                  </a:lnTo>
                  <a:lnTo>
                    <a:pt x="384" y="192"/>
                  </a:lnTo>
                  <a:lnTo>
                    <a:pt x="360" y="186"/>
                  </a:lnTo>
                  <a:lnTo>
                    <a:pt x="342" y="174"/>
                  </a:lnTo>
                  <a:lnTo>
                    <a:pt x="349" y="146"/>
                  </a:lnTo>
                  <a:lnTo>
                    <a:pt x="377" y="151"/>
                  </a:lnTo>
                  <a:lnTo>
                    <a:pt x="429" y="186"/>
                  </a:lnTo>
                  <a:lnTo>
                    <a:pt x="476" y="186"/>
                  </a:lnTo>
                  <a:lnTo>
                    <a:pt x="511" y="239"/>
                  </a:lnTo>
                  <a:lnTo>
                    <a:pt x="656" y="268"/>
                  </a:lnTo>
                  <a:lnTo>
                    <a:pt x="778" y="174"/>
                  </a:lnTo>
                  <a:lnTo>
                    <a:pt x="691" y="52"/>
                  </a:lnTo>
                  <a:lnTo>
                    <a:pt x="720" y="29"/>
                  </a:lnTo>
                  <a:lnTo>
                    <a:pt x="843" y="105"/>
                  </a:lnTo>
                  <a:lnTo>
                    <a:pt x="872" y="87"/>
                  </a:lnTo>
                  <a:lnTo>
                    <a:pt x="965" y="99"/>
                  </a:lnTo>
                  <a:lnTo>
                    <a:pt x="1000" y="24"/>
                  </a:lnTo>
                  <a:lnTo>
                    <a:pt x="1000" y="0"/>
                  </a:lnTo>
                  <a:lnTo>
                    <a:pt x="1057" y="24"/>
                  </a:lnTo>
                  <a:lnTo>
                    <a:pt x="1052" y="59"/>
                  </a:lnTo>
                  <a:lnTo>
                    <a:pt x="1075" y="82"/>
                  </a:lnTo>
                  <a:lnTo>
                    <a:pt x="1075" y="256"/>
                  </a:lnTo>
                  <a:lnTo>
                    <a:pt x="1099" y="303"/>
                  </a:lnTo>
                  <a:lnTo>
                    <a:pt x="1296" y="268"/>
                  </a:lnTo>
                  <a:lnTo>
                    <a:pt x="1342" y="233"/>
                  </a:lnTo>
                  <a:lnTo>
                    <a:pt x="1401" y="268"/>
                  </a:lnTo>
                  <a:lnTo>
                    <a:pt x="1470" y="268"/>
                  </a:lnTo>
                  <a:lnTo>
                    <a:pt x="1499" y="296"/>
                  </a:lnTo>
                  <a:lnTo>
                    <a:pt x="1540" y="291"/>
                  </a:lnTo>
                  <a:lnTo>
                    <a:pt x="1633" y="16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7" name="Freeform 764"/>
            <p:cNvSpPr/>
            <p:nvPr/>
          </p:nvSpPr>
          <p:spPr bwMode="auto">
            <a:xfrm rot="20717457">
              <a:off x="5710238" y="1249363"/>
              <a:ext cx="46037" cy="17462"/>
            </a:xfrm>
            <a:custGeom>
              <a:avLst/>
              <a:gdLst>
                <a:gd name="T0" fmla="*/ 7 w 99"/>
                <a:gd name="T1" fmla="*/ 1 h 46"/>
                <a:gd name="T2" fmla="*/ 1 w 99"/>
                <a:gd name="T3" fmla="*/ 0 h 46"/>
                <a:gd name="T4" fmla="*/ 0 w 99"/>
                <a:gd name="T5" fmla="*/ 1 h 46"/>
                <a:gd name="T6" fmla="*/ 1 w 99"/>
                <a:gd name="T7" fmla="*/ 3 h 46"/>
                <a:gd name="T8" fmla="*/ 7 w 99"/>
                <a:gd name="T9" fmla="*/ 4 h 46"/>
                <a:gd name="T10" fmla="*/ 11 w 99"/>
                <a:gd name="T11" fmla="*/ 1 h 46"/>
                <a:gd name="T12" fmla="*/ 7 w 99"/>
                <a:gd name="T13" fmla="*/ 1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9"/>
                <a:gd name="T22" fmla="*/ 0 h 46"/>
                <a:gd name="T23" fmla="*/ 99 w 99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9" h="46">
                  <a:moveTo>
                    <a:pt x="64" y="11"/>
                  </a:moveTo>
                  <a:lnTo>
                    <a:pt x="12" y="0"/>
                  </a:lnTo>
                  <a:lnTo>
                    <a:pt x="0" y="11"/>
                  </a:lnTo>
                  <a:lnTo>
                    <a:pt x="12" y="40"/>
                  </a:lnTo>
                  <a:lnTo>
                    <a:pt x="64" y="46"/>
                  </a:lnTo>
                  <a:lnTo>
                    <a:pt x="99" y="17"/>
                  </a:lnTo>
                  <a:lnTo>
                    <a:pt x="64" y="1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8" name="Freeform 765"/>
            <p:cNvSpPr/>
            <p:nvPr/>
          </p:nvSpPr>
          <p:spPr bwMode="auto">
            <a:xfrm rot="20717457">
              <a:off x="5634038" y="1420813"/>
              <a:ext cx="50800" cy="22225"/>
            </a:xfrm>
            <a:custGeom>
              <a:avLst/>
              <a:gdLst>
                <a:gd name="T0" fmla="*/ 6 w 110"/>
                <a:gd name="T1" fmla="*/ 0 h 52"/>
                <a:gd name="T2" fmla="*/ 0 w 110"/>
                <a:gd name="T3" fmla="*/ 2 h 52"/>
                <a:gd name="T4" fmla="*/ 3 w 110"/>
                <a:gd name="T5" fmla="*/ 4 h 52"/>
                <a:gd name="T6" fmla="*/ 11 w 110"/>
                <a:gd name="T7" fmla="*/ 5 h 52"/>
                <a:gd name="T8" fmla="*/ 12 w 110"/>
                <a:gd name="T9" fmla="*/ 2 h 52"/>
                <a:gd name="T10" fmla="*/ 9 w 110"/>
                <a:gd name="T11" fmla="*/ 0 h 52"/>
                <a:gd name="T12" fmla="*/ 6 w 110"/>
                <a:gd name="T13" fmla="*/ 0 h 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0"/>
                <a:gd name="T22" fmla="*/ 0 h 52"/>
                <a:gd name="T23" fmla="*/ 110 w 110"/>
                <a:gd name="T24" fmla="*/ 52 h 5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0" h="52">
                  <a:moveTo>
                    <a:pt x="58" y="0"/>
                  </a:moveTo>
                  <a:lnTo>
                    <a:pt x="0" y="24"/>
                  </a:lnTo>
                  <a:lnTo>
                    <a:pt x="23" y="41"/>
                  </a:lnTo>
                  <a:lnTo>
                    <a:pt x="105" y="52"/>
                  </a:lnTo>
                  <a:lnTo>
                    <a:pt x="110" y="17"/>
                  </a:lnTo>
                  <a:lnTo>
                    <a:pt x="81" y="0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9" name="Freeform 766"/>
            <p:cNvSpPr/>
            <p:nvPr/>
          </p:nvSpPr>
          <p:spPr bwMode="auto">
            <a:xfrm rot="20717457">
              <a:off x="7837488" y="1811338"/>
              <a:ext cx="198437" cy="165100"/>
            </a:xfrm>
            <a:custGeom>
              <a:avLst/>
              <a:gdLst>
                <a:gd name="T0" fmla="*/ 19 w 436"/>
                <a:gd name="T1" fmla="*/ 0 h 424"/>
                <a:gd name="T2" fmla="*/ 11 w 436"/>
                <a:gd name="T3" fmla="*/ 18 h 424"/>
                <a:gd name="T4" fmla="*/ 0 w 436"/>
                <a:gd name="T5" fmla="*/ 23 h 424"/>
                <a:gd name="T6" fmla="*/ 9 w 436"/>
                <a:gd name="T7" fmla="*/ 23 h 424"/>
                <a:gd name="T8" fmla="*/ 9 w 436"/>
                <a:gd name="T9" fmla="*/ 33 h 424"/>
                <a:gd name="T10" fmla="*/ 17 w 436"/>
                <a:gd name="T11" fmla="*/ 36 h 424"/>
                <a:gd name="T12" fmla="*/ 27 w 436"/>
                <a:gd name="T13" fmla="*/ 31 h 424"/>
                <a:gd name="T14" fmla="*/ 30 w 436"/>
                <a:gd name="T15" fmla="*/ 33 h 424"/>
                <a:gd name="T16" fmla="*/ 36 w 436"/>
                <a:gd name="T17" fmla="*/ 37 h 424"/>
                <a:gd name="T18" fmla="*/ 42 w 436"/>
                <a:gd name="T19" fmla="*/ 34 h 424"/>
                <a:gd name="T20" fmla="*/ 44 w 436"/>
                <a:gd name="T21" fmla="*/ 39 h 424"/>
                <a:gd name="T22" fmla="*/ 47 w 436"/>
                <a:gd name="T23" fmla="*/ 23 h 424"/>
                <a:gd name="T24" fmla="*/ 41 w 436"/>
                <a:gd name="T25" fmla="*/ 25 h 424"/>
                <a:gd name="T26" fmla="*/ 44 w 436"/>
                <a:gd name="T27" fmla="*/ 19 h 424"/>
                <a:gd name="T28" fmla="*/ 39 w 436"/>
                <a:gd name="T29" fmla="*/ 15 h 424"/>
                <a:gd name="T30" fmla="*/ 39 w 436"/>
                <a:gd name="T31" fmla="*/ 13 h 424"/>
                <a:gd name="T32" fmla="*/ 27 w 436"/>
                <a:gd name="T33" fmla="*/ 11 h 424"/>
                <a:gd name="T34" fmla="*/ 21 w 436"/>
                <a:gd name="T35" fmla="*/ 14 h 424"/>
                <a:gd name="T36" fmla="*/ 24 w 436"/>
                <a:gd name="T37" fmla="*/ 3 h 424"/>
                <a:gd name="T38" fmla="*/ 19 w 436"/>
                <a:gd name="T39" fmla="*/ 0 h 4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36"/>
                <a:gd name="T61" fmla="*/ 0 h 424"/>
                <a:gd name="T62" fmla="*/ 436 w 436"/>
                <a:gd name="T63" fmla="*/ 424 h 4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36" h="424">
                  <a:moveTo>
                    <a:pt x="180" y="0"/>
                  </a:moveTo>
                  <a:lnTo>
                    <a:pt x="105" y="198"/>
                  </a:lnTo>
                  <a:lnTo>
                    <a:pt x="0" y="250"/>
                  </a:lnTo>
                  <a:lnTo>
                    <a:pt x="81" y="255"/>
                  </a:lnTo>
                  <a:lnTo>
                    <a:pt x="81" y="360"/>
                  </a:lnTo>
                  <a:lnTo>
                    <a:pt x="162" y="389"/>
                  </a:lnTo>
                  <a:lnTo>
                    <a:pt x="255" y="342"/>
                  </a:lnTo>
                  <a:lnTo>
                    <a:pt x="279" y="354"/>
                  </a:lnTo>
                  <a:lnTo>
                    <a:pt x="337" y="401"/>
                  </a:lnTo>
                  <a:lnTo>
                    <a:pt x="394" y="372"/>
                  </a:lnTo>
                  <a:lnTo>
                    <a:pt x="412" y="424"/>
                  </a:lnTo>
                  <a:lnTo>
                    <a:pt x="436" y="255"/>
                  </a:lnTo>
                  <a:lnTo>
                    <a:pt x="384" y="273"/>
                  </a:lnTo>
                  <a:lnTo>
                    <a:pt x="412" y="203"/>
                  </a:lnTo>
                  <a:lnTo>
                    <a:pt x="360" y="163"/>
                  </a:lnTo>
                  <a:lnTo>
                    <a:pt x="366" y="145"/>
                  </a:lnTo>
                  <a:lnTo>
                    <a:pt x="255" y="122"/>
                  </a:lnTo>
                  <a:lnTo>
                    <a:pt x="197" y="151"/>
                  </a:lnTo>
                  <a:lnTo>
                    <a:pt x="227" y="35"/>
                  </a:lnTo>
                  <a:lnTo>
                    <a:pt x="18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0" name="Freeform 767"/>
            <p:cNvSpPr/>
            <p:nvPr/>
          </p:nvSpPr>
          <p:spPr bwMode="auto">
            <a:xfrm rot="20717457">
              <a:off x="7742238" y="1938338"/>
              <a:ext cx="53975" cy="20637"/>
            </a:xfrm>
            <a:custGeom>
              <a:avLst/>
              <a:gdLst>
                <a:gd name="T0" fmla="*/ 10 w 122"/>
                <a:gd name="T1" fmla="*/ 0 h 53"/>
                <a:gd name="T2" fmla="*/ 3 w 122"/>
                <a:gd name="T3" fmla="*/ 1 h 53"/>
                <a:gd name="T4" fmla="*/ 0 w 122"/>
                <a:gd name="T5" fmla="*/ 1 h 53"/>
                <a:gd name="T6" fmla="*/ 0 w 122"/>
                <a:gd name="T7" fmla="*/ 2 h 53"/>
                <a:gd name="T8" fmla="*/ 9 w 122"/>
                <a:gd name="T9" fmla="*/ 3 h 53"/>
                <a:gd name="T10" fmla="*/ 11 w 122"/>
                <a:gd name="T11" fmla="*/ 5 h 53"/>
                <a:gd name="T12" fmla="*/ 13 w 122"/>
                <a:gd name="T13" fmla="*/ 3 h 53"/>
                <a:gd name="T14" fmla="*/ 10 w 122"/>
                <a:gd name="T15" fmla="*/ 0 h 5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2"/>
                <a:gd name="T25" fmla="*/ 0 h 53"/>
                <a:gd name="T26" fmla="*/ 122 w 122"/>
                <a:gd name="T27" fmla="*/ 53 h 5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2" h="53">
                  <a:moveTo>
                    <a:pt x="93" y="0"/>
                  </a:moveTo>
                  <a:lnTo>
                    <a:pt x="30" y="7"/>
                  </a:lnTo>
                  <a:lnTo>
                    <a:pt x="0" y="7"/>
                  </a:lnTo>
                  <a:lnTo>
                    <a:pt x="0" y="24"/>
                  </a:lnTo>
                  <a:lnTo>
                    <a:pt x="82" y="35"/>
                  </a:lnTo>
                  <a:lnTo>
                    <a:pt x="99" y="53"/>
                  </a:lnTo>
                  <a:lnTo>
                    <a:pt x="122" y="30"/>
                  </a:lnTo>
                  <a:lnTo>
                    <a:pt x="9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1" name="Freeform 768"/>
            <p:cNvSpPr/>
            <p:nvPr/>
          </p:nvSpPr>
          <p:spPr bwMode="auto">
            <a:xfrm rot="20717457">
              <a:off x="7783513" y="2030413"/>
              <a:ext cx="30162" cy="20637"/>
            </a:xfrm>
            <a:custGeom>
              <a:avLst/>
              <a:gdLst>
                <a:gd name="T0" fmla="*/ 4 w 75"/>
                <a:gd name="T1" fmla="*/ 0 h 47"/>
                <a:gd name="T2" fmla="*/ 0 w 75"/>
                <a:gd name="T3" fmla="*/ 3 h 47"/>
                <a:gd name="T4" fmla="*/ 2 w 75"/>
                <a:gd name="T5" fmla="*/ 4 h 47"/>
                <a:gd name="T6" fmla="*/ 7 w 75"/>
                <a:gd name="T7" fmla="*/ 5 h 47"/>
                <a:gd name="T8" fmla="*/ 6 w 75"/>
                <a:gd name="T9" fmla="*/ 1 h 47"/>
                <a:gd name="T10" fmla="*/ 4 w 75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47"/>
                <a:gd name="T20" fmla="*/ 75 w 75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47">
                  <a:moveTo>
                    <a:pt x="40" y="0"/>
                  </a:moveTo>
                  <a:lnTo>
                    <a:pt x="0" y="24"/>
                  </a:lnTo>
                  <a:lnTo>
                    <a:pt x="17" y="42"/>
                  </a:lnTo>
                  <a:lnTo>
                    <a:pt x="75" y="47"/>
                  </a:lnTo>
                  <a:lnTo>
                    <a:pt x="69" y="1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2" name="Freeform 769"/>
            <p:cNvSpPr/>
            <p:nvPr/>
          </p:nvSpPr>
          <p:spPr bwMode="auto">
            <a:xfrm rot="20717457">
              <a:off x="7854950" y="2012950"/>
              <a:ext cx="41275" cy="42863"/>
            </a:xfrm>
            <a:custGeom>
              <a:avLst/>
              <a:gdLst>
                <a:gd name="T0" fmla="*/ 2 w 87"/>
                <a:gd name="T1" fmla="*/ 10 h 105"/>
                <a:gd name="T2" fmla="*/ 0 w 87"/>
                <a:gd name="T3" fmla="*/ 6 h 105"/>
                <a:gd name="T4" fmla="*/ 3 w 87"/>
                <a:gd name="T5" fmla="*/ 0 h 105"/>
                <a:gd name="T6" fmla="*/ 6 w 87"/>
                <a:gd name="T7" fmla="*/ 1 h 105"/>
                <a:gd name="T8" fmla="*/ 5 w 87"/>
                <a:gd name="T9" fmla="*/ 4 h 105"/>
                <a:gd name="T10" fmla="*/ 10 w 87"/>
                <a:gd name="T11" fmla="*/ 7 h 105"/>
                <a:gd name="T12" fmla="*/ 9 w 87"/>
                <a:gd name="T13" fmla="*/ 10 h 105"/>
                <a:gd name="T14" fmla="*/ 3 w 87"/>
                <a:gd name="T15" fmla="*/ 10 h 105"/>
                <a:gd name="T16" fmla="*/ 2 w 87"/>
                <a:gd name="T17" fmla="*/ 10 h 1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05"/>
                <a:gd name="T29" fmla="*/ 87 w 87"/>
                <a:gd name="T30" fmla="*/ 105 h 1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05">
                  <a:moveTo>
                    <a:pt x="17" y="100"/>
                  </a:moveTo>
                  <a:lnTo>
                    <a:pt x="0" y="59"/>
                  </a:lnTo>
                  <a:lnTo>
                    <a:pt x="28" y="0"/>
                  </a:lnTo>
                  <a:lnTo>
                    <a:pt x="52" y="12"/>
                  </a:lnTo>
                  <a:lnTo>
                    <a:pt x="40" y="47"/>
                  </a:lnTo>
                  <a:lnTo>
                    <a:pt x="87" y="70"/>
                  </a:lnTo>
                  <a:lnTo>
                    <a:pt x="75" y="105"/>
                  </a:lnTo>
                  <a:lnTo>
                    <a:pt x="28" y="100"/>
                  </a:lnTo>
                  <a:lnTo>
                    <a:pt x="17" y="10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3" name="Freeform 770"/>
            <p:cNvSpPr/>
            <p:nvPr/>
          </p:nvSpPr>
          <p:spPr bwMode="auto">
            <a:xfrm rot="20717457">
              <a:off x="6088063" y="1928813"/>
              <a:ext cx="36512" cy="88900"/>
            </a:xfrm>
            <a:custGeom>
              <a:avLst/>
              <a:gdLst>
                <a:gd name="T0" fmla="*/ 8 w 76"/>
                <a:gd name="T1" fmla="*/ 19 h 232"/>
                <a:gd name="T2" fmla="*/ 7 w 76"/>
                <a:gd name="T3" fmla="*/ 14 h 232"/>
                <a:gd name="T4" fmla="*/ 9 w 76"/>
                <a:gd name="T5" fmla="*/ 5 h 232"/>
                <a:gd name="T6" fmla="*/ 7 w 76"/>
                <a:gd name="T7" fmla="*/ 0 h 232"/>
                <a:gd name="T8" fmla="*/ 0 w 76"/>
                <a:gd name="T9" fmla="*/ 0 h 232"/>
                <a:gd name="T10" fmla="*/ 6 w 76"/>
                <a:gd name="T11" fmla="*/ 4 h 232"/>
                <a:gd name="T12" fmla="*/ 0 w 76"/>
                <a:gd name="T13" fmla="*/ 11 h 232"/>
                <a:gd name="T14" fmla="*/ 3 w 76"/>
                <a:gd name="T15" fmla="*/ 16 h 232"/>
                <a:gd name="T16" fmla="*/ 5 w 76"/>
                <a:gd name="T17" fmla="*/ 20 h 232"/>
                <a:gd name="T18" fmla="*/ 8 w 76"/>
                <a:gd name="T19" fmla="*/ 21 h 232"/>
                <a:gd name="T20" fmla="*/ 8 w 76"/>
                <a:gd name="T21" fmla="*/ 19 h 2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6"/>
                <a:gd name="T34" fmla="*/ 0 h 232"/>
                <a:gd name="T35" fmla="*/ 76 w 76"/>
                <a:gd name="T36" fmla="*/ 232 h 2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6" h="232">
                  <a:moveTo>
                    <a:pt x="70" y="214"/>
                  </a:moveTo>
                  <a:lnTo>
                    <a:pt x="59" y="157"/>
                  </a:lnTo>
                  <a:lnTo>
                    <a:pt x="76" y="58"/>
                  </a:lnTo>
                  <a:lnTo>
                    <a:pt x="59" y="0"/>
                  </a:lnTo>
                  <a:lnTo>
                    <a:pt x="0" y="0"/>
                  </a:lnTo>
                  <a:lnTo>
                    <a:pt x="47" y="46"/>
                  </a:lnTo>
                  <a:lnTo>
                    <a:pt x="0" y="127"/>
                  </a:lnTo>
                  <a:lnTo>
                    <a:pt x="29" y="174"/>
                  </a:lnTo>
                  <a:lnTo>
                    <a:pt x="41" y="220"/>
                  </a:lnTo>
                  <a:lnTo>
                    <a:pt x="64" y="232"/>
                  </a:lnTo>
                  <a:lnTo>
                    <a:pt x="70" y="21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4" name="Freeform 771"/>
            <p:cNvSpPr/>
            <p:nvPr/>
          </p:nvSpPr>
          <p:spPr bwMode="auto">
            <a:xfrm rot="20717457">
              <a:off x="7107238" y="1547813"/>
              <a:ext cx="117475" cy="71437"/>
            </a:xfrm>
            <a:custGeom>
              <a:avLst/>
              <a:gdLst>
                <a:gd name="T0" fmla="*/ 3 w 256"/>
                <a:gd name="T1" fmla="*/ 0 h 187"/>
                <a:gd name="T2" fmla="*/ 4 w 256"/>
                <a:gd name="T3" fmla="*/ 3 h 187"/>
                <a:gd name="T4" fmla="*/ 0 w 256"/>
                <a:gd name="T5" fmla="*/ 11 h 187"/>
                <a:gd name="T6" fmla="*/ 8 w 256"/>
                <a:gd name="T7" fmla="*/ 17 h 187"/>
                <a:gd name="T8" fmla="*/ 12 w 256"/>
                <a:gd name="T9" fmla="*/ 15 h 187"/>
                <a:gd name="T10" fmla="*/ 11 w 256"/>
                <a:gd name="T11" fmla="*/ 11 h 187"/>
                <a:gd name="T12" fmla="*/ 17 w 256"/>
                <a:gd name="T13" fmla="*/ 15 h 187"/>
                <a:gd name="T14" fmla="*/ 24 w 256"/>
                <a:gd name="T15" fmla="*/ 17 h 187"/>
                <a:gd name="T16" fmla="*/ 28 w 256"/>
                <a:gd name="T17" fmla="*/ 15 h 187"/>
                <a:gd name="T18" fmla="*/ 26 w 256"/>
                <a:gd name="T19" fmla="*/ 10 h 187"/>
                <a:gd name="T20" fmla="*/ 21 w 256"/>
                <a:gd name="T21" fmla="*/ 11 h 187"/>
                <a:gd name="T22" fmla="*/ 17 w 256"/>
                <a:gd name="T23" fmla="*/ 4 h 187"/>
                <a:gd name="T24" fmla="*/ 10 w 256"/>
                <a:gd name="T25" fmla="*/ 0 h 187"/>
                <a:gd name="T26" fmla="*/ 3 w 256"/>
                <a:gd name="T27" fmla="*/ 0 h 18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56"/>
                <a:gd name="T43" fmla="*/ 0 h 187"/>
                <a:gd name="T44" fmla="*/ 256 w 256"/>
                <a:gd name="T45" fmla="*/ 187 h 18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56" h="187">
                  <a:moveTo>
                    <a:pt x="29" y="0"/>
                  </a:moveTo>
                  <a:lnTo>
                    <a:pt x="41" y="30"/>
                  </a:lnTo>
                  <a:lnTo>
                    <a:pt x="0" y="122"/>
                  </a:lnTo>
                  <a:lnTo>
                    <a:pt x="69" y="187"/>
                  </a:lnTo>
                  <a:lnTo>
                    <a:pt x="111" y="169"/>
                  </a:lnTo>
                  <a:lnTo>
                    <a:pt x="104" y="122"/>
                  </a:lnTo>
                  <a:lnTo>
                    <a:pt x="157" y="169"/>
                  </a:lnTo>
                  <a:lnTo>
                    <a:pt x="215" y="187"/>
                  </a:lnTo>
                  <a:lnTo>
                    <a:pt x="256" y="164"/>
                  </a:lnTo>
                  <a:lnTo>
                    <a:pt x="238" y="111"/>
                  </a:lnTo>
                  <a:lnTo>
                    <a:pt x="191" y="117"/>
                  </a:lnTo>
                  <a:lnTo>
                    <a:pt x="157" y="47"/>
                  </a:lnTo>
                  <a:lnTo>
                    <a:pt x="87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5" name="Freeform 772"/>
            <p:cNvSpPr/>
            <p:nvPr/>
          </p:nvSpPr>
          <p:spPr bwMode="auto">
            <a:xfrm rot="20717457">
              <a:off x="7150100" y="1644650"/>
              <a:ext cx="25400" cy="28575"/>
            </a:xfrm>
            <a:custGeom>
              <a:avLst/>
              <a:gdLst>
                <a:gd name="T0" fmla="*/ 5 w 52"/>
                <a:gd name="T1" fmla="*/ 0 h 70"/>
                <a:gd name="T2" fmla="*/ 0 w 52"/>
                <a:gd name="T3" fmla="*/ 1 h 70"/>
                <a:gd name="T4" fmla="*/ 0 w 52"/>
                <a:gd name="T5" fmla="*/ 7 h 70"/>
                <a:gd name="T6" fmla="*/ 3 w 52"/>
                <a:gd name="T7" fmla="*/ 5 h 70"/>
                <a:gd name="T8" fmla="*/ 5 w 52"/>
                <a:gd name="T9" fmla="*/ 5 h 70"/>
                <a:gd name="T10" fmla="*/ 6 w 52"/>
                <a:gd name="T11" fmla="*/ 3 h 70"/>
                <a:gd name="T12" fmla="*/ 5 w 52"/>
                <a:gd name="T13" fmla="*/ 0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0"/>
                <a:gd name="T23" fmla="*/ 52 w 52"/>
                <a:gd name="T24" fmla="*/ 70 h 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0">
                  <a:moveTo>
                    <a:pt x="41" y="0"/>
                  </a:moveTo>
                  <a:lnTo>
                    <a:pt x="0" y="5"/>
                  </a:lnTo>
                  <a:lnTo>
                    <a:pt x="0" y="70"/>
                  </a:lnTo>
                  <a:lnTo>
                    <a:pt x="24" y="52"/>
                  </a:lnTo>
                  <a:lnTo>
                    <a:pt x="47" y="47"/>
                  </a:lnTo>
                  <a:lnTo>
                    <a:pt x="52" y="29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6" name="Freeform 773"/>
            <p:cNvSpPr/>
            <p:nvPr/>
          </p:nvSpPr>
          <p:spPr bwMode="auto">
            <a:xfrm rot="20717457">
              <a:off x="6570663" y="1228725"/>
              <a:ext cx="138112" cy="92075"/>
            </a:xfrm>
            <a:custGeom>
              <a:avLst/>
              <a:gdLst>
                <a:gd name="T0" fmla="*/ 20 w 309"/>
                <a:gd name="T1" fmla="*/ 0 h 244"/>
                <a:gd name="T2" fmla="*/ 9 w 309"/>
                <a:gd name="T3" fmla="*/ 9 h 244"/>
                <a:gd name="T4" fmla="*/ 0 w 309"/>
                <a:gd name="T5" fmla="*/ 12 h 244"/>
                <a:gd name="T6" fmla="*/ 2 w 309"/>
                <a:gd name="T7" fmla="*/ 21 h 244"/>
                <a:gd name="T8" fmla="*/ 11 w 309"/>
                <a:gd name="T9" fmla="*/ 22 h 244"/>
                <a:gd name="T10" fmla="*/ 15 w 309"/>
                <a:gd name="T11" fmla="*/ 16 h 244"/>
                <a:gd name="T12" fmla="*/ 33 w 309"/>
                <a:gd name="T13" fmla="*/ 16 h 244"/>
                <a:gd name="T14" fmla="*/ 26 w 309"/>
                <a:gd name="T15" fmla="*/ 2 h 244"/>
                <a:gd name="T16" fmla="*/ 20 w 309"/>
                <a:gd name="T17" fmla="*/ 0 h 2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244"/>
                <a:gd name="T29" fmla="*/ 309 w 309"/>
                <a:gd name="T30" fmla="*/ 244 h 24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244">
                  <a:moveTo>
                    <a:pt x="187" y="0"/>
                  </a:moveTo>
                  <a:lnTo>
                    <a:pt x="88" y="105"/>
                  </a:lnTo>
                  <a:lnTo>
                    <a:pt x="0" y="128"/>
                  </a:lnTo>
                  <a:lnTo>
                    <a:pt x="18" y="232"/>
                  </a:lnTo>
                  <a:lnTo>
                    <a:pt x="100" y="244"/>
                  </a:lnTo>
                  <a:lnTo>
                    <a:pt x="145" y="175"/>
                  </a:lnTo>
                  <a:lnTo>
                    <a:pt x="309" y="180"/>
                  </a:lnTo>
                  <a:lnTo>
                    <a:pt x="245" y="18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7" name="Freeform 774"/>
            <p:cNvSpPr/>
            <p:nvPr/>
          </p:nvSpPr>
          <p:spPr bwMode="auto">
            <a:xfrm rot="20717457">
              <a:off x="6654800" y="1282700"/>
              <a:ext cx="192088" cy="188913"/>
            </a:xfrm>
            <a:custGeom>
              <a:avLst/>
              <a:gdLst>
                <a:gd name="T0" fmla="*/ 21 w 424"/>
                <a:gd name="T1" fmla="*/ 1 h 476"/>
                <a:gd name="T2" fmla="*/ 8 w 424"/>
                <a:gd name="T3" fmla="*/ 0 h 476"/>
                <a:gd name="T4" fmla="*/ 8 w 424"/>
                <a:gd name="T5" fmla="*/ 3 h 476"/>
                <a:gd name="T6" fmla="*/ 7 w 424"/>
                <a:gd name="T7" fmla="*/ 9 h 476"/>
                <a:gd name="T8" fmla="*/ 5 w 424"/>
                <a:gd name="T9" fmla="*/ 14 h 476"/>
                <a:gd name="T10" fmla="*/ 11 w 424"/>
                <a:gd name="T11" fmla="*/ 20 h 476"/>
                <a:gd name="T12" fmla="*/ 0 w 424"/>
                <a:gd name="T13" fmla="*/ 20 h 476"/>
                <a:gd name="T14" fmla="*/ 8 w 424"/>
                <a:gd name="T15" fmla="*/ 26 h 476"/>
                <a:gd name="T16" fmla="*/ 11 w 424"/>
                <a:gd name="T17" fmla="*/ 36 h 476"/>
                <a:gd name="T18" fmla="*/ 26 w 424"/>
                <a:gd name="T19" fmla="*/ 37 h 476"/>
                <a:gd name="T20" fmla="*/ 38 w 424"/>
                <a:gd name="T21" fmla="*/ 45 h 476"/>
                <a:gd name="T22" fmla="*/ 44 w 424"/>
                <a:gd name="T23" fmla="*/ 41 h 476"/>
                <a:gd name="T24" fmla="*/ 42 w 424"/>
                <a:gd name="T25" fmla="*/ 37 h 476"/>
                <a:gd name="T26" fmla="*/ 45 w 424"/>
                <a:gd name="T27" fmla="*/ 38 h 476"/>
                <a:gd name="T28" fmla="*/ 40 w 424"/>
                <a:gd name="T29" fmla="*/ 25 h 476"/>
                <a:gd name="T30" fmla="*/ 46 w 424"/>
                <a:gd name="T31" fmla="*/ 10 h 476"/>
                <a:gd name="T32" fmla="*/ 42 w 424"/>
                <a:gd name="T33" fmla="*/ 7 h 476"/>
                <a:gd name="T34" fmla="*/ 37 w 424"/>
                <a:gd name="T35" fmla="*/ 16 h 476"/>
                <a:gd name="T36" fmla="*/ 38 w 424"/>
                <a:gd name="T37" fmla="*/ 15 h 476"/>
                <a:gd name="T38" fmla="*/ 34 w 424"/>
                <a:gd name="T39" fmla="*/ 8 h 476"/>
                <a:gd name="T40" fmla="*/ 26 w 424"/>
                <a:gd name="T41" fmla="*/ 6 h 476"/>
                <a:gd name="T42" fmla="*/ 21 w 424"/>
                <a:gd name="T43" fmla="*/ 1 h 4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24"/>
                <a:gd name="T67" fmla="*/ 0 h 476"/>
                <a:gd name="T68" fmla="*/ 424 w 424"/>
                <a:gd name="T69" fmla="*/ 476 h 47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24" h="476">
                  <a:moveTo>
                    <a:pt x="197" y="6"/>
                  </a:moveTo>
                  <a:lnTo>
                    <a:pt x="75" y="0"/>
                  </a:lnTo>
                  <a:lnTo>
                    <a:pt x="70" y="35"/>
                  </a:lnTo>
                  <a:lnTo>
                    <a:pt x="63" y="94"/>
                  </a:lnTo>
                  <a:lnTo>
                    <a:pt x="46" y="146"/>
                  </a:lnTo>
                  <a:lnTo>
                    <a:pt x="105" y="209"/>
                  </a:lnTo>
                  <a:lnTo>
                    <a:pt x="0" y="209"/>
                  </a:lnTo>
                  <a:lnTo>
                    <a:pt x="75" y="279"/>
                  </a:lnTo>
                  <a:lnTo>
                    <a:pt x="105" y="383"/>
                  </a:lnTo>
                  <a:lnTo>
                    <a:pt x="244" y="395"/>
                  </a:lnTo>
                  <a:lnTo>
                    <a:pt x="354" y="476"/>
                  </a:lnTo>
                  <a:lnTo>
                    <a:pt x="407" y="436"/>
                  </a:lnTo>
                  <a:lnTo>
                    <a:pt x="384" y="395"/>
                  </a:lnTo>
                  <a:lnTo>
                    <a:pt x="419" y="401"/>
                  </a:lnTo>
                  <a:lnTo>
                    <a:pt x="372" y="267"/>
                  </a:lnTo>
                  <a:lnTo>
                    <a:pt x="424" y="111"/>
                  </a:lnTo>
                  <a:lnTo>
                    <a:pt x="384" y="76"/>
                  </a:lnTo>
                  <a:lnTo>
                    <a:pt x="342" y="174"/>
                  </a:lnTo>
                  <a:lnTo>
                    <a:pt x="349" y="162"/>
                  </a:lnTo>
                  <a:lnTo>
                    <a:pt x="314" y="87"/>
                  </a:lnTo>
                  <a:lnTo>
                    <a:pt x="238" y="59"/>
                  </a:lnTo>
                  <a:lnTo>
                    <a:pt x="197" y="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8" name="Freeform 775"/>
            <p:cNvSpPr/>
            <p:nvPr/>
          </p:nvSpPr>
          <p:spPr bwMode="auto">
            <a:xfrm rot="20717457">
              <a:off x="6864350" y="1287463"/>
              <a:ext cx="76200" cy="87312"/>
            </a:xfrm>
            <a:custGeom>
              <a:avLst/>
              <a:gdLst>
                <a:gd name="T0" fmla="*/ 0 w 163"/>
                <a:gd name="T1" fmla="*/ 7 h 233"/>
                <a:gd name="T2" fmla="*/ 6 w 163"/>
                <a:gd name="T3" fmla="*/ 15 h 233"/>
                <a:gd name="T4" fmla="*/ 3 w 163"/>
                <a:gd name="T5" fmla="*/ 21 h 233"/>
                <a:gd name="T6" fmla="*/ 8 w 163"/>
                <a:gd name="T7" fmla="*/ 21 h 233"/>
                <a:gd name="T8" fmla="*/ 17 w 163"/>
                <a:gd name="T9" fmla="*/ 16 h 233"/>
                <a:gd name="T10" fmla="*/ 18 w 163"/>
                <a:gd name="T11" fmla="*/ 13 h 233"/>
                <a:gd name="T12" fmla="*/ 16 w 163"/>
                <a:gd name="T13" fmla="*/ 2 h 233"/>
                <a:gd name="T14" fmla="*/ 10 w 163"/>
                <a:gd name="T15" fmla="*/ 0 h 233"/>
                <a:gd name="T16" fmla="*/ 7 w 163"/>
                <a:gd name="T17" fmla="*/ 6 h 233"/>
                <a:gd name="T18" fmla="*/ 3 w 163"/>
                <a:gd name="T19" fmla="*/ 5 h 233"/>
                <a:gd name="T20" fmla="*/ 0 w 163"/>
                <a:gd name="T21" fmla="*/ 7 h 2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3"/>
                <a:gd name="T34" fmla="*/ 0 h 233"/>
                <a:gd name="T35" fmla="*/ 163 w 163"/>
                <a:gd name="T36" fmla="*/ 233 h 2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3" h="233">
                  <a:moveTo>
                    <a:pt x="0" y="82"/>
                  </a:moveTo>
                  <a:lnTo>
                    <a:pt x="52" y="163"/>
                  </a:lnTo>
                  <a:lnTo>
                    <a:pt x="29" y="233"/>
                  </a:lnTo>
                  <a:lnTo>
                    <a:pt x="70" y="233"/>
                  </a:lnTo>
                  <a:lnTo>
                    <a:pt x="151" y="180"/>
                  </a:lnTo>
                  <a:lnTo>
                    <a:pt x="163" y="145"/>
                  </a:lnTo>
                  <a:lnTo>
                    <a:pt x="146" y="18"/>
                  </a:lnTo>
                  <a:lnTo>
                    <a:pt x="94" y="0"/>
                  </a:lnTo>
                  <a:lnTo>
                    <a:pt x="64" y="70"/>
                  </a:lnTo>
                  <a:lnTo>
                    <a:pt x="29" y="58"/>
                  </a:lnTo>
                  <a:lnTo>
                    <a:pt x="0" y="8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9" name="Freeform 776"/>
            <p:cNvSpPr/>
            <p:nvPr/>
          </p:nvSpPr>
          <p:spPr bwMode="auto">
            <a:xfrm rot="20717457">
              <a:off x="6951663" y="1274763"/>
              <a:ext cx="55562" cy="58737"/>
            </a:xfrm>
            <a:custGeom>
              <a:avLst/>
              <a:gdLst>
                <a:gd name="T0" fmla="*/ 1 w 116"/>
                <a:gd name="T1" fmla="*/ 4 h 150"/>
                <a:gd name="T2" fmla="*/ 0 w 116"/>
                <a:gd name="T3" fmla="*/ 14 h 150"/>
                <a:gd name="T4" fmla="*/ 7 w 116"/>
                <a:gd name="T5" fmla="*/ 14 h 150"/>
                <a:gd name="T6" fmla="*/ 13 w 116"/>
                <a:gd name="T7" fmla="*/ 4 h 150"/>
                <a:gd name="T8" fmla="*/ 8 w 116"/>
                <a:gd name="T9" fmla="*/ 0 h 150"/>
                <a:gd name="T10" fmla="*/ 3 w 116"/>
                <a:gd name="T11" fmla="*/ 0 h 150"/>
                <a:gd name="T12" fmla="*/ 1 w 116"/>
                <a:gd name="T13" fmla="*/ 4 h 1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6"/>
                <a:gd name="T22" fmla="*/ 0 h 150"/>
                <a:gd name="T23" fmla="*/ 116 w 116"/>
                <a:gd name="T24" fmla="*/ 150 h 15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6" h="150">
                  <a:moveTo>
                    <a:pt x="11" y="46"/>
                  </a:moveTo>
                  <a:lnTo>
                    <a:pt x="0" y="145"/>
                  </a:lnTo>
                  <a:lnTo>
                    <a:pt x="58" y="150"/>
                  </a:lnTo>
                  <a:lnTo>
                    <a:pt x="116" y="46"/>
                  </a:lnTo>
                  <a:lnTo>
                    <a:pt x="75" y="0"/>
                  </a:lnTo>
                  <a:lnTo>
                    <a:pt x="29" y="0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0" name="Freeform 777"/>
            <p:cNvSpPr/>
            <p:nvPr/>
          </p:nvSpPr>
          <p:spPr bwMode="auto">
            <a:xfrm rot="20717457">
              <a:off x="7045325" y="1236663"/>
              <a:ext cx="452438" cy="415925"/>
            </a:xfrm>
            <a:custGeom>
              <a:avLst/>
              <a:gdLst>
                <a:gd name="T0" fmla="*/ 10 w 987"/>
                <a:gd name="T1" fmla="*/ 5 h 1074"/>
                <a:gd name="T2" fmla="*/ 0 w 987"/>
                <a:gd name="T3" fmla="*/ 12 h 1074"/>
                <a:gd name="T4" fmla="*/ 3 w 987"/>
                <a:gd name="T5" fmla="*/ 21 h 1074"/>
                <a:gd name="T6" fmla="*/ 21 w 987"/>
                <a:gd name="T7" fmla="*/ 27 h 1074"/>
                <a:gd name="T8" fmla="*/ 37 w 987"/>
                <a:gd name="T9" fmla="*/ 31 h 1074"/>
                <a:gd name="T10" fmla="*/ 41 w 987"/>
                <a:gd name="T11" fmla="*/ 27 h 1074"/>
                <a:gd name="T12" fmla="*/ 54 w 987"/>
                <a:gd name="T13" fmla="*/ 35 h 1074"/>
                <a:gd name="T14" fmla="*/ 53 w 987"/>
                <a:gd name="T15" fmla="*/ 43 h 1074"/>
                <a:gd name="T16" fmla="*/ 62 w 987"/>
                <a:gd name="T17" fmla="*/ 55 h 1074"/>
                <a:gd name="T18" fmla="*/ 61 w 987"/>
                <a:gd name="T19" fmla="*/ 66 h 1074"/>
                <a:gd name="T20" fmla="*/ 48 w 987"/>
                <a:gd name="T21" fmla="*/ 67 h 1074"/>
                <a:gd name="T22" fmla="*/ 58 w 987"/>
                <a:gd name="T23" fmla="*/ 79 h 1074"/>
                <a:gd name="T24" fmla="*/ 73 w 987"/>
                <a:gd name="T25" fmla="*/ 90 h 1074"/>
                <a:gd name="T26" fmla="*/ 81 w 987"/>
                <a:gd name="T27" fmla="*/ 93 h 1074"/>
                <a:gd name="T28" fmla="*/ 103 w 987"/>
                <a:gd name="T29" fmla="*/ 95 h 1074"/>
                <a:gd name="T30" fmla="*/ 90 w 987"/>
                <a:gd name="T31" fmla="*/ 84 h 1074"/>
                <a:gd name="T32" fmla="*/ 106 w 987"/>
                <a:gd name="T33" fmla="*/ 87 h 1074"/>
                <a:gd name="T34" fmla="*/ 101 w 987"/>
                <a:gd name="T35" fmla="*/ 78 h 1074"/>
                <a:gd name="T36" fmla="*/ 92 w 987"/>
                <a:gd name="T37" fmla="*/ 66 h 1074"/>
                <a:gd name="T38" fmla="*/ 102 w 987"/>
                <a:gd name="T39" fmla="*/ 66 h 1074"/>
                <a:gd name="T40" fmla="*/ 104 w 987"/>
                <a:gd name="T41" fmla="*/ 72 h 1074"/>
                <a:gd name="T42" fmla="*/ 108 w 987"/>
                <a:gd name="T43" fmla="*/ 62 h 1074"/>
                <a:gd name="T44" fmla="*/ 98 w 987"/>
                <a:gd name="T45" fmla="*/ 53 h 1074"/>
                <a:gd name="T46" fmla="*/ 82 w 987"/>
                <a:gd name="T47" fmla="*/ 45 h 1074"/>
                <a:gd name="T48" fmla="*/ 81 w 987"/>
                <a:gd name="T49" fmla="*/ 36 h 1074"/>
                <a:gd name="T50" fmla="*/ 69 w 987"/>
                <a:gd name="T51" fmla="*/ 26 h 1074"/>
                <a:gd name="T52" fmla="*/ 58 w 987"/>
                <a:gd name="T53" fmla="*/ 16 h 1074"/>
                <a:gd name="T54" fmla="*/ 45 w 987"/>
                <a:gd name="T55" fmla="*/ 13 h 1074"/>
                <a:gd name="T56" fmla="*/ 33 w 987"/>
                <a:gd name="T57" fmla="*/ 10 h 1074"/>
                <a:gd name="T58" fmla="*/ 30 w 987"/>
                <a:gd name="T59" fmla="*/ 5 h 1074"/>
                <a:gd name="T60" fmla="*/ 18 w 987"/>
                <a:gd name="T61" fmla="*/ 17 h 1074"/>
                <a:gd name="T62" fmla="*/ 16 w 987"/>
                <a:gd name="T63" fmla="*/ 5 h 10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7"/>
                <a:gd name="T97" fmla="*/ 0 h 1074"/>
                <a:gd name="T98" fmla="*/ 987 w 987"/>
                <a:gd name="T99" fmla="*/ 1074 h 10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7" h="1074">
                  <a:moveTo>
                    <a:pt x="110" y="0"/>
                  </a:moveTo>
                  <a:lnTo>
                    <a:pt x="93" y="52"/>
                  </a:lnTo>
                  <a:lnTo>
                    <a:pt x="16" y="80"/>
                  </a:lnTo>
                  <a:lnTo>
                    <a:pt x="0" y="133"/>
                  </a:lnTo>
                  <a:lnTo>
                    <a:pt x="58" y="197"/>
                  </a:lnTo>
                  <a:lnTo>
                    <a:pt x="28" y="226"/>
                  </a:lnTo>
                  <a:lnTo>
                    <a:pt x="86" y="284"/>
                  </a:lnTo>
                  <a:lnTo>
                    <a:pt x="191" y="296"/>
                  </a:lnTo>
                  <a:lnTo>
                    <a:pt x="330" y="377"/>
                  </a:lnTo>
                  <a:lnTo>
                    <a:pt x="342" y="336"/>
                  </a:lnTo>
                  <a:lnTo>
                    <a:pt x="307" y="267"/>
                  </a:lnTo>
                  <a:lnTo>
                    <a:pt x="377" y="296"/>
                  </a:lnTo>
                  <a:lnTo>
                    <a:pt x="394" y="359"/>
                  </a:lnTo>
                  <a:lnTo>
                    <a:pt x="494" y="377"/>
                  </a:lnTo>
                  <a:lnTo>
                    <a:pt x="522" y="418"/>
                  </a:lnTo>
                  <a:lnTo>
                    <a:pt x="482" y="470"/>
                  </a:lnTo>
                  <a:lnTo>
                    <a:pt x="586" y="523"/>
                  </a:lnTo>
                  <a:lnTo>
                    <a:pt x="563" y="592"/>
                  </a:lnTo>
                  <a:lnTo>
                    <a:pt x="539" y="610"/>
                  </a:lnTo>
                  <a:lnTo>
                    <a:pt x="557" y="714"/>
                  </a:lnTo>
                  <a:lnTo>
                    <a:pt x="499" y="755"/>
                  </a:lnTo>
                  <a:lnTo>
                    <a:pt x="435" y="725"/>
                  </a:lnTo>
                  <a:lnTo>
                    <a:pt x="424" y="865"/>
                  </a:lnTo>
                  <a:lnTo>
                    <a:pt x="529" y="859"/>
                  </a:lnTo>
                  <a:lnTo>
                    <a:pt x="557" y="836"/>
                  </a:lnTo>
                  <a:lnTo>
                    <a:pt x="668" y="976"/>
                  </a:lnTo>
                  <a:lnTo>
                    <a:pt x="714" y="976"/>
                  </a:lnTo>
                  <a:lnTo>
                    <a:pt x="738" y="1011"/>
                  </a:lnTo>
                  <a:lnTo>
                    <a:pt x="947" y="1074"/>
                  </a:lnTo>
                  <a:lnTo>
                    <a:pt x="941" y="1028"/>
                  </a:lnTo>
                  <a:lnTo>
                    <a:pt x="842" y="952"/>
                  </a:lnTo>
                  <a:lnTo>
                    <a:pt x="825" y="912"/>
                  </a:lnTo>
                  <a:lnTo>
                    <a:pt x="953" y="993"/>
                  </a:lnTo>
                  <a:lnTo>
                    <a:pt x="970" y="946"/>
                  </a:lnTo>
                  <a:lnTo>
                    <a:pt x="918" y="865"/>
                  </a:lnTo>
                  <a:lnTo>
                    <a:pt x="923" y="847"/>
                  </a:lnTo>
                  <a:lnTo>
                    <a:pt x="825" y="772"/>
                  </a:lnTo>
                  <a:lnTo>
                    <a:pt x="842" y="720"/>
                  </a:lnTo>
                  <a:lnTo>
                    <a:pt x="784" y="673"/>
                  </a:lnTo>
                  <a:lnTo>
                    <a:pt x="930" y="714"/>
                  </a:lnTo>
                  <a:lnTo>
                    <a:pt x="930" y="772"/>
                  </a:lnTo>
                  <a:lnTo>
                    <a:pt x="947" y="778"/>
                  </a:lnTo>
                  <a:lnTo>
                    <a:pt x="965" y="702"/>
                  </a:lnTo>
                  <a:lnTo>
                    <a:pt x="987" y="673"/>
                  </a:lnTo>
                  <a:lnTo>
                    <a:pt x="975" y="586"/>
                  </a:lnTo>
                  <a:lnTo>
                    <a:pt x="895" y="580"/>
                  </a:lnTo>
                  <a:lnTo>
                    <a:pt x="860" y="523"/>
                  </a:lnTo>
                  <a:lnTo>
                    <a:pt x="749" y="488"/>
                  </a:lnTo>
                  <a:lnTo>
                    <a:pt x="714" y="435"/>
                  </a:lnTo>
                  <a:lnTo>
                    <a:pt x="738" y="389"/>
                  </a:lnTo>
                  <a:lnTo>
                    <a:pt x="703" y="313"/>
                  </a:lnTo>
                  <a:lnTo>
                    <a:pt x="633" y="284"/>
                  </a:lnTo>
                  <a:lnTo>
                    <a:pt x="539" y="249"/>
                  </a:lnTo>
                  <a:lnTo>
                    <a:pt x="529" y="174"/>
                  </a:lnTo>
                  <a:lnTo>
                    <a:pt x="435" y="197"/>
                  </a:lnTo>
                  <a:lnTo>
                    <a:pt x="412" y="145"/>
                  </a:lnTo>
                  <a:lnTo>
                    <a:pt x="319" y="174"/>
                  </a:lnTo>
                  <a:lnTo>
                    <a:pt x="302" y="104"/>
                  </a:lnTo>
                  <a:lnTo>
                    <a:pt x="382" y="92"/>
                  </a:lnTo>
                  <a:lnTo>
                    <a:pt x="278" y="57"/>
                  </a:lnTo>
                  <a:lnTo>
                    <a:pt x="191" y="63"/>
                  </a:lnTo>
                  <a:lnTo>
                    <a:pt x="168" y="179"/>
                  </a:lnTo>
                  <a:lnTo>
                    <a:pt x="133" y="122"/>
                  </a:lnTo>
                  <a:lnTo>
                    <a:pt x="150" y="52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1" name="Freeform 778"/>
            <p:cNvSpPr/>
            <p:nvPr/>
          </p:nvSpPr>
          <p:spPr bwMode="auto">
            <a:xfrm rot="20717457">
              <a:off x="6956425" y="1173163"/>
              <a:ext cx="160338" cy="84137"/>
            </a:xfrm>
            <a:custGeom>
              <a:avLst/>
              <a:gdLst>
                <a:gd name="T0" fmla="*/ 0 w 354"/>
                <a:gd name="T1" fmla="*/ 4 h 227"/>
                <a:gd name="T2" fmla="*/ 6 w 354"/>
                <a:gd name="T3" fmla="*/ 7 h 227"/>
                <a:gd name="T4" fmla="*/ 6 w 354"/>
                <a:gd name="T5" fmla="*/ 17 h 227"/>
                <a:gd name="T6" fmla="*/ 38 w 354"/>
                <a:gd name="T7" fmla="*/ 20 h 227"/>
                <a:gd name="T8" fmla="*/ 38 w 354"/>
                <a:gd name="T9" fmla="*/ 15 h 227"/>
                <a:gd name="T10" fmla="*/ 17 w 354"/>
                <a:gd name="T11" fmla="*/ 11 h 227"/>
                <a:gd name="T12" fmla="*/ 6 w 354"/>
                <a:gd name="T13" fmla="*/ 2 h 227"/>
                <a:gd name="T14" fmla="*/ 0 w 354"/>
                <a:gd name="T15" fmla="*/ 0 h 227"/>
                <a:gd name="T16" fmla="*/ 0 w 354"/>
                <a:gd name="T17" fmla="*/ 4 h 2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4"/>
                <a:gd name="T28" fmla="*/ 0 h 227"/>
                <a:gd name="T29" fmla="*/ 354 w 354"/>
                <a:gd name="T30" fmla="*/ 227 h 2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4" h="227">
                  <a:moveTo>
                    <a:pt x="0" y="41"/>
                  </a:moveTo>
                  <a:lnTo>
                    <a:pt x="52" y="82"/>
                  </a:lnTo>
                  <a:lnTo>
                    <a:pt x="52" y="197"/>
                  </a:lnTo>
                  <a:lnTo>
                    <a:pt x="354" y="227"/>
                  </a:lnTo>
                  <a:lnTo>
                    <a:pt x="354" y="169"/>
                  </a:lnTo>
                  <a:lnTo>
                    <a:pt x="162" y="122"/>
                  </a:lnTo>
                  <a:lnTo>
                    <a:pt x="57" y="18"/>
                  </a:lnTo>
                  <a:lnTo>
                    <a:pt x="0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2" name="Freeform 779"/>
            <p:cNvSpPr/>
            <p:nvPr/>
          </p:nvSpPr>
          <p:spPr bwMode="auto">
            <a:xfrm rot="20717457">
              <a:off x="6734175" y="1182688"/>
              <a:ext cx="125413" cy="74612"/>
            </a:xfrm>
            <a:custGeom>
              <a:avLst/>
              <a:gdLst>
                <a:gd name="T0" fmla="*/ 7 w 284"/>
                <a:gd name="T1" fmla="*/ 0 h 185"/>
                <a:gd name="T2" fmla="*/ 21 w 284"/>
                <a:gd name="T3" fmla="*/ 5 h 185"/>
                <a:gd name="T4" fmla="*/ 30 w 284"/>
                <a:gd name="T5" fmla="*/ 12 h 185"/>
                <a:gd name="T6" fmla="*/ 21 w 284"/>
                <a:gd name="T7" fmla="*/ 18 h 185"/>
                <a:gd name="T8" fmla="*/ 12 w 284"/>
                <a:gd name="T9" fmla="*/ 16 h 185"/>
                <a:gd name="T10" fmla="*/ 5 w 284"/>
                <a:gd name="T11" fmla="*/ 13 h 185"/>
                <a:gd name="T12" fmla="*/ 5 w 284"/>
                <a:gd name="T13" fmla="*/ 9 h 185"/>
                <a:gd name="T14" fmla="*/ 0 w 284"/>
                <a:gd name="T15" fmla="*/ 5 h 185"/>
                <a:gd name="T16" fmla="*/ 7 w 284"/>
                <a:gd name="T17" fmla="*/ 0 h 1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4"/>
                <a:gd name="T28" fmla="*/ 0 h 185"/>
                <a:gd name="T29" fmla="*/ 284 w 284"/>
                <a:gd name="T30" fmla="*/ 185 h 18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4" h="185">
                  <a:moveTo>
                    <a:pt x="63" y="0"/>
                  </a:moveTo>
                  <a:lnTo>
                    <a:pt x="202" y="52"/>
                  </a:lnTo>
                  <a:lnTo>
                    <a:pt x="284" y="122"/>
                  </a:lnTo>
                  <a:lnTo>
                    <a:pt x="197" y="185"/>
                  </a:lnTo>
                  <a:lnTo>
                    <a:pt x="110" y="162"/>
                  </a:lnTo>
                  <a:lnTo>
                    <a:pt x="52" y="133"/>
                  </a:lnTo>
                  <a:lnTo>
                    <a:pt x="45" y="92"/>
                  </a:lnTo>
                  <a:lnTo>
                    <a:pt x="0" y="5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3" name="Freeform 780"/>
            <p:cNvSpPr/>
            <p:nvPr/>
          </p:nvSpPr>
          <p:spPr bwMode="auto">
            <a:xfrm rot="20717457">
              <a:off x="6869113" y="1198563"/>
              <a:ext cx="53975" cy="58737"/>
            </a:xfrm>
            <a:custGeom>
              <a:avLst/>
              <a:gdLst>
                <a:gd name="T0" fmla="*/ 9 w 127"/>
                <a:gd name="T1" fmla="*/ 0 h 134"/>
                <a:gd name="T2" fmla="*/ 2 w 127"/>
                <a:gd name="T3" fmla="*/ 3 h 134"/>
                <a:gd name="T4" fmla="*/ 0 w 127"/>
                <a:gd name="T5" fmla="*/ 7 h 134"/>
                <a:gd name="T6" fmla="*/ 4 w 127"/>
                <a:gd name="T7" fmla="*/ 8 h 134"/>
                <a:gd name="T8" fmla="*/ 4 w 127"/>
                <a:gd name="T9" fmla="*/ 12 h 134"/>
                <a:gd name="T10" fmla="*/ 10 w 127"/>
                <a:gd name="T11" fmla="*/ 14 h 134"/>
                <a:gd name="T12" fmla="*/ 13 w 127"/>
                <a:gd name="T13" fmla="*/ 13 h 134"/>
                <a:gd name="T14" fmla="*/ 10 w 127"/>
                <a:gd name="T15" fmla="*/ 8 h 134"/>
                <a:gd name="T16" fmla="*/ 13 w 127"/>
                <a:gd name="T17" fmla="*/ 7 h 134"/>
                <a:gd name="T18" fmla="*/ 9 w 127"/>
                <a:gd name="T19" fmla="*/ 0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7"/>
                <a:gd name="T31" fmla="*/ 0 h 134"/>
                <a:gd name="T32" fmla="*/ 127 w 127"/>
                <a:gd name="T33" fmla="*/ 134 h 1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7" h="134">
                  <a:moveTo>
                    <a:pt x="92" y="0"/>
                  </a:moveTo>
                  <a:lnTo>
                    <a:pt x="17" y="24"/>
                  </a:lnTo>
                  <a:lnTo>
                    <a:pt x="0" y="65"/>
                  </a:lnTo>
                  <a:lnTo>
                    <a:pt x="40" y="77"/>
                  </a:lnTo>
                  <a:lnTo>
                    <a:pt x="40" y="117"/>
                  </a:lnTo>
                  <a:lnTo>
                    <a:pt x="98" y="134"/>
                  </a:lnTo>
                  <a:lnTo>
                    <a:pt x="127" y="129"/>
                  </a:lnTo>
                  <a:lnTo>
                    <a:pt x="98" y="77"/>
                  </a:lnTo>
                  <a:lnTo>
                    <a:pt x="127" y="65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4" name="Freeform 781"/>
            <p:cNvSpPr/>
            <p:nvPr/>
          </p:nvSpPr>
          <p:spPr bwMode="auto">
            <a:xfrm rot="20717457">
              <a:off x="6683375" y="1195388"/>
              <a:ext cx="20638" cy="15875"/>
            </a:xfrm>
            <a:custGeom>
              <a:avLst/>
              <a:gdLst>
                <a:gd name="T0" fmla="*/ 3 w 47"/>
                <a:gd name="T1" fmla="*/ 0 h 35"/>
                <a:gd name="T2" fmla="*/ 0 w 47"/>
                <a:gd name="T3" fmla="*/ 0 h 35"/>
                <a:gd name="T4" fmla="*/ 2 w 47"/>
                <a:gd name="T5" fmla="*/ 4 h 35"/>
                <a:gd name="T6" fmla="*/ 5 w 47"/>
                <a:gd name="T7" fmla="*/ 3 h 35"/>
                <a:gd name="T8" fmla="*/ 3 w 47"/>
                <a:gd name="T9" fmla="*/ 0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7"/>
                <a:gd name="T16" fmla="*/ 0 h 35"/>
                <a:gd name="T17" fmla="*/ 47 w 47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7" h="35">
                  <a:moveTo>
                    <a:pt x="29" y="0"/>
                  </a:moveTo>
                  <a:lnTo>
                    <a:pt x="0" y="0"/>
                  </a:lnTo>
                  <a:lnTo>
                    <a:pt x="17" y="35"/>
                  </a:lnTo>
                  <a:lnTo>
                    <a:pt x="47" y="23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5" name="Freeform 782"/>
            <p:cNvSpPr/>
            <p:nvPr/>
          </p:nvSpPr>
          <p:spPr bwMode="auto">
            <a:xfrm rot="20717457">
              <a:off x="6956425" y="1228725"/>
              <a:ext cx="7938" cy="15875"/>
            </a:xfrm>
            <a:custGeom>
              <a:avLst/>
              <a:gdLst>
                <a:gd name="T0" fmla="*/ 2 w 24"/>
                <a:gd name="T1" fmla="*/ 2 h 41"/>
                <a:gd name="T2" fmla="*/ 1 w 24"/>
                <a:gd name="T3" fmla="*/ 0 h 41"/>
                <a:gd name="T4" fmla="*/ 0 w 24"/>
                <a:gd name="T5" fmla="*/ 4 h 41"/>
                <a:gd name="T6" fmla="*/ 1 w 24"/>
                <a:gd name="T7" fmla="*/ 4 h 41"/>
                <a:gd name="T8" fmla="*/ 2 w 24"/>
                <a:gd name="T9" fmla="*/ 2 h 4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41"/>
                <a:gd name="T17" fmla="*/ 24 w 24"/>
                <a:gd name="T18" fmla="*/ 41 h 4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41">
                  <a:moveTo>
                    <a:pt x="24" y="18"/>
                  </a:moveTo>
                  <a:lnTo>
                    <a:pt x="12" y="0"/>
                  </a:lnTo>
                  <a:lnTo>
                    <a:pt x="0" y="41"/>
                  </a:lnTo>
                  <a:lnTo>
                    <a:pt x="17" y="41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6" name="Freeform 783"/>
            <p:cNvSpPr/>
            <p:nvPr/>
          </p:nvSpPr>
          <p:spPr bwMode="auto">
            <a:xfrm rot="20717457">
              <a:off x="7234238" y="1425575"/>
              <a:ext cx="28575" cy="42863"/>
            </a:xfrm>
            <a:custGeom>
              <a:avLst/>
              <a:gdLst>
                <a:gd name="T0" fmla="*/ 6 w 70"/>
                <a:gd name="T1" fmla="*/ 9 h 104"/>
                <a:gd name="T2" fmla="*/ 7 w 70"/>
                <a:gd name="T3" fmla="*/ 5 h 104"/>
                <a:gd name="T4" fmla="*/ 2 w 70"/>
                <a:gd name="T5" fmla="*/ 0 h 104"/>
                <a:gd name="T6" fmla="*/ 1 w 70"/>
                <a:gd name="T7" fmla="*/ 1 h 104"/>
                <a:gd name="T8" fmla="*/ 2 w 70"/>
                <a:gd name="T9" fmla="*/ 6 h 104"/>
                <a:gd name="T10" fmla="*/ 0 w 70"/>
                <a:gd name="T11" fmla="*/ 10 h 104"/>
                <a:gd name="T12" fmla="*/ 5 w 70"/>
                <a:gd name="T13" fmla="*/ 10 h 104"/>
                <a:gd name="T14" fmla="*/ 6 w 70"/>
                <a:gd name="T15" fmla="*/ 9 h 1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0"/>
                <a:gd name="T25" fmla="*/ 0 h 104"/>
                <a:gd name="T26" fmla="*/ 70 w 70"/>
                <a:gd name="T27" fmla="*/ 104 h 1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0" h="104">
                  <a:moveTo>
                    <a:pt x="58" y="92"/>
                  </a:moveTo>
                  <a:lnTo>
                    <a:pt x="70" y="47"/>
                  </a:lnTo>
                  <a:lnTo>
                    <a:pt x="23" y="0"/>
                  </a:lnTo>
                  <a:lnTo>
                    <a:pt x="12" y="12"/>
                  </a:lnTo>
                  <a:lnTo>
                    <a:pt x="17" y="58"/>
                  </a:lnTo>
                  <a:lnTo>
                    <a:pt x="0" y="104"/>
                  </a:lnTo>
                  <a:lnTo>
                    <a:pt x="47" y="104"/>
                  </a:lnTo>
                  <a:lnTo>
                    <a:pt x="58" y="9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7" name="Freeform 784"/>
            <p:cNvSpPr/>
            <p:nvPr/>
          </p:nvSpPr>
          <p:spPr bwMode="auto">
            <a:xfrm rot="20717457">
              <a:off x="5700713" y="1123950"/>
              <a:ext cx="688975" cy="700088"/>
            </a:xfrm>
            <a:custGeom>
              <a:avLst/>
              <a:gdLst>
                <a:gd name="T0" fmla="*/ 82 w 1518"/>
                <a:gd name="T1" fmla="*/ 167 h 1801"/>
                <a:gd name="T2" fmla="*/ 98 w 1518"/>
                <a:gd name="T3" fmla="*/ 164 h 1801"/>
                <a:gd name="T4" fmla="*/ 101 w 1518"/>
                <a:gd name="T5" fmla="*/ 121 h 1801"/>
                <a:gd name="T6" fmla="*/ 94 w 1518"/>
                <a:gd name="T7" fmla="*/ 116 h 1801"/>
                <a:gd name="T8" fmla="*/ 92 w 1518"/>
                <a:gd name="T9" fmla="*/ 107 h 1801"/>
                <a:gd name="T10" fmla="*/ 99 w 1518"/>
                <a:gd name="T11" fmla="*/ 94 h 1801"/>
                <a:gd name="T12" fmla="*/ 164 w 1518"/>
                <a:gd name="T13" fmla="*/ 56 h 1801"/>
                <a:gd name="T14" fmla="*/ 163 w 1518"/>
                <a:gd name="T15" fmla="*/ 51 h 1801"/>
                <a:gd name="T16" fmla="*/ 155 w 1518"/>
                <a:gd name="T17" fmla="*/ 43 h 1801"/>
                <a:gd name="T18" fmla="*/ 155 w 1518"/>
                <a:gd name="T19" fmla="*/ 38 h 1801"/>
                <a:gd name="T20" fmla="*/ 149 w 1518"/>
                <a:gd name="T21" fmla="*/ 30 h 1801"/>
                <a:gd name="T22" fmla="*/ 151 w 1518"/>
                <a:gd name="T23" fmla="*/ 19 h 1801"/>
                <a:gd name="T24" fmla="*/ 143 w 1518"/>
                <a:gd name="T25" fmla="*/ 11 h 1801"/>
                <a:gd name="T26" fmla="*/ 124 w 1518"/>
                <a:gd name="T27" fmla="*/ 10 h 1801"/>
                <a:gd name="T28" fmla="*/ 113 w 1518"/>
                <a:gd name="T29" fmla="*/ 0 h 1801"/>
                <a:gd name="T30" fmla="*/ 98 w 1518"/>
                <a:gd name="T31" fmla="*/ 14 h 1801"/>
                <a:gd name="T32" fmla="*/ 99 w 1518"/>
                <a:gd name="T33" fmla="*/ 17 h 1801"/>
                <a:gd name="T34" fmla="*/ 94 w 1518"/>
                <a:gd name="T35" fmla="*/ 20 h 1801"/>
                <a:gd name="T36" fmla="*/ 91 w 1518"/>
                <a:gd name="T37" fmla="*/ 16 h 1801"/>
                <a:gd name="T38" fmla="*/ 92 w 1518"/>
                <a:gd name="T39" fmla="*/ 10 h 1801"/>
                <a:gd name="T40" fmla="*/ 87 w 1518"/>
                <a:gd name="T41" fmla="*/ 3 h 1801"/>
                <a:gd name="T42" fmla="*/ 76 w 1518"/>
                <a:gd name="T43" fmla="*/ 5 h 1801"/>
                <a:gd name="T44" fmla="*/ 72 w 1518"/>
                <a:gd name="T45" fmla="*/ 17 h 1801"/>
                <a:gd name="T46" fmla="*/ 75 w 1518"/>
                <a:gd name="T47" fmla="*/ 24 h 1801"/>
                <a:gd name="T48" fmla="*/ 70 w 1518"/>
                <a:gd name="T49" fmla="*/ 25 h 1801"/>
                <a:gd name="T50" fmla="*/ 51 w 1518"/>
                <a:gd name="T51" fmla="*/ 15 h 1801"/>
                <a:gd name="T52" fmla="*/ 29 w 1518"/>
                <a:gd name="T53" fmla="*/ 26 h 1801"/>
                <a:gd name="T54" fmla="*/ 28 w 1518"/>
                <a:gd name="T55" fmla="*/ 34 h 1801"/>
                <a:gd name="T56" fmla="*/ 31 w 1518"/>
                <a:gd name="T57" fmla="*/ 36 h 1801"/>
                <a:gd name="T58" fmla="*/ 21 w 1518"/>
                <a:gd name="T59" fmla="*/ 41 h 1801"/>
                <a:gd name="T60" fmla="*/ 28 w 1518"/>
                <a:gd name="T61" fmla="*/ 44 h 1801"/>
                <a:gd name="T62" fmla="*/ 25 w 1518"/>
                <a:gd name="T63" fmla="*/ 50 h 1801"/>
                <a:gd name="T64" fmla="*/ 32 w 1518"/>
                <a:gd name="T65" fmla="*/ 58 h 1801"/>
                <a:gd name="T66" fmla="*/ 1 w 1518"/>
                <a:gd name="T67" fmla="*/ 57 h 1801"/>
                <a:gd name="T68" fmla="*/ 0 w 1518"/>
                <a:gd name="T69" fmla="*/ 59 h 1801"/>
                <a:gd name="T70" fmla="*/ 37 w 1518"/>
                <a:gd name="T71" fmla="*/ 67 h 1801"/>
                <a:gd name="T72" fmla="*/ 59 w 1518"/>
                <a:gd name="T73" fmla="*/ 68 h 1801"/>
                <a:gd name="T74" fmla="*/ 49 w 1518"/>
                <a:gd name="T75" fmla="*/ 74 h 1801"/>
                <a:gd name="T76" fmla="*/ 55 w 1518"/>
                <a:gd name="T77" fmla="*/ 81 h 1801"/>
                <a:gd name="T78" fmla="*/ 67 w 1518"/>
                <a:gd name="T79" fmla="*/ 81 h 1801"/>
                <a:gd name="T80" fmla="*/ 69 w 1518"/>
                <a:gd name="T81" fmla="*/ 75 h 1801"/>
                <a:gd name="T82" fmla="*/ 74 w 1518"/>
                <a:gd name="T83" fmla="*/ 78 h 1801"/>
                <a:gd name="T84" fmla="*/ 72 w 1518"/>
                <a:gd name="T85" fmla="*/ 85 h 1801"/>
                <a:gd name="T86" fmla="*/ 75 w 1518"/>
                <a:gd name="T87" fmla="*/ 86 h 1801"/>
                <a:gd name="T88" fmla="*/ 75 w 1518"/>
                <a:gd name="T89" fmla="*/ 92 h 1801"/>
                <a:gd name="T90" fmla="*/ 82 w 1518"/>
                <a:gd name="T91" fmla="*/ 100 h 1801"/>
                <a:gd name="T92" fmla="*/ 84 w 1518"/>
                <a:gd name="T93" fmla="*/ 108 h 1801"/>
                <a:gd name="T94" fmla="*/ 82 w 1518"/>
                <a:gd name="T95" fmla="*/ 115 h 1801"/>
                <a:gd name="T96" fmla="*/ 86 w 1518"/>
                <a:gd name="T97" fmla="*/ 124 h 1801"/>
                <a:gd name="T98" fmla="*/ 91 w 1518"/>
                <a:gd name="T99" fmla="*/ 127 h 1801"/>
                <a:gd name="T100" fmla="*/ 94 w 1518"/>
                <a:gd name="T101" fmla="*/ 131 h 1801"/>
                <a:gd name="T102" fmla="*/ 84 w 1518"/>
                <a:gd name="T103" fmla="*/ 149 h 1801"/>
                <a:gd name="T104" fmla="*/ 82 w 1518"/>
                <a:gd name="T105" fmla="*/ 167 h 180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18"/>
                <a:gd name="T160" fmla="*/ 0 h 1801"/>
                <a:gd name="T161" fmla="*/ 1518 w 1518"/>
                <a:gd name="T162" fmla="*/ 1801 h 180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18" h="1801">
                  <a:moveTo>
                    <a:pt x="762" y="1801"/>
                  </a:moveTo>
                  <a:lnTo>
                    <a:pt x="907" y="1766"/>
                  </a:lnTo>
                  <a:lnTo>
                    <a:pt x="937" y="1301"/>
                  </a:lnTo>
                  <a:lnTo>
                    <a:pt x="872" y="1254"/>
                  </a:lnTo>
                  <a:lnTo>
                    <a:pt x="855" y="1150"/>
                  </a:lnTo>
                  <a:lnTo>
                    <a:pt x="919" y="1011"/>
                  </a:lnTo>
                  <a:lnTo>
                    <a:pt x="1518" y="604"/>
                  </a:lnTo>
                  <a:lnTo>
                    <a:pt x="1506" y="546"/>
                  </a:lnTo>
                  <a:lnTo>
                    <a:pt x="1436" y="465"/>
                  </a:lnTo>
                  <a:lnTo>
                    <a:pt x="1436" y="407"/>
                  </a:lnTo>
                  <a:lnTo>
                    <a:pt x="1378" y="325"/>
                  </a:lnTo>
                  <a:lnTo>
                    <a:pt x="1395" y="210"/>
                  </a:lnTo>
                  <a:lnTo>
                    <a:pt x="1326" y="122"/>
                  </a:lnTo>
                  <a:lnTo>
                    <a:pt x="1151" y="105"/>
                  </a:lnTo>
                  <a:lnTo>
                    <a:pt x="1047" y="0"/>
                  </a:lnTo>
                  <a:lnTo>
                    <a:pt x="907" y="151"/>
                  </a:lnTo>
                  <a:lnTo>
                    <a:pt x="919" y="180"/>
                  </a:lnTo>
                  <a:lnTo>
                    <a:pt x="867" y="215"/>
                  </a:lnTo>
                  <a:lnTo>
                    <a:pt x="843" y="175"/>
                  </a:lnTo>
                  <a:lnTo>
                    <a:pt x="849" y="110"/>
                  </a:lnTo>
                  <a:lnTo>
                    <a:pt x="803" y="29"/>
                  </a:lnTo>
                  <a:lnTo>
                    <a:pt x="703" y="58"/>
                  </a:lnTo>
                  <a:lnTo>
                    <a:pt x="663" y="180"/>
                  </a:lnTo>
                  <a:lnTo>
                    <a:pt x="698" y="255"/>
                  </a:lnTo>
                  <a:lnTo>
                    <a:pt x="651" y="267"/>
                  </a:lnTo>
                  <a:lnTo>
                    <a:pt x="471" y="163"/>
                  </a:lnTo>
                  <a:lnTo>
                    <a:pt x="267" y="279"/>
                  </a:lnTo>
                  <a:lnTo>
                    <a:pt x="256" y="372"/>
                  </a:lnTo>
                  <a:lnTo>
                    <a:pt x="291" y="384"/>
                  </a:lnTo>
                  <a:lnTo>
                    <a:pt x="198" y="447"/>
                  </a:lnTo>
                  <a:lnTo>
                    <a:pt x="262" y="477"/>
                  </a:lnTo>
                  <a:lnTo>
                    <a:pt x="232" y="541"/>
                  </a:lnTo>
                  <a:lnTo>
                    <a:pt x="297" y="628"/>
                  </a:lnTo>
                  <a:lnTo>
                    <a:pt x="7" y="611"/>
                  </a:lnTo>
                  <a:lnTo>
                    <a:pt x="0" y="639"/>
                  </a:lnTo>
                  <a:lnTo>
                    <a:pt x="344" y="721"/>
                  </a:lnTo>
                  <a:lnTo>
                    <a:pt x="546" y="738"/>
                  </a:lnTo>
                  <a:lnTo>
                    <a:pt x="454" y="802"/>
                  </a:lnTo>
                  <a:lnTo>
                    <a:pt x="511" y="872"/>
                  </a:lnTo>
                  <a:lnTo>
                    <a:pt x="623" y="872"/>
                  </a:lnTo>
                  <a:lnTo>
                    <a:pt x="640" y="808"/>
                  </a:lnTo>
                  <a:lnTo>
                    <a:pt x="686" y="843"/>
                  </a:lnTo>
                  <a:lnTo>
                    <a:pt x="668" y="912"/>
                  </a:lnTo>
                  <a:lnTo>
                    <a:pt x="698" y="924"/>
                  </a:lnTo>
                  <a:lnTo>
                    <a:pt x="698" y="994"/>
                  </a:lnTo>
                  <a:lnTo>
                    <a:pt x="762" y="1075"/>
                  </a:lnTo>
                  <a:lnTo>
                    <a:pt x="780" y="1167"/>
                  </a:lnTo>
                  <a:lnTo>
                    <a:pt x="762" y="1237"/>
                  </a:lnTo>
                  <a:lnTo>
                    <a:pt x="797" y="1336"/>
                  </a:lnTo>
                  <a:lnTo>
                    <a:pt x="843" y="1366"/>
                  </a:lnTo>
                  <a:lnTo>
                    <a:pt x="872" y="1411"/>
                  </a:lnTo>
                  <a:lnTo>
                    <a:pt x="780" y="1603"/>
                  </a:lnTo>
                  <a:lnTo>
                    <a:pt x="762" y="180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8" name="Freeform 785"/>
            <p:cNvSpPr/>
            <p:nvPr/>
          </p:nvSpPr>
          <p:spPr bwMode="auto">
            <a:xfrm rot="20717457">
              <a:off x="6129338" y="1127125"/>
              <a:ext cx="1697037" cy="1276350"/>
            </a:xfrm>
            <a:custGeom>
              <a:avLst/>
              <a:gdLst>
                <a:gd name="T0" fmla="*/ 342 w 3724"/>
                <a:gd name="T1" fmla="*/ 276 h 3264"/>
                <a:gd name="T2" fmla="*/ 338 w 3724"/>
                <a:gd name="T3" fmla="*/ 268 h 3264"/>
                <a:gd name="T4" fmla="*/ 289 w 3724"/>
                <a:gd name="T5" fmla="*/ 292 h 3264"/>
                <a:gd name="T6" fmla="*/ 247 w 3724"/>
                <a:gd name="T7" fmla="*/ 304 h 3264"/>
                <a:gd name="T8" fmla="*/ 256 w 3724"/>
                <a:gd name="T9" fmla="*/ 293 h 3264"/>
                <a:gd name="T10" fmla="*/ 264 w 3724"/>
                <a:gd name="T11" fmla="*/ 295 h 3264"/>
                <a:gd name="T12" fmla="*/ 235 w 3724"/>
                <a:gd name="T13" fmla="*/ 261 h 3264"/>
                <a:gd name="T14" fmla="*/ 205 w 3724"/>
                <a:gd name="T15" fmla="*/ 249 h 3264"/>
                <a:gd name="T16" fmla="*/ 5 w 3724"/>
                <a:gd name="T17" fmla="*/ 170 h 3264"/>
                <a:gd name="T18" fmla="*/ 4 w 3724"/>
                <a:gd name="T19" fmla="*/ 148 h 3264"/>
                <a:gd name="T20" fmla="*/ 5 w 3724"/>
                <a:gd name="T21" fmla="*/ 117 h 3264"/>
                <a:gd name="T22" fmla="*/ 25 w 3724"/>
                <a:gd name="T23" fmla="*/ 66 h 3264"/>
                <a:gd name="T24" fmla="*/ 23 w 3724"/>
                <a:gd name="T25" fmla="*/ 39 h 3264"/>
                <a:gd name="T26" fmla="*/ 112 w 3724"/>
                <a:gd name="T27" fmla="*/ 18 h 3264"/>
                <a:gd name="T28" fmla="*/ 125 w 3724"/>
                <a:gd name="T29" fmla="*/ 25 h 3264"/>
                <a:gd name="T30" fmla="*/ 139 w 3724"/>
                <a:gd name="T31" fmla="*/ 42 h 3264"/>
                <a:gd name="T32" fmla="*/ 147 w 3724"/>
                <a:gd name="T33" fmla="*/ 58 h 3264"/>
                <a:gd name="T34" fmla="*/ 168 w 3724"/>
                <a:gd name="T35" fmla="*/ 75 h 3264"/>
                <a:gd name="T36" fmla="*/ 184 w 3724"/>
                <a:gd name="T37" fmla="*/ 71 h 3264"/>
                <a:gd name="T38" fmla="*/ 200 w 3724"/>
                <a:gd name="T39" fmla="*/ 75 h 3264"/>
                <a:gd name="T40" fmla="*/ 212 w 3724"/>
                <a:gd name="T41" fmla="*/ 75 h 3264"/>
                <a:gd name="T42" fmla="*/ 214 w 3724"/>
                <a:gd name="T43" fmla="*/ 85 h 3264"/>
                <a:gd name="T44" fmla="*/ 223 w 3724"/>
                <a:gd name="T45" fmla="*/ 78 h 3264"/>
                <a:gd name="T46" fmla="*/ 225 w 3724"/>
                <a:gd name="T47" fmla="*/ 60 h 3264"/>
                <a:gd name="T48" fmla="*/ 231 w 3724"/>
                <a:gd name="T49" fmla="*/ 83 h 3264"/>
                <a:gd name="T50" fmla="*/ 240 w 3724"/>
                <a:gd name="T51" fmla="*/ 89 h 3264"/>
                <a:gd name="T52" fmla="*/ 253 w 3724"/>
                <a:gd name="T53" fmla="*/ 80 h 3264"/>
                <a:gd name="T54" fmla="*/ 260 w 3724"/>
                <a:gd name="T55" fmla="*/ 106 h 3264"/>
                <a:gd name="T56" fmla="*/ 233 w 3724"/>
                <a:gd name="T57" fmla="*/ 110 h 3264"/>
                <a:gd name="T58" fmla="*/ 228 w 3724"/>
                <a:gd name="T59" fmla="*/ 120 h 3264"/>
                <a:gd name="T60" fmla="*/ 221 w 3724"/>
                <a:gd name="T61" fmla="*/ 128 h 3264"/>
                <a:gd name="T62" fmla="*/ 203 w 3724"/>
                <a:gd name="T63" fmla="*/ 163 h 3264"/>
                <a:gd name="T64" fmla="*/ 241 w 3724"/>
                <a:gd name="T65" fmla="*/ 194 h 3264"/>
                <a:gd name="T66" fmla="*/ 260 w 3724"/>
                <a:gd name="T67" fmla="*/ 207 h 3264"/>
                <a:gd name="T68" fmla="*/ 276 w 3724"/>
                <a:gd name="T69" fmla="*/ 227 h 3264"/>
                <a:gd name="T70" fmla="*/ 269 w 3724"/>
                <a:gd name="T71" fmla="*/ 200 h 3264"/>
                <a:gd name="T72" fmla="*/ 272 w 3724"/>
                <a:gd name="T73" fmla="*/ 171 h 3264"/>
                <a:gd name="T74" fmla="*/ 278 w 3724"/>
                <a:gd name="T75" fmla="*/ 155 h 3264"/>
                <a:gd name="T76" fmla="*/ 300 w 3724"/>
                <a:gd name="T77" fmla="*/ 140 h 3264"/>
                <a:gd name="T78" fmla="*/ 322 w 3724"/>
                <a:gd name="T79" fmla="*/ 157 h 3264"/>
                <a:gd name="T80" fmla="*/ 335 w 3724"/>
                <a:gd name="T81" fmla="*/ 173 h 3264"/>
                <a:gd name="T82" fmla="*/ 363 w 3724"/>
                <a:gd name="T83" fmla="*/ 177 h 3264"/>
                <a:gd name="T84" fmla="*/ 392 w 3724"/>
                <a:gd name="T85" fmla="*/ 195 h 3264"/>
                <a:gd name="T86" fmla="*/ 404 w 3724"/>
                <a:gd name="T87" fmla="*/ 214 h 3264"/>
                <a:gd name="T88" fmla="*/ 389 w 3724"/>
                <a:gd name="T89" fmla="*/ 233 h 3264"/>
                <a:gd name="T90" fmla="*/ 340 w 3724"/>
                <a:gd name="T91" fmla="*/ 251 h 3264"/>
                <a:gd name="T92" fmla="*/ 333 w 3724"/>
                <a:gd name="T93" fmla="*/ 263 h 3264"/>
                <a:gd name="T94" fmla="*/ 362 w 3724"/>
                <a:gd name="T95" fmla="*/ 252 h 3264"/>
                <a:gd name="T96" fmla="*/ 363 w 3724"/>
                <a:gd name="T97" fmla="*/ 261 h 3264"/>
                <a:gd name="T98" fmla="*/ 376 w 3724"/>
                <a:gd name="T99" fmla="*/ 281 h 3264"/>
                <a:gd name="T100" fmla="*/ 366 w 3724"/>
                <a:gd name="T101" fmla="*/ 280 h 326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24"/>
                <a:gd name="T154" fmla="*/ 0 h 3264"/>
                <a:gd name="T155" fmla="*/ 3724 w 3724"/>
                <a:gd name="T156" fmla="*/ 3264 h 326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24" h="3264">
                  <a:moveTo>
                    <a:pt x="3248" y="3056"/>
                  </a:moveTo>
                  <a:lnTo>
                    <a:pt x="3196" y="3049"/>
                  </a:lnTo>
                  <a:lnTo>
                    <a:pt x="3150" y="2968"/>
                  </a:lnTo>
                  <a:lnTo>
                    <a:pt x="3185" y="2904"/>
                  </a:lnTo>
                  <a:lnTo>
                    <a:pt x="3190" y="2887"/>
                  </a:lnTo>
                  <a:lnTo>
                    <a:pt x="3115" y="2881"/>
                  </a:lnTo>
                  <a:lnTo>
                    <a:pt x="2981" y="3026"/>
                  </a:lnTo>
                  <a:lnTo>
                    <a:pt x="2795" y="3061"/>
                  </a:lnTo>
                  <a:lnTo>
                    <a:pt x="2662" y="3131"/>
                  </a:lnTo>
                  <a:lnTo>
                    <a:pt x="2574" y="3096"/>
                  </a:lnTo>
                  <a:lnTo>
                    <a:pt x="2470" y="3212"/>
                  </a:lnTo>
                  <a:lnTo>
                    <a:pt x="2278" y="3264"/>
                  </a:lnTo>
                  <a:lnTo>
                    <a:pt x="2237" y="3264"/>
                  </a:lnTo>
                  <a:lnTo>
                    <a:pt x="2266" y="3212"/>
                  </a:lnTo>
                  <a:lnTo>
                    <a:pt x="2359" y="3148"/>
                  </a:lnTo>
                  <a:lnTo>
                    <a:pt x="2365" y="3078"/>
                  </a:lnTo>
                  <a:lnTo>
                    <a:pt x="2400" y="3148"/>
                  </a:lnTo>
                  <a:lnTo>
                    <a:pt x="2435" y="3166"/>
                  </a:lnTo>
                  <a:lnTo>
                    <a:pt x="2428" y="3026"/>
                  </a:lnTo>
                  <a:lnTo>
                    <a:pt x="2226" y="2916"/>
                  </a:lnTo>
                  <a:lnTo>
                    <a:pt x="2168" y="2800"/>
                  </a:lnTo>
                  <a:lnTo>
                    <a:pt x="2104" y="2695"/>
                  </a:lnTo>
                  <a:lnTo>
                    <a:pt x="2004" y="2637"/>
                  </a:lnTo>
                  <a:lnTo>
                    <a:pt x="1894" y="2678"/>
                  </a:lnTo>
                  <a:lnTo>
                    <a:pt x="1069" y="2352"/>
                  </a:lnTo>
                  <a:lnTo>
                    <a:pt x="506" y="2073"/>
                  </a:lnTo>
                  <a:lnTo>
                    <a:pt x="46" y="1823"/>
                  </a:lnTo>
                  <a:lnTo>
                    <a:pt x="17" y="1725"/>
                  </a:lnTo>
                  <a:lnTo>
                    <a:pt x="5" y="1656"/>
                  </a:lnTo>
                  <a:lnTo>
                    <a:pt x="35" y="1586"/>
                  </a:lnTo>
                  <a:lnTo>
                    <a:pt x="0" y="1551"/>
                  </a:lnTo>
                  <a:lnTo>
                    <a:pt x="70" y="1300"/>
                  </a:lnTo>
                  <a:lnTo>
                    <a:pt x="46" y="1260"/>
                  </a:lnTo>
                  <a:lnTo>
                    <a:pt x="58" y="1185"/>
                  </a:lnTo>
                  <a:lnTo>
                    <a:pt x="192" y="1173"/>
                  </a:lnTo>
                  <a:lnTo>
                    <a:pt x="227" y="708"/>
                  </a:lnTo>
                  <a:lnTo>
                    <a:pt x="162" y="650"/>
                  </a:lnTo>
                  <a:lnTo>
                    <a:pt x="145" y="545"/>
                  </a:lnTo>
                  <a:lnTo>
                    <a:pt x="209" y="418"/>
                  </a:lnTo>
                  <a:lnTo>
                    <a:pt x="808" y="0"/>
                  </a:lnTo>
                  <a:lnTo>
                    <a:pt x="848" y="151"/>
                  </a:lnTo>
                  <a:lnTo>
                    <a:pt x="1028" y="197"/>
                  </a:lnTo>
                  <a:lnTo>
                    <a:pt x="1045" y="266"/>
                  </a:lnTo>
                  <a:lnTo>
                    <a:pt x="1139" y="244"/>
                  </a:lnTo>
                  <a:lnTo>
                    <a:pt x="1156" y="273"/>
                  </a:lnTo>
                  <a:lnTo>
                    <a:pt x="1115" y="331"/>
                  </a:lnTo>
                  <a:lnTo>
                    <a:pt x="1174" y="360"/>
                  </a:lnTo>
                  <a:lnTo>
                    <a:pt x="1284" y="446"/>
                  </a:lnTo>
                  <a:lnTo>
                    <a:pt x="1301" y="540"/>
                  </a:lnTo>
                  <a:lnTo>
                    <a:pt x="1394" y="575"/>
                  </a:lnTo>
                  <a:lnTo>
                    <a:pt x="1359" y="621"/>
                  </a:lnTo>
                  <a:lnTo>
                    <a:pt x="1366" y="662"/>
                  </a:lnTo>
                  <a:lnTo>
                    <a:pt x="1534" y="743"/>
                  </a:lnTo>
                  <a:lnTo>
                    <a:pt x="1545" y="807"/>
                  </a:lnTo>
                  <a:lnTo>
                    <a:pt x="1627" y="801"/>
                  </a:lnTo>
                  <a:lnTo>
                    <a:pt x="1603" y="732"/>
                  </a:lnTo>
                  <a:lnTo>
                    <a:pt x="1697" y="767"/>
                  </a:lnTo>
                  <a:lnTo>
                    <a:pt x="1807" y="894"/>
                  </a:lnTo>
                  <a:lnTo>
                    <a:pt x="1859" y="854"/>
                  </a:lnTo>
                  <a:lnTo>
                    <a:pt x="1847" y="801"/>
                  </a:lnTo>
                  <a:lnTo>
                    <a:pt x="1859" y="767"/>
                  </a:lnTo>
                  <a:lnTo>
                    <a:pt x="1935" y="772"/>
                  </a:lnTo>
                  <a:lnTo>
                    <a:pt x="1952" y="801"/>
                  </a:lnTo>
                  <a:lnTo>
                    <a:pt x="1929" y="941"/>
                  </a:lnTo>
                  <a:lnTo>
                    <a:pt x="1947" y="946"/>
                  </a:lnTo>
                  <a:lnTo>
                    <a:pt x="1970" y="911"/>
                  </a:lnTo>
                  <a:lnTo>
                    <a:pt x="2016" y="917"/>
                  </a:lnTo>
                  <a:lnTo>
                    <a:pt x="2011" y="882"/>
                  </a:lnTo>
                  <a:lnTo>
                    <a:pt x="2051" y="836"/>
                  </a:lnTo>
                  <a:lnTo>
                    <a:pt x="1987" y="714"/>
                  </a:lnTo>
                  <a:lnTo>
                    <a:pt x="2039" y="633"/>
                  </a:lnTo>
                  <a:lnTo>
                    <a:pt x="2074" y="645"/>
                  </a:lnTo>
                  <a:lnTo>
                    <a:pt x="2126" y="737"/>
                  </a:lnTo>
                  <a:lnTo>
                    <a:pt x="2109" y="777"/>
                  </a:lnTo>
                  <a:lnTo>
                    <a:pt x="2126" y="894"/>
                  </a:lnTo>
                  <a:lnTo>
                    <a:pt x="2196" y="894"/>
                  </a:lnTo>
                  <a:lnTo>
                    <a:pt x="2226" y="911"/>
                  </a:lnTo>
                  <a:lnTo>
                    <a:pt x="2214" y="952"/>
                  </a:lnTo>
                  <a:lnTo>
                    <a:pt x="2243" y="1028"/>
                  </a:lnTo>
                  <a:lnTo>
                    <a:pt x="2341" y="941"/>
                  </a:lnTo>
                  <a:lnTo>
                    <a:pt x="2330" y="854"/>
                  </a:lnTo>
                  <a:lnTo>
                    <a:pt x="2423" y="882"/>
                  </a:lnTo>
                  <a:lnTo>
                    <a:pt x="2446" y="1045"/>
                  </a:lnTo>
                  <a:lnTo>
                    <a:pt x="2400" y="1138"/>
                  </a:lnTo>
                  <a:lnTo>
                    <a:pt x="2278" y="1121"/>
                  </a:lnTo>
                  <a:lnTo>
                    <a:pt x="2226" y="1178"/>
                  </a:lnTo>
                  <a:lnTo>
                    <a:pt x="2144" y="1178"/>
                  </a:lnTo>
                  <a:lnTo>
                    <a:pt x="2184" y="1225"/>
                  </a:lnTo>
                  <a:lnTo>
                    <a:pt x="2138" y="1300"/>
                  </a:lnTo>
                  <a:lnTo>
                    <a:pt x="2098" y="1290"/>
                  </a:lnTo>
                  <a:lnTo>
                    <a:pt x="2081" y="1318"/>
                  </a:lnTo>
                  <a:lnTo>
                    <a:pt x="2028" y="1324"/>
                  </a:lnTo>
                  <a:lnTo>
                    <a:pt x="2039" y="1370"/>
                  </a:lnTo>
                  <a:lnTo>
                    <a:pt x="1859" y="1499"/>
                  </a:lnTo>
                  <a:lnTo>
                    <a:pt x="1772" y="1644"/>
                  </a:lnTo>
                  <a:lnTo>
                    <a:pt x="1871" y="1748"/>
                  </a:lnTo>
                  <a:lnTo>
                    <a:pt x="1871" y="1858"/>
                  </a:lnTo>
                  <a:lnTo>
                    <a:pt x="2069" y="1933"/>
                  </a:lnTo>
                  <a:lnTo>
                    <a:pt x="2219" y="2085"/>
                  </a:lnTo>
                  <a:lnTo>
                    <a:pt x="2353" y="2114"/>
                  </a:lnTo>
                  <a:lnTo>
                    <a:pt x="2324" y="2195"/>
                  </a:lnTo>
                  <a:lnTo>
                    <a:pt x="2400" y="2219"/>
                  </a:lnTo>
                  <a:lnTo>
                    <a:pt x="2365" y="2306"/>
                  </a:lnTo>
                  <a:lnTo>
                    <a:pt x="2463" y="2445"/>
                  </a:lnTo>
                  <a:lnTo>
                    <a:pt x="2545" y="2434"/>
                  </a:lnTo>
                  <a:lnTo>
                    <a:pt x="2550" y="2311"/>
                  </a:lnTo>
                  <a:lnTo>
                    <a:pt x="2458" y="2230"/>
                  </a:lnTo>
                  <a:lnTo>
                    <a:pt x="2481" y="2149"/>
                  </a:lnTo>
                  <a:lnTo>
                    <a:pt x="2597" y="2055"/>
                  </a:lnTo>
                  <a:lnTo>
                    <a:pt x="2562" y="1858"/>
                  </a:lnTo>
                  <a:lnTo>
                    <a:pt x="2510" y="1841"/>
                  </a:lnTo>
                  <a:lnTo>
                    <a:pt x="2516" y="1783"/>
                  </a:lnTo>
                  <a:lnTo>
                    <a:pt x="2585" y="1713"/>
                  </a:lnTo>
                  <a:lnTo>
                    <a:pt x="2562" y="1661"/>
                  </a:lnTo>
                  <a:lnTo>
                    <a:pt x="2557" y="1510"/>
                  </a:lnTo>
                  <a:lnTo>
                    <a:pt x="2697" y="1527"/>
                  </a:lnTo>
                  <a:lnTo>
                    <a:pt x="2766" y="1504"/>
                  </a:lnTo>
                  <a:lnTo>
                    <a:pt x="2847" y="1562"/>
                  </a:lnTo>
                  <a:lnTo>
                    <a:pt x="2864" y="1603"/>
                  </a:lnTo>
                  <a:lnTo>
                    <a:pt x="2964" y="1684"/>
                  </a:lnTo>
                  <a:lnTo>
                    <a:pt x="2981" y="1812"/>
                  </a:lnTo>
                  <a:lnTo>
                    <a:pt x="3028" y="1841"/>
                  </a:lnTo>
                  <a:lnTo>
                    <a:pt x="3091" y="1853"/>
                  </a:lnTo>
                  <a:lnTo>
                    <a:pt x="3150" y="1708"/>
                  </a:lnTo>
                  <a:lnTo>
                    <a:pt x="3255" y="1864"/>
                  </a:lnTo>
                  <a:lnTo>
                    <a:pt x="3342" y="1899"/>
                  </a:lnTo>
                  <a:lnTo>
                    <a:pt x="3335" y="1975"/>
                  </a:lnTo>
                  <a:lnTo>
                    <a:pt x="3429" y="2090"/>
                  </a:lnTo>
                  <a:lnTo>
                    <a:pt x="3614" y="2090"/>
                  </a:lnTo>
                  <a:lnTo>
                    <a:pt x="3661" y="2132"/>
                  </a:lnTo>
                  <a:lnTo>
                    <a:pt x="3667" y="2224"/>
                  </a:lnTo>
                  <a:lnTo>
                    <a:pt x="3724" y="2299"/>
                  </a:lnTo>
                  <a:lnTo>
                    <a:pt x="3724" y="2352"/>
                  </a:lnTo>
                  <a:lnTo>
                    <a:pt x="3679" y="2376"/>
                  </a:lnTo>
                  <a:lnTo>
                    <a:pt x="3586" y="2498"/>
                  </a:lnTo>
                  <a:lnTo>
                    <a:pt x="3446" y="2544"/>
                  </a:lnTo>
                  <a:lnTo>
                    <a:pt x="3272" y="2550"/>
                  </a:lnTo>
                  <a:lnTo>
                    <a:pt x="3138" y="2695"/>
                  </a:lnTo>
                  <a:lnTo>
                    <a:pt x="3033" y="2753"/>
                  </a:lnTo>
                  <a:lnTo>
                    <a:pt x="2969" y="2834"/>
                  </a:lnTo>
                  <a:lnTo>
                    <a:pt x="3074" y="2829"/>
                  </a:lnTo>
                  <a:lnTo>
                    <a:pt x="3255" y="2678"/>
                  </a:lnTo>
                  <a:lnTo>
                    <a:pt x="3272" y="2666"/>
                  </a:lnTo>
                  <a:lnTo>
                    <a:pt x="3335" y="2707"/>
                  </a:lnTo>
                  <a:lnTo>
                    <a:pt x="3370" y="2759"/>
                  </a:lnTo>
                  <a:lnTo>
                    <a:pt x="3312" y="2800"/>
                  </a:lnTo>
                  <a:lnTo>
                    <a:pt x="3347" y="2805"/>
                  </a:lnTo>
                  <a:lnTo>
                    <a:pt x="3342" y="2881"/>
                  </a:lnTo>
                  <a:lnTo>
                    <a:pt x="3562" y="2956"/>
                  </a:lnTo>
                  <a:lnTo>
                    <a:pt x="3469" y="3014"/>
                  </a:lnTo>
                  <a:lnTo>
                    <a:pt x="3347" y="3160"/>
                  </a:lnTo>
                  <a:lnTo>
                    <a:pt x="3312" y="3108"/>
                  </a:lnTo>
                  <a:lnTo>
                    <a:pt x="3370" y="3009"/>
                  </a:lnTo>
                  <a:lnTo>
                    <a:pt x="3272" y="3044"/>
                  </a:lnTo>
                  <a:lnTo>
                    <a:pt x="3248" y="305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9" name="Freeform 786"/>
            <p:cNvSpPr/>
            <p:nvPr/>
          </p:nvSpPr>
          <p:spPr bwMode="auto">
            <a:xfrm rot="20717457">
              <a:off x="6062663" y="1854200"/>
              <a:ext cx="1720850" cy="1166813"/>
            </a:xfrm>
            <a:custGeom>
              <a:avLst/>
              <a:gdLst>
                <a:gd name="T0" fmla="*/ 55 w 3767"/>
                <a:gd name="T1" fmla="*/ 5 h 2992"/>
                <a:gd name="T2" fmla="*/ 45 w 3767"/>
                <a:gd name="T3" fmla="*/ 13 h 2992"/>
                <a:gd name="T4" fmla="*/ 19 w 3767"/>
                <a:gd name="T5" fmla="*/ 34 h 2992"/>
                <a:gd name="T6" fmla="*/ 8 w 3767"/>
                <a:gd name="T7" fmla="*/ 50 h 2992"/>
                <a:gd name="T8" fmla="*/ 0 w 3767"/>
                <a:gd name="T9" fmla="*/ 104 h 2992"/>
                <a:gd name="T10" fmla="*/ 14 w 3767"/>
                <a:gd name="T11" fmla="*/ 126 h 2992"/>
                <a:gd name="T12" fmla="*/ 48 w 3767"/>
                <a:gd name="T13" fmla="*/ 160 h 2992"/>
                <a:gd name="T14" fmla="*/ 77 w 3767"/>
                <a:gd name="T15" fmla="*/ 167 h 2992"/>
                <a:gd name="T16" fmla="*/ 98 w 3767"/>
                <a:gd name="T17" fmla="*/ 181 h 2992"/>
                <a:gd name="T18" fmla="*/ 104 w 3767"/>
                <a:gd name="T19" fmla="*/ 201 h 2992"/>
                <a:gd name="T20" fmla="*/ 128 w 3767"/>
                <a:gd name="T21" fmla="*/ 225 h 2992"/>
                <a:gd name="T22" fmla="*/ 144 w 3767"/>
                <a:gd name="T23" fmla="*/ 241 h 2992"/>
                <a:gd name="T24" fmla="*/ 155 w 3767"/>
                <a:gd name="T25" fmla="*/ 219 h 2992"/>
                <a:gd name="T26" fmla="*/ 192 w 3767"/>
                <a:gd name="T27" fmla="*/ 221 h 2992"/>
                <a:gd name="T28" fmla="*/ 201 w 3767"/>
                <a:gd name="T29" fmla="*/ 221 h 2992"/>
                <a:gd name="T30" fmla="*/ 209 w 3767"/>
                <a:gd name="T31" fmla="*/ 227 h 2992"/>
                <a:gd name="T32" fmla="*/ 218 w 3767"/>
                <a:gd name="T33" fmla="*/ 228 h 2992"/>
                <a:gd name="T34" fmla="*/ 225 w 3767"/>
                <a:gd name="T35" fmla="*/ 231 h 2992"/>
                <a:gd name="T36" fmla="*/ 238 w 3767"/>
                <a:gd name="T37" fmla="*/ 226 h 2992"/>
                <a:gd name="T38" fmla="*/ 251 w 3767"/>
                <a:gd name="T39" fmla="*/ 226 h 2992"/>
                <a:gd name="T40" fmla="*/ 272 w 3767"/>
                <a:gd name="T41" fmla="*/ 235 h 2992"/>
                <a:gd name="T42" fmla="*/ 276 w 3767"/>
                <a:gd name="T43" fmla="*/ 257 h 2992"/>
                <a:gd name="T44" fmla="*/ 283 w 3767"/>
                <a:gd name="T45" fmla="*/ 268 h 2992"/>
                <a:gd name="T46" fmla="*/ 286 w 3767"/>
                <a:gd name="T47" fmla="*/ 278 h 2992"/>
                <a:gd name="T48" fmla="*/ 299 w 3767"/>
                <a:gd name="T49" fmla="*/ 263 h 2992"/>
                <a:gd name="T50" fmla="*/ 297 w 3767"/>
                <a:gd name="T51" fmla="*/ 221 h 2992"/>
                <a:gd name="T52" fmla="*/ 340 w 3767"/>
                <a:gd name="T53" fmla="*/ 194 h 2992"/>
                <a:gd name="T54" fmla="*/ 340 w 3767"/>
                <a:gd name="T55" fmla="*/ 178 h 2992"/>
                <a:gd name="T56" fmla="*/ 343 w 3767"/>
                <a:gd name="T57" fmla="*/ 177 h 2992"/>
                <a:gd name="T58" fmla="*/ 348 w 3767"/>
                <a:gd name="T59" fmla="*/ 169 h 2992"/>
                <a:gd name="T60" fmla="*/ 363 w 3767"/>
                <a:gd name="T61" fmla="*/ 153 h 2992"/>
                <a:gd name="T62" fmla="*/ 390 w 3767"/>
                <a:gd name="T63" fmla="*/ 140 h 2992"/>
                <a:gd name="T64" fmla="*/ 385 w 3767"/>
                <a:gd name="T65" fmla="*/ 137 h 2992"/>
                <a:gd name="T66" fmla="*/ 406 w 3767"/>
                <a:gd name="T67" fmla="*/ 124 h 2992"/>
                <a:gd name="T68" fmla="*/ 404 w 3767"/>
                <a:gd name="T69" fmla="*/ 118 h 2992"/>
                <a:gd name="T70" fmla="*/ 404 w 3767"/>
                <a:gd name="T71" fmla="*/ 104 h 2992"/>
                <a:gd name="T72" fmla="*/ 380 w 3767"/>
                <a:gd name="T73" fmla="*/ 117 h 2992"/>
                <a:gd name="T74" fmla="*/ 345 w 3767"/>
                <a:gd name="T75" fmla="*/ 126 h 2992"/>
                <a:gd name="T76" fmla="*/ 336 w 3767"/>
                <a:gd name="T77" fmla="*/ 135 h 2992"/>
                <a:gd name="T78" fmla="*/ 317 w 3767"/>
                <a:gd name="T79" fmla="*/ 144 h 2992"/>
                <a:gd name="T80" fmla="*/ 298 w 3767"/>
                <a:gd name="T81" fmla="*/ 142 h 2992"/>
                <a:gd name="T82" fmla="*/ 299 w 3767"/>
                <a:gd name="T83" fmla="*/ 139 h 2992"/>
                <a:gd name="T84" fmla="*/ 297 w 3767"/>
                <a:gd name="T85" fmla="*/ 133 h 2992"/>
                <a:gd name="T86" fmla="*/ 295 w 3767"/>
                <a:gd name="T87" fmla="*/ 126 h 2992"/>
                <a:gd name="T88" fmla="*/ 285 w 3767"/>
                <a:gd name="T89" fmla="*/ 125 h 2992"/>
                <a:gd name="T90" fmla="*/ 291 w 3767"/>
                <a:gd name="T91" fmla="*/ 111 h 2992"/>
                <a:gd name="T92" fmla="*/ 284 w 3767"/>
                <a:gd name="T93" fmla="*/ 109 h 2992"/>
                <a:gd name="T94" fmla="*/ 270 w 3767"/>
                <a:gd name="T95" fmla="*/ 124 h 2992"/>
                <a:gd name="T96" fmla="*/ 267 w 3767"/>
                <a:gd name="T97" fmla="*/ 137 h 2992"/>
                <a:gd name="T98" fmla="*/ 252 w 3767"/>
                <a:gd name="T99" fmla="*/ 132 h 2992"/>
                <a:gd name="T100" fmla="*/ 264 w 3767"/>
                <a:gd name="T101" fmla="*/ 113 h 2992"/>
                <a:gd name="T102" fmla="*/ 262 w 3767"/>
                <a:gd name="T103" fmla="*/ 108 h 2992"/>
                <a:gd name="T104" fmla="*/ 289 w 3767"/>
                <a:gd name="T105" fmla="*/ 107 h 2992"/>
                <a:gd name="T106" fmla="*/ 272 w 3767"/>
                <a:gd name="T107" fmla="*/ 100 h 2992"/>
                <a:gd name="T108" fmla="*/ 269 w 3767"/>
                <a:gd name="T109" fmla="*/ 96 h 2992"/>
                <a:gd name="T110" fmla="*/ 250 w 3767"/>
                <a:gd name="T111" fmla="*/ 97 h 2992"/>
                <a:gd name="T112" fmla="*/ 239 w 3767"/>
                <a:gd name="T113" fmla="*/ 96 h 2992"/>
                <a:gd name="T114" fmla="*/ 247 w 3767"/>
                <a:gd name="T115" fmla="*/ 87 h 2992"/>
                <a:gd name="T116" fmla="*/ 176 w 3767"/>
                <a:gd name="T117" fmla="*/ 55 h 2992"/>
                <a:gd name="T118" fmla="*/ 62 w 3767"/>
                <a:gd name="T119" fmla="*/ 5 h 29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67"/>
                <a:gd name="T181" fmla="*/ 0 h 2992"/>
                <a:gd name="T182" fmla="*/ 3767 w 3767"/>
                <a:gd name="T183" fmla="*/ 2992 h 29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67" h="2992">
                  <a:moveTo>
                    <a:pt x="570" y="59"/>
                  </a:moveTo>
                  <a:lnTo>
                    <a:pt x="505" y="52"/>
                  </a:lnTo>
                  <a:lnTo>
                    <a:pt x="425" y="0"/>
                  </a:lnTo>
                  <a:lnTo>
                    <a:pt x="413" y="140"/>
                  </a:lnTo>
                  <a:lnTo>
                    <a:pt x="296" y="314"/>
                  </a:lnTo>
                  <a:lnTo>
                    <a:pt x="174" y="361"/>
                  </a:lnTo>
                  <a:lnTo>
                    <a:pt x="157" y="465"/>
                  </a:lnTo>
                  <a:lnTo>
                    <a:pt x="69" y="535"/>
                  </a:lnTo>
                  <a:lnTo>
                    <a:pt x="12" y="802"/>
                  </a:lnTo>
                  <a:lnTo>
                    <a:pt x="0" y="1116"/>
                  </a:lnTo>
                  <a:lnTo>
                    <a:pt x="122" y="1302"/>
                  </a:lnTo>
                  <a:lnTo>
                    <a:pt x="128" y="1360"/>
                  </a:lnTo>
                  <a:lnTo>
                    <a:pt x="320" y="1487"/>
                  </a:lnTo>
                  <a:lnTo>
                    <a:pt x="442" y="1726"/>
                  </a:lnTo>
                  <a:lnTo>
                    <a:pt x="697" y="1830"/>
                  </a:lnTo>
                  <a:lnTo>
                    <a:pt x="709" y="1796"/>
                  </a:lnTo>
                  <a:lnTo>
                    <a:pt x="831" y="1836"/>
                  </a:lnTo>
                  <a:lnTo>
                    <a:pt x="896" y="1946"/>
                  </a:lnTo>
                  <a:lnTo>
                    <a:pt x="906" y="2080"/>
                  </a:lnTo>
                  <a:lnTo>
                    <a:pt x="959" y="2162"/>
                  </a:lnTo>
                  <a:lnTo>
                    <a:pt x="1116" y="2162"/>
                  </a:lnTo>
                  <a:lnTo>
                    <a:pt x="1180" y="2423"/>
                  </a:lnTo>
                  <a:lnTo>
                    <a:pt x="1255" y="2551"/>
                  </a:lnTo>
                  <a:lnTo>
                    <a:pt x="1320" y="2591"/>
                  </a:lnTo>
                  <a:lnTo>
                    <a:pt x="1372" y="2399"/>
                  </a:lnTo>
                  <a:lnTo>
                    <a:pt x="1424" y="2353"/>
                  </a:lnTo>
                  <a:lnTo>
                    <a:pt x="1703" y="2336"/>
                  </a:lnTo>
                  <a:lnTo>
                    <a:pt x="1766" y="2376"/>
                  </a:lnTo>
                  <a:lnTo>
                    <a:pt x="1790" y="2388"/>
                  </a:lnTo>
                  <a:lnTo>
                    <a:pt x="1848" y="2382"/>
                  </a:lnTo>
                  <a:lnTo>
                    <a:pt x="1878" y="2429"/>
                  </a:lnTo>
                  <a:lnTo>
                    <a:pt x="1918" y="2446"/>
                  </a:lnTo>
                  <a:lnTo>
                    <a:pt x="1941" y="2486"/>
                  </a:lnTo>
                  <a:lnTo>
                    <a:pt x="2000" y="2458"/>
                  </a:lnTo>
                  <a:lnTo>
                    <a:pt x="2028" y="2486"/>
                  </a:lnTo>
                  <a:lnTo>
                    <a:pt x="2063" y="2481"/>
                  </a:lnTo>
                  <a:lnTo>
                    <a:pt x="2046" y="2399"/>
                  </a:lnTo>
                  <a:lnTo>
                    <a:pt x="2185" y="2429"/>
                  </a:lnTo>
                  <a:lnTo>
                    <a:pt x="2232" y="2406"/>
                  </a:lnTo>
                  <a:lnTo>
                    <a:pt x="2307" y="2434"/>
                  </a:lnTo>
                  <a:lnTo>
                    <a:pt x="2325" y="2481"/>
                  </a:lnTo>
                  <a:lnTo>
                    <a:pt x="2499" y="2528"/>
                  </a:lnTo>
                  <a:lnTo>
                    <a:pt x="2569" y="2591"/>
                  </a:lnTo>
                  <a:lnTo>
                    <a:pt x="2540" y="2765"/>
                  </a:lnTo>
                  <a:lnTo>
                    <a:pt x="2586" y="2789"/>
                  </a:lnTo>
                  <a:lnTo>
                    <a:pt x="2604" y="2882"/>
                  </a:lnTo>
                  <a:lnTo>
                    <a:pt x="2633" y="2962"/>
                  </a:lnTo>
                  <a:lnTo>
                    <a:pt x="2628" y="2992"/>
                  </a:lnTo>
                  <a:lnTo>
                    <a:pt x="2708" y="2945"/>
                  </a:lnTo>
                  <a:lnTo>
                    <a:pt x="2743" y="2830"/>
                  </a:lnTo>
                  <a:lnTo>
                    <a:pt x="2696" y="2516"/>
                  </a:lnTo>
                  <a:lnTo>
                    <a:pt x="2731" y="2382"/>
                  </a:lnTo>
                  <a:lnTo>
                    <a:pt x="3069" y="2173"/>
                  </a:lnTo>
                  <a:lnTo>
                    <a:pt x="3121" y="2085"/>
                  </a:lnTo>
                  <a:lnTo>
                    <a:pt x="3197" y="2068"/>
                  </a:lnTo>
                  <a:lnTo>
                    <a:pt x="3121" y="1918"/>
                  </a:lnTo>
                  <a:lnTo>
                    <a:pt x="3127" y="1859"/>
                  </a:lnTo>
                  <a:lnTo>
                    <a:pt x="3150" y="1906"/>
                  </a:lnTo>
                  <a:lnTo>
                    <a:pt x="3179" y="1888"/>
                  </a:lnTo>
                  <a:lnTo>
                    <a:pt x="3197" y="1818"/>
                  </a:lnTo>
                  <a:lnTo>
                    <a:pt x="3307" y="1719"/>
                  </a:lnTo>
                  <a:lnTo>
                    <a:pt x="3331" y="1644"/>
                  </a:lnTo>
                  <a:lnTo>
                    <a:pt x="3505" y="1604"/>
                  </a:lnTo>
                  <a:lnTo>
                    <a:pt x="3586" y="1505"/>
                  </a:lnTo>
                  <a:lnTo>
                    <a:pt x="3540" y="1510"/>
                  </a:lnTo>
                  <a:lnTo>
                    <a:pt x="3533" y="1475"/>
                  </a:lnTo>
                  <a:lnTo>
                    <a:pt x="3690" y="1330"/>
                  </a:lnTo>
                  <a:lnTo>
                    <a:pt x="3732" y="1337"/>
                  </a:lnTo>
                  <a:lnTo>
                    <a:pt x="3767" y="1285"/>
                  </a:lnTo>
                  <a:lnTo>
                    <a:pt x="3714" y="1273"/>
                  </a:lnTo>
                  <a:lnTo>
                    <a:pt x="3662" y="1197"/>
                  </a:lnTo>
                  <a:lnTo>
                    <a:pt x="3708" y="1116"/>
                  </a:lnTo>
                  <a:lnTo>
                    <a:pt x="3627" y="1104"/>
                  </a:lnTo>
                  <a:lnTo>
                    <a:pt x="3488" y="1255"/>
                  </a:lnTo>
                  <a:lnTo>
                    <a:pt x="3307" y="1290"/>
                  </a:lnTo>
                  <a:lnTo>
                    <a:pt x="3174" y="1360"/>
                  </a:lnTo>
                  <a:lnTo>
                    <a:pt x="3156" y="1430"/>
                  </a:lnTo>
                  <a:lnTo>
                    <a:pt x="3086" y="1458"/>
                  </a:lnTo>
                  <a:lnTo>
                    <a:pt x="3017" y="1470"/>
                  </a:lnTo>
                  <a:lnTo>
                    <a:pt x="2912" y="1552"/>
                  </a:lnTo>
                  <a:lnTo>
                    <a:pt x="2818" y="1580"/>
                  </a:lnTo>
                  <a:lnTo>
                    <a:pt x="2738" y="1528"/>
                  </a:lnTo>
                  <a:lnTo>
                    <a:pt x="2731" y="1505"/>
                  </a:lnTo>
                  <a:lnTo>
                    <a:pt x="2749" y="1493"/>
                  </a:lnTo>
                  <a:lnTo>
                    <a:pt x="2778" y="1435"/>
                  </a:lnTo>
                  <a:lnTo>
                    <a:pt x="2731" y="1430"/>
                  </a:lnTo>
                  <a:lnTo>
                    <a:pt x="2714" y="1424"/>
                  </a:lnTo>
                  <a:lnTo>
                    <a:pt x="2714" y="1360"/>
                  </a:lnTo>
                  <a:lnTo>
                    <a:pt x="2645" y="1395"/>
                  </a:lnTo>
                  <a:lnTo>
                    <a:pt x="2621" y="1348"/>
                  </a:lnTo>
                  <a:lnTo>
                    <a:pt x="2703" y="1285"/>
                  </a:lnTo>
                  <a:lnTo>
                    <a:pt x="2673" y="1197"/>
                  </a:lnTo>
                  <a:lnTo>
                    <a:pt x="2638" y="1185"/>
                  </a:lnTo>
                  <a:lnTo>
                    <a:pt x="2610" y="1173"/>
                  </a:lnTo>
                  <a:lnTo>
                    <a:pt x="2523" y="1238"/>
                  </a:lnTo>
                  <a:lnTo>
                    <a:pt x="2482" y="1337"/>
                  </a:lnTo>
                  <a:lnTo>
                    <a:pt x="2488" y="1424"/>
                  </a:lnTo>
                  <a:lnTo>
                    <a:pt x="2453" y="1470"/>
                  </a:lnTo>
                  <a:lnTo>
                    <a:pt x="2389" y="1505"/>
                  </a:lnTo>
                  <a:lnTo>
                    <a:pt x="2314" y="1424"/>
                  </a:lnTo>
                  <a:lnTo>
                    <a:pt x="2366" y="1278"/>
                  </a:lnTo>
                  <a:lnTo>
                    <a:pt x="2429" y="1220"/>
                  </a:lnTo>
                  <a:lnTo>
                    <a:pt x="2394" y="1208"/>
                  </a:lnTo>
                  <a:lnTo>
                    <a:pt x="2406" y="1163"/>
                  </a:lnTo>
                  <a:lnTo>
                    <a:pt x="2528" y="1110"/>
                  </a:lnTo>
                  <a:lnTo>
                    <a:pt x="2656" y="1151"/>
                  </a:lnTo>
                  <a:lnTo>
                    <a:pt x="2569" y="1063"/>
                  </a:lnTo>
                  <a:lnTo>
                    <a:pt x="2499" y="1075"/>
                  </a:lnTo>
                  <a:lnTo>
                    <a:pt x="2441" y="1034"/>
                  </a:lnTo>
                  <a:lnTo>
                    <a:pt x="2476" y="1034"/>
                  </a:lnTo>
                  <a:lnTo>
                    <a:pt x="2436" y="976"/>
                  </a:lnTo>
                  <a:lnTo>
                    <a:pt x="2296" y="1046"/>
                  </a:lnTo>
                  <a:lnTo>
                    <a:pt x="2220" y="1017"/>
                  </a:lnTo>
                  <a:lnTo>
                    <a:pt x="2197" y="1034"/>
                  </a:lnTo>
                  <a:lnTo>
                    <a:pt x="2145" y="1017"/>
                  </a:lnTo>
                  <a:lnTo>
                    <a:pt x="2272" y="936"/>
                  </a:lnTo>
                  <a:lnTo>
                    <a:pt x="2406" y="907"/>
                  </a:lnTo>
                  <a:lnTo>
                    <a:pt x="1616" y="587"/>
                  </a:lnTo>
                  <a:lnTo>
                    <a:pt x="1023" y="302"/>
                  </a:lnTo>
                  <a:lnTo>
                    <a:pt x="570" y="5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0" name="Freeform 787"/>
            <p:cNvSpPr/>
            <p:nvPr/>
          </p:nvSpPr>
          <p:spPr bwMode="auto">
            <a:xfrm rot="20717457">
              <a:off x="6208713" y="2466975"/>
              <a:ext cx="903287" cy="885825"/>
            </a:xfrm>
            <a:custGeom>
              <a:avLst/>
              <a:gdLst>
                <a:gd name="T0" fmla="*/ 5 w 1976"/>
                <a:gd name="T1" fmla="*/ 4 h 2259"/>
                <a:gd name="T2" fmla="*/ 11 w 1976"/>
                <a:gd name="T3" fmla="*/ 42 h 2259"/>
                <a:gd name="T4" fmla="*/ 0 w 1976"/>
                <a:gd name="T5" fmla="*/ 42 h 2259"/>
                <a:gd name="T6" fmla="*/ 9 w 1976"/>
                <a:gd name="T7" fmla="*/ 60 h 2259"/>
                <a:gd name="T8" fmla="*/ 8 w 1976"/>
                <a:gd name="T9" fmla="*/ 79 h 2259"/>
                <a:gd name="T10" fmla="*/ 24 w 1976"/>
                <a:gd name="T11" fmla="*/ 90 h 2259"/>
                <a:gd name="T12" fmla="*/ 20 w 1976"/>
                <a:gd name="T13" fmla="*/ 75 h 2259"/>
                <a:gd name="T14" fmla="*/ 20 w 1976"/>
                <a:gd name="T15" fmla="*/ 46 h 2259"/>
                <a:gd name="T16" fmla="*/ 17 w 1976"/>
                <a:gd name="T17" fmla="*/ 20 h 2259"/>
                <a:gd name="T18" fmla="*/ 27 w 1976"/>
                <a:gd name="T19" fmla="*/ 29 h 2259"/>
                <a:gd name="T20" fmla="*/ 35 w 1976"/>
                <a:gd name="T21" fmla="*/ 59 h 2259"/>
                <a:gd name="T22" fmla="*/ 36 w 1976"/>
                <a:gd name="T23" fmla="*/ 74 h 2259"/>
                <a:gd name="T24" fmla="*/ 36 w 1976"/>
                <a:gd name="T25" fmla="*/ 80 h 2259"/>
                <a:gd name="T26" fmla="*/ 55 w 1976"/>
                <a:gd name="T27" fmla="*/ 120 h 2259"/>
                <a:gd name="T28" fmla="*/ 57 w 1976"/>
                <a:gd name="T29" fmla="*/ 156 h 2259"/>
                <a:gd name="T30" fmla="*/ 83 w 1976"/>
                <a:gd name="T31" fmla="*/ 173 h 2259"/>
                <a:gd name="T32" fmla="*/ 135 w 1976"/>
                <a:gd name="T33" fmla="*/ 194 h 2259"/>
                <a:gd name="T34" fmla="*/ 150 w 1976"/>
                <a:gd name="T35" fmla="*/ 211 h 2259"/>
                <a:gd name="T36" fmla="*/ 175 w 1976"/>
                <a:gd name="T37" fmla="*/ 202 h 2259"/>
                <a:gd name="T38" fmla="*/ 176 w 1976"/>
                <a:gd name="T39" fmla="*/ 190 h 2259"/>
                <a:gd name="T40" fmla="*/ 194 w 1976"/>
                <a:gd name="T41" fmla="*/ 193 h 2259"/>
                <a:gd name="T42" fmla="*/ 203 w 1976"/>
                <a:gd name="T43" fmla="*/ 190 h 2259"/>
                <a:gd name="T44" fmla="*/ 208 w 1976"/>
                <a:gd name="T45" fmla="*/ 180 h 2259"/>
                <a:gd name="T46" fmla="*/ 214 w 1976"/>
                <a:gd name="T47" fmla="*/ 167 h 2259"/>
                <a:gd name="T48" fmla="*/ 187 w 1976"/>
                <a:gd name="T49" fmla="*/ 167 h 2259"/>
                <a:gd name="T50" fmla="*/ 174 w 1976"/>
                <a:gd name="T51" fmla="*/ 183 h 2259"/>
                <a:gd name="T52" fmla="*/ 149 w 1976"/>
                <a:gd name="T53" fmla="*/ 179 h 2259"/>
                <a:gd name="T54" fmla="*/ 123 w 1976"/>
                <a:gd name="T55" fmla="*/ 163 h 2259"/>
                <a:gd name="T56" fmla="*/ 120 w 1976"/>
                <a:gd name="T57" fmla="*/ 140 h 2259"/>
                <a:gd name="T58" fmla="*/ 132 w 1976"/>
                <a:gd name="T59" fmla="*/ 122 h 2259"/>
                <a:gd name="T60" fmla="*/ 123 w 1976"/>
                <a:gd name="T61" fmla="*/ 103 h 2259"/>
                <a:gd name="T62" fmla="*/ 96 w 1976"/>
                <a:gd name="T63" fmla="*/ 75 h 2259"/>
                <a:gd name="T64" fmla="*/ 89 w 1976"/>
                <a:gd name="T65" fmla="*/ 55 h 2259"/>
                <a:gd name="T66" fmla="*/ 68 w 1976"/>
                <a:gd name="T67" fmla="*/ 41 h 2259"/>
                <a:gd name="T68" fmla="*/ 40 w 1976"/>
                <a:gd name="T69" fmla="*/ 34 h 2259"/>
                <a:gd name="T70" fmla="*/ 5 w 1976"/>
                <a:gd name="T71" fmla="*/ 0 h 225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976"/>
                <a:gd name="T109" fmla="*/ 0 h 2259"/>
                <a:gd name="T110" fmla="*/ 1976 w 1976"/>
                <a:gd name="T111" fmla="*/ 2259 h 225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976" h="2259">
                  <a:moveTo>
                    <a:pt x="47" y="0"/>
                  </a:moveTo>
                  <a:lnTo>
                    <a:pt x="47" y="40"/>
                  </a:lnTo>
                  <a:lnTo>
                    <a:pt x="18" y="122"/>
                  </a:lnTo>
                  <a:lnTo>
                    <a:pt x="105" y="453"/>
                  </a:lnTo>
                  <a:lnTo>
                    <a:pt x="65" y="499"/>
                  </a:lnTo>
                  <a:lnTo>
                    <a:pt x="0" y="453"/>
                  </a:lnTo>
                  <a:lnTo>
                    <a:pt x="47" y="633"/>
                  </a:lnTo>
                  <a:lnTo>
                    <a:pt x="82" y="645"/>
                  </a:lnTo>
                  <a:lnTo>
                    <a:pt x="128" y="720"/>
                  </a:lnTo>
                  <a:lnTo>
                    <a:pt x="76" y="847"/>
                  </a:lnTo>
                  <a:lnTo>
                    <a:pt x="198" y="1063"/>
                  </a:lnTo>
                  <a:lnTo>
                    <a:pt x="222" y="959"/>
                  </a:lnTo>
                  <a:lnTo>
                    <a:pt x="180" y="900"/>
                  </a:lnTo>
                  <a:lnTo>
                    <a:pt x="187" y="802"/>
                  </a:lnTo>
                  <a:lnTo>
                    <a:pt x="140" y="580"/>
                  </a:lnTo>
                  <a:lnTo>
                    <a:pt x="180" y="488"/>
                  </a:lnTo>
                  <a:lnTo>
                    <a:pt x="117" y="359"/>
                  </a:lnTo>
                  <a:lnTo>
                    <a:pt x="152" y="214"/>
                  </a:lnTo>
                  <a:lnTo>
                    <a:pt x="187" y="232"/>
                  </a:lnTo>
                  <a:lnTo>
                    <a:pt x="250" y="307"/>
                  </a:lnTo>
                  <a:lnTo>
                    <a:pt x="285" y="603"/>
                  </a:lnTo>
                  <a:lnTo>
                    <a:pt x="326" y="627"/>
                  </a:lnTo>
                  <a:lnTo>
                    <a:pt x="302" y="703"/>
                  </a:lnTo>
                  <a:lnTo>
                    <a:pt x="332" y="795"/>
                  </a:lnTo>
                  <a:lnTo>
                    <a:pt x="372" y="807"/>
                  </a:lnTo>
                  <a:lnTo>
                    <a:pt x="332" y="859"/>
                  </a:lnTo>
                  <a:lnTo>
                    <a:pt x="407" y="935"/>
                  </a:lnTo>
                  <a:lnTo>
                    <a:pt x="506" y="1290"/>
                  </a:lnTo>
                  <a:lnTo>
                    <a:pt x="396" y="1423"/>
                  </a:lnTo>
                  <a:lnTo>
                    <a:pt x="524" y="1667"/>
                  </a:lnTo>
                  <a:lnTo>
                    <a:pt x="634" y="1731"/>
                  </a:lnTo>
                  <a:lnTo>
                    <a:pt x="762" y="1853"/>
                  </a:lnTo>
                  <a:lnTo>
                    <a:pt x="1070" y="2050"/>
                  </a:lnTo>
                  <a:lnTo>
                    <a:pt x="1244" y="2073"/>
                  </a:lnTo>
                  <a:lnTo>
                    <a:pt x="1343" y="2143"/>
                  </a:lnTo>
                  <a:lnTo>
                    <a:pt x="1378" y="2259"/>
                  </a:lnTo>
                  <a:lnTo>
                    <a:pt x="1406" y="2213"/>
                  </a:lnTo>
                  <a:lnTo>
                    <a:pt x="1605" y="2167"/>
                  </a:lnTo>
                  <a:lnTo>
                    <a:pt x="1558" y="2091"/>
                  </a:lnTo>
                  <a:lnTo>
                    <a:pt x="1616" y="2033"/>
                  </a:lnTo>
                  <a:lnTo>
                    <a:pt x="1709" y="2068"/>
                  </a:lnTo>
                  <a:lnTo>
                    <a:pt x="1779" y="2062"/>
                  </a:lnTo>
                  <a:lnTo>
                    <a:pt x="1837" y="2085"/>
                  </a:lnTo>
                  <a:lnTo>
                    <a:pt x="1866" y="2033"/>
                  </a:lnTo>
                  <a:lnTo>
                    <a:pt x="1912" y="1998"/>
                  </a:lnTo>
                  <a:lnTo>
                    <a:pt x="1912" y="1923"/>
                  </a:lnTo>
                  <a:lnTo>
                    <a:pt x="1976" y="1864"/>
                  </a:lnTo>
                  <a:lnTo>
                    <a:pt x="1971" y="1783"/>
                  </a:lnTo>
                  <a:lnTo>
                    <a:pt x="1895" y="1754"/>
                  </a:lnTo>
                  <a:lnTo>
                    <a:pt x="1720" y="1783"/>
                  </a:lnTo>
                  <a:lnTo>
                    <a:pt x="1663" y="1905"/>
                  </a:lnTo>
                  <a:lnTo>
                    <a:pt x="1598" y="1958"/>
                  </a:lnTo>
                  <a:lnTo>
                    <a:pt x="1465" y="1911"/>
                  </a:lnTo>
                  <a:lnTo>
                    <a:pt x="1372" y="1916"/>
                  </a:lnTo>
                  <a:lnTo>
                    <a:pt x="1181" y="1812"/>
                  </a:lnTo>
                  <a:lnTo>
                    <a:pt x="1128" y="1748"/>
                  </a:lnTo>
                  <a:lnTo>
                    <a:pt x="1169" y="1602"/>
                  </a:lnTo>
                  <a:lnTo>
                    <a:pt x="1099" y="1498"/>
                  </a:lnTo>
                  <a:lnTo>
                    <a:pt x="1139" y="1365"/>
                  </a:lnTo>
                  <a:lnTo>
                    <a:pt x="1215" y="1307"/>
                  </a:lnTo>
                  <a:lnTo>
                    <a:pt x="1244" y="1225"/>
                  </a:lnTo>
                  <a:lnTo>
                    <a:pt x="1128" y="1103"/>
                  </a:lnTo>
                  <a:lnTo>
                    <a:pt x="1029" y="795"/>
                  </a:lnTo>
                  <a:lnTo>
                    <a:pt x="884" y="802"/>
                  </a:lnTo>
                  <a:lnTo>
                    <a:pt x="825" y="725"/>
                  </a:lnTo>
                  <a:lnTo>
                    <a:pt x="815" y="586"/>
                  </a:lnTo>
                  <a:lnTo>
                    <a:pt x="750" y="476"/>
                  </a:lnTo>
                  <a:lnTo>
                    <a:pt x="628" y="436"/>
                  </a:lnTo>
                  <a:lnTo>
                    <a:pt x="616" y="470"/>
                  </a:lnTo>
                  <a:lnTo>
                    <a:pt x="367" y="366"/>
                  </a:lnTo>
                  <a:lnTo>
                    <a:pt x="239" y="127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1" name="Freeform 788"/>
            <p:cNvSpPr/>
            <p:nvPr/>
          </p:nvSpPr>
          <p:spPr bwMode="auto">
            <a:xfrm rot="20717457">
              <a:off x="7081838" y="3168650"/>
              <a:ext cx="58737" cy="66675"/>
            </a:xfrm>
            <a:custGeom>
              <a:avLst/>
              <a:gdLst>
                <a:gd name="T0" fmla="*/ 14 w 128"/>
                <a:gd name="T1" fmla="*/ 2 h 175"/>
                <a:gd name="T2" fmla="*/ 11 w 128"/>
                <a:gd name="T3" fmla="*/ 11 h 175"/>
                <a:gd name="T4" fmla="*/ 6 w 128"/>
                <a:gd name="T5" fmla="*/ 16 h 175"/>
                <a:gd name="T6" fmla="*/ 0 w 128"/>
                <a:gd name="T7" fmla="*/ 14 h 175"/>
                <a:gd name="T8" fmla="*/ 4 w 128"/>
                <a:gd name="T9" fmla="*/ 8 h 175"/>
                <a:gd name="T10" fmla="*/ 4 w 128"/>
                <a:gd name="T11" fmla="*/ 0 h 175"/>
                <a:gd name="T12" fmla="*/ 8 w 128"/>
                <a:gd name="T13" fmla="*/ 0 h 175"/>
                <a:gd name="T14" fmla="*/ 14 w 128"/>
                <a:gd name="T15" fmla="*/ 2 h 1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8"/>
                <a:gd name="T25" fmla="*/ 0 h 175"/>
                <a:gd name="T26" fmla="*/ 128 w 128"/>
                <a:gd name="T27" fmla="*/ 175 h 1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8" h="175">
                  <a:moveTo>
                    <a:pt x="128" y="23"/>
                  </a:moveTo>
                  <a:lnTo>
                    <a:pt x="99" y="116"/>
                  </a:lnTo>
                  <a:lnTo>
                    <a:pt x="58" y="175"/>
                  </a:lnTo>
                  <a:lnTo>
                    <a:pt x="0" y="151"/>
                  </a:lnTo>
                  <a:lnTo>
                    <a:pt x="35" y="87"/>
                  </a:lnTo>
                  <a:lnTo>
                    <a:pt x="41" y="0"/>
                  </a:lnTo>
                  <a:lnTo>
                    <a:pt x="76" y="0"/>
                  </a:lnTo>
                  <a:lnTo>
                    <a:pt x="128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2" name="Freeform 789"/>
            <p:cNvSpPr/>
            <p:nvPr/>
          </p:nvSpPr>
          <p:spPr bwMode="auto">
            <a:xfrm rot="20717457">
              <a:off x="6940550" y="3176588"/>
              <a:ext cx="179388" cy="138112"/>
            </a:xfrm>
            <a:custGeom>
              <a:avLst/>
              <a:gdLst>
                <a:gd name="T0" fmla="*/ 42 w 395"/>
                <a:gd name="T1" fmla="*/ 19 h 348"/>
                <a:gd name="T2" fmla="*/ 43 w 395"/>
                <a:gd name="T3" fmla="*/ 21 h 348"/>
                <a:gd name="T4" fmla="*/ 35 w 395"/>
                <a:gd name="T5" fmla="*/ 24 h 348"/>
                <a:gd name="T6" fmla="*/ 32 w 395"/>
                <a:gd name="T7" fmla="*/ 29 h 348"/>
                <a:gd name="T8" fmla="*/ 25 w 395"/>
                <a:gd name="T9" fmla="*/ 33 h 348"/>
                <a:gd name="T10" fmla="*/ 10 w 395"/>
                <a:gd name="T11" fmla="*/ 30 h 348"/>
                <a:gd name="T12" fmla="*/ 0 w 395"/>
                <a:gd name="T13" fmla="*/ 21 h 348"/>
                <a:gd name="T14" fmla="*/ 2 w 395"/>
                <a:gd name="T15" fmla="*/ 17 h 348"/>
                <a:gd name="T16" fmla="*/ 24 w 395"/>
                <a:gd name="T17" fmla="*/ 12 h 348"/>
                <a:gd name="T18" fmla="*/ 19 w 395"/>
                <a:gd name="T19" fmla="*/ 6 h 348"/>
                <a:gd name="T20" fmla="*/ 25 w 395"/>
                <a:gd name="T21" fmla="*/ 0 h 348"/>
                <a:gd name="T22" fmla="*/ 35 w 395"/>
                <a:gd name="T23" fmla="*/ 3 h 348"/>
                <a:gd name="T24" fmla="*/ 40 w 395"/>
                <a:gd name="T25" fmla="*/ 3 h 348"/>
                <a:gd name="T26" fmla="*/ 39 w 395"/>
                <a:gd name="T27" fmla="*/ 12 h 348"/>
                <a:gd name="T28" fmla="*/ 35 w 395"/>
                <a:gd name="T29" fmla="*/ 17 h 348"/>
                <a:gd name="T30" fmla="*/ 42 w 395"/>
                <a:gd name="T31" fmla="*/ 19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5"/>
                <a:gd name="T49" fmla="*/ 0 h 348"/>
                <a:gd name="T50" fmla="*/ 395 w 395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5" h="348">
                  <a:moveTo>
                    <a:pt x="383" y="204"/>
                  </a:moveTo>
                  <a:lnTo>
                    <a:pt x="395" y="221"/>
                  </a:lnTo>
                  <a:lnTo>
                    <a:pt x="319" y="249"/>
                  </a:lnTo>
                  <a:lnTo>
                    <a:pt x="291" y="302"/>
                  </a:lnTo>
                  <a:lnTo>
                    <a:pt x="226" y="348"/>
                  </a:lnTo>
                  <a:lnTo>
                    <a:pt x="92" y="319"/>
                  </a:lnTo>
                  <a:lnTo>
                    <a:pt x="0" y="226"/>
                  </a:lnTo>
                  <a:lnTo>
                    <a:pt x="22" y="180"/>
                  </a:lnTo>
                  <a:lnTo>
                    <a:pt x="221" y="127"/>
                  </a:lnTo>
                  <a:lnTo>
                    <a:pt x="174" y="58"/>
                  </a:lnTo>
                  <a:lnTo>
                    <a:pt x="226" y="0"/>
                  </a:lnTo>
                  <a:lnTo>
                    <a:pt x="325" y="35"/>
                  </a:lnTo>
                  <a:lnTo>
                    <a:pt x="366" y="29"/>
                  </a:lnTo>
                  <a:lnTo>
                    <a:pt x="360" y="122"/>
                  </a:lnTo>
                  <a:lnTo>
                    <a:pt x="325" y="174"/>
                  </a:lnTo>
                  <a:lnTo>
                    <a:pt x="383" y="20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3" name="Freeform 790"/>
            <p:cNvSpPr/>
            <p:nvPr/>
          </p:nvSpPr>
          <p:spPr bwMode="auto">
            <a:xfrm rot="20717457">
              <a:off x="7086600" y="3227388"/>
              <a:ext cx="206375" cy="95250"/>
            </a:xfrm>
            <a:custGeom>
              <a:avLst/>
              <a:gdLst>
                <a:gd name="T0" fmla="*/ 11 w 458"/>
                <a:gd name="T1" fmla="*/ 0 h 249"/>
                <a:gd name="T2" fmla="*/ 3 w 458"/>
                <a:gd name="T3" fmla="*/ 2 h 249"/>
                <a:gd name="T4" fmla="*/ 0 w 458"/>
                <a:gd name="T5" fmla="*/ 8 h 249"/>
                <a:gd name="T6" fmla="*/ 13 w 458"/>
                <a:gd name="T7" fmla="*/ 12 h 249"/>
                <a:gd name="T8" fmla="*/ 13 w 458"/>
                <a:gd name="T9" fmla="*/ 21 h 249"/>
                <a:gd name="T10" fmla="*/ 14 w 458"/>
                <a:gd name="T11" fmla="*/ 23 h 249"/>
                <a:gd name="T12" fmla="*/ 27 w 458"/>
                <a:gd name="T13" fmla="*/ 20 h 249"/>
                <a:gd name="T14" fmla="*/ 31 w 458"/>
                <a:gd name="T15" fmla="*/ 21 h 249"/>
                <a:gd name="T16" fmla="*/ 49 w 458"/>
                <a:gd name="T17" fmla="*/ 11 h 249"/>
                <a:gd name="T18" fmla="*/ 47 w 458"/>
                <a:gd name="T19" fmla="*/ 9 h 249"/>
                <a:gd name="T20" fmla="*/ 14 w 458"/>
                <a:gd name="T21" fmla="*/ 4 h 249"/>
                <a:gd name="T22" fmla="*/ 11 w 458"/>
                <a:gd name="T23" fmla="*/ 0 h 2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58"/>
                <a:gd name="T37" fmla="*/ 0 h 249"/>
                <a:gd name="T38" fmla="*/ 458 w 458"/>
                <a:gd name="T39" fmla="*/ 249 h 2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58" h="249">
                  <a:moveTo>
                    <a:pt x="104" y="0"/>
                  </a:moveTo>
                  <a:lnTo>
                    <a:pt x="28" y="23"/>
                  </a:lnTo>
                  <a:lnTo>
                    <a:pt x="0" y="87"/>
                  </a:lnTo>
                  <a:lnTo>
                    <a:pt x="122" y="127"/>
                  </a:lnTo>
                  <a:lnTo>
                    <a:pt x="122" y="232"/>
                  </a:lnTo>
                  <a:lnTo>
                    <a:pt x="133" y="249"/>
                  </a:lnTo>
                  <a:lnTo>
                    <a:pt x="249" y="220"/>
                  </a:lnTo>
                  <a:lnTo>
                    <a:pt x="290" y="227"/>
                  </a:lnTo>
                  <a:lnTo>
                    <a:pt x="458" y="115"/>
                  </a:lnTo>
                  <a:lnTo>
                    <a:pt x="441" y="93"/>
                  </a:lnTo>
                  <a:lnTo>
                    <a:pt x="127" y="46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4" name="Freeform 791"/>
            <p:cNvSpPr/>
            <p:nvPr/>
          </p:nvSpPr>
          <p:spPr bwMode="auto">
            <a:xfrm rot="20717457">
              <a:off x="7065963" y="3276600"/>
              <a:ext cx="84137" cy="63500"/>
            </a:xfrm>
            <a:custGeom>
              <a:avLst/>
              <a:gdLst>
                <a:gd name="T0" fmla="*/ 7 w 187"/>
                <a:gd name="T1" fmla="*/ 0 h 151"/>
                <a:gd name="T2" fmla="*/ 20 w 187"/>
                <a:gd name="T3" fmla="*/ 5 h 151"/>
                <a:gd name="T4" fmla="*/ 20 w 187"/>
                <a:gd name="T5" fmla="*/ 15 h 151"/>
                <a:gd name="T6" fmla="*/ 8 w 187"/>
                <a:gd name="T7" fmla="*/ 11 h 151"/>
                <a:gd name="T8" fmla="*/ 0 w 187"/>
                <a:gd name="T9" fmla="*/ 5 h 151"/>
                <a:gd name="T10" fmla="*/ 7 w 187"/>
                <a:gd name="T11" fmla="*/ 0 h 1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7"/>
                <a:gd name="T19" fmla="*/ 0 h 151"/>
                <a:gd name="T20" fmla="*/ 187 w 187"/>
                <a:gd name="T21" fmla="*/ 151 h 15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7" h="151">
                  <a:moveTo>
                    <a:pt x="65" y="0"/>
                  </a:moveTo>
                  <a:lnTo>
                    <a:pt x="187" y="46"/>
                  </a:lnTo>
                  <a:lnTo>
                    <a:pt x="187" y="151"/>
                  </a:lnTo>
                  <a:lnTo>
                    <a:pt x="75" y="111"/>
                  </a:lnTo>
                  <a:lnTo>
                    <a:pt x="0" y="46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5" name="Freeform 792"/>
            <p:cNvSpPr/>
            <p:nvPr/>
          </p:nvSpPr>
          <p:spPr bwMode="auto">
            <a:xfrm rot="20717457">
              <a:off x="7162800" y="3255963"/>
              <a:ext cx="192088" cy="147637"/>
            </a:xfrm>
            <a:custGeom>
              <a:avLst/>
              <a:gdLst>
                <a:gd name="T0" fmla="*/ 13 w 425"/>
                <a:gd name="T1" fmla="*/ 32 h 377"/>
                <a:gd name="T2" fmla="*/ 22 w 425"/>
                <a:gd name="T3" fmla="*/ 35 h 377"/>
                <a:gd name="T4" fmla="*/ 24 w 425"/>
                <a:gd name="T5" fmla="*/ 32 h 377"/>
                <a:gd name="T6" fmla="*/ 29 w 425"/>
                <a:gd name="T7" fmla="*/ 33 h 377"/>
                <a:gd name="T8" fmla="*/ 30 w 425"/>
                <a:gd name="T9" fmla="*/ 26 h 377"/>
                <a:gd name="T10" fmla="*/ 46 w 425"/>
                <a:gd name="T11" fmla="*/ 10 h 377"/>
                <a:gd name="T12" fmla="*/ 46 w 425"/>
                <a:gd name="T13" fmla="*/ 5 h 377"/>
                <a:gd name="T14" fmla="*/ 35 w 425"/>
                <a:gd name="T15" fmla="*/ 0 h 377"/>
                <a:gd name="T16" fmla="*/ 17 w 425"/>
                <a:gd name="T17" fmla="*/ 10 h 377"/>
                <a:gd name="T18" fmla="*/ 12 w 425"/>
                <a:gd name="T19" fmla="*/ 9 h 377"/>
                <a:gd name="T20" fmla="*/ 0 w 425"/>
                <a:gd name="T21" fmla="*/ 12 h 377"/>
                <a:gd name="T22" fmla="*/ 9 w 425"/>
                <a:gd name="T23" fmla="*/ 26 h 377"/>
                <a:gd name="T24" fmla="*/ 13 w 425"/>
                <a:gd name="T25" fmla="*/ 30 h 377"/>
                <a:gd name="T26" fmla="*/ 13 w 425"/>
                <a:gd name="T27" fmla="*/ 32 h 37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5"/>
                <a:gd name="T43" fmla="*/ 0 h 377"/>
                <a:gd name="T44" fmla="*/ 425 w 425"/>
                <a:gd name="T45" fmla="*/ 377 h 37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5" h="377">
                  <a:moveTo>
                    <a:pt x="116" y="349"/>
                  </a:moveTo>
                  <a:lnTo>
                    <a:pt x="203" y="377"/>
                  </a:lnTo>
                  <a:lnTo>
                    <a:pt x="226" y="342"/>
                  </a:lnTo>
                  <a:lnTo>
                    <a:pt x="268" y="354"/>
                  </a:lnTo>
                  <a:lnTo>
                    <a:pt x="279" y="279"/>
                  </a:lnTo>
                  <a:lnTo>
                    <a:pt x="425" y="110"/>
                  </a:lnTo>
                  <a:lnTo>
                    <a:pt x="425" y="58"/>
                  </a:lnTo>
                  <a:lnTo>
                    <a:pt x="325" y="0"/>
                  </a:lnTo>
                  <a:lnTo>
                    <a:pt x="157" y="105"/>
                  </a:lnTo>
                  <a:lnTo>
                    <a:pt x="111" y="98"/>
                  </a:lnTo>
                  <a:lnTo>
                    <a:pt x="0" y="127"/>
                  </a:lnTo>
                  <a:lnTo>
                    <a:pt x="87" y="284"/>
                  </a:lnTo>
                  <a:lnTo>
                    <a:pt x="116" y="319"/>
                  </a:lnTo>
                  <a:lnTo>
                    <a:pt x="116" y="34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6" name="Freeform 793"/>
            <p:cNvSpPr/>
            <p:nvPr/>
          </p:nvSpPr>
          <p:spPr bwMode="auto">
            <a:xfrm rot="20717457">
              <a:off x="7242175" y="3386138"/>
              <a:ext cx="104775" cy="104775"/>
            </a:xfrm>
            <a:custGeom>
              <a:avLst/>
              <a:gdLst>
                <a:gd name="T0" fmla="*/ 1 w 226"/>
                <a:gd name="T1" fmla="*/ 1 h 274"/>
                <a:gd name="T2" fmla="*/ 10 w 226"/>
                <a:gd name="T3" fmla="*/ 3 h 274"/>
                <a:gd name="T4" fmla="*/ 13 w 226"/>
                <a:gd name="T5" fmla="*/ 0 h 274"/>
                <a:gd name="T6" fmla="*/ 17 w 226"/>
                <a:gd name="T7" fmla="*/ 1 h 274"/>
                <a:gd name="T8" fmla="*/ 15 w 226"/>
                <a:gd name="T9" fmla="*/ 11 h 274"/>
                <a:gd name="T10" fmla="*/ 24 w 226"/>
                <a:gd name="T11" fmla="*/ 16 h 274"/>
                <a:gd name="T12" fmla="*/ 25 w 226"/>
                <a:gd name="T13" fmla="*/ 19 h 274"/>
                <a:gd name="T14" fmla="*/ 24 w 226"/>
                <a:gd name="T15" fmla="*/ 25 h 274"/>
                <a:gd name="T16" fmla="*/ 22 w 226"/>
                <a:gd name="T17" fmla="*/ 24 h 274"/>
                <a:gd name="T18" fmla="*/ 0 w 226"/>
                <a:gd name="T19" fmla="*/ 5 h 274"/>
                <a:gd name="T20" fmla="*/ 1 w 226"/>
                <a:gd name="T21" fmla="*/ 1 h 2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6"/>
                <a:gd name="T34" fmla="*/ 0 h 274"/>
                <a:gd name="T35" fmla="*/ 226 w 226"/>
                <a:gd name="T36" fmla="*/ 274 h 27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6" h="274">
                  <a:moveTo>
                    <a:pt x="5" y="12"/>
                  </a:moveTo>
                  <a:lnTo>
                    <a:pt x="92" y="35"/>
                  </a:lnTo>
                  <a:lnTo>
                    <a:pt x="115" y="0"/>
                  </a:lnTo>
                  <a:lnTo>
                    <a:pt x="157" y="12"/>
                  </a:lnTo>
                  <a:lnTo>
                    <a:pt x="139" y="122"/>
                  </a:lnTo>
                  <a:lnTo>
                    <a:pt x="220" y="180"/>
                  </a:lnTo>
                  <a:lnTo>
                    <a:pt x="226" y="209"/>
                  </a:lnTo>
                  <a:lnTo>
                    <a:pt x="214" y="274"/>
                  </a:lnTo>
                  <a:lnTo>
                    <a:pt x="197" y="262"/>
                  </a:lnTo>
                  <a:lnTo>
                    <a:pt x="0" y="52"/>
                  </a:ln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7" name="Freeform 794"/>
            <p:cNvSpPr/>
            <p:nvPr/>
          </p:nvSpPr>
          <p:spPr bwMode="auto">
            <a:xfrm rot="20717457">
              <a:off x="7354888" y="3411538"/>
              <a:ext cx="227012" cy="112712"/>
            </a:xfrm>
            <a:custGeom>
              <a:avLst/>
              <a:gdLst>
                <a:gd name="T0" fmla="*/ 1 w 506"/>
                <a:gd name="T1" fmla="*/ 0 h 285"/>
                <a:gd name="T2" fmla="*/ 12 w 506"/>
                <a:gd name="T3" fmla="*/ 6 h 285"/>
                <a:gd name="T4" fmla="*/ 35 w 506"/>
                <a:gd name="T5" fmla="*/ 1 h 285"/>
                <a:gd name="T6" fmla="*/ 51 w 506"/>
                <a:gd name="T7" fmla="*/ 10 h 285"/>
                <a:gd name="T8" fmla="*/ 54 w 506"/>
                <a:gd name="T9" fmla="*/ 24 h 285"/>
                <a:gd name="T10" fmla="*/ 48 w 506"/>
                <a:gd name="T11" fmla="*/ 27 h 285"/>
                <a:gd name="T12" fmla="*/ 38 w 506"/>
                <a:gd name="T13" fmla="*/ 19 h 285"/>
                <a:gd name="T14" fmla="*/ 42 w 506"/>
                <a:gd name="T15" fmla="*/ 16 h 285"/>
                <a:gd name="T16" fmla="*/ 42 w 506"/>
                <a:gd name="T17" fmla="*/ 14 h 285"/>
                <a:gd name="T18" fmla="*/ 34 w 506"/>
                <a:gd name="T19" fmla="*/ 8 h 285"/>
                <a:gd name="T20" fmla="*/ 29 w 506"/>
                <a:gd name="T21" fmla="*/ 10 h 285"/>
                <a:gd name="T22" fmla="*/ 19 w 506"/>
                <a:gd name="T23" fmla="*/ 11 h 285"/>
                <a:gd name="T24" fmla="*/ 28 w 506"/>
                <a:gd name="T25" fmla="*/ 17 h 285"/>
                <a:gd name="T26" fmla="*/ 22 w 506"/>
                <a:gd name="T27" fmla="*/ 19 h 285"/>
                <a:gd name="T28" fmla="*/ 0 w 506"/>
                <a:gd name="T29" fmla="*/ 9 h 285"/>
                <a:gd name="T30" fmla="*/ 2 w 506"/>
                <a:gd name="T31" fmla="*/ 3 h 285"/>
                <a:gd name="T32" fmla="*/ 1 w 506"/>
                <a:gd name="T33" fmla="*/ 0 h 28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6"/>
                <a:gd name="T52" fmla="*/ 0 h 285"/>
                <a:gd name="T53" fmla="*/ 506 w 506"/>
                <a:gd name="T54" fmla="*/ 285 h 28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6" h="285">
                  <a:moveTo>
                    <a:pt x="12" y="0"/>
                  </a:moveTo>
                  <a:lnTo>
                    <a:pt x="111" y="64"/>
                  </a:lnTo>
                  <a:lnTo>
                    <a:pt x="326" y="6"/>
                  </a:lnTo>
                  <a:lnTo>
                    <a:pt x="477" y="104"/>
                  </a:lnTo>
                  <a:lnTo>
                    <a:pt x="506" y="250"/>
                  </a:lnTo>
                  <a:lnTo>
                    <a:pt x="448" y="285"/>
                  </a:lnTo>
                  <a:lnTo>
                    <a:pt x="355" y="198"/>
                  </a:lnTo>
                  <a:lnTo>
                    <a:pt x="390" y="169"/>
                  </a:lnTo>
                  <a:lnTo>
                    <a:pt x="396" y="151"/>
                  </a:lnTo>
                  <a:lnTo>
                    <a:pt x="314" y="87"/>
                  </a:lnTo>
                  <a:lnTo>
                    <a:pt x="268" y="104"/>
                  </a:lnTo>
                  <a:lnTo>
                    <a:pt x="180" y="111"/>
                  </a:lnTo>
                  <a:lnTo>
                    <a:pt x="262" y="181"/>
                  </a:lnTo>
                  <a:lnTo>
                    <a:pt x="204" y="198"/>
                  </a:lnTo>
                  <a:lnTo>
                    <a:pt x="0" y="94"/>
                  </a:lnTo>
                  <a:lnTo>
                    <a:pt x="18" y="29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8" name="Freeform 795"/>
            <p:cNvSpPr/>
            <p:nvPr/>
          </p:nvSpPr>
          <p:spPr bwMode="auto">
            <a:xfrm rot="20717457">
              <a:off x="6821488" y="1055688"/>
              <a:ext cx="188912" cy="104775"/>
            </a:xfrm>
            <a:custGeom>
              <a:avLst/>
              <a:gdLst>
                <a:gd name="T0" fmla="*/ 40 w 412"/>
                <a:gd name="T1" fmla="*/ 0 h 268"/>
                <a:gd name="T2" fmla="*/ 33 w 412"/>
                <a:gd name="T3" fmla="*/ 1 h 268"/>
                <a:gd name="T4" fmla="*/ 32 w 412"/>
                <a:gd name="T5" fmla="*/ 8 h 268"/>
                <a:gd name="T6" fmla="*/ 29 w 412"/>
                <a:gd name="T7" fmla="*/ 10 h 268"/>
                <a:gd name="T8" fmla="*/ 24 w 412"/>
                <a:gd name="T9" fmla="*/ 8 h 268"/>
                <a:gd name="T10" fmla="*/ 20 w 412"/>
                <a:gd name="T11" fmla="*/ 8 h 268"/>
                <a:gd name="T12" fmla="*/ 17 w 412"/>
                <a:gd name="T13" fmla="*/ 8 h 268"/>
                <a:gd name="T14" fmla="*/ 16 w 412"/>
                <a:gd name="T15" fmla="*/ 1 h 268"/>
                <a:gd name="T16" fmla="*/ 12 w 412"/>
                <a:gd name="T17" fmla="*/ 0 h 268"/>
                <a:gd name="T18" fmla="*/ 5 w 412"/>
                <a:gd name="T19" fmla="*/ 2 h 268"/>
                <a:gd name="T20" fmla="*/ 8 w 412"/>
                <a:gd name="T21" fmla="*/ 6 h 268"/>
                <a:gd name="T22" fmla="*/ 6 w 412"/>
                <a:gd name="T23" fmla="*/ 8 h 268"/>
                <a:gd name="T24" fmla="*/ 1 w 412"/>
                <a:gd name="T25" fmla="*/ 10 h 268"/>
                <a:gd name="T26" fmla="*/ 1 w 412"/>
                <a:gd name="T27" fmla="*/ 13 h 268"/>
                <a:gd name="T28" fmla="*/ 6 w 412"/>
                <a:gd name="T29" fmla="*/ 15 h 268"/>
                <a:gd name="T30" fmla="*/ 8 w 412"/>
                <a:gd name="T31" fmla="*/ 18 h 268"/>
                <a:gd name="T32" fmla="*/ 0 w 412"/>
                <a:gd name="T33" fmla="*/ 21 h 268"/>
                <a:gd name="T34" fmla="*/ 3 w 412"/>
                <a:gd name="T35" fmla="*/ 25 h 268"/>
                <a:gd name="T36" fmla="*/ 15 w 412"/>
                <a:gd name="T37" fmla="*/ 25 h 268"/>
                <a:gd name="T38" fmla="*/ 21 w 412"/>
                <a:gd name="T39" fmla="*/ 21 h 268"/>
                <a:gd name="T40" fmla="*/ 29 w 412"/>
                <a:gd name="T41" fmla="*/ 23 h 268"/>
                <a:gd name="T42" fmla="*/ 33 w 412"/>
                <a:gd name="T43" fmla="*/ 23 h 268"/>
                <a:gd name="T44" fmla="*/ 37 w 412"/>
                <a:gd name="T45" fmla="*/ 19 h 268"/>
                <a:gd name="T46" fmla="*/ 35 w 412"/>
                <a:gd name="T47" fmla="*/ 14 h 268"/>
                <a:gd name="T48" fmla="*/ 41 w 412"/>
                <a:gd name="T49" fmla="*/ 10 h 268"/>
                <a:gd name="T50" fmla="*/ 45 w 412"/>
                <a:gd name="T51" fmla="*/ 2 h 268"/>
                <a:gd name="T52" fmla="*/ 41 w 412"/>
                <a:gd name="T53" fmla="*/ 0 h 268"/>
                <a:gd name="T54" fmla="*/ 40 w 412"/>
                <a:gd name="T55" fmla="*/ 0 h 2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12"/>
                <a:gd name="T85" fmla="*/ 0 h 268"/>
                <a:gd name="T86" fmla="*/ 412 w 412"/>
                <a:gd name="T87" fmla="*/ 268 h 26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12" h="268">
                  <a:moveTo>
                    <a:pt x="365" y="0"/>
                  </a:moveTo>
                  <a:lnTo>
                    <a:pt x="302" y="12"/>
                  </a:lnTo>
                  <a:lnTo>
                    <a:pt x="290" y="87"/>
                  </a:lnTo>
                  <a:lnTo>
                    <a:pt x="261" y="104"/>
                  </a:lnTo>
                  <a:lnTo>
                    <a:pt x="220" y="87"/>
                  </a:lnTo>
                  <a:lnTo>
                    <a:pt x="185" y="81"/>
                  </a:lnTo>
                  <a:lnTo>
                    <a:pt x="157" y="81"/>
                  </a:lnTo>
                  <a:lnTo>
                    <a:pt x="150" y="6"/>
                  </a:lnTo>
                  <a:lnTo>
                    <a:pt x="110" y="0"/>
                  </a:lnTo>
                  <a:lnTo>
                    <a:pt x="46" y="17"/>
                  </a:lnTo>
                  <a:lnTo>
                    <a:pt x="70" y="69"/>
                  </a:lnTo>
                  <a:lnTo>
                    <a:pt x="58" y="87"/>
                  </a:lnTo>
                  <a:lnTo>
                    <a:pt x="5" y="104"/>
                  </a:lnTo>
                  <a:lnTo>
                    <a:pt x="5" y="139"/>
                  </a:lnTo>
                  <a:lnTo>
                    <a:pt x="58" y="163"/>
                  </a:lnTo>
                  <a:lnTo>
                    <a:pt x="70" y="191"/>
                  </a:lnTo>
                  <a:lnTo>
                    <a:pt x="0" y="221"/>
                  </a:lnTo>
                  <a:lnTo>
                    <a:pt x="23" y="268"/>
                  </a:lnTo>
                  <a:lnTo>
                    <a:pt x="139" y="268"/>
                  </a:lnTo>
                  <a:lnTo>
                    <a:pt x="192" y="226"/>
                  </a:lnTo>
                  <a:lnTo>
                    <a:pt x="261" y="250"/>
                  </a:lnTo>
                  <a:lnTo>
                    <a:pt x="302" y="250"/>
                  </a:lnTo>
                  <a:lnTo>
                    <a:pt x="337" y="203"/>
                  </a:lnTo>
                  <a:lnTo>
                    <a:pt x="319" y="151"/>
                  </a:lnTo>
                  <a:lnTo>
                    <a:pt x="372" y="104"/>
                  </a:lnTo>
                  <a:lnTo>
                    <a:pt x="412" y="17"/>
                  </a:lnTo>
                  <a:lnTo>
                    <a:pt x="372" y="0"/>
                  </a:lnTo>
                  <a:lnTo>
                    <a:pt x="365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9" name="Freeform 796"/>
            <p:cNvSpPr/>
            <p:nvPr/>
          </p:nvSpPr>
          <p:spPr bwMode="auto">
            <a:xfrm>
              <a:off x="449263" y="2967038"/>
              <a:ext cx="277812" cy="166687"/>
            </a:xfrm>
            <a:custGeom>
              <a:avLst/>
              <a:gdLst>
                <a:gd name="T0" fmla="*/ 36 w 605"/>
                <a:gd name="T1" fmla="*/ 2 h 430"/>
                <a:gd name="T2" fmla="*/ 66 w 605"/>
                <a:gd name="T3" fmla="*/ 0 h 430"/>
                <a:gd name="T4" fmla="*/ 63 w 605"/>
                <a:gd name="T5" fmla="*/ 7 h 430"/>
                <a:gd name="T6" fmla="*/ 42 w 605"/>
                <a:gd name="T7" fmla="*/ 8 h 430"/>
                <a:gd name="T8" fmla="*/ 37 w 605"/>
                <a:gd name="T9" fmla="*/ 24 h 430"/>
                <a:gd name="T10" fmla="*/ 28 w 605"/>
                <a:gd name="T11" fmla="*/ 25 h 430"/>
                <a:gd name="T12" fmla="*/ 25 w 605"/>
                <a:gd name="T13" fmla="*/ 37 h 430"/>
                <a:gd name="T14" fmla="*/ 1 w 605"/>
                <a:gd name="T15" fmla="*/ 40 h 430"/>
                <a:gd name="T16" fmla="*/ 0 w 605"/>
                <a:gd name="T17" fmla="*/ 36 h 430"/>
                <a:gd name="T18" fmla="*/ 25 w 605"/>
                <a:gd name="T19" fmla="*/ 9 h 430"/>
                <a:gd name="T20" fmla="*/ 36 w 605"/>
                <a:gd name="T21" fmla="*/ 2 h 4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5"/>
                <a:gd name="T34" fmla="*/ 0 h 430"/>
                <a:gd name="T35" fmla="*/ 605 w 605"/>
                <a:gd name="T36" fmla="*/ 430 h 4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5" h="430">
                  <a:moveTo>
                    <a:pt x="331" y="18"/>
                  </a:moveTo>
                  <a:lnTo>
                    <a:pt x="605" y="0"/>
                  </a:lnTo>
                  <a:lnTo>
                    <a:pt x="582" y="70"/>
                  </a:lnTo>
                  <a:lnTo>
                    <a:pt x="384" y="81"/>
                  </a:lnTo>
                  <a:lnTo>
                    <a:pt x="343" y="255"/>
                  </a:lnTo>
                  <a:lnTo>
                    <a:pt x="256" y="273"/>
                  </a:lnTo>
                  <a:lnTo>
                    <a:pt x="233" y="401"/>
                  </a:lnTo>
                  <a:lnTo>
                    <a:pt x="12" y="430"/>
                  </a:lnTo>
                  <a:lnTo>
                    <a:pt x="0" y="389"/>
                  </a:lnTo>
                  <a:lnTo>
                    <a:pt x="227" y="93"/>
                  </a:lnTo>
                  <a:lnTo>
                    <a:pt x="331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0" name="Freeform 797"/>
            <p:cNvSpPr/>
            <p:nvPr/>
          </p:nvSpPr>
          <p:spPr bwMode="auto">
            <a:xfrm>
              <a:off x="600075" y="2732088"/>
              <a:ext cx="369888" cy="242887"/>
            </a:xfrm>
            <a:custGeom>
              <a:avLst/>
              <a:gdLst>
                <a:gd name="T0" fmla="*/ 0 w 814"/>
                <a:gd name="T1" fmla="*/ 58 h 616"/>
                <a:gd name="T2" fmla="*/ 28 w 814"/>
                <a:gd name="T3" fmla="*/ 39 h 616"/>
                <a:gd name="T4" fmla="*/ 30 w 814"/>
                <a:gd name="T5" fmla="*/ 32 h 616"/>
                <a:gd name="T6" fmla="*/ 41 w 814"/>
                <a:gd name="T7" fmla="*/ 19 h 616"/>
                <a:gd name="T8" fmla="*/ 58 w 814"/>
                <a:gd name="T9" fmla="*/ 10 h 616"/>
                <a:gd name="T10" fmla="*/ 63 w 814"/>
                <a:gd name="T11" fmla="*/ 0 h 616"/>
                <a:gd name="T12" fmla="*/ 78 w 814"/>
                <a:gd name="T13" fmla="*/ 7 h 616"/>
                <a:gd name="T14" fmla="*/ 88 w 814"/>
                <a:gd name="T15" fmla="*/ 5 h 616"/>
                <a:gd name="T16" fmla="*/ 87 w 814"/>
                <a:gd name="T17" fmla="*/ 22 h 616"/>
                <a:gd name="T18" fmla="*/ 77 w 814"/>
                <a:gd name="T19" fmla="*/ 25 h 616"/>
                <a:gd name="T20" fmla="*/ 57 w 814"/>
                <a:gd name="T21" fmla="*/ 40 h 616"/>
                <a:gd name="T22" fmla="*/ 38 w 814"/>
                <a:gd name="T23" fmla="*/ 44 h 616"/>
                <a:gd name="T24" fmla="*/ 30 w 814"/>
                <a:gd name="T25" fmla="*/ 56 h 616"/>
                <a:gd name="T26" fmla="*/ 1 w 814"/>
                <a:gd name="T27" fmla="*/ 58 h 616"/>
                <a:gd name="T28" fmla="*/ 0 w 814"/>
                <a:gd name="T29" fmla="*/ 58 h 6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14"/>
                <a:gd name="T46" fmla="*/ 0 h 616"/>
                <a:gd name="T47" fmla="*/ 814 w 814"/>
                <a:gd name="T48" fmla="*/ 616 h 6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14" h="616">
                  <a:moveTo>
                    <a:pt x="0" y="616"/>
                  </a:moveTo>
                  <a:lnTo>
                    <a:pt x="262" y="418"/>
                  </a:lnTo>
                  <a:lnTo>
                    <a:pt x="274" y="337"/>
                  </a:lnTo>
                  <a:lnTo>
                    <a:pt x="378" y="203"/>
                  </a:lnTo>
                  <a:lnTo>
                    <a:pt x="535" y="105"/>
                  </a:lnTo>
                  <a:lnTo>
                    <a:pt x="587" y="0"/>
                  </a:lnTo>
                  <a:lnTo>
                    <a:pt x="720" y="70"/>
                  </a:lnTo>
                  <a:lnTo>
                    <a:pt x="814" y="58"/>
                  </a:lnTo>
                  <a:lnTo>
                    <a:pt x="802" y="238"/>
                  </a:lnTo>
                  <a:lnTo>
                    <a:pt x="715" y="262"/>
                  </a:lnTo>
                  <a:lnTo>
                    <a:pt x="529" y="429"/>
                  </a:lnTo>
                  <a:lnTo>
                    <a:pt x="354" y="464"/>
                  </a:lnTo>
                  <a:lnTo>
                    <a:pt x="279" y="598"/>
                  </a:lnTo>
                  <a:lnTo>
                    <a:pt x="12" y="616"/>
                  </a:lnTo>
                  <a:lnTo>
                    <a:pt x="0" y="61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1" name="Freeform 798"/>
            <p:cNvSpPr/>
            <p:nvPr/>
          </p:nvSpPr>
          <p:spPr bwMode="auto">
            <a:xfrm>
              <a:off x="441325" y="2967038"/>
              <a:ext cx="373063" cy="334962"/>
            </a:xfrm>
            <a:custGeom>
              <a:avLst/>
              <a:gdLst>
                <a:gd name="T0" fmla="*/ 68 w 825"/>
                <a:gd name="T1" fmla="*/ 0 h 860"/>
                <a:gd name="T2" fmla="*/ 89 w 825"/>
                <a:gd name="T3" fmla="*/ 14 h 860"/>
                <a:gd name="T4" fmla="*/ 78 w 825"/>
                <a:gd name="T5" fmla="*/ 13 h 860"/>
                <a:gd name="T6" fmla="*/ 73 w 825"/>
                <a:gd name="T7" fmla="*/ 66 h 860"/>
                <a:gd name="T8" fmla="*/ 80 w 825"/>
                <a:gd name="T9" fmla="*/ 66 h 860"/>
                <a:gd name="T10" fmla="*/ 80 w 825"/>
                <a:gd name="T11" fmla="*/ 73 h 860"/>
                <a:gd name="T12" fmla="*/ 55 w 825"/>
                <a:gd name="T13" fmla="*/ 73 h 860"/>
                <a:gd name="T14" fmla="*/ 51 w 825"/>
                <a:gd name="T15" fmla="*/ 70 h 860"/>
                <a:gd name="T16" fmla="*/ 48 w 825"/>
                <a:gd name="T17" fmla="*/ 77 h 860"/>
                <a:gd name="T18" fmla="*/ 39 w 825"/>
                <a:gd name="T19" fmla="*/ 77 h 860"/>
                <a:gd name="T20" fmla="*/ 37 w 825"/>
                <a:gd name="T21" fmla="*/ 73 h 860"/>
                <a:gd name="T22" fmla="*/ 35 w 825"/>
                <a:gd name="T23" fmla="*/ 80 h 860"/>
                <a:gd name="T24" fmla="*/ 30 w 825"/>
                <a:gd name="T25" fmla="*/ 80 h 860"/>
                <a:gd name="T26" fmla="*/ 14 w 825"/>
                <a:gd name="T27" fmla="*/ 68 h 860"/>
                <a:gd name="T28" fmla="*/ 8 w 825"/>
                <a:gd name="T29" fmla="*/ 72 h 860"/>
                <a:gd name="T30" fmla="*/ 0 w 825"/>
                <a:gd name="T31" fmla="*/ 72 h 860"/>
                <a:gd name="T32" fmla="*/ 4 w 825"/>
                <a:gd name="T33" fmla="*/ 66 h 860"/>
                <a:gd name="T34" fmla="*/ 3 w 825"/>
                <a:gd name="T35" fmla="*/ 49 h 860"/>
                <a:gd name="T36" fmla="*/ 6 w 825"/>
                <a:gd name="T37" fmla="*/ 45 h 860"/>
                <a:gd name="T38" fmla="*/ 4 w 825"/>
                <a:gd name="T39" fmla="*/ 40 h 860"/>
                <a:gd name="T40" fmla="*/ 28 w 825"/>
                <a:gd name="T41" fmla="*/ 37 h 860"/>
                <a:gd name="T42" fmla="*/ 30 w 825"/>
                <a:gd name="T43" fmla="*/ 25 h 860"/>
                <a:gd name="T44" fmla="*/ 39 w 825"/>
                <a:gd name="T45" fmla="*/ 24 h 860"/>
                <a:gd name="T46" fmla="*/ 44 w 825"/>
                <a:gd name="T47" fmla="*/ 8 h 860"/>
                <a:gd name="T48" fmla="*/ 65 w 825"/>
                <a:gd name="T49" fmla="*/ 7 h 860"/>
                <a:gd name="T50" fmla="*/ 68 w 825"/>
                <a:gd name="T51" fmla="*/ 0 h 86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25"/>
                <a:gd name="T79" fmla="*/ 0 h 860"/>
                <a:gd name="T80" fmla="*/ 825 w 825"/>
                <a:gd name="T81" fmla="*/ 860 h 86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25" h="860">
                  <a:moveTo>
                    <a:pt x="628" y="0"/>
                  </a:moveTo>
                  <a:lnTo>
                    <a:pt x="825" y="151"/>
                  </a:lnTo>
                  <a:lnTo>
                    <a:pt x="721" y="145"/>
                  </a:lnTo>
                  <a:lnTo>
                    <a:pt x="675" y="708"/>
                  </a:lnTo>
                  <a:lnTo>
                    <a:pt x="745" y="708"/>
                  </a:lnTo>
                  <a:lnTo>
                    <a:pt x="738" y="790"/>
                  </a:lnTo>
                  <a:lnTo>
                    <a:pt x="506" y="790"/>
                  </a:lnTo>
                  <a:lnTo>
                    <a:pt x="476" y="750"/>
                  </a:lnTo>
                  <a:lnTo>
                    <a:pt x="442" y="825"/>
                  </a:lnTo>
                  <a:lnTo>
                    <a:pt x="361" y="825"/>
                  </a:lnTo>
                  <a:lnTo>
                    <a:pt x="344" y="790"/>
                  </a:lnTo>
                  <a:lnTo>
                    <a:pt x="320" y="860"/>
                  </a:lnTo>
                  <a:lnTo>
                    <a:pt x="274" y="860"/>
                  </a:lnTo>
                  <a:lnTo>
                    <a:pt x="128" y="732"/>
                  </a:lnTo>
                  <a:lnTo>
                    <a:pt x="75" y="778"/>
                  </a:lnTo>
                  <a:lnTo>
                    <a:pt x="0" y="773"/>
                  </a:lnTo>
                  <a:lnTo>
                    <a:pt x="40" y="708"/>
                  </a:lnTo>
                  <a:lnTo>
                    <a:pt x="30" y="529"/>
                  </a:lnTo>
                  <a:lnTo>
                    <a:pt x="58" y="482"/>
                  </a:lnTo>
                  <a:lnTo>
                    <a:pt x="35" y="430"/>
                  </a:lnTo>
                  <a:lnTo>
                    <a:pt x="256" y="401"/>
                  </a:lnTo>
                  <a:lnTo>
                    <a:pt x="279" y="273"/>
                  </a:lnTo>
                  <a:lnTo>
                    <a:pt x="366" y="255"/>
                  </a:lnTo>
                  <a:lnTo>
                    <a:pt x="407" y="81"/>
                  </a:lnTo>
                  <a:lnTo>
                    <a:pt x="605" y="70"/>
                  </a:lnTo>
                  <a:lnTo>
                    <a:pt x="62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2" name="Freeform 799"/>
            <p:cNvSpPr/>
            <p:nvPr/>
          </p:nvSpPr>
          <p:spPr bwMode="auto">
            <a:xfrm>
              <a:off x="727075" y="2701925"/>
              <a:ext cx="541338" cy="479425"/>
            </a:xfrm>
            <a:custGeom>
              <a:avLst/>
              <a:gdLst>
                <a:gd name="T0" fmla="*/ 0 w 1191"/>
                <a:gd name="T1" fmla="*/ 63 h 1226"/>
                <a:gd name="T2" fmla="*/ 66 w 1191"/>
                <a:gd name="T3" fmla="*/ 106 h 1226"/>
                <a:gd name="T4" fmla="*/ 70 w 1191"/>
                <a:gd name="T5" fmla="*/ 106 h 1226"/>
                <a:gd name="T6" fmla="*/ 71 w 1191"/>
                <a:gd name="T7" fmla="*/ 112 h 1226"/>
                <a:gd name="T8" fmla="*/ 76 w 1191"/>
                <a:gd name="T9" fmla="*/ 114 h 1226"/>
                <a:gd name="T10" fmla="*/ 129 w 1191"/>
                <a:gd name="T11" fmla="*/ 87 h 1226"/>
                <a:gd name="T12" fmla="*/ 122 w 1191"/>
                <a:gd name="T13" fmla="*/ 83 h 1226"/>
                <a:gd name="T14" fmla="*/ 114 w 1191"/>
                <a:gd name="T15" fmla="*/ 69 h 1226"/>
                <a:gd name="T16" fmla="*/ 119 w 1191"/>
                <a:gd name="T17" fmla="*/ 59 h 1226"/>
                <a:gd name="T18" fmla="*/ 118 w 1191"/>
                <a:gd name="T19" fmla="*/ 44 h 1226"/>
                <a:gd name="T20" fmla="*/ 122 w 1191"/>
                <a:gd name="T21" fmla="*/ 41 h 1226"/>
                <a:gd name="T22" fmla="*/ 109 w 1191"/>
                <a:gd name="T23" fmla="*/ 18 h 1226"/>
                <a:gd name="T24" fmla="*/ 114 w 1191"/>
                <a:gd name="T25" fmla="*/ 14 h 1226"/>
                <a:gd name="T26" fmla="*/ 116 w 1191"/>
                <a:gd name="T27" fmla="*/ 0 h 1226"/>
                <a:gd name="T28" fmla="*/ 99 w 1191"/>
                <a:gd name="T29" fmla="*/ 2 h 1226"/>
                <a:gd name="T30" fmla="*/ 86 w 1191"/>
                <a:gd name="T31" fmla="*/ 1 h 1226"/>
                <a:gd name="T32" fmla="*/ 57 w 1191"/>
                <a:gd name="T33" fmla="*/ 12 h 1226"/>
                <a:gd name="T34" fmla="*/ 57 w 1191"/>
                <a:gd name="T35" fmla="*/ 29 h 1226"/>
                <a:gd name="T36" fmla="*/ 47 w 1191"/>
                <a:gd name="T37" fmla="*/ 31 h 1226"/>
                <a:gd name="T38" fmla="*/ 27 w 1191"/>
                <a:gd name="T39" fmla="*/ 47 h 1226"/>
                <a:gd name="T40" fmla="*/ 8 w 1191"/>
                <a:gd name="T41" fmla="*/ 50 h 1226"/>
                <a:gd name="T42" fmla="*/ 0 w 1191"/>
                <a:gd name="T43" fmla="*/ 63 h 12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91"/>
                <a:gd name="T67" fmla="*/ 0 h 1226"/>
                <a:gd name="T68" fmla="*/ 1191 w 1191"/>
                <a:gd name="T69" fmla="*/ 1226 h 12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91" h="1226">
                  <a:moveTo>
                    <a:pt x="0" y="674"/>
                  </a:moveTo>
                  <a:lnTo>
                    <a:pt x="610" y="1138"/>
                  </a:lnTo>
                  <a:lnTo>
                    <a:pt x="645" y="1145"/>
                  </a:lnTo>
                  <a:lnTo>
                    <a:pt x="651" y="1203"/>
                  </a:lnTo>
                  <a:lnTo>
                    <a:pt x="698" y="1226"/>
                  </a:lnTo>
                  <a:lnTo>
                    <a:pt x="1191" y="941"/>
                  </a:lnTo>
                  <a:lnTo>
                    <a:pt x="1122" y="889"/>
                  </a:lnTo>
                  <a:lnTo>
                    <a:pt x="1052" y="737"/>
                  </a:lnTo>
                  <a:lnTo>
                    <a:pt x="1099" y="639"/>
                  </a:lnTo>
                  <a:lnTo>
                    <a:pt x="1092" y="471"/>
                  </a:lnTo>
                  <a:lnTo>
                    <a:pt x="1122" y="442"/>
                  </a:lnTo>
                  <a:lnTo>
                    <a:pt x="1005" y="198"/>
                  </a:lnTo>
                  <a:lnTo>
                    <a:pt x="1052" y="151"/>
                  </a:lnTo>
                  <a:lnTo>
                    <a:pt x="1075" y="0"/>
                  </a:lnTo>
                  <a:lnTo>
                    <a:pt x="912" y="17"/>
                  </a:lnTo>
                  <a:lnTo>
                    <a:pt x="796" y="6"/>
                  </a:lnTo>
                  <a:lnTo>
                    <a:pt x="529" y="128"/>
                  </a:lnTo>
                  <a:lnTo>
                    <a:pt x="523" y="314"/>
                  </a:lnTo>
                  <a:lnTo>
                    <a:pt x="436" y="338"/>
                  </a:lnTo>
                  <a:lnTo>
                    <a:pt x="250" y="505"/>
                  </a:lnTo>
                  <a:lnTo>
                    <a:pt x="75" y="540"/>
                  </a:lnTo>
                  <a:lnTo>
                    <a:pt x="0" y="67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3" name="Freeform 800"/>
            <p:cNvSpPr/>
            <p:nvPr/>
          </p:nvSpPr>
          <p:spPr bwMode="auto">
            <a:xfrm>
              <a:off x="411163" y="3360738"/>
              <a:ext cx="101600" cy="46037"/>
            </a:xfrm>
            <a:custGeom>
              <a:avLst/>
              <a:gdLst>
                <a:gd name="T0" fmla="*/ 23 w 221"/>
                <a:gd name="T1" fmla="*/ 0 h 116"/>
                <a:gd name="T2" fmla="*/ 24 w 221"/>
                <a:gd name="T3" fmla="*/ 4 h 116"/>
                <a:gd name="T4" fmla="*/ 15 w 221"/>
                <a:gd name="T5" fmla="*/ 5 h 116"/>
                <a:gd name="T6" fmla="*/ 12 w 221"/>
                <a:gd name="T7" fmla="*/ 11 h 116"/>
                <a:gd name="T8" fmla="*/ 0 w 221"/>
                <a:gd name="T9" fmla="*/ 2 h 116"/>
                <a:gd name="T10" fmla="*/ 23 w 221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1"/>
                <a:gd name="T19" fmla="*/ 0 h 116"/>
                <a:gd name="T20" fmla="*/ 221 w 221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1" h="116">
                  <a:moveTo>
                    <a:pt x="216" y="0"/>
                  </a:moveTo>
                  <a:lnTo>
                    <a:pt x="221" y="46"/>
                  </a:lnTo>
                  <a:lnTo>
                    <a:pt x="134" y="53"/>
                  </a:lnTo>
                  <a:lnTo>
                    <a:pt x="111" y="116"/>
                  </a:lnTo>
                  <a:lnTo>
                    <a:pt x="0" y="18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4" name="Freeform 801"/>
            <p:cNvSpPr/>
            <p:nvPr/>
          </p:nvSpPr>
          <p:spPr bwMode="auto">
            <a:xfrm>
              <a:off x="407988" y="3251200"/>
              <a:ext cx="153987" cy="114300"/>
            </a:xfrm>
            <a:custGeom>
              <a:avLst/>
              <a:gdLst>
                <a:gd name="T0" fmla="*/ 0 w 344"/>
                <a:gd name="T1" fmla="*/ 15 h 297"/>
                <a:gd name="T2" fmla="*/ 0 w 344"/>
                <a:gd name="T3" fmla="*/ 12 h 297"/>
                <a:gd name="T4" fmla="*/ 8 w 344"/>
                <a:gd name="T5" fmla="*/ 2 h 297"/>
                <a:gd name="T6" fmla="*/ 14 w 344"/>
                <a:gd name="T7" fmla="*/ 4 h 297"/>
                <a:gd name="T8" fmla="*/ 21 w 344"/>
                <a:gd name="T9" fmla="*/ 0 h 297"/>
                <a:gd name="T10" fmla="*/ 37 w 344"/>
                <a:gd name="T11" fmla="*/ 12 h 297"/>
                <a:gd name="T12" fmla="*/ 34 w 344"/>
                <a:gd name="T13" fmla="*/ 25 h 297"/>
                <a:gd name="T14" fmla="*/ 1 w 344"/>
                <a:gd name="T15" fmla="*/ 27 h 297"/>
                <a:gd name="T16" fmla="*/ 1 w 344"/>
                <a:gd name="T17" fmla="*/ 23 h 297"/>
                <a:gd name="T18" fmla="*/ 27 w 344"/>
                <a:gd name="T19" fmla="*/ 16 h 297"/>
                <a:gd name="T20" fmla="*/ 0 w 344"/>
                <a:gd name="T21" fmla="*/ 15 h 2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4"/>
                <a:gd name="T34" fmla="*/ 0 h 297"/>
                <a:gd name="T35" fmla="*/ 344 w 344"/>
                <a:gd name="T36" fmla="*/ 297 h 2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4" h="297">
                  <a:moveTo>
                    <a:pt x="0" y="168"/>
                  </a:moveTo>
                  <a:lnTo>
                    <a:pt x="0" y="128"/>
                  </a:lnTo>
                  <a:lnTo>
                    <a:pt x="76" y="23"/>
                  </a:lnTo>
                  <a:lnTo>
                    <a:pt x="134" y="46"/>
                  </a:lnTo>
                  <a:lnTo>
                    <a:pt x="198" y="0"/>
                  </a:lnTo>
                  <a:lnTo>
                    <a:pt x="344" y="128"/>
                  </a:lnTo>
                  <a:lnTo>
                    <a:pt x="320" y="273"/>
                  </a:lnTo>
                  <a:lnTo>
                    <a:pt x="12" y="297"/>
                  </a:lnTo>
                  <a:lnTo>
                    <a:pt x="6" y="255"/>
                  </a:lnTo>
                  <a:lnTo>
                    <a:pt x="250" y="18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5" name="Freeform 802"/>
            <p:cNvSpPr/>
            <p:nvPr/>
          </p:nvSpPr>
          <p:spPr bwMode="auto">
            <a:xfrm>
              <a:off x="407988" y="3314700"/>
              <a:ext cx="117475" cy="33338"/>
            </a:xfrm>
            <a:custGeom>
              <a:avLst/>
              <a:gdLst>
                <a:gd name="T0" fmla="*/ 0 w 250"/>
                <a:gd name="T1" fmla="*/ 0 h 87"/>
                <a:gd name="T2" fmla="*/ 28 w 250"/>
                <a:gd name="T3" fmla="*/ 1 h 87"/>
                <a:gd name="T4" fmla="*/ 1 w 250"/>
                <a:gd name="T5" fmla="*/ 8 h 87"/>
                <a:gd name="T6" fmla="*/ 0 w 250"/>
                <a:gd name="T7" fmla="*/ 0 h 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0"/>
                <a:gd name="T13" fmla="*/ 0 h 87"/>
                <a:gd name="T14" fmla="*/ 250 w 250"/>
                <a:gd name="T15" fmla="*/ 87 h 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0" h="87">
                  <a:moveTo>
                    <a:pt x="0" y="0"/>
                  </a:moveTo>
                  <a:lnTo>
                    <a:pt x="250" y="12"/>
                  </a:lnTo>
                  <a:lnTo>
                    <a:pt x="6" y="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6" name="Freeform 803"/>
            <p:cNvSpPr/>
            <p:nvPr/>
          </p:nvSpPr>
          <p:spPr bwMode="auto">
            <a:xfrm>
              <a:off x="554038" y="3021013"/>
              <a:ext cx="495300" cy="390525"/>
            </a:xfrm>
            <a:custGeom>
              <a:avLst/>
              <a:gdLst>
                <a:gd name="T0" fmla="*/ 0 w 1093"/>
                <a:gd name="T1" fmla="*/ 80 h 994"/>
                <a:gd name="T2" fmla="*/ 1 w 1093"/>
                <a:gd name="T3" fmla="*/ 83 h 994"/>
                <a:gd name="T4" fmla="*/ 22 w 1093"/>
                <a:gd name="T5" fmla="*/ 85 h 994"/>
                <a:gd name="T6" fmla="*/ 27 w 1093"/>
                <a:gd name="T7" fmla="*/ 91 h 994"/>
                <a:gd name="T8" fmla="*/ 30 w 1093"/>
                <a:gd name="T9" fmla="*/ 91 h 994"/>
                <a:gd name="T10" fmla="*/ 31 w 1093"/>
                <a:gd name="T11" fmla="*/ 93 h 994"/>
                <a:gd name="T12" fmla="*/ 44 w 1093"/>
                <a:gd name="T13" fmla="*/ 92 h 994"/>
                <a:gd name="T14" fmla="*/ 57 w 1093"/>
                <a:gd name="T15" fmla="*/ 79 h 994"/>
                <a:gd name="T16" fmla="*/ 67 w 1093"/>
                <a:gd name="T17" fmla="*/ 77 h 994"/>
                <a:gd name="T18" fmla="*/ 68 w 1093"/>
                <a:gd name="T19" fmla="*/ 72 h 994"/>
                <a:gd name="T20" fmla="*/ 92 w 1093"/>
                <a:gd name="T21" fmla="*/ 65 h 994"/>
                <a:gd name="T22" fmla="*/ 111 w 1093"/>
                <a:gd name="T23" fmla="*/ 58 h 994"/>
                <a:gd name="T24" fmla="*/ 118 w 1093"/>
                <a:gd name="T25" fmla="*/ 38 h 994"/>
                <a:gd name="T26" fmla="*/ 112 w 1093"/>
                <a:gd name="T27" fmla="*/ 35 h 994"/>
                <a:gd name="T28" fmla="*/ 111 w 1093"/>
                <a:gd name="T29" fmla="*/ 31 h 994"/>
                <a:gd name="T30" fmla="*/ 62 w 1093"/>
                <a:gd name="T31" fmla="*/ 0 h 994"/>
                <a:gd name="T32" fmla="*/ 51 w 1093"/>
                <a:gd name="T33" fmla="*/ 0 h 994"/>
                <a:gd name="T34" fmla="*/ 45 w 1093"/>
                <a:gd name="T35" fmla="*/ 53 h 994"/>
                <a:gd name="T36" fmla="*/ 54 w 1093"/>
                <a:gd name="T37" fmla="*/ 53 h 994"/>
                <a:gd name="T38" fmla="*/ 53 w 1093"/>
                <a:gd name="T39" fmla="*/ 60 h 994"/>
                <a:gd name="T40" fmla="*/ 28 w 1093"/>
                <a:gd name="T41" fmla="*/ 60 h 994"/>
                <a:gd name="T42" fmla="*/ 25 w 1093"/>
                <a:gd name="T43" fmla="*/ 57 h 994"/>
                <a:gd name="T44" fmla="*/ 23 w 1093"/>
                <a:gd name="T45" fmla="*/ 62 h 994"/>
                <a:gd name="T46" fmla="*/ 13 w 1093"/>
                <a:gd name="T47" fmla="*/ 64 h 994"/>
                <a:gd name="T48" fmla="*/ 11 w 1093"/>
                <a:gd name="T49" fmla="*/ 60 h 994"/>
                <a:gd name="T50" fmla="*/ 8 w 1093"/>
                <a:gd name="T51" fmla="*/ 67 h 994"/>
                <a:gd name="T52" fmla="*/ 3 w 1093"/>
                <a:gd name="T53" fmla="*/ 67 h 994"/>
                <a:gd name="T54" fmla="*/ 0 w 1093"/>
                <a:gd name="T55" fmla="*/ 80 h 99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93"/>
                <a:gd name="T85" fmla="*/ 0 h 994"/>
                <a:gd name="T86" fmla="*/ 1093 w 1093"/>
                <a:gd name="T87" fmla="*/ 994 h 99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93" h="994">
                  <a:moveTo>
                    <a:pt x="0" y="860"/>
                  </a:moveTo>
                  <a:lnTo>
                    <a:pt x="6" y="889"/>
                  </a:lnTo>
                  <a:lnTo>
                    <a:pt x="204" y="907"/>
                  </a:lnTo>
                  <a:lnTo>
                    <a:pt x="250" y="971"/>
                  </a:lnTo>
                  <a:lnTo>
                    <a:pt x="279" y="971"/>
                  </a:lnTo>
                  <a:lnTo>
                    <a:pt x="291" y="994"/>
                  </a:lnTo>
                  <a:lnTo>
                    <a:pt x="407" y="988"/>
                  </a:lnTo>
                  <a:lnTo>
                    <a:pt x="524" y="842"/>
                  </a:lnTo>
                  <a:lnTo>
                    <a:pt x="616" y="819"/>
                  </a:lnTo>
                  <a:lnTo>
                    <a:pt x="628" y="773"/>
                  </a:lnTo>
                  <a:lnTo>
                    <a:pt x="849" y="692"/>
                  </a:lnTo>
                  <a:lnTo>
                    <a:pt x="1024" y="616"/>
                  </a:lnTo>
                  <a:lnTo>
                    <a:pt x="1093" y="407"/>
                  </a:lnTo>
                  <a:lnTo>
                    <a:pt x="1035" y="372"/>
                  </a:lnTo>
                  <a:lnTo>
                    <a:pt x="1029" y="326"/>
                  </a:lnTo>
                  <a:lnTo>
                    <a:pt x="576" y="0"/>
                  </a:lnTo>
                  <a:lnTo>
                    <a:pt x="477" y="0"/>
                  </a:lnTo>
                  <a:lnTo>
                    <a:pt x="419" y="563"/>
                  </a:lnTo>
                  <a:lnTo>
                    <a:pt x="501" y="563"/>
                  </a:lnTo>
                  <a:lnTo>
                    <a:pt x="494" y="645"/>
                  </a:lnTo>
                  <a:lnTo>
                    <a:pt x="262" y="645"/>
                  </a:lnTo>
                  <a:lnTo>
                    <a:pt x="232" y="605"/>
                  </a:lnTo>
                  <a:lnTo>
                    <a:pt x="210" y="663"/>
                  </a:lnTo>
                  <a:lnTo>
                    <a:pt x="117" y="680"/>
                  </a:lnTo>
                  <a:lnTo>
                    <a:pt x="100" y="645"/>
                  </a:lnTo>
                  <a:lnTo>
                    <a:pt x="76" y="715"/>
                  </a:lnTo>
                  <a:lnTo>
                    <a:pt x="30" y="715"/>
                  </a:lnTo>
                  <a:lnTo>
                    <a:pt x="0" y="86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7" name="Freeform 804"/>
            <p:cNvSpPr/>
            <p:nvPr/>
          </p:nvSpPr>
          <p:spPr bwMode="auto">
            <a:xfrm>
              <a:off x="1184275" y="2693988"/>
              <a:ext cx="122238" cy="179387"/>
            </a:xfrm>
            <a:custGeom>
              <a:avLst/>
              <a:gdLst>
                <a:gd name="T0" fmla="*/ 8 w 262"/>
                <a:gd name="T1" fmla="*/ 3 h 470"/>
                <a:gd name="T2" fmla="*/ 5 w 262"/>
                <a:gd name="T3" fmla="*/ 16 h 470"/>
                <a:gd name="T4" fmla="*/ 0 w 262"/>
                <a:gd name="T5" fmla="*/ 21 h 470"/>
                <a:gd name="T6" fmla="*/ 13 w 262"/>
                <a:gd name="T7" fmla="*/ 43 h 470"/>
                <a:gd name="T8" fmla="*/ 28 w 262"/>
                <a:gd name="T9" fmla="*/ 25 h 470"/>
                <a:gd name="T10" fmla="*/ 20 w 262"/>
                <a:gd name="T11" fmla="*/ 21 h 470"/>
                <a:gd name="T12" fmla="*/ 29 w 262"/>
                <a:gd name="T13" fmla="*/ 10 h 470"/>
                <a:gd name="T14" fmla="*/ 21 w 262"/>
                <a:gd name="T15" fmla="*/ 0 h 470"/>
                <a:gd name="T16" fmla="*/ 8 w 262"/>
                <a:gd name="T17" fmla="*/ 3 h 4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2"/>
                <a:gd name="T28" fmla="*/ 0 h 470"/>
                <a:gd name="T29" fmla="*/ 262 w 262"/>
                <a:gd name="T30" fmla="*/ 470 h 4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2" h="470">
                  <a:moveTo>
                    <a:pt x="70" y="28"/>
                  </a:moveTo>
                  <a:lnTo>
                    <a:pt x="47" y="179"/>
                  </a:lnTo>
                  <a:lnTo>
                    <a:pt x="0" y="226"/>
                  </a:lnTo>
                  <a:lnTo>
                    <a:pt x="117" y="470"/>
                  </a:lnTo>
                  <a:lnTo>
                    <a:pt x="251" y="278"/>
                  </a:lnTo>
                  <a:lnTo>
                    <a:pt x="181" y="226"/>
                  </a:lnTo>
                  <a:lnTo>
                    <a:pt x="262" y="110"/>
                  </a:lnTo>
                  <a:lnTo>
                    <a:pt x="192" y="0"/>
                  </a:lnTo>
                  <a:lnTo>
                    <a:pt x="70" y="2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8" name="Freeform 805"/>
            <p:cNvSpPr/>
            <p:nvPr/>
          </p:nvSpPr>
          <p:spPr bwMode="auto">
            <a:xfrm>
              <a:off x="461963" y="3357563"/>
              <a:ext cx="230187" cy="130175"/>
            </a:xfrm>
            <a:custGeom>
              <a:avLst/>
              <a:gdLst>
                <a:gd name="T0" fmla="*/ 0 w 506"/>
                <a:gd name="T1" fmla="*/ 12 h 331"/>
                <a:gd name="T2" fmla="*/ 3 w 506"/>
                <a:gd name="T3" fmla="*/ 6 h 331"/>
                <a:gd name="T4" fmla="*/ 12 w 506"/>
                <a:gd name="T5" fmla="*/ 5 h 331"/>
                <a:gd name="T6" fmla="*/ 11 w 506"/>
                <a:gd name="T7" fmla="*/ 1 h 331"/>
                <a:gd name="T8" fmla="*/ 21 w 506"/>
                <a:gd name="T9" fmla="*/ 0 h 331"/>
                <a:gd name="T10" fmla="*/ 22 w 506"/>
                <a:gd name="T11" fmla="*/ 3 h 331"/>
                <a:gd name="T12" fmla="*/ 44 w 506"/>
                <a:gd name="T13" fmla="*/ 4 h 331"/>
                <a:gd name="T14" fmla="*/ 49 w 506"/>
                <a:gd name="T15" fmla="*/ 10 h 331"/>
                <a:gd name="T16" fmla="*/ 52 w 506"/>
                <a:gd name="T17" fmla="*/ 10 h 331"/>
                <a:gd name="T18" fmla="*/ 55 w 506"/>
                <a:gd name="T19" fmla="*/ 15 h 331"/>
                <a:gd name="T20" fmla="*/ 47 w 506"/>
                <a:gd name="T21" fmla="*/ 16 h 331"/>
                <a:gd name="T22" fmla="*/ 52 w 506"/>
                <a:gd name="T23" fmla="*/ 27 h 331"/>
                <a:gd name="T24" fmla="*/ 42 w 506"/>
                <a:gd name="T25" fmla="*/ 26 h 331"/>
                <a:gd name="T26" fmla="*/ 44 w 506"/>
                <a:gd name="T27" fmla="*/ 28 h 331"/>
                <a:gd name="T28" fmla="*/ 40 w 506"/>
                <a:gd name="T29" fmla="*/ 31 h 331"/>
                <a:gd name="T30" fmla="*/ 36 w 506"/>
                <a:gd name="T31" fmla="*/ 26 h 331"/>
                <a:gd name="T32" fmla="*/ 33 w 506"/>
                <a:gd name="T33" fmla="*/ 26 h 331"/>
                <a:gd name="T34" fmla="*/ 25 w 506"/>
                <a:gd name="T35" fmla="*/ 13 h 331"/>
                <a:gd name="T36" fmla="*/ 11 w 506"/>
                <a:gd name="T37" fmla="*/ 23 h 331"/>
                <a:gd name="T38" fmla="*/ 9 w 506"/>
                <a:gd name="T39" fmla="*/ 19 h 331"/>
                <a:gd name="T40" fmla="*/ 0 w 506"/>
                <a:gd name="T41" fmla="*/ 12 h 33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06"/>
                <a:gd name="T64" fmla="*/ 0 h 331"/>
                <a:gd name="T65" fmla="*/ 506 w 506"/>
                <a:gd name="T66" fmla="*/ 331 h 33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06" h="331">
                  <a:moveTo>
                    <a:pt x="0" y="128"/>
                  </a:moveTo>
                  <a:lnTo>
                    <a:pt x="23" y="59"/>
                  </a:lnTo>
                  <a:lnTo>
                    <a:pt x="110" y="52"/>
                  </a:lnTo>
                  <a:lnTo>
                    <a:pt x="105" y="6"/>
                  </a:lnTo>
                  <a:lnTo>
                    <a:pt x="197" y="0"/>
                  </a:lnTo>
                  <a:lnTo>
                    <a:pt x="203" y="29"/>
                  </a:lnTo>
                  <a:lnTo>
                    <a:pt x="401" y="47"/>
                  </a:lnTo>
                  <a:lnTo>
                    <a:pt x="447" y="111"/>
                  </a:lnTo>
                  <a:lnTo>
                    <a:pt x="476" y="111"/>
                  </a:lnTo>
                  <a:lnTo>
                    <a:pt x="506" y="163"/>
                  </a:lnTo>
                  <a:lnTo>
                    <a:pt x="436" y="169"/>
                  </a:lnTo>
                  <a:lnTo>
                    <a:pt x="476" y="291"/>
                  </a:lnTo>
                  <a:lnTo>
                    <a:pt x="389" y="279"/>
                  </a:lnTo>
                  <a:lnTo>
                    <a:pt x="401" y="303"/>
                  </a:lnTo>
                  <a:lnTo>
                    <a:pt x="366" y="331"/>
                  </a:lnTo>
                  <a:lnTo>
                    <a:pt x="331" y="273"/>
                  </a:lnTo>
                  <a:lnTo>
                    <a:pt x="302" y="279"/>
                  </a:lnTo>
                  <a:lnTo>
                    <a:pt x="227" y="139"/>
                  </a:lnTo>
                  <a:lnTo>
                    <a:pt x="105" y="244"/>
                  </a:lnTo>
                  <a:lnTo>
                    <a:pt x="81" y="204"/>
                  </a:lnTo>
                  <a:lnTo>
                    <a:pt x="0" y="12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9" name="Freeform 806"/>
            <p:cNvSpPr/>
            <p:nvPr/>
          </p:nvSpPr>
          <p:spPr bwMode="auto">
            <a:xfrm>
              <a:off x="508000" y="3411538"/>
              <a:ext cx="92075" cy="100012"/>
            </a:xfrm>
            <a:custGeom>
              <a:avLst/>
              <a:gdLst>
                <a:gd name="T0" fmla="*/ 0 w 197"/>
                <a:gd name="T1" fmla="*/ 10 h 256"/>
                <a:gd name="T2" fmla="*/ 6 w 197"/>
                <a:gd name="T3" fmla="*/ 20 h 256"/>
                <a:gd name="T4" fmla="*/ 12 w 197"/>
                <a:gd name="T5" fmla="*/ 24 h 256"/>
                <a:gd name="T6" fmla="*/ 22 w 197"/>
                <a:gd name="T7" fmla="*/ 13 h 256"/>
                <a:gd name="T8" fmla="*/ 14 w 197"/>
                <a:gd name="T9" fmla="*/ 0 h 256"/>
                <a:gd name="T10" fmla="*/ 0 w 197"/>
                <a:gd name="T11" fmla="*/ 10 h 2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7"/>
                <a:gd name="T19" fmla="*/ 0 h 256"/>
                <a:gd name="T20" fmla="*/ 197 w 197"/>
                <a:gd name="T21" fmla="*/ 256 h 25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7" h="256">
                  <a:moveTo>
                    <a:pt x="0" y="105"/>
                  </a:moveTo>
                  <a:lnTo>
                    <a:pt x="52" y="215"/>
                  </a:lnTo>
                  <a:lnTo>
                    <a:pt x="104" y="256"/>
                  </a:lnTo>
                  <a:lnTo>
                    <a:pt x="197" y="140"/>
                  </a:lnTo>
                  <a:lnTo>
                    <a:pt x="122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0" name="Freeform 807"/>
            <p:cNvSpPr/>
            <p:nvPr/>
          </p:nvSpPr>
          <p:spPr bwMode="auto">
            <a:xfrm>
              <a:off x="558800" y="3465513"/>
              <a:ext cx="117475" cy="104775"/>
            </a:xfrm>
            <a:custGeom>
              <a:avLst/>
              <a:gdLst>
                <a:gd name="T0" fmla="*/ 0 w 262"/>
                <a:gd name="T1" fmla="*/ 11 h 273"/>
                <a:gd name="T2" fmla="*/ 27 w 262"/>
                <a:gd name="T3" fmla="*/ 25 h 273"/>
                <a:gd name="T4" fmla="*/ 28 w 262"/>
                <a:gd name="T5" fmla="*/ 17 h 273"/>
                <a:gd name="T6" fmla="*/ 23 w 262"/>
                <a:gd name="T7" fmla="*/ 12 h 273"/>
                <a:gd name="T8" fmla="*/ 26 w 262"/>
                <a:gd name="T9" fmla="*/ 9 h 273"/>
                <a:gd name="T10" fmla="*/ 21 w 262"/>
                <a:gd name="T11" fmla="*/ 3 h 273"/>
                <a:gd name="T12" fmla="*/ 17 w 262"/>
                <a:gd name="T13" fmla="*/ 5 h 273"/>
                <a:gd name="T14" fmla="*/ 13 w 262"/>
                <a:gd name="T15" fmla="*/ 0 h 273"/>
                <a:gd name="T16" fmla="*/ 10 w 262"/>
                <a:gd name="T17" fmla="*/ 1 h 273"/>
                <a:gd name="T18" fmla="*/ 0 w 262"/>
                <a:gd name="T19" fmla="*/ 11 h 2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2"/>
                <a:gd name="T31" fmla="*/ 0 h 273"/>
                <a:gd name="T32" fmla="*/ 262 w 262"/>
                <a:gd name="T33" fmla="*/ 273 h 2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2" h="273">
                  <a:moveTo>
                    <a:pt x="0" y="122"/>
                  </a:moveTo>
                  <a:lnTo>
                    <a:pt x="255" y="273"/>
                  </a:lnTo>
                  <a:lnTo>
                    <a:pt x="262" y="185"/>
                  </a:lnTo>
                  <a:lnTo>
                    <a:pt x="215" y="133"/>
                  </a:lnTo>
                  <a:lnTo>
                    <a:pt x="244" y="93"/>
                  </a:lnTo>
                  <a:lnTo>
                    <a:pt x="192" y="35"/>
                  </a:lnTo>
                  <a:lnTo>
                    <a:pt x="157" y="58"/>
                  </a:lnTo>
                  <a:lnTo>
                    <a:pt x="122" y="0"/>
                  </a:lnTo>
                  <a:lnTo>
                    <a:pt x="93" y="6"/>
                  </a:lnTo>
                  <a:lnTo>
                    <a:pt x="0" y="12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1" name="Freeform 808"/>
            <p:cNvSpPr/>
            <p:nvPr/>
          </p:nvSpPr>
          <p:spPr bwMode="auto">
            <a:xfrm>
              <a:off x="642938" y="3406775"/>
              <a:ext cx="201612" cy="163513"/>
            </a:xfrm>
            <a:custGeom>
              <a:avLst/>
              <a:gdLst>
                <a:gd name="T0" fmla="*/ 8 w 454"/>
                <a:gd name="T1" fmla="*/ 39 h 418"/>
                <a:gd name="T2" fmla="*/ 28 w 454"/>
                <a:gd name="T3" fmla="*/ 35 h 418"/>
                <a:gd name="T4" fmla="*/ 48 w 454"/>
                <a:gd name="T5" fmla="*/ 38 h 418"/>
                <a:gd name="T6" fmla="*/ 40 w 454"/>
                <a:gd name="T7" fmla="*/ 21 h 418"/>
                <a:gd name="T8" fmla="*/ 46 w 454"/>
                <a:gd name="T9" fmla="*/ 14 h 418"/>
                <a:gd name="T10" fmla="*/ 46 w 454"/>
                <a:gd name="T11" fmla="*/ 10 h 418"/>
                <a:gd name="T12" fmla="*/ 41 w 454"/>
                <a:gd name="T13" fmla="*/ 5 h 418"/>
                <a:gd name="T14" fmla="*/ 29 w 454"/>
                <a:gd name="T15" fmla="*/ 6 h 418"/>
                <a:gd name="T16" fmla="*/ 23 w 454"/>
                <a:gd name="T17" fmla="*/ 0 h 418"/>
                <a:gd name="T18" fmla="*/ 10 w 454"/>
                <a:gd name="T19" fmla="*/ 1 h 418"/>
                <a:gd name="T20" fmla="*/ 12 w 454"/>
                <a:gd name="T21" fmla="*/ 3 h 418"/>
                <a:gd name="T22" fmla="*/ 5 w 454"/>
                <a:gd name="T23" fmla="*/ 4 h 418"/>
                <a:gd name="T24" fmla="*/ 9 w 454"/>
                <a:gd name="T25" fmla="*/ 15 h 418"/>
                <a:gd name="T26" fmla="*/ 0 w 454"/>
                <a:gd name="T27" fmla="*/ 14 h 418"/>
                <a:gd name="T28" fmla="*/ 1 w 454"/>
                <a:gd name="T29" fmla="*/ 17 h 418"/>
                <a:gd name="T30" fmla="*/ 7 w 454"/>
                <a:gd name="T31" fmla="*/ 22 h 418"/>
                <a:gd name="T32" fmla="*/ 4 w 454"/>
                <a:gd name="T33" fmla="*/ 26 h 418"/>
                <a:gd name="T34" fmla="*/ 9 w 454"/>
                <a:gd name="T35" fmla="*/ 31 h 418"/>
                <a:gd name="T36" fmla="*/ 8 w 454"/>
                <a:gd name="T37" fmla="*/ 36 h 418"/>
                <a:gd name="T38" fmla="*/ 8 w 454"/>
                <a:gd name="T39" fmla="*/ 39 h 4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54"/>
                <a:gd name="T61" fmla="*/ 0 h 418"/>
                <a:gd name="T62" fmla="*/ 454 w 454"/>
                <a:gd name="T63" fmla="*/ 418 h 4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54" h="418">
                  <a:moveTo>
                    <a:pt x="75" y="418"/>
                  </a:moveTo>
                  <a:lnTo>
                    <a:pt x="267" y="377"/>
                  </a:lnTo>
                  <a:lnTo>
                    <a:pt x="454" y="407"/>
                  </a:lnTo>
                  <a:lnTo>
                    <a:pt x="378" y="226"/>
                  </a:lnTo>
                  <a:lnTo>
                    <a:pt x="436" y="151"/>
                  </a:lnTo>
                  <a:lnTo>
                    <a:pt x="431" y="110"/>
                  </a:lnTo>
                  <a:lnTo>
                    <a:pt x="384" y="58"/>
                  </a:lnTo>
                  <a:lnTo>
                    <a:pt x="274" y="64"/>
                  </a:lnTo>
                  <a:lnTo>
                    <a:pt x="215" y="0"/>
                  </a:lnTo>
                  <a:lnTo>
                    <a:pt x="99" y="6"/>
                  </a:lnTo>
                  <a:lnTo>
                    <a:pt x="117" y="35"/>
                  </a:lnTo>
                  <a:lnTo>
                    <a:pt x="47" y="41"/>
                  </a:lnTo>
                  <a:lnTo>
                    <a:pt x="82" y="157"/>
                  </a:lnTo>
                  <a:lnTo>
                    <a:pt x="0" y="145"/>
                  </a:lnTo>
                  <a:lnTo>
                    <a:pt x="6" y="180"/>
                  </a:lnTo>
                  <a:lnTo>
                    <a:pt x="64" y="238"/>
                  </a:lnTo>
                  <a:lnTo>
                    <a:pt x="35" y="278"/>
                  </a:lnTo>
                  <a:lnTo>
                    <a:pt x="82" y="330"/>
                  </a:lnTo>
                  <a:lnTo>
                    <a:pt x="75" y="389"/>
                  </a:lnTo>
                  <a:lnTo>
                    <a:pt x="75" y="4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2" name="Freeform 809"/>
            <p:cNvSpPr/>
            <p:nvPr/>
          </p:nvSpPr>
          <p:spPr bwMode="auto">
            <a:xfrm>
              <a:off x="735013" y="3289300"/>
              <a:ext cx="260350" cy="173038"/>
            </a:xfrm>
            <a:custGeom>
              <a:avLst/>
              <a:gdLst>
                <a:gd name="T0" fmla="*/ 49 w 565"/>
                <a:gd name="T1" fmla="*/ 0 h 436"/>
                <a:gd name="T2" fmla="*/ 62 w 565"/>
                <a:gd name="T3" fmla="*/ 17 h 436"/>
                <a:gd name="T4" fmla="*/ 58 w 565"/>
                <a:gd name="T5" fmla="*/ 23 h 436"/>
                <a:gd name="T6" fmla="*/ 32 w 565"/>
                <a:gd name="T7" fmla="*/ 26 h 436"/>
                <a:gd name="T8" fmla="*/ 24 w 565"/>
                <a:gd name="T9" fmla="*/ 24 h 436"/>
                <a:gd name="T10" fmla="*/ 24 w 565"/>
                <a:gd name="T11" fmla="*/ 41 h 436"/>
                <a:gd name="T12" fmla="*/ 22 w 565"/>
                <a:gd name="T13" fmla="*/ 37 h 436"/>
                <a:gd name="T14" fmla="*/ 19 w 565"/>
                <a:gd name="T15" fmla="*/ 33 h 436"/>
                <a:gd name="T16" fmla="*/ 6 w 565"/>
                <a:gd name="T17" fmla="*/ 34 h 436"/>
                <a:gd name="T18" fmla="*/ 0 w 565"/>
                <a:gd name="T19" fmla="*/ 28 h 436"/>
                <a:gd name="T20" fmla="*/ 13 w 565"/>
                <a:gd name="T21" fmla="*/ 14 h 436"/>
                <a:gd name="T22" fmla="*/ 24 w 565"/>
                <a:gd name="T23" fmla="*/ 12 h 436"/>
                <a:gd name="T24" fmla="*/ 24 w 565"/>
                <a:gd name="T25" fmla="*/ 8 h 436"/>
                <a:gd name="T26" fmla="*/ 49 w 565"/>
                <a:gd name="T27" fmla="*/ 0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5"/>
                <a:gd name="T43" fmla="*/ 0 h 436"/>
                <a:gd name="T44" fmla="*/ 565 w 565"/>
                <a:gd name="T45" fmla="*/ 436 h 4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5" h="436">
                  <a:moveTo>
                    <a:pt x="442" y="0"/>
                  </a:moveTo>
                  <a:lnTo>
                    <a:pt x="565" y="185"/>
                  </a:lnTo>
                  <a:lnTo>
                    <a:pt x="530" y="244"/>
                  </a:lnTo>
                  <a:lnTo>
                    <a:pt x="291" y="272"/>
                  </a:lnTo>
                  <a:lnTo>
                    <a:pt x="221" y="255"/>
                  </a:lnTo>
                  <a:lnTo>
                    <a:pt x="221" y="436"/>
                  </a:lnTo>
                  <a:lnTo>
                    <a:pt x="198" y="389"/>
                  </a:lnTo>
                  <a:lnTo>
                    <a:pt x="169" y="354"/>
                  </a:lnTo>
                  <a:lnTo>
                    <a:pt x="59" y="360"/>
                  </a:lnTo>
                  <a:lnTo>
                    <a:pt x="0" y="296"/>
                  </a:lnTo>
                  <a:lnTo>
                    <a:pt x="117" y="150"/>
                  </a:lnTo>
                  <a:lnTo>
                    <a:pt x="216" y="127"/>
                  </a:lnTo>
                  <a:lnTo>
                    <a:pt x="221" y="81"/>
                  </a:lnTo>
                  <a:lnTo>
                    <a:pt x="44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3" name="Freeform 810"/>
            <p:cNvSpPr/>
            <p:nvPr/>
          </p:nvSpPr>
          <p:spPr bwMode="auto">
            <a:xfrm>
              <a:off x="809625" y="3390900"/>
              <a:ext cx="101600" cy="176213"/>
            </a:xfrm>
            <a:custGeom>
              <a:avLst/>
              <a:gdLst>
                <a:gd name="T0" fmla="*/ 22 w 221"/>
                <a:gd name="T1" fmla="*/ 1 h 448"/>
                <a:gd name="T2" fmla="*/ 24 w 221"/>
                <a:gd name="T3" fmla="*/ 35 h 448"/>
                <a:gd name="T4" fmla="*/ 8 w 221"/>
                <a:gd name="T5" fmla="*/ 42 h 448"/>
                <a:gd name="T6" fmla="*/ 0 w 221"/>
                <a:gd name="T7" fmla="*/ 25 h 448"/>
                <a:gd name="T8" fmla="*/ 6 w 221"/>
                <a:gd name="T9" fmla="*/ 18 h 448"/>
                <a:gd name="T10" fmla="*/ 6 w 221"/>
                <a:gd name="T11" fmla="*/ 0 h 448"/>
                <a:gd name="T12" fmla="*/ 14 w 221"/>
                <a:gd name="T13" fmla="*/ 2 h 448"/>
                <a:gd name="T14" fmla="*/ 22 w 221"/>
                <a:gd name="T15" fmla="*/ 1 h 4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1"/>
                <a:gd name="T25" fmla="*/ 0 h 448"/>
                <a:gd name="T26" fmla="*/ 221 w 221"/>
                <a:gd name="T27" fmla="*/ 448 h 4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1" h="448">
                  <a:moveTo>
                    <a:pt x="198" y="12"/>
                  </a:moveTo>
                  <a:lnTo>
                    <a:pt x="221" y="378"/>
                  </a:lnTo>
                  <a:lnTo>
                    <a:pt x="76" y="448"/>
                  </a:lnTo>
                  <a:lnTo>
                    <a:pt x="0" y="267"/>
                  </a:lnTo>
                  <a:lnTo>
                    <a:pt x="58" y="192"/>
                  </a:lnTo>
                  <a:lnTo>
                    <a:pt x="58" y="0"/>
                  </a:lnTo>
                  <a:lnTo>
                    <a:pt x="128" y="17"/>
                  </a:lnTo>
                  <a:lnTo>
                    <a:pt x="198" y="1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4" name="Freeform 811"/>
            <p:cNvSpPr/>
            <p:nvPr/>
          </p:nvSpPr>
          <p:spPr bwMode="auto">
            <a:xfrm>
              <a:off x="898525" y="3390900"/>
              <a:ext cx="58738" cy="146050"/>
            </a:xfrm>
            <a:custGeom>
              <a:avLst/>
              <a:gdLst>
                <a:gd name="T0" fmla="*/ 0 w 127"/>
                <a:gd name="T1" fmla="*/ 2 h 384"/>
                <a:gd name="T2" fmla="*/ 3 w 127"/>
                <a:gd name="T3" fmla="*/ 35 h 384"/>
                <a:gd name="T4" fmla="*/ 11 w 127"/>
                <a:gd name="T5" fmla="*/ 32 h 384"/>
                <a:gd name="T6" fmla="*/ 10 w 127"/>
                <a:gd name="T7" fmla="*/ 14 h 384"/>
                <a:gd name="T8" fmla="*/ 14 w 127"/>
                <a:gd name="T9" fmla="*/ 9 h 384"/>
                <a:gd name="T10" fmla="*/ 12 w 127"/>
                <a:gd name="T11" fmla="*/ 0 h 384"/>
                <a:gd name="T12" fmla="*/ 0 w 127"/>
                <a:gd name="T13" fmla="*/ 2 h 3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7"/>
                <a:gd name="T22" fmla="*/ 0 h 384"/>
                <a:gd name="T23" fmla="*/ 127 w 127"/>
                <a:gd name="T24" fmla="*/ 384 h 3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7" h="384">
                  <a:moveTo>
                    <a:pt x="0" y="18"/>
                  </a:moveTo>
                  <a:lnTo>
                    <a:pt x="23" y="384"/>
                  </a:lnTo>
                  <a:lnTo>
                    <a:pt x="104" y="349"/>
                  </a:lnTo>
                  <a:lnTo>
                    <a:pt x="92" y="152"/>
                  </a:lnTo>
                  <a:lnTo>
                    <a:pt x="127" y="100"/>
                  </a:lnTo>
                  <a:lnTo>
                    <a:pt x="11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5" name="Freeform 812"/>
            <p:cNvSpPr/>
            <p:nvPr/>
          </p:nvSpPr>
          <p:spPr bwMode="auto">
            <a:xfrm>
              <a:off x="939800" y="3365500"/>
              <a:ext cx="96838" cy="158750"/>
            </a:xfrm>
            <a:custGeom>
              <a:avLst/>
              <a:gdLst>
                <a:gd name="T0" fmla="*/ 2 w 210"/>
                <a:gd name="T1" fmla="*/ 6 h 418"/>
                <a:gd name="T2" fmla="*/ 3 w 210"/>
                <a:gd name="T3" fmla="*/ 15 h 418"/>
                <a:gd name="T4" fmla="*/ 0 w 210"/>
                <a:gd name="T5" fmla="*/ 20 h 418"/>
                <a:gd name="T6" fmla="*/ 1 w 210"/>
                <a:gd name="T7" fmla="*/ 38 h 418"/>
                <a:gd name="T8" fmla="*/ 13 w 210"/>
                <a:gd name="T9" fmla="*/ 35 h 418"/>
                <a:gd name="T10" fmla="*/ 12 w 210"/>
                <a:gd name="T11" fmla="*/ 19 h 418"/>
                <a:gd name="T12" fmla="*/ 20 w 210"/>
                <a:gd name="T13" fmla="*/ 13 h 418"/>
                <a:gd name="T14" fmla="*/ 23 w 210"/>
                <a:gd name="T15" fmla="*/ 8 h 418"/>
                <a:gd name="T16" fmla="*/ 22 w 210"/>
                <a:gd name="T17" fmla="*/ 0 h 418"/>
                <a:gd name="T18" fmla="*/ 12 w 210"/>
                <a:gd name="T19" fmla="*/ 0 h 418"/>
                <a:gd name="T20" fmla="*/ 10 w 210"/>
                <a:gd name="T21" fmla="*/ 3 h 418"/>
                <a:gd name="T22" fmla="*/ 2 w 210"/>
                <a:gd name="T23" fmla="*/ 6 h 4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0"/>
                <a:gd name="T37" fmla="*/ 0 h 418"/>
                <a:gd name="T38" fmla="*/ 210 w 210"/>
                <a:gd name="T39" fmla="*/ 418 h 4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0" h="418">
                  <a:moveTo>
                    <a:pt x="18" y="69"/>
                  </a:moveTo>
                  <a:lnTo>
                    <a:pt x="30" y="169"/>
                  </a:lnTo>
                  <a:lnTo>
                    <a:pt x="0" y="221"/>
                  </a:lnTo>
                  <a:lnTo>
                    <a:pt x="12" y="418"/>
                  </a:lnTo>
                  <a:lnTo>
                    <a:pt x="122" y="383"/>
                  </a:lnTo>
                  <a:lnTo>
                    <a:pt x="112" y="204"/>
                  </a:lnTo>
                  <a:lnTo>
                    <a:pt x="187" y="139"/>
                  </a:lnTo>
                  <a:lnTo>
                    <a:pt x="210" y="87"/>
                  </a:lnTo>
                  <a:lnTo>
                    <a:pt x="199" y="0"/>
                  </a:lnTo>
                  <a:lnTo>
                    <a:pt x="112" y="5"/>
                  </a:lnTo>
                  <a:lnTo>
                    <a:pt x="88" y="35"/>
                  </a:lnTo>
                  <a:lnTo>
                    <a:pt x="18" y="6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6" name="Freeform 813"/>
            <p:cNvSpPr/>
            <p:nvPr/>
          </p:nvSpPr>
          <p:spPr bwMode="auto">
            <a:xfrm>
              <a:off x="939800" y="3054350"/>
              <a:ext cx="461963" cy="311150"/>
            </a:xfrm>
            <a:custGeom>
              <a:avLst/>
              <a:gdLst>
                <a:gd name="T0" fmla="*/ 0 w 1023"/>
                <a:gd name="T1" fmla="*/ 57 h 790"/>
                <a:gd name="T2" fmla="*/ 13 w 1023"/>
                <a:gd name="T3" fmla="*/ 74 h 790"/>
                <a:gd name="T4" fmla="*/ 23 w 1023"/>
                <a:gd name="T5" fmla="*/ 74 h 790"/>
                <a:gd name="T6" fmla="*/ 27 w 1023"/>
                <a:gd name="T7" fmla="*/ 63 h 790"/>
                <a:gd name="T8" fmla="*/ 41 w 1023"/>
                <a:gd name="T9" fmla="*/ 59 h 790"/>
                <a:gd name="T10" fmla="*/ 46 w 1023"/>
                <a:gd name="T11" fmla="*/ 65 h 790"/>
                <a:gd name="T12" fmla="*/ 52 w 1023"/>
                <a:gd name="T13" fmla="*/ 65 h 790"/>
                <a:gd name="T14" fmla="*/ 59 w 1023"/>
                <a:gd name="T15" fmla="*/ 67 h 790"/>
                <a:gd name="T16" fmla="*/ 71 w 1023"/>
                <a:gd name="T17" fmla="*/ 63 h 790"/>
                <a:gd name="T18" fmla="*/ 79 w 1023"/>
                <a:gd name="T19" fmla="*/ 67 h 790"/>
                <a:gd name="T20" fmla="*/ 92 w 1023"/>
                <a:gd name="T21" fmla="*/ 60 h 790"/>
                <a:gd name="T22" fmla="*/ 92 w 1023"/>
                <a:gd name="T23" fmla="*/ 55 h 790"/>
                <a:gd name="T24" fmla="*/ 110 w 1023"/>
                <a:gd name="T25" fmla="*/ 36 h 790"/>
                <a:gd name="T26" fmla="*/ 110 w 1023"/>
                <a:gd name="T27" fmla="*/ 22 h 790"/>
                <a:gd name="T28" fmla="*/ 106 w 1023"/>
                <a:gd name="T29" fmla="*/ 18 h 790"/>
                <a:gd name="T30" fmla="*/ 107 w 1023"/>
                <a:gd name="T31" fmla="*/ 0 h 790"/>
                <a:gd name="T32" fmla="*/ 98 w 1023"/>
                <a:gd name="T33" fmla="*/ 6 h 790"/>
                <a:gd name="T34" fmla="*/ 78 w 1023"/>
                <a:gd name="T35" fmla="*/ 3 h 790"/>
                <a:gd name="T36" fmla="*/ 26 w 1023"/>
                <a:gd name="T37" fmla="*/ 29 h 790"/>
                <a:gd name="T38" fmla="*/ 19 w 1023"/>
                <a:gd name="T39" fmla="*/ 50 h 790"/>
                <a:gd name="T40" fmla="*/ 0 w 1023"/>
                <a:gd name="T41" fmla="*/ 57 h 79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23"/>
                <a:gd name="T64" fmla="*/ 0 h 790"/>
                <a:gd name="T65" fmla="*/ 1023 w 1023"/>
                <a:gd name="T66" fmla="*/ 790 h 79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23" h="790">
                  <a:moveTo>
                    <a:pt x="0" y="605"/>
                  </a:moveTo>
                  <a:lnTo>
                    <a:pt x="123" y="790"/>
                  </a:lnTo>
                  <a:lnTo>
                    <a:pt x="210" y="785"/>
                  </a:lnTo>
                  <a:lnTo>
                    <a:pt x="255" y="668"/>
                  </a:lnTo>
                  <a:lnTo>
                    <a:pt x="378" y="633"/>
                  </a:lnTo>
                  <a:lnTo>
                    <a:pt x="424" y="698"/>
                  </a:lnTo>
                  <a:lnTo>
                    <a:pt x="488" y="698"/>
                  </a:lnTo>
                  <a:lnTo>
                    <a:pt x="552" y="720"/>
                  </a:lnTo>
                  <a:lnTo>
                    <a:pt x="662" y="668"/>
                  </a:lnTo>
                  <a:lnTo>
                    <a:pt x="738" y="710"/>
                  </a:lnTo>
                  <a:lnTo>
                    <a:pt x="854" y="640"/>
                  </a:lnTo>
                  <a:lnTo>
                    <a:pt x="854" y="588"/>
                  </a:lnTo>
                  <a:lnTo>
                    <a:pt x="1023" y="389"/>
                  </a:lnTo>
                  <a:lnTo>
                    <a:pt x="1023" y="239"/>
                  </a:lnTo>
                  <a:lnTo>
                    <a:pt x="983" y="187"/>
                  </a:lnTo>
                  <a:lnTo>
                    <a:pt x="993" y="0"/>
                  </a:lnTo>
                  <a:lnTo>
                    <a:pt x="913" y="65"/>
                  </a:lnTo>
                  <a:lnTo>
                    <a:pt x="726" y="35"/>
                  </a:lnTo>
                  <a:lnTo>
                    <a:pt x="244" y="314"/>
                  </a:lnTo>
                  <a:lnTo>
                    <a:pt x="175" y="529"/>
                  </a:lnTo>
                  <a:lnTo>
                    <a:pt x="0" y="60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7" name="Freeform 814"/>
            <p:cNvSpPr/>
            <p:nvPr/>
          </p:nvSpPr>
          <p:spPr bwMode="auto">
            <a:xfrm>
              <a:off x="1204913" y="2803525"/>
              <a:ext cx="449262" cy="360363"/>
            </a:xfrm>
            <a:custGeom>
              <a:avLst/>
              <a:gdLst>
                <a:gd name="T0" fmla="*/ 22 w 982"/>
                <a:gd name="T1" fmla="*/ 0 h 935"/>
                <a:gd name="T2" fmla="*/ 4 w 982"/>
                <a:gd name="T3" fmla="*/ 20 h 935"/>
                <a:gd name="T4" fmla="*/ 5 w 982"/>
                <a:gd name="T5" fmla="*/ 36 h 935"/>
                <a:gd name="T6" fmla="*/ 0 w 982"/>
                <a:gd name="T7" fmla="*/ 45 h 935"/>
                <a:gd name="T8" fmla="*/ 8 w 982"/>
                <a:gd name="T9" fmla="*/ 58 h 935"/>
                <a:gd name="T10" fmla="*/ 16 w 982"/>
                <a:gd name="T11" fmla="*/ 64 h 935"/>
                <a:gd name="T12" fmla="*/ 36 w 982"/>
                <a:gd name="T13" fmla="*/ 66 h 935"/>
                <a:gd name="T14" fmla="*/ 44 w 982"/>
                <a:gd name="T15" fmla="*/ 60 h 935"/>
                <a:gd name="T16" fmla="*/ 98 w 982"/>
                <a:gd name="T17" fmla="*/ 86 h 935"/>
                <a:gd name="T18" fmla="*/ 98 w 982"/>
                <a:gd name="T19" fmla="*/ 81 h 935"/>
                <a:gd name="T20" fmla="*/ 107 w 982"/>
                <a:gd name="T21" fmla="*/ 81 h 935"/>
                <a:gd name="T22" fmla="*/ 101 w 982"/>
                <a:gd name="T23" fmla="*/ 21 h 935"/>
                <a:gd name="T24" fmla="*/ 106 w 982"/>
                <a:gd name="T25" fmla="*/ 19 h 935"/>
                <a:gd name="T26" fmla="*/ 104 w 982"/>
                <a:gd name="T27" fmla="*/ 10 h 935"/>
                <a:gd name="T28" fmla="*/ 88 w 982"/>
                <a:gd name="T29" fmla="*/ 2 h 935"/>
                <a:gd name="T30" fmla="*/ 76 w 982"/>
                <a:gd name="T31" fmla="*/ 3 h 935"/>
                <a:gd name="T32" fmla="*/ 72 w 982"/>
                <a:gd name="T33" fmla="*/ 17 h 935"/>
                <a:gd name="T34" fmla="*/ 67 w 982"/>
                <a:gd name="T35" fmla="*/ 18 h 935"/>
                <a:gd name="T36" fmla="*/ 49 w 982"/>
                <a:gd name="T37" fmla="*/ 10 h 935"/>
                <a:gd name="T38" fmla="*/ 42 w 982"/>
                <a:gd name="T39" fmla="*/ 3 h 935"/>
                <a:gd name="T40" fmla="*/ 22 w 982"/>
                <a:gd name="T41" fmla="*/ 0 h 9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82"/>
                <a:gd name="T64" fmla="*/ 0 h 935"/>
                <a:gd name="T65" fmla="*/ 982 w 982"/>
                <a:gd name="T66" fmla="*/ 935 h 9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82" h="935">
                  <a:moveTo>
                    <a:pt x="204" y="0"/>
                  </a:moveTo>
                  <a:lnTo>
                    <a:pt x="40" y="221"/>
                  </a:lnTo>
                  <a:lnTo>
                    <a:pt x="47" y="389"/>
                  </a:lnTo>
                  <a:lnTo>
                    <a:pt x="0" y="487"/>
                  </a:lnTo>
                  <a:lnTo>
                    <a:pt x="70" y="633"/>
                  </a:lnTo>
                  <a:lnTo>
                    <a:pt x="151" y="691"/>
                  </a:lnTo>
                  <a:lnTo>
                    <a:pt x="331" y="721"/>
                  </a:lnTo>
                  <a:lnTo>
                    <a:pt x="406" y="656"/>
                  </a:lnTo>
                  <a:lnTo>
                    <a:pt x="901" y="935"/>
                  </a:lnTo>
                  <a:lnTo>
                    <a:pt x="895" y="883"/>
                  </a:lnTo>
                  <a:lnTo>
                    <a:pt x="982" y="883"/>
                  </a:lnTo>
                  <a:lnTo>
                    <a:pt x="930" y="233"/>
                  </a:lnTo>
                  <a:lnTo>
                    <a:pt x="971" y="203"/>
                  </a:lnTo>
                  <a:lnTo>
                    <a:pt x="954" y="105"/>
                  </a:lnTo>
                  <a:lnTo>
                    <a:pt x="808" y="18"/>
                  </a:lnTo>
                  <a:lnTo>
                    <a:pt x="697" y="35"/>
                  </a:lnTo>
                  <a:lnTo>
                    <a:pt x="657" y="180"/>
                  </a:lnTo>
                  <a:lnTo>
                    <a:pt x="616" y="198"/>
                  </a:lnTo>
                  <a:lnTo>
                    <a:pt x="448" y="110"/>
                  </a:lnTo>
                  <a:lnTo>
                    <a:pt x="384" y="29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8" name="Freeform 815"/>
            <p:cNvSpPr/>
            <p:nvPr/>
          </p:nvSpPr>
          <p:spPr bwMode="auto">
            <a:xfrm>
              <a:off x="995363" y="3302000"/>
              <a:ext cx="365125" cy="273050"/>
            </a:xfrm>
            <a:custGeom>
              <a:avLst/>
              <a:gdLst>
                <a:gd name="T0" fmla="*/ 79 w 801"/>
                <a:gd name="T1" fmla="*/ 1 h 698"/>
                <a:gd name="T2" fmla="*/ 87 w 801"/>
                <a:gd name="T3" fmla="*/ 14 h 698"/>
                <a:gd name="T4" fmla="*/ 77 w 801"/>
                <a:gd name="T5" fmla="*/ 23 h 698"/>
                <a:gd name="T6" fmla="*/ 79 w 801"/>
                <a:gd name="T7" fmla="*/ 27 h 698"/>
                <a:gd name="T8" fmla="*/ 69 w 801"/>
                <a:gd name="T9" fmla="*/ 33 h 698"/>
                <a:gd name="T10" fmla="*/ 68 w 801"/>
                <a:gd name="T11" fmla="*/ 44 h 698"/>
                <a:gd name="T12" fmla="*/ 62 w 801"/>
                <a:gd name="T13" fmla="*/ 48 h 698"/>
                <a:gd name="T14" fmla="*/ 59 w 801"/>
                <a:gd name="T15" fmla="*/ 44 h 698"/>
                <a:gd name="T16" fmla="*/ 52 w 801"/>
                <a:gd name="T17" fmla="*/ 44 h 698"/>
                <a:gd name="T18" fmla="*/ 41 w 801"/>
                <a:gd name="T19" fmla="*/ 59 h 698"/>
                <a:gd name="T20" fmla="*/ 33 w 801"/>
                <a:gd name="T21" fmla="*/ 65 h 698"/>
                <a:gd name="T22" fmla="*/ 23 w 801"/>
                <a:gd name="T23" fmla="*/ 63 h 698"/>
                <a:gd name="T24" fmla="*/ 14 w 801"/>
                <a:gd name="T25" fmla="*/ 52 h 698"/>
                <a:gd name="T26" fmla="*/ 1 w 801"/>
                <a:gd name="T27" fmla="*/ 50 h 698"/>
                <a:gd name="T28" fmla="*/ 0 w 801"/>
                <a:gd name="T29" fmla="*/ 33 h 698"/>
                <a:gd name="T30" fmla="*/ 8 w 801"/>
                <a:gd name="T31" fmla="*/ 28 h 698"/>
                <a:gd name="T32" fmla="*/ 11 w 801"/>
                <a:gd name="T33" fmla="*/ 22 h 698"/>
                <a:gd name="T34" fmla="*/ 10 w 801"/>
                <a:gd name="T35" fmla="*/ 18 h 698"/>
                <a:gd name="T36" fmla="*/ 9 w 801"/>
                <a:gd name="T37" fmla="*/ 15 h 698"/>
                <a:gd name="T38" fmla="*/ 14 w 801"/>
                <a:gd name="T39" fmla="*/ 3 h 698"/>
                <a:gd name="T40" fmla="*/ 28 w 801"/>
                <a:gd name="T41" fmla="*/ 0 h 698"/>
                <a:gd name="T42" fmla="*/ 33 w 801"/>
                <a:gd name="T43" fmla="*/ 6 h 698"/>
                <a:gd name="T44" fmla="*/ 40 w 801"/>
                <a:gd name="T45" fmla="*/ 6 h 698"/>
                <a:gd name="T46" fmla="*/ 47 w 801"/>
                <a:gd name="T47" fmla="*/ 8 h 698"/>
                <a:gd name="T48" fmla="*/ 59 w 801"/>
                <a:gd name="T49" fmla="*/ 3 h 698"/>
                <a:gd name="T50" fmla="*/ 67 w 801"/>
                <a:gd name="T51" fmla="*/ 7 h 698"/>
                <a:gd name="T52" fmla="*/ 79 w 801"/>
                <a:gd name="T53" fmla="*/ 1 h 69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801"/>
                <a:gd name="T82" fmla="*/ 0 h 698"/>
                <a:gd name="T83" fmla="*/ 801 w 801"/>
                <a:gd name="T84" fmla="*/ 698 h 69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801" h="698">
                  <a:moveTo>
                    <a:pt x="731" y="7"/>
                  </a:moveTo>
                  <a:lnTo>
                    <a:pt x="801" y="146"/>
                  </a:lnTo>
                  <a:lnTo>
                    <a:pt x="708" y="251"/>
                  </a:lnTo>
                  <a:lnTo>
                    <a:pt x="725" y="291"/>
                  </a:lnTo>
                  <a:lnTo>
                    <a:pt x="633" y="349"/>
                  </a:lnTo>
                  <a:lnTo>
                    <a:pt x="626" y="471"/>
                  </a:lnTo>
                  <a:lnTo>
                    <a:pt x="574" y="511"/>
                  </a:lnTo>
                  <a:lnTo>
                    <a:pt x="546" y="471"/>
                  </a:lnTo>
                  <a:lnTo>
                    <a:pt x="476" y="476"/>
                  </a:lnTo>
                  <a:lnTo>
                    <a:pt x="382" y="633"/>
                  </a:lnTo>
                  <a:lnTo>
                    <a:pt x="301" y="698"/>
                  </a:lnTo>
                  <a:lnTo>
                    <a:pt x="208" y="680"/>
                  </a:lnTo>
                  <a:lnTo>
                    <a:pt x="127" y="558"/>
                  </a:lnTo>
                  <a:lnTo>
                    <a:pt x="10" y="535"/>
                  </a:lnTo>
                  <a:lnTo>
                    <a:pt x="0" y="356"/>
                  </a:lnTo>
                  <a:lnTo>
                    <a:pt x="75" y="297"/>
                  </a:lnTo>
                  <a:lnTo>
                    <a:pt x="98" y="239"/>
                  </a:lnTo>
                  <a:lnTo>
                    <a:pt x="92" y="192"/>
                  </a:lnTo>
                  <a:lnTo>
                    <a:pt x="87" y="157"/>
                  </a:lnTo>
                  <a:lnTo>
                    <a:pt x="132" y="35"/>
                  </a:lnTo>
                  <a:lnTo>
                    <a:pt x="255" y="0"/>
                  </a:lnTo>
                  <a:lnTo>
                    <a:pt x="301" y="65"/>
                  </a:lnTo>
                  <a:lnTo>
                    <a:pt x="371" y="65"/>
                  </a:lnTo>
                  <a:lnTo>
                    <a:pt x="429" y="87"/>
                  </a:lnTo>
                  <a:lnTo>
                    <a:pt x="539" y="35"/>
                  </a:lnTo>
                  <a:lnTo>
                    <a:pt x="615" y="77"/>
                  </a:lnTo>
                  <a:lnTo>
                    <a:pt x="731" y="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9" name="Freeform 816"/>
            <p:cNvSpPr/>
            <p:nvPr/>
          </p:nvSpPr>
          <p:spPr bwMode="auto">
            <a:xfrm>
              <a:off x="1327150" y="3054350"/>
              <a:ext cx="301625" cy="449263"/>
            </a:xfrm>
            <a:custGeom>
              <a:avLst/>
              <a:gdLst>
                <a:gd name="T0" fmla="*/ 0 w 657"/>
                <a:gd name="T1" fmla="*/ 60 h 1144"/>
                <a:gd name="T2" fmla="*/ 12 w 657"/>
                <a:gd name="T3" fmla="*/ 68 h 1144"/>
                <a:gd name="T4" fmla="*/ 13 w 657"/>
                <a:gd name="T5" fmla="*/ 86 h 1144"/>
                <a:gd name="T6" fmla="*/ 4 w 657"/>
                <a:gd name="T7" fmla="*/ 86 h 1144"/>
                <a:gd name="T8" fmla="*/ 14 w 657"/>
                <a:gd name="T9" fmla="*/ 99 h 1144"/>
                <a:gd name="T10" fmla="*/ 9 w 657"/>
                <a:gd name="T11" fmla="*/ 107 h 1144"/>
                <a:gd name="T12" fmla="*/ 35 w 657"/>
                <a:gd name="T13" fmla="*/ 99 h 1144"/>
                <a:gd name="T14" fmla="*/ 45 w 657"/>
                <a:gd name="T15" fmla="*/ 93 h 1144"/>
                <a:gd name="T16" fmla="*/ 54 w 657"/>
                <a:gd name="T17" fmla="*/ 92 h 1144"/>
                <a:gd name="T18" fmla="*/ 64 w 657"/>
                <a:gd name="T19" fmla="*/ 81 h 1144"/>
                <a:gd name="T20" fmla="*/ 69 w 657"/>
                <a:gd name="T21" fmla="*/ 81 h 1144"/>
                <a:gd name="T22" fmla="*/ 60 w 657"/>
                <a:gd name="T23" fmla="*/ 66 h 1144"/>
                <a:gd name="T24" fmla="*/ 65 w 657"/>
                <a:gd name="T25" fmla="*/ 49 h 1144"/>
                <a:gd name="T26" fmla="*/ 72 w 657"/>
                <a:gd name="T27" fmla="*/ 48 h 1144"/>
                <a:gd name="T28" fmla="*/ 69 w 657"/>
                <a:gd name="T29" fmla="*/ 26 h 1144"/>
                <a:gd name="T30" fmla="*/ 15 w 657"/>
                <a:gd name="T31" fmla="*/ 0 h 1144"/>
                <a:gd name="T32" fmla="*/ 14 w 657"/>
                <a:gd name="T33" fmla="*/ 17 h 1144"/>
                <a:gd name="T34" fmla="*/ 19 w 657"/>
                <a:gd name="T35" fmla="*/ 22 h 1144"/>
                <a:gd name="T36" fmla="*/ 19 w 657"/>
                <a:gd name="T37" fmla="*/ 36 h 1144"/>
                <a:gd name="T38" fmla="*/ 0 w 657"/>
                <a:gd name="T39" fmla="*/ 55 h 1144"/>
                <a:gd name="T40" fmla="*/ 0 w 657"/>
                <a:gd name="T41" fmla="*/ 59 h 1144"/>
                <a:gd name="T42" fmla="*/ 0 w 657"/>
                <a:gd name="T43" fmla="*/ 60 h 1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7"/>
                <a:gd name="T67" fmla="*/ 0 h 1144"/>
                <a:gd name="T68" fmla="*/ 657 w 657"/>
                <a:gd name="T69" fmla="*/ 1144 h 11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7" h="1144">
                  <a:moveTo>
                    <a:pt x="0" y="640"/>
                  </a:moveTo>
                  <a:lnTo>
                    <a:pt x="105" y="732"/>
                  </a:lnTo>
                  <a:lnTo>
                    <a:pt x="122" y="919"/>
                  </a:lnTo>
                  <a:lnTo>
                    <a:pt x="41" y="919"/>
                  </a:lnTo>
                  <a:lnTo>
                    <a:pt x="129" y="1058"/>
                  </a:lnTo>
                  <a:lnTo>
                    <a:pt x="82" y="1144"/>
                  </a:lnTo>
                  <a:lnTo>
                    <a:pt x="320" y="1058"/>
                  </a:lnTo>
                  <a:lnTo>
                    <a:pt x="413" y="994"/>
                  </a:lnTo>
                  <a:lnTo>
                    <a:pt x="495" y="982"/>
                  </a:lnTo>
                  <a:lnTo>
                    <a:pt x="587" y="866"/>
                  </a:lnTo>
                  <a:lnTo>
                    <a:pt x="628" y="866"/>
                  </a:lnTo>
                  <a:lnTo>
                    <a:pt x="547" y="703"/>
                  </a:lnTo>
                  <a:lnTo>
                    <a:pt x="593" y="529"/>
                  </a:lnTo>
                  <a:lnTo>
                    <a:pt x="657" y="511"/>
                  </a:lnTo>
                  <a:lnTo>
                    <a:pt x="634" y="279"/>
                  </a:lnTo>
                  <a:lnTo>
                    <a:pt x="139" y="0"/>
                  </a:lnTo>
                  <a:lnTo>
                    <a:pt x="129" y="187"/>
                  </a:lnTo>
                  <a:lnTo>
                    <a:pt x="169" y="239"/>
                  </a:lnTo>
                  <a:lnTo>
                    <a:pt x="169" y="389"/>
                  </a:lnTo>
                  <a:lnTo>
                    <a:pt x="0" y="588"/>
                  </a:lnTo>
                  <a:lnTo>
                    <a:pt x="0" y="628"/>
                  </a:lnTo>
                  <a:lnTo>
                    <a:pt x="0" y="64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0" name="Freeform 817"/>
            <p:cNvSpPr/>
            <p:nvPr/>
          </p:nvSpPr>
          <p:spPr bwMode="auto">
            <a:xfrm>
              <a:off x="1628775" y="2836863"/>
              <a:ext cx="331788" cy="255587"/>
            </a:xfrm>
            <a:custGeom>
              <a:avLst/>
              <a:gdLst>
                <a:gd name="T0" fmla="*/ 3 w 727"/>
                <a:gd name="T1" fmla="*/ 1 h 655"/>
                <a:gd name="T2" fmla="*/ 28 w 727"/>
                <a:gd name="T3" fmla="*/ 7 h 655"/>
                <a:gd name="T4" fmla="*/ 40 w 727"/>
                <a:gd name="T5" fmla="*/ 0 h 655"/>
                <a:gd name="T6" fmla="*/ 59 w 727"/>
                <a:gd name="T7" fmla="*/ 4 h 655"/>
                <a:gd name="T8" fmla="*/ 65 w 727"/>
                <a:gd name="T9" fmla="*/ 11 h 655"/>
                <a:gd name="T10" fmla="*/ 66 w 727"/>
                <a:gd name="T11" fmla="*/ 14 h 655"/>
                <a:gd name="T12" fmla="*/ 63 w 727"/>
                <a:gd name="T13" fmla="*/ 24 h 655"/>
                <a:gd name="T14" fmla="*/ 53 w 727"/>
                <a:gd name="T15" fmla="*/ 15 h 655"/>
                <a:gd name="T16" fmla="*/ 47 w 727"/>
                <a:gd name="T17" fmla="*/ 12 h 655"/>
                <a:gd name="T18" fmla="*/ 51 w 727"/>
                <a:gd name="T19" fmla="*/ 22 h 655"/>
                <a:gd name="T20" fmla="*/ 79 w 727"/>
                <a:gd name="T21" fmla="*/ 57 h 655"/>
                <a:gd name="T22" fmla="*/ 4 w 727"/>
                <a:gd name="T23" fmla="*/ 61 h 655"/>
                <a:gd name="T24" fmla="*/ 0 w 727"/>
                <a:gd name="T25" fmla="*/ 14 h 655"/>
                <a:gd name="T26" fmla="*/ 4 w 727"/>
                <a:gd name="T27" fmla="*/ 11 h 655"/>
                <a:gd name="T28" fmla="*/ 3 w 727"/>
                <a:gd name="T29" fmla="*/ 1 h 6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7"/>
                <a:gd name="T46" fmla="*/ 0 h 655"/>
                <a:gd name="T47" fmla="*/ 727 w 727"/>
                <a:gd name="T48" fmla="*/ 655 h 6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7" h="655">
                  <a:moveTo>
                    <a:pt x="24" y="10"/>
                  </a:moveTo>
                  <a:lnTo>
                    <a:pt x="256" y="80"/>
                  </a:lnTo>
                  <a:lnTo>
                    <a:pt x="366" y="0"/>
                  </a:lnTo>
                  <a:lnTo>
                    <a:pt x="546" y="45"/>
                  </a:lnTo>
                  <a:lnTo>
                    <a:pt x="598" y="115"/>
                  </a:lnTo>
                  <a:lnTo>
                    <a:pt x="605" y="150"/>
                  </a:lnTo>
                  <a:lnTo>
                    <a:pt x="581" y="261"/>
                  </a:lnTo>
                  <a:lnTo>
                    <a:pt x="488" y="162"/>
                  </a:lnTo>
                  <a:lnTo>
                    <a:pt x="430" y="127"/>
                  </a:lnTo>
                  <a:lnTo>
                    <a:pt x="465" y="232"/>
                  </a:lnTo>
                  <a:lnTo>
                    <a:pt x="727" y="609"/>
                  </a:lnTo>
                  <a:lnTo>
                    <a:pt x="41" y="655"/>
                  </a:lnTo>
                  <a:lnTo>
                    <a:pt x="0" y="145"/>
                  </a:lnTo>
                  <a:lnTo>
                    <a:pt x="41" y="115"/>
                  </a:lnTo>
                  <a:lnTo>
                    <a:pt x="24" y="1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1" name="Freeform 818"/>
            <p:cNvSpPr/>
            <p:nvPr/>
          </p:nvSpPr>
          <p:spPr bwMode="auto">
            <a:xfrm>
              <a:off x="1166813" y="3306763"/>
              <a:ext cx="227012" cy="314325"/>
            </a:xfrm>
            <a:custGeom>
              <a:avLst/>
              <a:gdLst>
                <a:gd name="T0" fmla="*/ 0 w 495"/>
                <a:gd name="T1" fmla="*/ 58 h 807"/>
                <a:gd name="T2" fmla="*/ 9 w 495"/>
                <a:gd name="T3" fmla="*/ 63 h 807"/>
                <a:gd name="T4" fmla="*/ 9 w 495"/>
                <a:gd name="T5" fmla="*/ 75 h 807"/>
                <a:gd name="T6" fmla="*/ 54 w 495"/>
                <a:gd name="T7" fmla="*/ 75 h 807"/>
                <a:gd name="T8" fmla="*/ 53 w 495"/>
                <a:gd name="T9" fmla="*/ 67 h 807"/>
                <a:gd name="T10" fmla="*/ 45 w 495"/>
                <a:gd name="T11" fmla="*/ 53 h 807"/>
                <a:gd name="T12" fmla="*/ 53 w 495"/>
                <a:gd name="T13" fmla="*/ 38 h 807"/>
                <a:gd name="T14" fmla="*/ 43 w 495"/>
                <a:gd name="T15" fmla="*/ 26 h 807"/>
                <a:gd name="T16" fmla="*/ 51 w 495"/>
                <a:gd name="T17" fmla="*/ 26 h 807"/>
                <a:gd name="T18" fmla="*/ 50 w 495"/>
                <a:gd name="T19" fmla="*/ 9 h 807"/>
                <a:gd name="T20" fmla="*/ 38 w 495"/>
                <a:gd name="T21" fmla="*/ 0 h 807"/>
                <a:gd name="T22" fmla="*/ 46 w 495"/>
                <a:gd name="T23" fmla="*/ 13 h 807"/>
                <a:gd name="T24" fmla="*/ 34 w 495"/>
                <a:gd name="T25" fmla="*/ 23 h 807"/>
                <a:gd name="T26" fmla="*/ 37 w 495"/>
                <a:gd name="T27" fmla="*/ 26 h 807"/>
                <a:gd name="T28" fmla="*/ 27 w 495"/>
                <a:gd name="T29" fmla="*/ 31 h 807"/>
                <a:gd name="T30" fmla="*/ 27 w 495"/>
                <a:gd name="T31" fmla="*/ 42 h 807"/>
                <a:gd name="T32" fmla="*/ 21 w 495"/>
                <a:gd name="T33" fmla="*/ 47 h 807"/>
                <a:gd name="T34" fmla="*/ 18 w 495"/>
                <a:gd name="T35" fmla="*/ 43 h 807"/>
                <a:gd name="T36" fmla="*/ 10 w 495"/>
                <a:gd name="T37" fmla="*/ 44 h 807"/>
                <a:gd name="T38" fmla="*/ 0 w 495"/>
                <a:gd name="T39" fmla="*/ 58 h 8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95"/>
                <a:gd name="T61" fmla="*/ 0 h 807"/>
                <a:gd name="T62" fmla="*/ 495 w 495"/>
                <a:gd name="T63" fmla="*/ 807 h 80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95" h="807">
                  <a:moveTo>
                    <a:pt x="0" y="626"/>
                  </a:moveTo>
                  <a:lnTo>
                    <a:pt x="87" y="679"/>
                  </a:lnTo>
                  <a:lnTo>
                    <a:pt x="82" y="807"/>
                  </a:lnTo>
                  <a:lnTo>
                    <a:pt x="495" y="807"/>
                  </a:lnTo>
                  <a:lnTo>
                    <a:pt x="488" y="720"/>
                  </a:lnTo>
                  <a:lnTo>
                    <a:pt x="408" y="574"/>
                  </a:lnTo>
                  <a:lnTo>
                    <a:pt x="483" y="412"/>
                  </a:lnTo>
                  <a:lnTo>
                    <a:pt x="390" y="279"/>
                  </a:lnTo>
                  <a:lnTo>
                    <a:pt x="471" y="279"/>
                  </a:lnTo>
                  <a:lnTo>
                    <a:pt x="454" y="92"/>
                  </a:lnTo>
                  <a:lnTo>
                    <a:pt x="349" y="0"/>
                  </a:lnTo>
                  <a:lnTo>
                    <a:pt x="419" y="139"/>
                  </a:lnTo>
                  <a:lnTo>
                    <a:pt x="314" y="244"/>
                  </a:lnTo>
                  <a:lnTo>
                    <a:pt x="343" y="284"/>
                  </a:lnTo>
                  <a:lnTo>
                    <a:pt x="251" y="337"/>
                  </a:lnTo>
                  <a:lnTo>
                    <a:pt x="244" y="447"/>
                  </a:lnTo>
                  <a:lnTo>
                    <a:pt x="192" y="504"/>
                  </a:lnTo>
                  <a:lnTo>
                    <a:pt x="164" y="464"/>
                  </a:lnTo>
                  <a:lnTo>
                    <a:pt x="94" y="469"/>
                  </a:lnTo>
                  <a:lnTo>
                    <a:pt x="0" y="62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2" name="Freeform 819"/>
            <p:cNvSpPr/>
            <p:nvPr/>
          </p:nvSpPr>
          <p:spPr bwMode="auto">
            <a:xfrm>
              <a:off x="1577975" y="3071813"/>
              <a:ext cx="466725" cy="498475"/>
            </a:xfrm>
            <a:custGeom>
              <a:avLst/>
              <a:gdLst>
                <a:gd name="T0" fmla="*/ 92 w 1028"/>
                <a:gd name="T1" fmla="*/ 0 h 1284"/>
                <a:gd name="T2" fmla="*/ 17 w 1028"/>
                <a:gd name="T3" fmla="*/ 4 h 1284"/>
                <a:gd name="T4" fmla="*/ 18 w 1028"/>
                <a:gd name="T5" fmla="*/ 17 h 1284"/>
                <a:gd name="T6" fmla="*/ 8 w 1028"/>
                <a:gd name="T7" fmla="*/ 17 h 1284"/>
                <a:gd name="T8" fmla="*/ 12 w 1028"/>
                <a:gd name="T9" fmla="*/ 44 h 1284"/>
                <a:gd name="T10" fmla="*/ 5 w 1028"/>
                <a:gd name="T11" fmla="*/ 45 h 1284"/>
                <a:gd name="T12" fmla="*/ 0 w 1028"/>
                <a:gd name="T13" fmla="*/ 61 h 1284"/>
                <a:gd name="T14" fmla="*/ 13 w 1028"/>
                <a:gd name="T15" fmla="*/ 85 h 1284"/>
                <a:gd name="T16" fmla="*/ 24 w 1028"/>
                <a:gd name="T17" fmla="*/ 93 h 1284"/>
                <a:gd name="T18" fmla="*/ 25 w 1028"/>
                <a:gd name="T19" fmla="*/ 96 h 1284"/>
                <a:gd name="T20" fmla="*/ 33 w 1028"/>
                <a:gd name="T21" fmla="*/ 100 h 1284"/>
                <a:gd name="T22" fmla="*/ 38 w 1028"/>
                <a:gd name="T23" fmla="*/ 110 h 1284"/>
                <a:gd name="T24" fmla="*/ 44 w 1028"/>
                <a:gd name="T25" fmla="*/ 113 h 1284"/>
                <a:gd name="T26" fmla="*/ 51 w 1028"/>
                <a:gd name="T27" fmla="*/ 113 h 1284"/>
                <a:gd name="T28" fmla="*/ 54 w 1028"/>
                <a:gd name="T29" fmla="*/ 115 h 1284"/>
                <a:gd name="T30" fmla="*/ 56 w 1028"/>
                <a:gd name="T31" fmla="*/ 113 h 1284"/>
                <a:gd name="T32" fmla="*/ 63 w 1028"/>
                <a:gd name="T33" fmla="*/ 119 h 1284"/>
                <a:gd name="T34" fmla="*/ 78 w 1028"/>
                <a:gd name="T35" fmla="*/ 118 h 1284"/>
                <a:gd name="T36" fmla="*/ 92 w 1028"/>
                <a:gd name="T37" fmla="*/ 111 h 1284"/>
                <a:gd name="T38" fmla="*/ 100 w 1028"/>
                <a:gd name="T39" fmla="*/ 111 h 1284"/>
                <a:gd name="T40" fmla="*/ 98 w 1028"/>
                <a:gd name="T41" fmla="*/ 104 h 1284"/>
                <a:gd name="T42" fmla="*/ 89 w 1028"/>
                <a:gd name="T43" fmla="*/ 101 h 1284"/>
                <a:gd name="T44" fmla="*/ 88 w 1028"/>
                <a:gd name="T45" fmla="*/ 91 h 1284"/>
                <a:gd name="T46" fmla="*/ 80 w 1028"/>
                <a:gd name="T47" fmla="*/ 92 h 1284"/>
                <a:gd name="T48" fmla="*/ 80 w 1028"/>
                <a:gd name="T49" fmla="*/ 88 h 1284"/>
                <a:gd name="T50" fmla="*/ 89 w 1028"/>
                <a:gd name="T51" fmla="*/ 82 h 1284"/>
                <a:gd name="T52" fmla="*/ 90 w 1028"/>
                <a:gd name="T53" fmla="*/ 72 h 1284"/>
                <a:gd name="T54" fmla="*/ 102 w 1028"/>
                <a:gd name="T55" fmla="*/ 57 h 1284"/>
                <a:gd name="T56" fmla="*/ 100 w 1028"/>
                <a:gd name="T57" fmla="*/ 45 h 1284"/>
                <a:gd name="T58" fmla="*/ 102 w 1028"/>
                <a:gd name="T59" fmla="*/ 36 h 1284"/>
                <a:gd name="T60" fmla="*/ 111 w 1028"/>
                <a:gd name="T61" fmla="*/ 27 h 1284"/>
                <a:gd name="T62" fmla="*/ 101 w 1028"/>
                <a:gd name="T63" fmla="*/ 23 h 1284"/>
                <a:gd name="T64" fmla="*/ 100 w 1028"/>
                <a:gd name="T65" fmla="*/ 11 h 1284"/>
                <a:gd name="T66" fmla="*/ 92 w 1028"/>
                <a:gd name="T67" fmla="*/ 0 h 12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28"/>
                <a:gd name="T103" fmla="*/ 0 h 1284"/>
                <a:gd name="T104" fmla="*/ 1028 w 1028"/>
                <a:gd name="T105" fmla="*/ 1284 h 12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28" h="1284">
                  <a:moveTo>
                    <a:pt x="848" y="0"/>
                  </a:moveTo>
                  <a:lnTo>
                    <a:pt x="157" y="46"/>
                  </a:lnTo>
                  <a:lnTo>
                    <a:pt x="168" y="186"/>
                  </a:lnTo>
                  <a:lnTo>
                    <a:pt x="75" y="180"/>
                  </a:lnTo>
                  <a:lnTo>
                    <a:pt x="110" y="470"/>
                  </a:lnTo>
                  <a:lnTo>
                    <a:pt x="46" y="488"/>
                  </a:lnTo>
                  <a:lnTo>
                    <a:pt x="0" y="662"/>
                  </a:lnTo>
                  <a:lnTo>
                    <a:pt x="116" y="918"/>
                  </a:lnTo>
                  <a:lnTo>
                    <a:pt x="220" y="1000"/>
                  </a:lnTo>
                  <a:lnTo>
                    <a:pt x="232" y="1035"/>
                  </a:lnTo>
                  <a:lnTo>
                    <a:pt x="307" y="1075"/>
                  </a:lnTo>
                  <a:lnTo>
                    <a:pt x="354" y="1185"/>
                  </a:lnTo>
                  <a:lnTo>
                    <a:pt x="412" y="1220"/>
                  </a:lnTo>
                  <a:lnTo>
                    <a:pt x="470" y="1220"/>
                  </a:lnTo>
                  <a:lnTo>
                    <a:pt x="499" y="1243"/>
                  </a:lnTo>
                  <a:lnTo>
                    <a:pt x="522" y="1214"/>
                  </a:lnTo>
                  <a:lnTo>
                    <a:pt x="587" y="1284"/>
                  </a:lnTo>
                  <a:lnTo>
                    <a:pt x="726" y="1272"/>
                  </a:lnTo>
                  <a:lnTo>
                    <a:pt x="848" y="1202"/>
                  </a:lnTo>
                  <a:lnTo>
                    <a:pt x="930" y="1197"/>
                  </a:lnTo>
                  <a:lnTo>
                    <a:pt x="912" y="1127"/>
                  </a:lnTo>
                  <a:lnTo>
                    <a:pt x="825" y="1092"/>
                  </a:lnTo>
                  <a:lnTo>
                    <a:pt x="819" y="982"/>
                  </a:lnTo>
                  <a:lnTo>
                    <a:pt x="743" y="988"/>
                  </a:lnTo>
                  <a:lnTo>
                    <a:pt x="743" y="948"/>
                  </a:lnTo>
                  <a:lnTo>
                    <a:pt x="825" y="883"/>
                  </a:lnTo>
                  <a:lnTo>
                    <a:pt x="831" y="773"/>
                  </a:lnTo>
                  <a:lnTo>
                    <a:pt x="941" y="610"/>
                  </a:lnTo>
                  <a:lnTo>
                    <a:pt x="923" y="488"/>
                  </a:lnTo>
                  <a:lnTo>
                    <a:pt x="941" y="390"/>
                  </a:lnTo>
                  <a:lnTo>
                    <a:pt x="1028" y="296"/>
                  </a:lnTo>
                  <a:lnTo>
                    <a:pt x="935" y="244"/>
                  </a:lnTo>
                  <a:lnTo>
                    <a:pt x="923" y="122"/>
                  </a:lnTo>
                  <a:lnTo>
                    <a:pt x="84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3" name="Freeform 820"/>
            <p:cNvSpPr/>
            <p:nvPr/>
          </p:nvSpPr>
          <p:spPr bwMode="auto">
            <a:xfrm>
              <a:off x="1355725" y="3390900"/>
              <a:ext cx="382588" cy="204788"/>
            </a:xfrm>
            <a:custGeom>
              <a:avLst/>
              <a:gdLst>
                <a:gd name="T0" fmla="*/ 4 w 842"/>
                <a:gd name="T1" fmla="*/ 26 h 517"/>
                <a:gd name="T2" fmla="*/ 0 w 842"/>
                <a:gd name="T3" fmla="*/ 34 h 517"/>
                <a:gd name="T4" fmla="*/ 8 w 842"/>
                <a:gd name="T5" fmla="*/ 47 h 517"/>
                <a:gd name="T6" fmla="*/ 16 w 842"/>
                <a:gd name="T7" fmla="*/ 44 h 517"/>
                <a:gd name="T8" fmla="*/ 29 w 842"/>
                <a:gd name="T9" fmla="*/ 49 h 517"/>
                <a:gd name="T10" fmla="*/ 31 w 842"/>
                <a:gd name="T11" fmla="*/ 40 h 517"/>
                <a:gd name="T12" fmla="*/ 39 w 842"/>
                <a:gd name="T13" fmla="*/ 36 h 517"/>
                <a:gd name="T14" fmla="*/ 56 w 842"/>
                <a:gd name="T15" fmla="*/ 41 h 517"/>
                <a:gd name="T16" fmla="*/ 67 w 842"/>
                <a:gd name="T17" fmla="*/ 35 h 517"/>
                <a:gd name="T18" fmla="*/ 75 w 842"/>
                <a:gd name="T19" fmla="*/ 35 h 517"/>
                <a:gd name="T20" fmla="*/ 81 w 842"/>
                <a:gd name="T21" fmla="*/ 33 h 517"/>
                <a:gd name="T22" fmla="*/ 91 w 842"/>
                <a:gd name="T23" fmla="*/ 34 h 517"/>
                <a:gd name="T24" fmla="*/ 86 w 842"/>
                <a:gd name="T25" fmla="*/ 24 h 517"/>
                <a:gd name="T26" fmla="*/ 78 w 842"/>
                <a:gd name="T27" fmla="*/ 20 h 517"/>
                <a:gd name="T28" fmla="*/ 77 w 842"/>
                <a:gd name="T29" fmla="*/ 17 h 517"/>
                <a:gd name="T30" fmla="*/ 67 w 842"/>
                <a:gd name="T31" fmla="*/ 11 h 517"/>
                <a:gd name="T32" fmla="*/ 61 w 842"/>
                <a:gd name="T33" fmla="*/ 0 h 517"/>
                <a:gd name="T34" fmla="*/ 57 w 842"/>
                <a:gd name="T35" fmla="*/ 1 h 517"/>
                <a:gd name="T36" fmla="*/ 47 w 842"/>
                <a:gd name="T37" fmla="*/ 12 h 517"/>
                <a:gd name="T38" fmla="*/ 38 w 842"/>
                <a:gd name="T39" fmla="*/ 13 h 517"/>
                <a:gd name="T40" fmla="*/ 29 w 842"/>
                <a:gd name="T41" fmla="*/ 18 h 517"/>
                <a:gd name="T42" fmla="*/ 4 w 842"/>
                <a:gd name="T43" fmla="*/ 26 h 5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42"/>
                <a:gd name="T67" fmla="*/ 0 h 517"/>
                <a:gd name="T68" fmla="*/ 842 w 842"/>
                <a:gd name="T69" fmla="*/ 517 h 5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42" h="517">
                  <a:moveTo>
                    <a:pt x="35" y="279"/>
                  </a:moveTo>
                  <a:lnTo>
                    <a:pt x="0" y="354"/>
                  </a:lnTo>
                  <a:lnTo>
                    <a:pt x="75" y="500"/>
                  </a:lnTo>
                  <a:lnTo>
                    <a:pt x="145" y="459"/>
                  </a:lnTo>
                  <a:lnTo>
                    <a:pt x="267" y="517"/>
                  </a:lnTo>
                  <a:lnTo>
                    <a:pt x="290" y="418"/>
                  </a:lnTo>
                  <a:lnTo>
                    <a:pt x="359" y="383"/>
                  </a:lnTo>
                  <a:lnTo>
                    <a:pt x="516" y="430"/>
                  </a:lnTo>
                  <a:lnTo>
                    <a:pt x="621" y="366"/>
                  </a:lnTo>
                  <a:lnTo>
                    <a:pt x="691" y="371"/>
                  </a:lnTo>
                  <a:lnTo>
                    <a:pt x="749" y="343"/>
                  </a:lnTo>
                  <a:lnTo>
                    <a:pt x="842" y="361"/>
                  </a:lnTo>
                  <a:lnTo>
                    <a:pt x="795" y="256"/>
                  </a:lnTo>
                  <a:lnTo>
                    <a:pt x="720" y="216"/>
                  </a:lnTo>
                  <a:lnTo>
                    <a:pt x="715" y="181"/>
                  </a:lnTo>
                  <a:lnTo>
                    <a:pt x="621" y="111"/>
                  </a:lnTo>
                  <a:lnTo>
                    <a:pt x="563" y="0"/>
                  </a:lnTo>
                  <a:lnTo>
                    <a:pt x="528" y="6"/>
                  </a:lnTo>
                  <a:lnTo>
                    <a:pt x="436" y="122"/>
                  </a:lnTo>
                  <a:lnTo>
                    <a:pt x="354" y="134"/>
                  </a:lnTo>
                  <a:lnTo>
                    <a:pt x="267" y="192"/>
                  </a:lnTo>
                  <a:lnTo>
                    <a:pt x="35" y="27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4" name="Freeform 821"/>
            <p:cNvSpPr/>
            <p:nvPr/>
          </p:nvSpPr>
          <p:spPr bwMode="auto">
            <a:xfrm>
              <a:off x="1919288" y="3189288"/>
              <a:ext cx="423862" cy="381000"/>
            </a:xfrm>
            <a:custGeom>
              <a:avLst/>
              <a:gdLst>
                <a:gd name="T0" fmla="*/ 30 w 942"/>
                <a:gd name="T1" fmla="*/ 0 h 988"/>
                <a:gd name="T2" fmla="*/ 39 w 942"/>
                <a:gd name="T3" fmla="*/ 17 h 988"/>
                <a:gd name="T4" fmla="*/ 62 w 942"/>
                <a:gd name="T5" fmla="*/ 32 h 988"/>
                <a:gd name="T6" fmla="*/ 56 w 942"/>
                <a:gd name="T7" fmla="*/ 37 h 988"/>
                <a:gd name="T8" fmla="*/ 54 w 942"/>
                <a:gd name="T9" fmla="*/ 44 h 988"/>
                <a:gd name="T10" fmla="*/ 68 w 942"/>
                <a:gd name="T11" fmla="*/ 42 h 988"/>
                <a:gd name="T12" fmla="*/ 64 w 942"/>
                <a:gd name="T13" fmla="*/ 46 h 988"/>
                <a:gd name="T14" fmla="*/ 71 w 942"/>
                <a:gd name="T15" fmla="*/ 55 h 988"/>
                <a:gd name="T16" fmla="*/ 81 w 942"/>
                <a:gd name="T17" fmla="*/ 59 h 988"/>
                <a:gd name="T18" fmla="*/ 101 w 942"/>
                <a:gd name="T19" fmla="*/ 59 h 988"/>
                <a:gd name="T20" fmla="*/ 85 w 942"/>
                <a:gd name="T21" fmla="*/ 77 h 988"/>
                <a:gd name="T22" fmla="*/ 57 w 942"/>
                <a:gd name="T23" fmla="*/ 88 h 988"/>
                <a:gd name="T24" fmla="*/ 49 w 942"/>
                <a:gd name="T25" fmla="*/ 85 h 988"/>
                <a:gd name="T26" fmla="*/ 43 w 942"/>
                <a:gd name="T27" fmla="*/ 91 h 988"/>
                <a:gd name="T28" fmla="*/ 36 w 942"/>
                <a:gd name="T29" fmla="*/ 90 h 988"/>
                <a:gd name="T30" fmla="*/ 26 w 942"/>
                <a:gd name="T31" fmla="*/ 82 h 988"/>
                <a:gd name="T32" fmla="*/ 20 w 942"/>
                <a:gd name="T33" fmla="*/ 82 h 988"/>
                <a:gd name="T34" fmla="*/ 18 w 942"/>
                <a:gd name="T35" fmla="*/ 77 h 988"/>
                <a:gd name="T36" fmla="*/ 9 w 942"/>
                <a:gd name="T37" fmla="*/ 73 h 988"/>
                <a:gd name="T38" fmla="*/ 8 w 942"/>
                <a:gd name="T39" fmla="*/ 63 h 988"/>
                <a:gd name="T40" fmla="*/ 0 w 942"/>
                <a:gd name="T41" fmla="*/ 64 h 988"/>
                <a:gd name="T42" fmla="*/ 0 w 942"/>
                <a:gd name="T43" fmla="*/ 60 h 988"/>
                <a:gd name="T44" fmla="*/ 9 w 942"/>
                <a:gd name="T45" fmla="*/ 54 h 988"/>
                <a:gd name="T46" fmla="*/ 9 w 942"/>
                <a:gd name="T47" fmla="*/ 44 h 988"/>
                <a:gd name="T48" fmla="*/ 21 w 942"/>
                <a:gd name="T49" fmla="*/ 29 h 988"/>
                <a:gd name="T50" fmla="*/ 19 w 942"/>
                <a:gd name="T51" fmla="*/ 17 h 988"/>
                <a:gd name="T52" fmla="*/ 21 w 942"/>
                <a:gd name="T53" fmla="*/ 9 h 988"/>
                <a:gd name="T54" fmla="*/ 30 w 942"/>
                <a:gd name="T55" fmla="*/ 0 h 9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42"/>
                <a:gd name="T85" fmla="*/ 0 h 988"/>
                <a:gd name="T86" fmla="*/ 942 w 942"/>
                <a:gd name="T87" fmla="*/ 988 h 9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42" h="988">
                  <a:moveTo>
                    <a:pt x="280" y="0"/>
                  </a:moveTo>
                  <a:lnTo>
                    <a:pt x="361" y="186"/>
                  </a:lnTo>
                  <a:lnTo>
                    <a:pt x="581" y="343"/>
                  </a:lnTo>
                  <a:lnTo>
                    <a:pt x="518" y="407"/>
                  </a:lnTo>
                  <a:lnTo>
                    <a:pt x="506" y="477"/>
                  </a:lnTo>
                  <a:lnTo>
                    <a:pt x="634" y="453"/>
                  </a:lnTo>
                  <a:lnTo>
                    <a:pt x="593" y="500"/>
                  </a:lnTo>
                  <a:lnTo>
                    <a:pt x="658" y="593"/>
                  </a:lnTo>
                  <a:lnTo>
                    <a:pt x="756" y="640"/>
                  </a:lnTo>
                  <a:lnTo>
                    <a:pt x="942" y="640"/>
                  </a:lnTo>
                  <a:lnTo>
                    <a:pt x="797" y="831"/>
                  </a:lnTo>
                  <a:lnTo>
                    <a:pt x="529" y="953"/>
                  </a:lnTo>
                  <a:lnTo>
                    <a:pt x="454" y="924"/>
                  </a:lnTo>
                  <a:lnTo>
                    <a:pt x="402" y="988"/>
                  </a:lnTo>
                  <a:lnTo>
                    <a:pt x="332" y="982"/>
                  </a:lnTo>
                  <a:lnTo>
                    <a:pt x="239" y="894"/>
                  </a:lnTo>
                  <a:lnTo>
                    <a:pt x="187" y="894"/>
                  </a:lnTo>
                  <a:lnTo>
                    <a:pt x="169" y="831"/>
                  </a:lnTo>
                  <a:lnTo>
                    <a:pt x="82" y="796"/>
                  </a:lnTo>
                  <a:lnTo>
                    <a:pt x="76" y="686"/>
                  </a:lnTo>
                  <a:lnTo>
                    <a:pt x="0" y="692"/>
                  </a:lnTo>
                  <a:lnTo>
                    <a:pt x="0" y="652"/>
                  </a:lnTo>
                  <a:lnTo>
                    <a:pt x="82" y="587"/>
                  </a:lnTo>
                  <a:lnTo>
                    <a:pt x="88" y="477"/>
                  </a:lnTo>
                  <a:lnTo>
                    <a:pt x="198" y="314"/>
                  </a:lnTo>
                  <a:lnTo>
                    <a:pt x="180" y="186"/>
                  </a:lnTo>
                  <a:lnTo>
                    <a:pt x="198" y="94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5" name="Freeform 822"/>
            <p:cNvSpPr/>
            <p:nvPr/>
          </p:nvSpPr>
          <p:spPr bwMode="auto">
            <a:xfrm>
              <a:off x="2149475" y="3322638"/>
              <a:ext cx="53975" cy="50800"/>
            </a:xfrm>
            <a:custGeom>
              <a:avLst/>
              <a:gdLst>
                <a:gd name="T0" fmla="*/ 7 w 122"/>
                <a:gd name="T1" fmla="*/ 0 h 134"/>
                <a:gd name="T2" fmla="*/ 1 w 122"/>
                <a:gd name="T3" fmla="*/ 6 h 134"/>
                <a:gd name="T4" fmla="*/ 0 w 122"/>
                <a:gd name="T5" fmla="*/ 12 h 134"/>
                <a:gd name="T6" fmla="*/ 13 w 122"/>
                <a:gd name="T7" fmla="*/ 10 h 134"/>
                <a:gd name="T8" fmla="*/ 7 w 122"/>
                <a:gd name="T9" fmla="*/ 0 h 1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"/>
                <a:gd name="T16" fmla="*/ 0 h 134"/>
                <a:gd name="T17" fmla="*/ 122 w 122"/>
                <a:gd name="T18" fmla="*/ 134 h 1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" h="134">
                  <a:moveTo>
                    <a:pt x="64" y="0"/>
                  </a:moveTo>
                  <a:lnTo>
                    <a:pt x="6" y="64"/>
                  </a:lnTo>
                  <a:lnTo>
                    <a:pt x="0" y="134"/>
                  </a:lnTo>
                  <a:lnTo>
                    <a:pt x="122" y="11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6" name="Freeform 823"/>
            <p:cNvSpPr/>
            <p:nvPr/>
          </p:nvSpPr>
          <p:spPr bwMode="auto">
            <a:xfrm>
              <a:off x="2141538" y="3335338"/>
              <a:ext cx="298450" cy="361950"/>
            </a:xfrm>
            <a:custGeom>
              <a:avLst/>
              <a:gdLst>
                <a:gd name="T0" fmla="*/ 15 w 651"/>
                <a:gd name="T1" fmla="*/ 7 h 929"/>
                <a:gd name="T2" fmla="*/ 17 w 651"/>
                <a:gd name="T3" fmla="*/ 11 h 929"/>
                <a:gd name="T4" fmla="*/ 32 w 651"/>
                <a:gd name="T5" fmla="*/ 10 h 929"/>
                <a:gd name="T6" fmla="*/ 48 w 651"/>
                <a:gd name="T7" fmla="*/ 8 h 929"/>
                <a:gd name="T8" fmla="*/ 58 w 651"/>
                <a:gd name="T9" fmla="*/ 5 h 929"/>
                <a:gd name="T10" fmla="*/ 67 w 651"/>
                <a:gd name="T11" fmla="*/ 0 h 929"/>
                <a:gd name="T12" fmla="*/ 71 w 651"/>
                <a:gd name="T13" fmla="*/ 8 h 929"/>
                <a:gd name="T14" fmla="*/ 49 w 651"/>
                <a:gd name="T15" fmla="*/ 50 h 929"/>
                <a:gd name="T16" fmla="*/ 4 w 651"/>
                <a:gd name="T17" fmla="*/ 86 h 929"/>
                <a:gd name="T18" fmla="*/ 0 w 651"/>
                <a:gd name="T19" fmla="*/ 79 h 929"/>
                <a:gd name="T20" fmla="*/ 3 w 651"/>
                <a:gd name="T21" fmla="*/ 53 h 929"/>
                <a:gd name="T22" fmla="*/ 33 w 651"/>
                <a:gd name="T23" fmla="*/ 42 h 929"/>
                <a:gd name="T24" fmla="*/ 49 w 651"/>
                <a:gd name="T25" fmla="*/ 24 h 929"/>
                <a:gd name="T26" fmla="*/ 29 w 651"/>
                <a:gd name="T27" fmla="*/ 24 h 929"/>
                <a:gd name="T28" fmla="*/ 18 w 651"/>
                <a:gd name="T29" fmla="*/ 20 h 929"/>
                <a:gd name="T30" fmla="*/ 11 w 651"/>
                <a:gd name="T31" fmla="*/ 11 h 929"/>
                <a:gd name="T32" fmla="*/ 15 w 651"/>
                <a:gd name="T33" fmla="*/ 7 h 9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51"/>
                <a:gd name="T52" fmla="*/ 0 h 929"/>
                <a:gd name="T53" fmla="*/ 651 w 651"/>
                <a:gd name="T54" fmla="*/ 929 h 9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51" h="929">
                  <a:moveTo>
                    <a:pt x="140" y="75"/>
                  </a:moveTo>
                  <a:lnTo>
                    <a:pt x="157" y="117"/>
                  </a:lnTo>
                  <a:lnTo>
                    <a:pt x="297" y="105"/>
                  </a:lnTo>
                  <a:lnTo>
                    <a:pt x="436" y="87"/>
                  </a:lnTo>
                  <a:lnTo>
                    <a:pt x="535" y="58"/>
                  </a:lnTo>
                  <a:lnTo>
                    <a:pt x="611" y="0"/>
                  </a:lnTo>
                  <a:lnTo>
                    <a:pt x="651" y="82"/>
                  </a:lnTo>
                  <a:lnTo>
                    <a:pt x="448" y="540"/>
                  </a:lnTo>
                  <a:lnTo>
                    <a:pt x="35" y="929"/>
                  </a:lnTo>
                  <a:lnTo>
                    <a:pt x="0" y="848"/>
                  </a:lnTo>
                  <a:lnTo>
                    <a:pt x="30" y="575"/>
                  </a:lnTo>
                  <a:lnTo>
                    <a:pt x="303" y="453"/>
                  </a:lnTo>
                  <a:lnTo>
                    <a:pt x="448" y="262"/>
                  </a:lnTo>
                  <a:lnTo>
                    <a:pt x="262" y="262"/>
                  </a:lnTo>
                  <a:lnTo>
                    <a:pt x="164" y="215"/>
                  </a:lnTo>
                  <a:lnTo>
                    <a:pt x="99" y="122"/>
                  </a:lnTo>
                  <a:lnTo>
                    <a:pt x="140" y="7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7" name="Freeform 824"/>
            <p:cNvSpPr/>
            <p:nvPr/>
          </p:nvSpPr>
          <p:spPr bwMode="auto">
            <a:xfrm>
              <a:off x="1200150" y="3617913"/>
              <a:ext cx="55563" cy="33337"/>
            </a:xfrm>
            <a:custGeom>
              <a:avLst/>
              <a:gdLst>
                <a:gd name="T0" fmla="*/ 2 w 122"/>
                <a:gd name="T1" fmla="*/ 0 h 81"/>
                <a:gd name="T2" fmla="*/ 13 w 122"/>
                <a:gd name="T3" fmla="*/ 1 h 81"/>
                <a:gd name="T4" fmla="*/ 12 w 122"/>
                <a:gd name="T5" fmla="*/ 8 h 81"/>
                <a:gd name="T6" fmla="*/ 0 w 122"/>
                <a:gd name="T7" fmla="*/ 8 h 81"/>
                <a:gd name="T8" fmla="*/ 2 w 122"/>
                <a:gd name="T9" fmla="*/ 0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"/>
                <a:gd name="T16" fmla="*/ 0 h 81"/>
                <a:gd name="T17" fmla="*/ 122 w 122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" h="81">
                  <a:moveTo>
                    <a:pt x="18" y="0"/>
                  </a:moveTo>
                  <a:lnTo>
                    <a:pt x="122" y="6"/>
                  </a:lnTo>
                  <a:lnTo>
                    <a:pt x="111" y="81"/>
                  </a:lnTo>
                  <a:lnTo>
                    <a:pt x="0" y="7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8" name="Freeform 825"/>
            <p:cNvSpPr/>
            <p:nvPr/>
          </p:nvSpPr>
          <p:spPr bwMode="auto">
            <a:xfrm>
              <a:off x="1179513" y="3621088"/>
              <a:ext cx="173037" cy="185737"/>
            </a:xfrm>
            <a:custGeom>
              <a:avLst/>
              <a:gdLst>
                <a:gd name="T0" fmla="*/ 17 w 371"/>
                <a:gd name="T1" fmla="*/ 0 h 476"/>
                <a:gd name="T2" fmla="*/ 34 w 371"/>
                <a:gd name="T3" fmla="*/ 0 h 476"/>
                <a:gd name="T4" fmla="*/ 35 w 371"/>
                <a:gd name="T5" fmla="*/ 5 h 476"/>
                <a:gd name="T6" fmla="*/ 39 w 371"/>
                <a:gd name="T7" fmla="*/ 4 h 476"/>
                <a:gd name="T8" fmla="*/ 41 w 371"/>
                <a:gd name="T9" fmla="*/ 28 h 476"/>
                <a:gd name="T10" fmla="*/ 21 w 371"/>
                <a:gd name="T11" fmla="*/ 29 h 476"/>
                <a:gd name="T12" fmla="*/ 22 w 371"/>
                <a:gd name="T13" fmla="*/ 44 h 476"/>
                <a:gd name="T14" fmla="*/ 17 w 371"/>
                <a:gd name="T15" fmla="*/ 36 h 476"/>
                <a:gd name="T16" fmla="*/ 5 w 371"/>
                <a:gd name="T17" fmla="*/ 27 h 476"/>
                <a:gd name="T18" fmla="*/ 0 w 371"/>
                <a:gd name="T19" fmla="*/ 19 h 476"/>
                <a:gd name="T20" fmla="*/ 4 w 371"/>
                <a:gd name="T21" fmla="*/ 6 h 476"/>
                <a:gd name="T22" fmla="*/ 16 w 371"/>
                <a:gd name="T23" fmla="*/ 7 h 476"/>
                <a:gd name="T24" fmla="*/ 17 w 371"/>
                <a:gd name="T25" fmla="*/ 0 h 4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1"/>
                <a:gd name="T40" fmla="*/ 0 h 476"/>
                <a:gd name="T41" fmla="*/ 371 w 371"/>
                <a:gd name="T42" fmla="*/ 476 h 47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1" h="476">
                  <a:moveTo>
                    <a:pt x="156" y="0"/>
                  </a:moveTo>
                  <a:lnTo>
                    <a:pt x="308" y="0"/>
                  </a:lnTo>
                  <a:lnTo>
                    <a:pt x="313" y="52"/>
                  </a:lnTo>
                  <a:lnTo>
                    <a:pt x="354" y="46"/>
                  </a:lnTo>
                  <a:lnTo>
                    <a:pt x="371" y="307"/>
                  </a:lnTo>
                  <a:lnTo>
                    <a:pt x="191" y="319"/>
                  </a:lnTo>
                  <a:lnTo>
                    <a:pt x="203" y="476"/>
                  </a:lnTo>
                  <a:lnTo>
                    <a:pt x="151" y="389"/>
                  </a:lnTo>
                  <a:lnTo>
                    <a:pt x="46" y="290"/>
                  </a:lnTo>
                  <a:lnTo>
                    <a:pt x="0" y="203"/>
                  </a:lnTo>
                  <a:lnTo>
                    <a:pt x="34" y="70"/>
                  </a:lnTo>
                  <a:lnTo>
                    <a:pt x="145" y="75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9" name="Freeform 826"/>
            <p:cNvSpPr/>
            <p:nvPr/>
          </p:nvSpPr>
          <p:spPr bwMode="auto">
            <a:xfrm>
              <a:off x="1268413" y="3570288"/>
              <a:ext cx="209550" cy="231775"/>
            </a:xfrm>
            <a:custGeom>
              <a:avLst/>
              <a:gdLst>
                <a:gd name="T0" fmla="*/ 0 w 454"/>
                <a:gd name="T1" fmla="*/ 41 h 599"/>
                <a:gd name="T2" fmla="*/ 1 w 454"/>
                <a:gd name="T3" fmla="*/ 55 h 599"/>
                <a:gd name="T4" fmla="*/ 9 w 454"/>
                <a:gd name="T5" fmla="*/ 54 h 599"/>
                <a:gd name="T6" fmla="*/ 13 w 454"/>
                <a:gd name="T7" fmla="*/ 51 h 599"/>
                <a:gd name="T8" fmla="*/ 22 w 454"/>
                <a:gd name="T9" fmla="*/ 51 h 599"/>
                <a:gd name="T10" fmla="*/ 31 w 454"/>
                <a:gd name="T11" fmla="*/ 47 h 599"/>
                <a:gd name="T12" fmla="*/ 32 w 454"/>
                <a:gd name="T13" fmla="*/ 36 h 599"/>
                <a:gd name="T14" fmla="*/ 45 w 454"/>
                <a:gd name="T15" fmla="*/ 26 h 599"/>
                <a:gd name="T16" fmla="*/ 50 w 454"/>
                <a:gd name="T17" fmla="*/ 5 h 599"/>
                <a:gd name="T18" fmla="*/ 37 w 454"/>
                <a:gd name="T19" fmla="*/ 0 h 599"/>
                <a:gd name="T20" fmla="*/ 29 w 454"/>
                <a:gd name="T21" fmla="*/ 4 h 599"/>
                <a:gd name="T22" fmla="*/ 30 w 454"/>
                <a:gd name="T23" fmla="*/ 12 h 599"/>
                <a:gd name="T24" fmla="*/ 13 w 454"/>
                <a:gd name="T25" fmla="*/ 12 h 599"/>
                <a:gd name="T26" fmla="*/ 13 w 454"/>
                <a:gd name="T27" fmla="*/ 17 h 599"/>
                <a:gd name="T28" fmla="*/ 19 w 454"/>
                <a:gd name="T29" fmla="*/ 17 h 599"/>
                <a:gd name="T30" fmla="*/ 20 w 454"/>
                <a:gd name="T31" fmla="*/ 40 h 599"/>
                <a:gd name="T32" fmla="*/ 0 w 454"/>
                <a:gd name="T33" fmla="*/ 41 h 59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4"/>
                <a:gd name="T52" fmla="*/ 0 h 599"/>
                <a:gd name="T53" fmla="*/ 454 w 454"/>
                <a:gd name="T54" fmla="*/ 599 h 59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4" h="599">
                  <a:moveTo>
                    <a:pt x="0" y="447"/>
                  </a:moveTo>
                  <a:lnTo>
                    <a:pt x="12" y="599"/>
                  </a:lnTo>
                  <a:lnTo>
                    <a:pt x="82" y="592"/>
                  </a:lnTo>
                  <a:lnTo>
                    <a:pt x="122" y="552"/>
                  </a:lnTo>
                  <a:lnTo>
                    <a:pt x="204" y="557"/>
                  </a:lnTo>
                  <a:lnTo>
                    <a:pt x="285" y="512"/>
                  </a:lnTo>
                  <a:lnTo>
                    <a:pt x="291" y="395"/>
                  </a:lnTo>
                  <a:lnTo>
                    <a:pt x="413" y="279"/>
                  </a:lnTo>
                  <a:lnTo>
                    <a:pt x="454" y="58"/>
                  </a:lnTo>
                  <a:lnTo>
                    <a:pt x="332" y="0"/>
                  </a:lnTo>
                  <a:lnTo>
                    <a:pt x="267" y="41"/>
                  </a:lnTo>
                  <a:lnTo>
                    <a:pt x="274" y="128"/>
                  </a:lnTo>
                  <a:lnTo>
                    <a:pt x="117" y="128"/>
                  </a:lnTo>
                  <a:lnTo>
                    <a:pt x="122" y="180"/>
                  </a:lnTo>
                  <a:lnTo>
                    <a:pt x="169" y="186"/>
                  </a:lnTo>
                  <a:lnTo>
                    <a:pt x="180" y="435"/>
                  </a:lnTo>
                  <a:lnTo>
                    <a:pt x="0" y="44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0" name="Freeform 827"/>
            <p:cNvSpPr/>
            <p:nvPr/>
          </p:nvSpPr>
          <p:spPr bwMode="auto">
            <a:xfrm>
              <a:off x="1271588" y="3797300"/>
              <a:ext cx="34925" cy="33338"/>
            </a:xfrm>
            <a:custGeom>
              <a:avLst/>
              <a:gdLst>
                <a:gd name="T0" fmla="*/ 8 w 76"/>
                <a:gd name="T1" fmla="*/ 0 h 82"/>
                <a:gd name="T2" fmla="*/ 0 w 76"/>
                <a:gd name="T3" fmla="*/ 0 h 82"/>
                <a:gd name="T4" fmla="*/ 4 w 76"/>
                <a:gd name="T5" fmla="*/ 8 h 82"/>
                <a:gd name="T6" fmla="*/ 8 w 76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6"/>
                <a:gd name="T13" fmla="*/ 0 h 82"/>
                <a:gd name="T14" fmla="*/ 76 w 76"/>
                <a:gd name="T15" fmla="*/ 82 h 8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6" h="82">
                  <a:moveTo>
                    <a:pt x="76" y="0"/>
                  </a:moveTo>
                  <a:lnTo>
                    <a:pt x="0" y="5"/>
                  </a:lnTo>
                  <a:lnTo>
                    <a:pt x="41" y="82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1" name="Freeform 828"/>
            <p:cNvSpPr/>
            <p:nvPr/>
          </p:nvSpPr>
          <p:spPr bwMode="auto">
            <a:xfrm>
              <a:off x="1289050" y="3524250"/>
              <a:ext cx="571500" cy="495300"/>
            </a:xfrm>
            <a:custGeom>
              <a:avLst/>
              <a:gdLst>
                <a:gd name="T0" fmla="*/ 0 w 1244"/>
                <a:gd name="T1" fmla="*/ 73 h 1266"/>
                <a:gd name="T2" fmla="*/ 4 w 1244"/>
                <a:gd name="T3" fmla="*/ 66 h 1266"/>
                <a:gd name="T4" fmla="*/ 8 w 1244"/>
                <a:gd name="T5" fmla="*/ 62 h 1266"/>
                <a:gd name="T6" fmla="*/ 13 w 1244"/>
                <a:gd name="T7" fmla="*/ 62 h 1266"/>
                <a:gd name="T8" fmla="*/ 18 w 1244"/>
                <a:gd name="T9" fmla="*/ 63 h 1266"/>
                <a:gd name="T10" fmla="*/ 26 w 1244"/>
                <a:gd name="T11" fmla="*/ 59 h 1266"/>
                <a:gd name="T12" fmla="*/ 27 w 1244"/>
                <a:gd name="T13" fmla="*/ 48 h 1266"/>
                <a:gd name="T14" fmla="*/ 40 w 1244"/>
                <a:gd name="T15" fmla="*/ 37 h 1266"/>
                <a:gd name="T16" fmla="*/ 47 w 1244"/>
                <a:gd name="T17" fmla="*/ 7 h 1266"/>
                <a:gd name="T18" fmla="*/ 55 w 1244"/>
                <a:gd name="T19" fmla="*/ 4 h 1266"/>
                <a:gd name="T20" fmla="*/ 72 w 1244"/>
                <a:gd name="T21" fmla="*/ 8 h 1266"/>
                <a:gd name="T22" fmla="*/ 85 w 1244"/>
                <a:gd name="T23" fmla="*/ 2 h 1266"/>
                <a:gd name="T24" fmla="*/ 91 w 1244"/>
                <a:gd name="T25" fmla="*/ 3 h 1266"/>
                <a:gd name="T26" fmla="*/ 97 w 1244"/>
                <a:gd name="T27" fmla="*/ 0 h 1266"/>
                <a:gd name="T28" fmla="*/ 107 w 1244"/>
                <a:gd name="T29" fmla="*/ 2 h 1266"/>
                <a:gd name="T30" fmla="*/ 114 w 1244"/>
                <a:gd name="T31" fmla="*/ 5 h 1266"/>
                <a:gd name="T32" fmla="*/ 120 w 1244"/>
                <a:gd name="T33" fmla="*/ 5 h 1266"/>
                <a:gd name="T34" fmla="*/ 123 w 1244"/>
                <a:gd name="T35" fmla="*/ 8 h 1266"/>
                <a:gd name="T36" fmla="*/ 126 w 1244"/>
                <a:gd name="T37" fmla="*/ 5 h 1266"/>
                <a:gd name="T38" fmla="*/ 133 w 1244"/>
                <a:gd name="T39" fmla="*/ 12 h 1266"/>
                <a:gd name="T40" fmla="*/ 133 w 1244"/>
                <a:gd name="T41" fmla="*/ 17 h 1266"/>
                <a:gd name="T42" fmla="*/ 136 w 1244"/>
                <a:gd name="T43" fmla="*/ 21 h 1266"/>
                <a:gd name="T44" fmla="*/ 128 w 1244"/>
                <a:gd name="T45" fmla="*/ 28 h 1266"/>
                <a:gd name="T46" fmla="*/ 125 w 1244"/>
                <a:gd name="T47" fmla="*/ 42 h 1266"/>
                <a:gd name="T48" fmla="*/ 122 w 1244"/>
                <a:gd name="T49" fmla="*/ 48 h 1266"/>
                <a:gd name="T50" fmla="*/ 122 w 1244"/>
                <a:gd name="T51" fmla="*/ 71 h 1266"/>
                <a:gd name="T52" fmla="*/ 131 w 1244"/>
                <a:gd name="T53" fmla="*/ 78 h 1266"/>
                <a:gd name="T54" fmla="*/ 131 w 1244"/>
                <a:gd name="T55" fmla="*/ 82 h 1266"/>
                <a:gd name="T56" fmla="*/ 117 w 1244"/>
                <a:gd name="T57" fmla="*/ 84 h 1266"/>
                <a:gd name="T58" fmla="*/ 113 w 1244"/>
                <a:gd name="T59" fmla="*/ 95 h 1266"/>
                <a:gd name="T60" fmla="*/ 119 w 1244"/>
                <a:gd name="T61" fmla="*/ 96 h 1266"/>
                <a:gd name="T62" fmla="*/ 116 w 1244"/>
                <a:gd name="T63" fmla="*/ 107 h 1266"/>
                <a:gd name="T64" fmla="*/ 124 w 1244"/>
                <a:gd name="T65" fmla="*/ 110 h 1266"/>
                <a:gd name="T66" fmla="*/ 127 w 1244"/>
                <a:gd name="T67" fmla="*/ 108 h 1266"/>
                <a:gd name="T68" fmla="*/ 128 w 1244"/>
                <a:gd name="T69" fmla="*/ 118 h 1266"/>
                <a:gd name="T70" fmla="*/ 121 w 1244"/>
                <a:gd name="T71" fmla="*/ 118 h 1266"/>
                <a:gd name="T72" fmla="*/ 105 w 1244"/>
                <a:gd name="T73" fmla="*/ 108 h 1266"/>
                <a:gd name="T74" fmla="*/ 105 w 1244"/>
                <a:gd name="T75" fmla="*/ 110 h 1266"/>
                <a:gd name="T76" fmla="*/ 101 w 1244"/>
                <a:gd name="T77" fmla="*/ 110 h 1266"/>
                <a:gd name="T78" fmla="*/ 92 w 1244"/>
                <a:gd name="T79" fmla="*/ 104 h 1266"/>
                <a:gd name="T80" fmla="*/ 86 w 1244"/>
                <a:gd name="T81" fmla="*/ 104 h 1266"/>
                <a:gd name="T82" fmla="*/ 85 w 1244"/>
                <a:gd name="T83" fmla="*/ 102 h 1266"/>
                <a:gd name="T84" fmla="*/ 71 w 1244"/>
                <a:gd name="T85" fmla="*/ 103 h 1266"/>
                <a:gd name="T86" fmla="*/ 65 w 1244"/>
                <a:gd name="T87" fmla="*/ 80 h 1266"/>
                <a:gd name="T88" fmla="*/ 62 w 1244"/>
                <a:gd name="T89" fmla="*/ 80 h 1266"/>
                <a:gd name="T90" fmla="*/ 60 w 1244"/>
                <a:gd name="T91" fmla="*/ 76 h 1266"/>
                <a:gd name="T92" fmla="*/ 54 w 1244"/>
                <a:gd name="T93" fmla="*/ 76 h 1266"/>
                <a:gd name="T94" fmla="*/ 53 w 1244"/>
                <a:gd name="T95" fmla="*/ 83 h 1266"/>
                <a:gd name="T96" fmla="*/ 37 w 1244"/>
                <a:gd name="T97" fmla="*/ 84 h 1266"/>
                <a:gd name="T98" fmla="*/ 37 w 1244"/>
                <a:gd name="T99" fmla="*/ 81 h 1266"/>
                <a:gd name="T100" fmla="*/ 34 w 1244"/>
                <a:gd name="T101" fmla="*/ 81 h 1266"/>
                <a:gd name="T102" fmla="*/ 30 w 1244"/>
                <a:gd name="T103" fmla="*/ 70 h 1266"/>
                <a:gd name="T104" fmla="*/ 0 w 1244"/>
                <a:gd name="T105" fmla="*/ 73 h 12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44"/>
                <a:gd name="T160" fmla="*/ 0 h 1266"/>
                <a:gd name="T161" fmla="*/ 1244 w 1244"/>
                <a:gd name="T162" fmla="*/ 1266 h 12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44" h="1266">
                  <a:moveTo>
                    <a:pt x="0" y="785"/>
                  </a:moveTo>
                  <a:lnTo>
                    <a:pt x="35" y="703"/>
                  </a:lnTo>
                  <a:lnTo>
                    <a:pt x="75" y="668"/>
                  </a:lnTo>
                  <a:lnTo>
                    <a:pt x="116" y="663"/>
                  </a:lnTo>
                  <a:lnTo>
                    <a:pt x="168" y="673"/>
                  </a:lnTo>
                  <a:lnTo>
                    <a:pt x="238" y="628"/>
                  </a:lnTo>
                  <a:lnTo>
                    <a:pt x="244" y="511"/>
                  </a:lnTo>
                  <a:lnTo>
                    <a:pt x="366" y="395"/>
                  </a:lnTo>
                  <a:lnTo>
                    <a:pt x="430" y="75"/>
                  </a:lnTo>
                  <a:lnTo>
                    <a:pt x="499" y="40"/>
                  </a:lnTo>
                  <a:lnTo>
                    <a:pt x="656" y="87"/>
                  </a:lnTo>
                  <a:lnTo>
                    <a:pt x="773" y="18"/>
                  </a:lnTo>
                  <a:lnTo>
                    <a:pt x="831" y="28"/>
                  </a:lnTo>
                  <a:lnTo>
                    <a:pt x="889" y="0"/>
                  </a:lnTo>
                  <a:lnTo>
                    <a:pt x="976" y="23"/>
                  </a:lnTo>
                  <a:lnTo>
                    <a:pt x="1040" y="58"/>
                  </a:lnTo>
                  <a:lnTo>
                    <a:pt x="1098" y="58"/>
                  </a:lnTo>
                  <a:lnTo>
                    <a:pt x="1127" y="81"/>
                  </a:lnTo>
                  <a:lnTo>
                    <a:pt x="1150" y="52"/>
                  </a:lnTo>
                  <a:lnTo>
                    <a:pt x="1215" y="128"/>
                  </a:lnTo>
                  <a:lnTo>
                    <a:pt x="1220" y="185"/>
                  </a:lnTo>
                  <a:lnTo>
                    <a:pt x="1244" y="227"/>
                  </a:lnTo>
                  <a:lnTo>
                    <a:pt x="1168" y="296"/>
                  </a:lnTo>
                  <a:lnTo>
                    <a:pt x="1139" y="453"/>
                  </a:lnTo>
                  <a:lnTo>
                    <a:pt x="1115" y="511"/>
                  </a:lnTo>
                  <a:lnTo>
                    <a:pt x="1115" y="761"/>
                  </a:lnTo>
                  <a:lnTo>
                    <a:pt x="1197" y="842"/>
                  </a:lnTo>
                  <a:lnTo>
                    <a:pt x="1197" y="883"/>
                  </a:lnTo>
                  <a:lnTo>
                    <a:pt x="1070" y="900"/>
                  </a:lnTo>
                  <a:lnTo>
                    <a:pt x="1035" y="1022"/>
                  </a:lnTo>
                  <a:lnTo>
                    <a:pt x="1092" y="1029"/>
                  </a:lnTo>
                  <a:lnTo>
                    <a:pt x="1058" y="1144"/>
                  </a:lnTo>
                  <a:lnTo>
                    <a:pt x="1133" y="1179"/>
                  </a:lnTo>
                  <a:lnTo>
                    <a:pt x="1162" y="1156"/>
                  </a:lnTo>
                  <a:lnTo>
                    <a:pt x="1168" y="1266"/>
                  </a:lnTo>
                  <a:lnTo>
                    <a:pt x="1110" y="1266"/>
                  </a:lnTo>
                  <a:lnTo>
                    <a:pt x="965" y="1156"/>
                  </a:lnTo>
                  <a:lnTo>
                    <a:pt x="965" y="1179"/>
                  </a:lnTo>
                  <a:lnTo>
                    <a:pt x="923" y="1179"/>
                  </a:lnTo>
                  <a:lnTo>
                    <a:pt x="837" y="1116"/>
                  </a:lnTo>
                  <a:lnTo>
                    <a:pt x="785" y="1121"/>
                  </a:lnTo>
                  <a:lnTo>
                    <a:pt x="779" y="1092"/>
                  </a:lnTo>
                  <a:lnTo>
                    <a:pt x="651" y="1104"/>
                  </a:lnTo>
                  <a:lnTo>
                    <a:pt x="599" y="854"/>
                  </a:lnTo>
                  <a:lnTo>
                    <a:pt x="564" y="854"/>
                  </a:lnTo>
                  <a:lnTo>
                    <a:pt x="552" y="813"/>
                  </a:lnTo>
                  <a:lnTo>
                    <a:pt x="494" y="819"/>
                  </a:lnTo>
                  <a:lnTo>
                    <a:pt x="489" y="889"/>
                  </a:lnTo>
                  <a:lnTo>
                    <a:pt x="343" y="900"/>
                  </a:lnTo>
                  <a:lnTo>
                    <a:pt x="337" y="872"/>
                  </a:lnTo>
                  <a:lnTo>
                    <a:pt x="314" y="872"/>
                  </a:lnTo>
                  <a:lnTo>
                    <a:pt x="273" y="750"/>
                  </a:lnTo>
                  <a:lnTo>
                    <a:pt x="0" y="78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2" name="Freeform 829"/>
            <p:cNvSpPr/>
            <p:nvPr/>
          </p:nvSpPr>
          <p:spPr bwMode="auto">
            <a:xfrm>
              <a:off x="1809750" y="3546475"/>
              <a:ext cx="158750" cy="150813"/>
            </a:xfrm>
            <a:custGeom>
              <a:avLst/>
              <a:gdLst>
                <a:gd name="T0" fmla="*/ 32 w 343"/>
                <a:gd name="T1" fmla="*/ 0 h 383"/>
                <a:gd name="T2" fmla="*/ 38 w 343"/>
                <a:gd name="T3" fmla="*/ 16 h 383"/>
                <a:gd name="T4" fmla="*/ 32 w 343"/>
                <a:gd name="T5" fmla="*/ 23 h 383"/>
                <a:gd name="T6" fmla="*/ 30 w 343"/>
                <a:gd name="T7" fmla="*/ 25 h 383"/>
                <a:gd name="T8" fmla="*/ 28 w 343"/>
                <a:gd name="T9" fmla="*/ 32 h 383"/>
                <a:gd name="T10" fmla="*/ 0 w 343"/>
                <a:gd name="T11" fmla="*/ 36 h 383"/>
                <a:gd name="T12" fmla="*/ 3 w 343"/>
                <a:gd name="T13" fmla="*/ 22 h 383"/>
                <a:gd name="T14" fmla="*/ 11 w 343"/>
                <a:gd name="T15" fmla="*/ 16 h 383"/>
                <a:gd name="T16" fmla="*/ 8 w 343"/>
                <a:gd name="T17" fmla="*/ 12 h 383"/>
                <a:gd name="T18" fmla="*/ 8 w 343"/>
                <a:gd name="T19" fmla="*/ 6 h 383"/>
                <a:gd name="T20" fmla="*/ 24 w 343"/>
                <a:gd name="T21" fmla="*/ 5 h 383"/>
                <a:gd name="T22" fmla="*/ 32 w 343"/>
                <a:gd name="T23" fmla="*/ 0 h 38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3"/>
                <a:gd name="T37" fmla="*/ 0 h 383"/>
                <a:gd name="T38" fmla="*/ 343 w 343"/>
                <a:gd name="T39" fmla="*/ 383 h 38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3" h="383">
                  <a:moveTo>
                    <a:pt x="291" y="0"/>
                  </a:moveTo>
                  <a:lnTo>
                    <a:pt x="343" y="169"/>
                  </a:lnTo>
                  <a:lnTo>
                    <a:pt x="291" y="244"/>
                  </a:lnTo>
                  <a:lnTo>
                    <a:pt x="267" y="261"/>
                  </a:lnTo>
                  <a:lnTo>
                    <a:pt x="256" y="343"/>
                  </a:lnTo>
                  <a:lnTo>
                    <a:pt x="0" y="383"/>
                  </a:lnTo>
                  <a:lnTo>
                    <a:pt x="23" y="238"/>
                  </a:lnTo>
                  <a:lnTo>
                    <a:pt x="99" y="169"/>
                  </a:lnTo>
                  <a:lnTo>
                    <a:pt x="75" y="127"/>
                  </a:lnTo>
                  <a:lnTo>
                    <a:pt x="70" y="64"/>
                  </a:lnTo>
                  <a:lnTo>
                    <a:pt x="214" y="52"/>
                  </a:lnTo>
                  <a:lnTo>
                    <a:pt x="291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3" name="Freeform 830"/>
            <p:cNvSpPr/>
            <p:nvPr/>
          </p:nvSpPr>
          <p:spPr bwMode="auto">
            <a:xfrm>
              <a:off x="1927225" y="3536950"/>
              <a:ext cx="234950" cy="247650"/>
            </a:xfrm>
            <a:custGeom>
              <a:avLst/>
              <a:gdLst>
                <a:gd name="T0" fmla="*/ 0 w 506"/>
                <a:gd name="T1" fmla="*/ 35 h 635"/>
                <a:gd name="T2" fmla="*/ 16 w 506"/>
                <a:gd name="T3" fmla="*/ 41 h 635"/>
                <a:gd name="T4" fmla="*/ 26 w 506"/>
                <a:gd name="T5" fmla="*/ 49 h 635"/>
                <a:gd name="T6" fmla="*/ 33 w 506"/>
                <a:gd name="T7" fmla="*/ 51 h 635"/>
                <a:gd name="T8" fmla="*/ 37 w 506"/>
                <a:gd name="T9" fmla="*/ 58 h 635"/>
                <a:gd name="T10" fmla="*/ 42 w 506"/>
                <a:gd name="T11" fmla="*/ 59 h 635"/>
                <a:gd name="T12" fmla="*/ 56 w 506"/>
                <a:gd name="T13" fmla="*/ 38 h 635"/>
                <a:gd name="T14" fmla="*/ 51 w 506"/>
                <a:gd name="T15" fmla="*/ 29 h 635"/>
                <a:gd name="T16" fmla="*/ 55 w 506"/>
                <a:gd name="T17" fmla="*/ 5 h 635"/>
                <a:gd name="T18" fmla="*/ 47 w 506"/>
                <a:gd name="T19" fmla="*/ 3 h 635"/>
                <a:gd name="T20" fmla="*/ 41 w 506"/>
                <a:gd name="T21" fmla="*/ 9 h 635"/>
                <a:gd name="T22" fmla="*/ 33 w 506"/>
                <a:gd name="T23" fmla="*/ 8 h 635"/>
                <a:gd name="T24" fmla="*/ 24 w 506"/>
                <a:gd name="T25" fmla="*/ 0 h 635"/>
                <a:gd name="T26" fmla="*/ 8 w 506"/>
                <a:gd name="T27" fmla="*/ 1 h 635"/>
                <a:gd name="T28" fmla="*/ 4 w 506"/>
                <a:gd name="T29" fmla="*/ 3 h 635"/>
                <a:gd name="T30" fmla="*/ 10 w 506"/>
                <a:gd name="T31" fmla="*/ 18 h 635"/>
                <a:gd name="T32" fmla="*/ 4 w 506"/>
                <a:gd name="T33" fmla="*/ 25 h 635"/>
                <a:gd name="T34" fmla="*/ 1 w 506"/>
                <a:gd name="T35" fmla="*/ 27 h 635"/>
                <a:gd name="T36" fmla="*/ 0 w 506"/>
                <a:gd name="T37" fmla="*/ 35 h 63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06"/>
                <a:gd name="T58" fmla="*/ 0 h 635"/>
                <a:gd name="T59" fmla="*/ 506 w 506"/>
                <a:gd name="T60" fmla="*/ 635 h 63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06" h="635">
                  <a:moveTo>
                    <a:pt x="0" y="373"/>
                  </a:moveTo>
                  <a:lnTo>
                    <a:pt x="145" y="436"/>
                  </a:lnTo>
                  <a:lnTo>
                    <a:pt x="232" y="530"/>
                  </a:lnTo>
                  <a:lnTo>
                    <a:pt x="296" y="553"/>
                  </a:lnTo>
                  <a:lnTo>
                    <a:pt x="337" y="623"/>
                  </a:lnTo>
                  <a:lnTo>
                    <a:pt x="384" y="635"/>
                  </a:lnTo>
                  <a:lnTo>
                    <a:pt x="506" y="413"/>
                  </a:lnTo>
                  <a:lnTo>
                    <a:pt x="459" y="314"/>
                  </a:lnTo>
                  <a:lnTo>
                    <a:pt x="499" y="59"/>
                  </a:lnTo>
                  <a:lnTo>
                    <a:pt x="424" y="30"/>
                  </a:lnTo>
                  <a:lnTo>
                    <a:pt x="372" y="94"/>
                  </a:lnTo>
                  <a:lnTo>
                    <a:pt x="302" y="88"/>
                  </a:lnTo>
                  <a:lnTo>
                    <a:pt x="215" y="0"/>
                  </a:lnTo>
                  <a:lnTo>
                    <a:pt x="70" y="12"/>
                  </a:lnTo>
                  <a:lnTo>
                    <a:pt x="40" y="30"/>
                  </a:lnTo>
                  <a:lnTo>
                    <a:pt x="87" y="199"/>
                  </a:lnTo>
                  <a:lnTo>
                    <a:pt x="35" y="268"/>
                  </a:lnTo>
                  <a:lnTo>
                    <a:pt x="11" y="286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4" name="Freeform 831"/>
            <p:cNvSpPr/>
            <p:nvPr/>
          </p:nvSpPr>
          <p:spPr bwMode="auto">
            <a:xfrm>
              <a:off x="1801813" y="3679825"/>
              <a:ext cx="331787" cy="290513"/>
            </a:xfrm>
            <a:custGeom>
              <a:avLst/>
              <a:gdLst>
                <a:gd name="T0" fmla="*/ 13 w 727"/>
                <a:gd name="T1" fmla="*/ 2 h 743"/>
                <a:gd name="T2" fmla="*/ 10 w 727"/>
                <a:gd name="T3" fmla="*/ 11 h 743"/>
                <a:gd name="T4" fmla="*/ 14 w 727"/>
                <a:gd name="T5" fmla="*/ 16 h 743"/>
                <a:gd name="T6" fmla="*/ 0 w 727"/>
                <a:gd name="T7" fmla="*/ 30 h 743"/>
                <a:gd name="T8" fmla="*/ 0 w 727"/>
                <a:gd name="T9" fmla="*/ 33 h 743"/>
                <a:gd name="T10" fmla="*/ 9 w 727"/>
                <a:gd name="T11" fmla="*/ 41 h 743"/>
                <a:gd name="T12" fmla="*/ 9 w 727"/>
                <a:gd name="T13" fmla="*/ 45 h 743"/>
                <a:gd name="T14" fmla="*/ 28 w 727"/>
                <a:gd name="T15" fmla="*/ 53 h 743"/>
                <a:gd name="T16" fmla="*/ 35 w 727"/>
                <a:gd name="T17" fmla="*/ 69 h 743"/>
                <a:gd name="T18" fmla="*/ 40 w 727"/>
                <a:gd name="T19" fmla="*/ 66 h 743"/>
                <a:gd name="T20" fmla="*/ 56 w 727"/>
                <a:gd name="T21" fmla="*/ 68 h 743"/>
                <a:gd name="T22" fmla="*/ 59 w 727"/>
                <a:gd name="T23" fmla="*/ 64 h 743"/>
                <a:gd name="T24" fmla="*/ 79 w 727"/>
                <a:gd name="T25" fmla="*/ 62 h 743"/>
                <a:gd name="T26" fmla="*/ 75 w 727"/>
                <a:gd name="T27" fmla="*/ 55 h 743"/>
                <a:gd name="T28" fmla="*/ 75 w 727"/>
                <a:gd name="T29" fmla="*/ 37 h 743"/>
                <a:gd name="T30" fmla="*/ 72 w 727"/>
                <a:gd name="T31" fmla="*/ 34 h 743"/>
                <a:gd name="T32" fmla="*/ 73 w 727"/>
                <a:gd name="T33" fmla="*/ 24 h 743"/>
                <a:gd name="T34" fmla="*/ 68 w 727"/>
                <a:gd name="T35" fmla="*/ 23 h 743"/>
                <a:gd name="T36" fmla="*/ 63 w 727"/>
                <a:gd name="T37" fmla="*/ 17 h 743"/>
                <a:gd name="T38" fmla="*/ 56 w 727"/>
                <a:gd name="T39" fmla="*/ 15 h 743"/>
                <a:gd name="T40" fmla="*/ 47 w 727"/>
                <a:gd name="T41" fmla="*/ 6 h 743"/>
                <a:gd name="T42" fmla="*/ 31 w 727"/>
                <a:gd name="T43" fmla="*/ 0 h 743"/>
                <a:gd name="T44" fmla="*/ 13 w 727"/>
                <a:gd name="T45" fmla="*/ 2 h 74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27"/>
                <a:gd name="T70" fmla="*/ 0 h 743"/>
                <a:gd name="T71" fmla="*/ 727 w 727"/>
                <a:gd name="T72" fmla="*/ 743 h 74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27" h="743">
                  <a:moveTo>
                    <a:pt x="122" y="23"/>
                  </a:moveTo>
                  <a:lnTo>
                    <a:pt x="94" y="116"/>
                  </a:lnTo>
                  <a:lnTo>
                    <a:pt x="129" y="168"/>
                  </a:lnTo>
                  <a:lnTo>
                    <a:pt x="0" y="319"/>
                  </a:lnTo>
                  <a:lnTo>
                    <a:pt x="0" y="360"/>
                  </a:lnTo>
                  <a:lnTo>
                    <a:pt x="82" y="441"/>
                  </a:lnTo>
                  <a:lnTo>
                    <a:pt x="82" y="482"/>
                  </a:lnTo>
                  <a:lnTo>
                    <a:pt x="256" y="569"/>
                  </a:lnTo>
                  <a:lnTo>
                    <a:pt x="321" y="743"/>
                  </a:lnTo>
                  <a:lnTo>
                    <a:pt x="367" y="715"/>
                  </a:lnTo>
                  <a:lnTo>
                    <a:pt x="518" y="732"/>
                  </a:lnTo>
                  <a:lnTo>
                    <a:pt x="547" y="685"/>
                  </a:lnTo>
                  <a:lnTo>
                    <a:pt x="727" y="673"/>
                  </a:lnTo>
                  <a:lnTo>
                    <a:pt x="692" y="593"/>
                  </a:lnTo>
                  <a:lnTo>
                    <a:pt x="692" y="394"/>
                  </a:lnTo>
                  <a:lnTo>
                    <a:pt x="663" y="366"/>
                  </a:lnTo>
                  <a:lnTo>
                    <a:pt x="670" y="255"/>
                  </a:lnTo>
                  <a:lnTo>
                    <a:pt x="623" y="250"/>
                  </a:lnTo>
                  <a:lnTo>
                    <a:pt x="582" y="180"/>
                  </a:lnTo>
                  <a:lnTo>
                    <a:pt x="518" y="157"/>
                  </a:lnTo>
                  <a:lnTo>
                    <a:pt x="431" y="63"/>
                  </a:lnTo>
                  <a:lnTo>
                    <a:pt x="286" y="0"/>
                  </a:lnTo>
                  <a:lnTo>
                    <a:pt x="122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5" name="Freeform 832"/>
            <p:cNvSpPr/>
            <p:nvPr/>
          </p:nvSpPr>
          <p:spPr bwMode="auto">
            <a:xfrm>
              <a:off x="1801813" y="3735388"/>
              <a:ext cx="58737" cy="71437"/>
            </a:xfrm>
            <a:custGeom>
              <a:avLst/>
              <a:gdLst>
                <a:gd name="T0" fmla="*/ 0 w 129"/>
                <a:gd name="T1" fmla="*/ 17 h 186"/>
                <a:gd name="T2" fmla="*/ 14 w 129"/>
                <a:gd name="T3" fmla="*/ 3 h 186"/>
                <a:gd name="T4" fmla="*/ 13 w 129"/>
                <a:gd name="T5" fmla="*/ 2 h 186"/>
                <a:gd name="T6" fmla="*/ 7 w 129"/>
                <a:gd name="T7" fmla="*/ 0 h 186"/>
                <a:gd name="T8" fmla="*/ 0 w 129"/>
                <a:gd name="T9" fmla="*/ 3 h 186"/>
                <a:gd name="T10" fmla="*/ 0 w 129"/>
                <a:gd name="T11" fmla="*/ 17 h 1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9"/>
                <a:gd name="T19" fmla="*/ 0 h 186"/>
                <a:gd name="T20" fmla="*/ 129 w 129"/>
                <a:gd name="T21" fmla="*/ 186 h 18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9" h="186">
                  <a:moveTo>
                    <a:pt x="0" y="186"/>
                  </a:moveTo>
                  <a:lnTo>
                    <a:pt x="129" y="35"/>
                  </a:lnTo>
                  <a:lnTo>
                    <a:pt x="117" y="17"/>
                  </a:lnTo>
                  <a:lnTo>
                    <a:pt x="65" y="0"/>
                  </a:lnTo>
                  <a:lnTo>
                    <a:pt x="0" y="35"/>
                  </a:lnTo>
                  <a:lnTo>
                    <a:pt x="0" y="18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6" name="Freeform 833"/>
            <p:cNvSpPr/>
            <p:nvPr/>
          </p:nvSpPr>
          <p:spPr bwMode="auto">
            <a:xfrm>
              <a:off x="1801813" y="3689350"/>
              <a:ext cx="53975" cy="58738"/>
            </a:xfrm>
            <a:custGeom>
              <a:avLst/>
              <a:gdLst>
                <a:gd name="T0" fmla="*/ 0 w 122"/>
                <a:gd name="T1" fmla="*/ 8 h 145"/>
                <a:gd name="T2" fmla="*/ 0 w 122"/>
                <a:gd name="T3" fmla="*/ 14 h 145"/>
                <a:gd name="T4" fmla="*/ 7 w 122"/>
                <a:gd name="T5" fmla="*/ 11 h 145"/>
                <a:gd name="T6" fmla="*/ 12 w 122"/>
                <a:gd name="T7" fmla="*/ 12 h 145"/>
                <a:gd name="T8" fmla="*/ 10 w 122"/>
                <a:gd name="T9" fmla="*/ 8 h 145"/>
                <a:gd name="T10" fmla="*/ 13 w 122"/>
                <a:gd name="T11" fmla="*/ 0 h 145"/>
                <a:gd name="T12" fmla="*/ 3 w 122"/>
                <a:gd name="T13" fmla="*/ 2 h 145"/>
                <a:gd name="T14" fmla="*/ 0 w 122"/>
                <a:gd name="T15" fmla="*/ 8 h 14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2"/>
                <a:gd name="T25" fmla="*/ 0 h 145"/>
                <a:gd name="T26" fmla="*/ 122 w 122"/>
                <a:gd name="T27" fmla="*/ 145 h 14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2" h="145">
                  <a:moveTo>
                    <a:pt x="0" y="87"/>
                  </a:moveTo>
                  <a:lnTo>
                    <a:pt x="0" y="145"/>
                  </a:lnTo>
                  <a:lnTo>
                    <a:pt x="65" y="110"/>
                  </a:lnTo>
                  <a:lnTo>
                    <a:pt x="117" y="127"/>
                  </a:lnTo>
                  <a:lnTo>
                    <a:pt x="94" y="87"/>
                  </a:lnTo>
                  <a:lnTo>
                    <a:pt x="122" y="0"/>
                  </a:lnTo>
                  <a:lnTo>
                    <a:pt x="24" y="1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7" name="Freeform 834"/>
            <p:cNvSpPr/>
            <p:nvPr/>
          </p:nvSpPr>
          <p:spPr bwMode="auto">
            <a:xfrm>
              <a:off x="1281113" y="3819525"/>
              <a:ext cx="365125" cy="330200"/>
            </a:xfrm>
            <a:custGeom>
              <a:avLst/>
              <a:gdLst>
                <a:gd name="T0" fmla="*/ 2 w 802"/>
                <a:gd name="T1" fmla="*/ 3 h 859"/>
                <a:gd name="T2" fmla="*/ 10 w 802"/>
                <a:gd name="T3" fmla="*/ 14 h 859"/>
                <a:gd name="T4" fmla="*/ 6 w 802"/>
                <a:gd name="T5" fmla="*/ 22 h 859"/>
                <a:gd name="T6" fmla="*/ 8 w 802"/>
                <a:gd name="T7" fmla="*/ 30 h 859"/>
                <a:gd name="T8" fmla="*/ 13 w 802"/>
                <a:gd name="T9" fmla="*/ 33 h 859"/>
                <a:gd name="T10" fmla="*/ 12 w 802"/>
                <a:gd name="T11" fmla="*/ 42 h 859"/>
                <a:gd name="T12" fmla="*/ 2 w 802"/>
                <a:gd name="T13" fmla="*/ 52 h 859"/>
                <a:gd name="T14" fmla="*/ 0 w 802"/>
                <a:gd name="T15" fmla="*/ 64 h 859"/>
                <a:gd name="T16" fmla="*/ 0 w 802"/>
                <a:gd name="T17" fmla="*/ 77 h 859"/>
                <a:gd name="T18" fmla="*/ 10 w 802"/>
                <a:gd name="T19" fmla="*/ 71 h 859"/>
                <a:gd name="T20" fmla="*/ 17 w 802"/>
                <a:gd name="T21" fmla="*/ 76 h 859"/>
                <a:gd name="T22" fmla="*/ 47 w 802"/>
                <a:gd name="T23" fmla="*/ 72 h 859"/>
                <a:gd name="T24" fmla="*/ 65 w 802"/>
                <a:gd name="T25" fmla="*/ 79 h 859"/>
                <a:gd name="T26" fmla="*/ 79 w 802"/>
                <a:gd name="T27" fmla="*/ 76 h 859"/>
                <a:gd name="T28" fmla="*/ 71 w 802"/>
                <a:gd name="T29" fmla="*/ 70 h 859"/>
                <a:gd name="T30" fmla="*/ 71 w 802"/>
                <a:gd name="T31" fmla="*/ 46 h 859"/>
                <a:gd name="T32" fmla="*/ 83 w 802"/>
                <a:gd name="T33" fmla="*/ 45 h 859"/>
                <a:gd name="T34" fmla="*/ 82 w 802"/>
                <a:gd name="T35" fmla="*/ 38 h 859"/>
                <a:gd name="T36" fmla="*/ 87 w 802"/>
                <a:gd name="T37" fmla="*/ 38 h 859"/>
                <a:gd name="T38" fmla="*/ 86 w 802"/>
                <a:gd name="T39" fmla="*/ 31 h 859"/>
                <a:gd name="T40" fmla="*/ 72 w 802"/>
                <a:gd name="T41" fmla="*/ 33 h 859"/>
                <a:gd name="T42" fmla="*/ 67 w 802"/>
                <a:gd name="T43" fmla="*/ 10 h 859"/>
                <a:gd name="T44" fmla="*/ 63 w 802"/>
                <a:gd name="T45" fmla="*/ 10 h 859"/>
                <a:gd name="T46" fmla="*/ 62 w 802"/>
                <a:gd name="T47" fmla="*/ 6 h 859"/>
                <a:gd name="T48" fmla="*/ 55 w 802"/>
                <a:gd name="T49" fmla="*/ 6 h 859"/>
                <a:gd name="T50" fmla="*/ 55 w 802"/>
                <a:gd name="T51" fmla="*/ 13 h 859"/>
                <a:gd name="T52" fmla="*/ 39 w 802"/>
                <a:gd name="T53" fmla="*/ 14 h 859"/>
                <a:gd name="T54" fmla="*/ 38 w 802"/>
                <a:gd name="T55" fmla="*/ 11 h 859"/>
                <a:gd name="T56" fmla="*/ 36 w 802"/>
                <a:gd name="T57" fmla="*/ 11 h 859"/>
                <a:gd name="T58" fmla="*/ 31 w 802"/>
                <a:gd name="T59" fmla="*/ 0 h 859"/>
                <a:gd name="T60" fmla="*/ 2 w 802"/>
                <a:gd name="T61" fmla="*/ 3 h 85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2"/>
                <a:gd name="T94" fmla="*/ 0 h 859"/>
                <a:gd name="T95" fmla="*/ 802 w 802"/>
                <a:gd name="T96" fmla="*/ 859 h 85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2" h="859">
                  <a:moveTo>
                    <a:pt x="17" y="35"/>
                  </a:moveTo>
                  <a:lnTo>
                    <a:pt x="92" y="157"/>
                  </a:lnTo>
                  <a:lnTo>
                    <a:pt x="52" y="244"/>
                  </a:lnTo>
                  <a:lnTo>
                    <a:pt x="75" y="331"/>
                  </a:lnTo>
                  <a:lnTo>
                    <a:pt x="122" y="354"/>
                  </a:lnTo>
                  <a:lnTo>
                    <a:pt x="110" y="453"/>
                  </a:lnTo>
                  <a:lnTo>
                    <a:pt x="17" y="568"/>
                  </a:lnTo>
                  <a:lnTo>
                    <a:pt x="0" y="696"/>
                  </a:lnTo>
                  <a:lnTo>
                    <a:pt x="0" y="835"/>
                  </a:lnTo>
                  <a:lnTo>
                    <a:pt x="92" y="772"/>
                  </a:lnTo>
                  <a:lnTo>
                    <a:pt x="157" y="824"/>
                  </a:lnTo>
                  <a:lnTo>
                    <a:pt x="429" y="778"/>
                  </a:lnTo>
                  <a:lnTo>
                    <a:pt x="598" y="859"/>
                  </a:lnTo>
                  <a:lnTo>
                    <a:pt x="732" y="824"/>
                  </a:lnTo>
                  <a:lnTo>
                    <a:pt x="656" y="760"/>
                  </a:lnTo>
                  <a:lnTo>
                    <a:pt x="656" y="505"/>
                  </a:lnTo>
                  <a:lnTo>
                    <a:pt x="767" y="493"/>
                  </a:lnTo>
                  <a:lnTo>
                    <a:pt x="755" y="418"/>
                  </a:lnTo>
                  <a:lnTo>
                    <a:pt x="802" y="418"/>
                  </a:lnTo>
                  <a:lnTo>
                    <a:pt x="796" y="342"/>
                  </a:lnTo>
                  <a:lnTo>
                    <a:pt x="668" y="354"/>
                  </a:lnTo>
                  <a:lnTo>
                    <a:pt x="616" y="104"/>
                  </a:lnTo>
                  <a:lnTo>
                    <a:pt x="581" y="104"/>
                  </a:lnTo>
                  <a:lnTo>
                    <a:pt x="569" y="63"/>
                  </a:lnTo>
                  <a:lnTo>
                    <a:pt x="511" y="69"/>
                  </a:lnTo>
                  <a:lnTo>
                    <a:pt x="506" y="139"/>
                  </a:lnTo>
                  <a:lnTo>
                    <a:pt x="360" y="150"/>
                  </a:lnTo>
                  <a:lnTo>
                    <a:pt x="354" y="122"/>
                  </a:lnTo>
                  <a:lnTo>
                    <a:pt x="331" y="122"/>
                  </a:lnTo>
                  <a:lnTo>
                    <a:pt x="290" y="0"/>
                  </a:lnTo>
                  <a:lnTo>
                    <a:pt x="17" y="3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8" name="Freeform 835"/>
            <p:cNvSpPr/>
            <p:nvPr/>
          </p:nvSpPr>
          <p:spPr bwMode="auto">
            <a:xfrm>
              <a:off x="1577975" y="3868738"/>
              <a:ext cx="361950" cy="273050"/>
            </a:xfrm>
            <a:custGeom>
              <a:avLst/>
              <a:gdLst>
                <a:gd name="T0" fmla="*/ 86 w 779"/>
                <a:gd name="T1" fmla="*/ 19 h 702"/>
                <a:gd name="T2" fmla="*/ 79 w 779"/>
                <a:gd name="T3" fmla="*/ 27 h 702"/>
                <a:gd name="T4" fmla="*/ 75 w 779"/>
                <a:gd name="T5" fmla="*/ 30 h 702"/>
                <a:gd name="T6" fmla="*/ 76 w 779"/>
                <a:gd name="T7" fmla="*/ 38 h 702"/>
                <a:gd name="T8" fmla="*/ 58 w 779"/>
                <a:gd name="T9" fmla="*/ 45 h 702"/>
                <a:gd name="T10" fmla="*/ 61 w 779"/>
                <a:gd name="T11" fmla="*/ 50 h 702"/>
                <a:gd name="T12" fmla="*/ 53 w 779"/>
                <a:gd name="T13" fmla="*/ 50 h 702"/>
                <a:gd name="T14" fmla="*/ 37 w 779"/>
                <a:gd name="T15" fmla="*/ 65 h 702"/>
                <a:gd name="T16" fmla="*/ 24 w 779"/>
                <a:gd name="T17" fmla="*/ 65 h 702"/>
                <a:gd name="T18" fmla="*/ 17 w 779"/>
                <a:gd name="T19" fmla="*/ 61 h 702"/>
                <a:gd name="T20" fmla="*/ 8 w 779"/>
                <a:gd name="T21" fmla="*/ 64 h 702"/>
                <a:gd name="T22" fmla="*/ 0 w 779"/>
                <a:gd name="T23" fmla="*/ 58 h 702"/>
                <a:gd name="T24" fmla="*/ 0 w 779"/>
                <a:gd name="T25" fmla="*/ 34 h 702"/>
                <a:gd name="T26" fmla="*/ 12 w 779"/>
                <a:gd name="T27" fmla="*/ 33 h 702"/>
                <a:gd name="T28" fmla="*/ 11 w 779"/>
                <a:gd name="T29" fmla="*/ 26 h 702"/>
                <a:gd name="T30" fmla="*/ 16 w 779"/>
                <a:gd name="T31" fmla="*/ 26 h 702"/>
                <a:gd name="T32" fmla="*/ 16 w 779"/>
                <a:gd name="T33" fmla="*/ 22 h 702"/>
                <a:gd name="T34" fmla="*/ 23 w 779"/>
                <a:gd name="T35" fmla="*/ 22 h 702"/>
                <a:gd name="T36" fmla="*/ 31 w 779"/>
                <a:gd name="T37" fmla="*/ 28 h 702"/>
                <a:gd name="T38" fmla="*/ 36 w 779"/>
                <a:gd name="T39" fmla="*/ 27 h 702"/>
                <a:gd name="T40" fmla="*/ 36 w 779"/>
                <a:gd name="T41" fmla="*/ 25 h 702"/>
                <a:gd name="T42" fmla="*/ 53 w 779"/>
                <a:gd name="T43" fmla="*/ 35 h 702"/>
                <a:gd name="T44" fmla="*/ 58 w 779"/>
                <a:gd name="T45" fmla="*/ 35 h 702"/>
                <a:gd name="T46" fmla="*/ 58 w 779"/>
                <a:gd name="T47" fmla="*/ 25 h 702"/>
                <a:gd name="T48" fmla="*/ 55 w 779"/>
                <a:gd name="T49" fmla="*/ 27 h 702"/>
                <a:gd name="T50" fmla="*/ 46 w 779"/>
                <a:gd name="T51" fmla="*/ 24 h 702"/>
                <a:gd name="T52" fmla="*/ 50 w 779"/>
                <a:gd name="T53" fmla="*/ 14 h 702"/>
                <a:gd name="T54" fmla="*/ 44 w 779"/>
                <a:gd name="T55" fmla="*/ 13 h 702"/>
                <a:gd name="T56" fmla="*/ 48 w 779"/>
                <a:gd name="T57" fmla="*/ 2 h 702"/>
                <a:gd name="T58" fmla="*/ 62 w 779"/>
                <a:gd name="T59" fmla="*/ 0 h 702"/>
                <a:gd name="T60" fmla="*/ 81 w 779"/>
                <a:gd name="T61" fmla="*/ 8 h 702"/>
                <a:gd name="T62" fmla="*/ 86 w 779"/>
                <a:gd name="T63" fmla="*/ 19 h 7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9"/>
                <a:gd name="T97" fmla="*/ 0 h 702"/>
                <a:gd name="T98" fmla="*/ 779 w 779"/>
                <a:gd name="T99" fmla="*/ 702 h 7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9" h="702">
                  <a:moveTo>
                    <a:pt x="779" y="203"/>
                  </a:moveTo>
                  <a:lnTo>
                    <a:pt x="720" y="296"/>
                  </a:lnTo>
                  <a:lnTo>
                    <a:pt x="680" y="325"/>
                  </a:lnTo>
                  <a:lnTo>
                    <a:pt x="686" y="413"/>
                  </a:lnTo>
                  <a:lnTo>
                    <a:pt x="523" y="482"/>
                  </a:lnTo>
                  <a:lnTo>
                    <a:pt x="553" y="535"/>
                  </a:lnTo>
                  <a:lnTo>
                    <a:pt x="483" y="540"/>
                  </a:lnTo>
                  <a:lnTo>
                    <a:pt x="337" y="702"/>
                  </a:lnTo>
                  <a:lnTo>
                    <a:pt x="221" y="697"/>
                  </a:lnTo>
                  <a:lnTo>
                    <a:pt x="157" y="662"/>
                  </a:lnTo>
                  <a:lnTo>
                    <a:pt x="76" y="691"/>
                  </a:lnTo>
                  <a:lnTo>
                    <a:pt x="0" y="627"/>
                  </a:lnTo>
                  <a:lnTo>
                    <a:pt x="0" y="372"/>
                  </a:lnTo>
                  <a:lnTo>
                    <a:pt x="105" y="355"/>
                  </a:lnTo>
                  <a:lnTo>
                    <a:pt x="99" y="285"/>
                  </a:lnTo>
                  <a:lnTo>
                    <a:pt x="146" y="285"/>
                  </a:lnTo>
                  <a:lnTo>
                    <a:pt x="146" y="238"/>
                  </a:lnTo>
                  <a:lnTo>
                    <a:pt x="204" y="233"/>
                  </a:lnTo>
                  <a:lnTo>
                    <a:pt x="284" y="303"/>
                  </a:lnTo>
                  <a:lnTo>
                    <a:pt x="326" y="296"/>
                  </a:lnTo>
                  <a:lnTo>
                    <a:pt x="326" y="273"/>
                  </a:lnTo>
                  <a:lnTo>
                    <a:pt x="476" y="383"/>
                  </a:lnTo>
                  <a:lnTo>
                    <a:pt x="529" y="383"/>
                  </a:lnTo>
                  <a:lnTo>
                    <a:pt x="523" y="273"/>
                  </a:lnTo>
                  <a:lnTo>
                    <a:pt x="494" y="296"/>
                  </a:lnTo>
                  <a:lnTo>
                    <a:pt x="419" y="261"/>
                  </a:lnTo>
                  <a:lnTo>
                    <a:pt x="453" y="146"/>
                  </a:lnTo>
                  <a:lnTo>
                    <a:pt x="396" y="139"/>
                  </a:lnTo>
                  <a:lnTo>
                    <a:pt x="431" y="17"/>
                  </a:lnTo>
                  <a:lnTo>
                    <a:pt x="558" y="0"/>
                  </a:lnTo>
                  <a:lnTo>
                    <a:pt x="732" y="87"/>
                  </a:lnTo>
                  <a:lnTo>
                    <a:pt x="779" y="20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9" name="Freeform 836"/>
            <p:cNvSpPr/>
            <p:nvPr/>
          </p:nvSpPr>
          <p:spPr bwMode="auto">
            <a:xfrm>
              <a:off x="1893888" y="3948113"/>
              <a:ext cx="84137" cy="180975"/>
            </a:xfrm>
            <a:custGeom>
              <a:avLst/>
              <a:gdLst>
                <a:gd name="T0" fmla="*/ 1 w 192"/>
                <a:gd name="T1" fmla="*/ 20 h 459"/>
                <a:gd name="T2" fmla="*/ 11 w 192"/>
                <a:gd name="T3" fmla="*/ 23 h 459"/>
                <a:gd name="T4" fmla="*/ 15 w 192"/>
                <a:gd name="T5" fmla="*/ 43 h 459"/>
                <a:gd name="T6" fmla="*/ 19 w 192"/>
                <a:gd name="T7" fmla="*/ 35 h 459"/>
                <a:gd name="T8" fmla="*/ 20 w 192"/>
                <a:gd name="T9" fmla="*/ 21 h 459"/>
                <a:gd name="T10" fmla="*/ 10 w 192"/>
                <a:gd name="T11" fmla="*/ 0 h 459"/>
                <a:gd name="T12" fmla="*/ 4 w 192"/>
                <a:gd name="T13" fmla="*/ 9 h 459"/>
                <a:gd name="T14" fmla="*/ 0 w 192"/>
                <a:gd name="T15" fmla="*/ 12 h 459"/>
                <a:gd name="T16" fmla="*/ 1 w 192"/>
                <a:gd name="T17" fmla="*/ 20 h 4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2"/>
                <a:gd name="T28" fmla="*/ 0 h 459"/>
                <a:gd name="T29" fmla="*/ 192 w 192"/>
                <a:gd name="T30" fmla="*/ 459 h 4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2" h="459">
                  <a:moveTo>
                    <a:pt x="6" y="215"/>
                  </a:moveTo>
                  <a:lnTo>
                    <a:pt x="105" y="249"/>
                  </a:lnTo>
                  <a:lnTo>
                    <a:pt x="145" y="459"/>
                  </a:lnTo>
                  <a:lnTo>
                    <a:pt x="187" y="371"/>
                  </a:lnTo>
                  <a:lnTo>
                    <a:pt x="192" y="225"/>
                  </a:lnTo>
                  <a:lnTo>
                    <a:pt x="99" y="0"/>
                  </a:lnTo>
                  <a:lnTo>
                    <a:pt x="40" y="93"/>
                  </a:lnTo>
                  <a:lnTo>
                    <a:pt x="0" y="127"/>
                  </a:lnTo>
                  <a:lnTo>
                    <a:pt x="6" y="21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0" name="Freeform 837"/>
            <p:cNvSpPr/>
            <p:nvPr/>
          </p:nvSpPr>
          <p:spPr bwMode="auto">
            <a:xfrm>
              <a:off x="1281113" y="4116388"/>
              <a:ext cx="276225" cy="339725"/>
            </a:xfrm>
            <a:custGeom>
              <a:avLst/>
              <a:gdLst>
                <a:gd name="T0" fmla="*/ 66 w 610"/>
                <a:gd name="T1" fmla="*/ 8 h 860"/>
                <a:gd name="T2" fmla="*/ 65 w 610"/>
                <a:gd name="T3" fmla="*/ 30 h 860"/>
                <a:gd name="T4" fmla="*/ 56 w 610"/>
                <a:gd name="T5" fmla="*/ 34 h 860"/>
                <a:gd name="T6" fmla="*/ 56 w 610"/>
                <a:gd name="T7" fmla="*/ 75 h 860"/>
                <a:gd name="T8" fmla="*/ 50 w 610"/>
                <a:gd name="T9" fmla="*/ 81 h 860"/>
                <a:gd name="T10" fmla="*/ 42 w 610"/>
                <a:gd name="T11" fmla="*/ 79 h 860"/>
                <a:gd name="T12" fmla="*/ 41 w 610"/>
                <a:gd name="T13" fmla="*/ 71 h 860"/>
                <a:gd name="T14" fmla="*/ 36 w 610"/>
                <a:gd name="T15" fmla="*/ 78 h 860"/>
                <a:gd name="T16" fmla="*/ 26 w 610"/>
                <a:gd name="T17" fmla="*/ 66 h 860"/>
                <a:gd name="T18" fmla="*/ 19 w 610"/>
                <a:gd name="T19" fmla="*/ 33 h 860"/>
                <a:gd name="T20" fmla="*/ 12 w 610"/>
                <a:gd name="T21" fmla="*/ 27 h 860"/>
                <a:gd name="T22" fmla="*/ 0 w 610"/>
                <a:gd name="T23" fmla="*/ 6 h 860"/>
                <a:gd name="T24" fmla="*/ 10 w 610"/>
                <a:gd name="T25" fmla="*/ 0 h 860"/>
                <a:gd name="T26" fmla="*/ 17 w 610"/>
                <a:gd name="T27" fmla="*/ 5 h 860"/>
                <a:gd name="T28" fmla="*/ 46 w 610"/>
                <a:gd name="T29" fmla="*/ 1 h 860"/>
                <a:gd name="T30" fmla="*/ 66 w 610"/>
                <a:gd name="T31" fmla="*/ 8 h 86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10"/>
                <a:gd name="T49" fmla="*/ 0 h 860"/>
                <a:gd name="T50" fmla="*/ 610 w 610"/>
                <a:gd name="T51" fmla="*/ 860 h 86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10" h="860">
                  <a:moveTo>
                    <a:pt x="610" y="87"/>
                  </a:moveTo>
                  <a:lnTo>
                    <a:pt x="598" y="314"/>
                  </a:lnTo>
                  <a:lnTo>
                    <a:pt x="516" y="366"/>
                  </a:lnTo>
                  <a:lnTo>
                    <a:pt x="516" y="796"/>
                  </a:lnTo>
                  <a:lnTo>
                    <a:pt x="464" y="860"/>
                  </a:lnTo>
                  <a:lnTo>
                    <a:pt x="389" y="837"/>
                  </a:lnTo>
                  <a:lnTo>
                    <a:pt x="383" y="755"/>
                  </a:lnTo>
                  <a:lnTo>
                    <a:pt x="337" y="825"/>
                  </a:lnTo>
                  <a:lnTo>
                    <a:pt x="237" y="703"/>
                  </a:lnTo>
                  <a:lnTo>
                    <a:pt x="174" y="349"/>
                  </a:lnTo>
                  <a:lnTo>
                    <a:pt x="110" y="290"/>
                  </a:lnTo>
                  <a:lnTo>
                    <a:pt x="0" y="63"/>
                  </a:lnTo>
                  <a:lnTo>
                    <a:pt x="92" y="0"/>
                  </a:lnTo>
                  <a:lnTo>
                    <a:pt x="157" y="52"/>
                  </a:lnTo>
                  <a:lnTo>
                    <a:pt x="429" y="6"/>
                  </a:lnTo>
                  <a:lnTo>
                    <a:pt x="610" y="8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1" name="Freeform 838"/>
            <p:cNvSpPr/>
            <p:nvPr/>
          </p:nvSpPr>
          <p:spPr bwMode="auto">
            <a:xfrm>
              <a:off x="1822450" y="3940175"/>
              <a:ext cx="311150" cy="446088"/>
            </a:xfrm>
            <a:custGeom>
              <a:avLst/>
              <a:gdLst>
                <a:gd name="T0" fmla="*/ 3 w 680"/>
                <a:gd name="T1" fmla="*/ 33 h 1144"/>
                <a:gd name="T2" fmla="*/ 19 w 680"/>
                <a:gd name="T3" fmla="*/ 42 h 1144"/>
                <a:gd name="T4" fmla="*/ 20 w 680"/>
                <a:gd name="T5" fmla="*/ 52 h 1144"/>
                <a:gd name="T6" fmla="*/ 14 w 680"/>
                <a:gd name="T7" fmla="*/ 53 h 1144"/>
                <a:gd name="T8" fmla="*/ 18 w 680"/>
                <a:gd name="T9" fmla="*/ 61 h 1144"/>
                <a:gd name="T10" fmla="*/ 5 w 680"/>
                <a:gd name="T11" fmla="*/ 77 h 1144"/>
                <a:gd name="T12" fmla="*/ 9 w 680"/>
                <a:gd name="T13" fmla="*/ 105 h 1144"/>
                <a:gd name="T14" fmla="*/ 16 w 680"/>
                <a:gd name="T15" fmla="*/ 106 h 1144"/>
                <a:gd name="T16" fmla="*/ 19 w 680"/>
                <a:gd name="T17" fmla="*/ 95 h 1144"/>
                <a:gd name="T18" fmla="*/ 35 w 680"/>
                <a:gd name="T19" fmla="*/ 86 h 1144"/>
                <a:gd name="T20" fmla="*/ 34 w 680"/>
                <a:gd name="T21" fmla="*/ 66 h 1144"/>
                <a:gd name="T22" fmla="*/ 29 w 680"/>
                <a:gd name="T23" fmla="*/ 64 h 1144"/>
                <a:gd name="T24" fmla="*/ 32 w 680"/>
                <a:gd name="T25" fmla="*/ 58 h 1144"/>
                <a:gd name="T26" fmla="*/ 41 w 680"/>
                <a:gd name="T27" fmla="*/ 53 h 1144"/>
                <a:gd name="T28" fmla="*/ 44 w 680"/>
                <a:gd name="T29" fmla="*/ 48 h 1144"/>
                <a:gd name="T30" fmla="*/ 70 w 680"/>
                <a:gd name="T31" fmla="*/ 32 h 1144"/>
                <a:gd name="T32" fmla="*/ 74 w 680"/>
                <a:gd name="T33" fmla="*/ 0 h 1144"/>
                <a:gd name="T34" fmla="*/ 54 w 680"/>
                <a:gd name="T35" fmla="*/ 2 h 1144"/>
                <a:gd name="T36" fmla="*/ 51 w 680"/>
                <a:gd name="T37" fmla="*/ 6 h 1144"/>
                <a:gd name="T38" fmla="*/ 36 w 680"/>
                <a:gd name="T39" fmla="*/ 5 h 1144"/>
                <a:gd name="T40" fmla="*/ 30 w 680"/>
                <a:gd name="T41" fmla="*/ 8 h 1144"/>
                <a:gd name="T42" fmla="*/ 37 w 680"/>
                <a:gd name="T43" fmla="*/ 22 h 1144"/>
                <a:gd name="T44" fmla="*/ 37 w 680"/>
                <a:gd name="T45" fmla="*/ 37 h 1144"/>
                <a:gd name="T46" fmla="*/ 33 w 680"/>
                <a:gd name="T47" fmla="*/ 44 h 1144"/>
                <a:gd name="T48" fmla="*/ 29 w 680"/>
                <a:gd name="T49" fmla="*/ 25 h 1144"/>
                <a:gd name="T50" fmla="*/ 18 w 680"/>
                <a:gd name="T51" fmla="*/ 22 h 1144"/>
                <a:gd name="T52" fmla="*/ 0 w 680"/>
                <a:gd name="T53" fmla="*/ 28 h 1144"/>
                <a:gd name="T54" fmla="*/ 3 w 680"/>
                <a:gd name="T55" fmla="*/ 33 h 1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80"/>
                <a:gd name="T85" fmla="*/ 0 h 1144"/>
                <a:gd name="T86" fmla="*/ 680 w 680"/>
                <a:gd name="T87" fmla="*/ 1144 h 1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80" h="1144">
                  <a:moveTo>
                    <a:pt x="30" y="355"/>
                  </a:moveTo>
                  <a:lnTo>
                    <a:pt x="175" y="453"/>
                  </a:lnTo>
                  <a:lnTo>
                    <a:pt x="187" y="564"/>
                  </a:lnTo>
                  <a:lnTo>
                    <a:pt x="128" y="569"/>
                  </a:lnTo>
                  <a:lnTo>
                    <a:pt x="163" y="662"/>
                  </a:lnTo>
                  <a:lnTo>
                    <a:pt x="47" y="831"/>
                  </a:lnTo>
                  <a:lnTo>
                    <a:pt x="82" y="1132"/>
                  </a:lnTo>
                  <a:lnTo>
                    <a:pt x="145" y="1144"/>
                  </a:lnTo>
                  <a:lnTo>
                    <a:pt x="175" y="1028"/>
                  </a:lnTo>
                  <a:lnTo>
                    <a:pt x="320" y="923"/>
                  </a:lnTo>
                  <a:lnTo>
                    <a:pt x="309" y="709"/>
                  </a:lnTo>
                  <a:lnTo>
                    <a:pt x="267" y="686"/>
                  </a:lnTo>
                  <a:lnTo>
                    <a:pt x="291" y="627"/>
                  </a:lnTo>
                  <a:lnTo>
                    <a:pt x="378" y="569"/>
                  </a:lnTo>
                  <a:lnTo>
                    <a:pt x="407" y="517"/>
                  </a:lnTo>
                  <a:lnTo>
                    <a:pt x="640" y="343"/>
                  </a:lnTo>
                  <a:lnTo>
                    <a:pt x="680" y="0"/>
                  </a:lnTo>
                  <a:lnTo>
                    <a:pt x="500" y="23"/>
                  </a:lnTo>
                  <a:lnTo>
                    <a:pt x="471" y="70"/>
                  </a:lnTo>
                  <a:lnTo>
                    <a:pt x="332" y="53"/>
                  </a:lnTo>
                  <a:lnTo>
                    <a:pt x="274" y="81"/>
                  </a:lnTo>
                  <a:lnTo>
                    <a:pt x="344" y="233"/>
                  </a:lnTo>
                  <a:lnTo>
                    <a:pt x="344" y="400"/>
                  </a:lnTo>
                  <a:lnTo>
                    <a:pt x="302" y="477"/>
                  </a:lnTo>
                  <a:lnTo>
                    <a:pt x="262" y="267"/>
                  </a:lnTo>
                  <a:lnTo>
                    <a:pt x="163" y="233"/>
                  </a:lnTo>
                  <a:lnTo>
                    <a:pt x="0" y="302"/>
                  </a:lnTo>
                  <a:lnTo>
                    <a:pt x="30" y="35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2" name="Freeform 839"/>
            <p:cNvSpPr/>
            <p:nvPr/>
          </p:nvSpPr>
          <p:spPr bwMode="auto">
            <a:xfrm>
              <a:off x="1684338" y="4078288"/>
              <a:ext cx="222250" cy="185737"/>
            </a:xfrm>
            <a:custGeom>
              <a:avLst/>
              <a:gdLst>
                <a:gd name="T0" fmla="*/ 0 w 489"/>
                <a:gd name="T1" fmla="*/ 15 h 476"/>
                <a:gd name="T2" fmla="*/ 7 w 489"/>
                <a:gd name="T3" fmla="*/ 31 h 476"/>
                <a:gd name="T4" fmla="*/ 13 w 489"/>
                <a:gd name="T5" fmla="*/ 31 h 476"/>
                <a:gd name="T6" fmla="*/ 14 w 489"/>
                <a:gd name="T7" fmla="*/ 36 h 476"/>
                <a:gd name="T8" fmla="*/ 38 w 489"/>
                <a:gd name="T9" fmla="*/ 44 h 476"/>
                <a:gd name="T10" fmla="*/ 50 w 489"/>
                <a:gd name="T11" fmla="*/ 28 h 476"/>
                <a:gd name="T12" fmla="*/ 47 w 489"/>
                <a:gd name="T13" fmla="*/ 20 h 476"/>
                <a:gd name="T14" fmla="*/ 53 w 489"/>
                <a:gd name="T15" fmla="*/ 19 h 476"/>
                <a:gd name="T16" fmla="*/ 52 w 489"/>
                <a:gd name="T17" fmla="*/ 9 h 476"/>
                <a:gd name="T18" fmla="*/ 36 w 489"/>
                <a:gd name="T19" fmla="*/ 0 h 476"/>
                <a:gd name="T20" fmla="*/ 28 w 489"/>
                <a:gd name="T21" fmla="*/ 0 h 476"/>
                <a:gd name="T22" fmla="*/ 13 w 489"/>
                <a:gd name="T23" fmla="*/ 15 h 476"/>
                <a:gd name="T24" fmla="*/ 0 w 489"/>
                <a:gd name="T25" fmla="*/ 15 h 4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9"/>
                <a:gd name="T40" fmla="*/ 0 h 476"/>
                <a:gd name="T41" fmla="*/ 489 w 489"/>
                <a:gd name="T42" fmla="*/ 476 h 47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9" h="476">
                  <a:moveTo>
                    <a:pt x="0" y="162"/>
                  </a:moveTo>
                  <a:lnTo>
                    <a:pt x="63" y="336"/>
                  </a:lnTo>
                  <a:lnTo>
                    <a:pt x="116" y="336"/>
                  </a:lnTo>
                  <a:lnTo>
                    <a:pt x="133" y="389"/>
                  </a:lnTo>
                  <a:lnTo>
                    <a:pt x="349" y="476"/>
                  </a:lnTo>
                  <a:lnTo>
                    <a:pt x="465" y="307"/>
                  </a:lnTo>
                  <a:lnTo>
                    <a:pt x="430" y="214"/>
                  </a:lnTo>
                  <a:lnTo>
                    <a:pt x="489" y="209"/>
                  </a:lnTo>
                  <a:lnTo>
                    <a:pt x="477" y="98"/>
                  </a:lnTo>
                  <a:lnTo>
                    <a:pt x="332" y="0"/>
                  </a:lnTo>
                  <a:lnTo>
                    <a:pt x="262" y="5"/>
                  </a:lnTo>
                  <a:lnTo>
                    <a:pt x="116" y="167"/>
                  </a:lnTo>
                  <a:lnTo>
                    <a:pt x="0" y="16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3" name="Freeform 840"/>
            <p:cNvSpPr/>
            <p:nvPr/>
          </p:nvSpPr>
          <p:spPr bwMode="auto">
            <a:xfrm>
              <a:off x="1519238" y="4129088"/>
              <a:ext cx="269875" cy="265112"/>
            </a:xfrm>
            <a:custGeom>
              <a:avLst/>
              <a:gdLst>
                <a:gd name="T0" fmla="*/ 0 w 593"/>
                <a:gd name="T1" fmla="*/ 58 h 674"/>
                <a:gd name="T2" fmla="*/ 6 w 593"/>
                <a:gd name="T3" fmla="*/ 63 h 674"/>
                <a:gd name="T4" fmla="*/ 15 w 593"/>
                <a:gd name="T5" fmla="*/ 60 h 674"/>
                <a:gd name="T6" fmla="*/ 23 w 593"/>
                <a:gd name="T7" fmla="*/ 52 h 674"/>
                <a:gd name="T8" fmla="*/ 36 w 593"/>
                <a:gd name="T9" fmla="*/ 54 h 674"/>
                <a:gd name="T10" fmla="*/ 41 w 593"/>
                <a:gd name="T11" fmla="*/ 52 h 674"/>
                <a:gd name="T12" fmla="*/ 39 w 593"/>
                <a:gd name="T13" fmla="*/ 46 h 674"/>
                <a:gd name="T14" fmla="*/ 64 w 593"/>
                <a:gd name="T15" fmla="*/ 28 h 674"/>
                <a:gd name="T16" fmla="*/ 54 w 593"/>
                <a:gd name="T17" fmla="*/ 24 h 674"/>
                <a:gd name="T18" fmla="*/ 51 w 593"/>
                <a:gd name="T19" fmla="*/ 20 h 674"/>
                <a:gd name="T20" fmla="*/ 46 w 593"/>
                <a:gd name="T21" fmla="*/ 20 h 674"/>
                <a:gd name="T22" fmla="*/ 39 w 593"/>
                <a:gd name="T23" fmla="*/ 3 h 674"/>
                <a:gd name="T24" fmla="*/ 32 w 593"/>
                <a:gd name="T25" fmla="*/ 0 h 674"/>
                <a:gd name="T26" fmla="*/ 10 w 593"/>
                <a:gd name="T27" fmla="*/ 6 h 674"/>
                <a:gd name="T28" fmla="*/ 9 w 593"/>
                <a:gd name="T29" fmla="*/ 27 h 674"/>
                <a:gd name="T30" fmla="*/ 0 w 593"/>
                <a:gd name="T31" fmla="*/ 31 h 674"/>
                <a:gd name="T32" fmla="*/ 0 w 593"/>
                <a:gd name="T33" fmla="*/ 58 h 67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93"/>
                <a:gd name="T52" fmla="*/ 0 h 674"/>
                <a:gd name="T53" fmla="*/ 593 w 593"/>
                <a:gd name="T54" fmla="*/ 674 h 67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93" h="674">
                  <a:moveTo>
                    <a:pt x="0" y="622"/>
                  </a:moveTo>
                  <a:lnTo>
                    <a:pt x="53" y="674"/>
                  </a:lnTo>
                  <a:lnTo>
                    <a:pt x="135" y="640"/>
                  </a:lnTo>
                  <a:lnTo>
                    <a:pt x="216" y="552"/>
                  </a:lnTo>
                  <a:lnTo>
                    <a:pt x="338" y="581"/>
                  </a:lnTo>
                  <a:lnTo>
                    <a:pt x="379" y="552"/>
                  </a:lnTo>
                  <a:lnTo>
                    <a:pt x="361" y="488"/>
                  </a:lnTo>
                  <a:lnTo>
                    <a:pt x="593" y="296"/>
                  </a:lnTo>
                  <a:lnTo>
                    <a:pt x="501" y="262"/>
                  </a:lnTo>
                  <a:lnTo>
                    <a:pt x="477" y="209"/>
                  </a:lnTo>
                  <a:lnTo>
                    <a:pt x="424" y="209"/>
                  </a:lnTo>
                  <a:lnTo>
                    <a:pt x="361" y="35"/>
                  </a:lnTo>
                  <a:lnTo>
                    <a:pt x="297" y="0"/>
                  </a:lnTo>
                  <a:lnTo>
                    <a:pt x="94" y="64"/>
                  </a:lnTo>
                  <a:lnTo>
                    <a:pt x="82" y="291"/>
                  </a:lnTo>
                  <a:lnTo>
                    <a:pt x="0" y="337"/>
                  </a:lnTo>
                  <a:lnTo>
                    <a:pt x="0" y="62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4" name="Freeform 841"/>
            <p:cNvSpPr/>
            <p:nvPr/>
          </p:nvSpPr>
          <p:spPr bwMode="auto">
            <a:xfrm>
              <a:off x="1436688" y="4243388"/>
              <a:ext cx="447675" cy="381000"/>
            </a:xfrm>
            <a:custGeom>
              <a:avLst/>
              <a:gdLst>
                <a:gd name="T0" fmla="*/ 0 w 982"/>
                <a:gd name="T1" fmla="*/ 47 h 970"/>
                <a:gd name="T2" fmla="*/ 12 w 982"/>
                <a:gd name="T3" fmla="*/ 67 h 970"/>
                <a:gd name="T4" fmla="*/ 9 w 982"/>
                <a:gd name="T5" fmla="*/ 78 h 970"/>
                <a:gd name="T6" fmla="*/ 14 w 982"/>
                <a:gd name="T7" fmla="*/ 88 h 970"/>
                <a:gd name="T8" fmla="*/ 22 w 982"/>
                <a:gd name="T9" fmla="*/ 91 h 970"/>
                <a:gd name="T10" fmla="*/ 32 w 982"/>
                <a:gd name="T11" fmla="*/ 85 h 970"/>
                <a:gd name="T12" fmla="*/ 46 w 982"/>
                <a:gd name="T13" fmla="*/ 84 h 970"/>
                <a:gd name="T14" fmla="*/ 65 w 982"/>
                <a:gd name="T15" fmla="*/ 76 h 970"/>
                <a:gd name="T16" fmla="*/ 82 w 982"/>
                <a:gd name="T17" fmla="*/ 68 h 970"/>
                <a:gd name="T18" fmla="*/ 105 w 982"/>
                <a:gd name="T19" fmla="*/ 40 h 970"/>
                <a:gd name="T20" fmla="*/ 107 w 982"/>
                <a:gd name="T21" fmla="*/ 34 h 970"/>
                <a:gd name="T22" fmla="*/ 101 w 982"/>
                <a:gd name="T23" fmla="*/ 33 h 970"/>
                <a:gd name="T24" fmla="*/ 94 w 982"/>
                <a:gd name="T25" fmla="*/ 39 h 970"/>
                <a:gd name="T26" fmla="*/ 89 w 982"/>
                <a:gd name="T27" fmla="*/ 38 h 970"/>
                <a:gd name="T28" fmla="*/ 92 w 982"/>
                <a:gd name="T29" fmla="*/ 31 h 970"/>
                <a:gd name="T30" fmla="*/ 92 w 982"/>
                <a:gd name="T31" fmla="*/ 28 h 970"/>
                <a:gd name="T32" fmla="*/ 101 w 982"/>
                <a:gd name="T33" fmla="*/ 28 h 970"/>
                <a:gd name="T34" fmla="*/ 97 w 982"/>
                <a:gd name="T35" fmla="*/ 5 h 970"/>
                <a:gd name="T36" fmla="*/ 83 w 982"/>
                <a:gd name="T37" fmla="*/ 0 h 970"/>
                <a:gd name="T38" fmla="*/ 59 w 982"/>
                <a:gd name="T39" fmla="*/ 16 h 970"/>
                <a:gd name="T40" fmla="*/ 61 w 982"/>
                <a:gd name="T41" fmla="*/ 24 h 970"/>
                <a:gd name="T42" fmla="*/ 56 w 982"/>
                <a:gd name="T43" fmla="*/ 27 h 970"/>
                <a:gd name="T44" fmla="*/ 43 w 982"/>
                <a:gd name="T45" fmla="*/ 24 h 970"/>
                <a:gd name="T46" fmla="*/ 36 w 982"/>
                <a:gd name="T47" fmla="*/ 31 h 970"/>
                <a:gd name="T48" fmla="*/ 25 w 982"/>
                <a:gd name="T49" fmla="*/ 35 h 970"/>
                <a:gd name="T50" fmla="*/ 20 w 982"/>
                <a:gd name="T51" fmla="*/ 31 h 970"/>
                <a:gd name="T52" fmla="*/ 20 w 982"/>
                <a:gd name="T53" fmla="*/ 45 h 970"/>
                <a:gd name="T54" fmla="*/ 14 w 982"/>
                <a:gd name="T55" fmla="*/ 51 h 970"/>
                <a:gd name="T56" fmla="*/ 7 w 982"/>
                <a:gd name="T57" fmla="*/ 49 h 970"/>
                <a:gd name="T58" fmla="*/ 5 w 982"/>
                <a:gd name="T59" fmla="*/ 41 h 970"/>
                <a:gd name="T60" fmla="*/ 0 w 982"/>
                <a:gd name="T61" fmla="*/ 47 h 9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82"/>
                <a:gd name="T94" fmla="*/ 0 h 970"/>
                <a:gd name="T95" fmla="*/ 982 w 982"/>
                <a:gd name="T96" fmla="*/ 970 h 9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82" h="970">
                  <a:moveTo>
                    <a:pt x="0" y="500"/>
                  </a:moveTo>
                  <a:lnTo>
                    <a:pt x="110" y="710"/>
                  </a:lnTo>
                  <a:lnTo>
                    <a:pt x="87" y="831"/>
                  </a:lnTo>
                  <a:lnTo>
                    <a:pt x="127" y="942"/>
                  </a:lnTo>
                  <a:lnTo>
                    <a:pt x="203" y="970"/>
                  </a:lnTo>
                  <a:lnTo>
                    <a:pt x="296" y="907"/>
                  </a:lnTo>
                  <a:lnTo>
                    <a:pt x="418" y="895"/>
                  </a:lnTo>
                  <a:lnTo>
                    <a:pt x="593" y="814"/>
                  </a:lnTo>
                  <a:lnTo>
                    <a:pt x="755" y="721"/>
                  </a:lnTo>
                  <a:lnTo>
                    <a:pt x="964" y="431"/>
                  </a:lnTo>
                  <a:lnTo>
                    <a:pt x="982" y="366"/>
                  </a:lnTo>
                  <a:lnTo>
                    <a:pt x="924" y="354"/>
                  </a:lnTo>
                  <a:lnTo>
                    <a:pt x="860" y="413"/>
                  </a:lnTo>
                  <a:lnTo>
                    <a:pt x="819" y="407"/>
                  </a:lnTo>
                  <a:lnTo>
                    <a:pt x="842" y="332"/>
                  </a:lnTo>
                  <a:lnTo>
                    <a:pt x="848" y="302"/>
                  </a:lnTo>
                  <a:lnTo>
                    <a:pt x="924" y="302"/>
                  </a:lnTo>
                  <a:lnTo>
                    <a:pt x="889" y="53"/>
                  </a:lnTo>
                  <a:lnTo>
                    <a:pt x="760" y="0"/>
                  </a:lnTo>
                  <a:lnTo>
                    <a:pt x="540" y="175"/>
                  </a:lnTo>
                  <a:lnTo>
                    <a:pt x="558" y="256"/>
                  </a:lnTo>
                  <a:lnTo>
                    <a:pt x="517" y="285"/>
                  </a:lnTo>
                  <a:lnTo>
                    <a:pt x="395" y="256"/>
                  </a:lnTo>
                  <a:lnTo>
                    <a:pt x="326" y="332"/>
                  </a:lnTo>
                  <a:lnTo>
                    <a:pt x="232" y="378"/>
                  </a:lnTo>
                  <a:lnTo>
                    <a:pt x="179" y="326"/>
                  </a:lnTo>
                  <a:lnTo>
                    <a:pt x="179" y="477"/>
                  </a:lnTo>
                  <a:lnTo>
                    <a:pt x="127" y="541"/>
                  </a:lnTo>
                  <a:lnTo>
                    <a:pt x="64" y="518"/>
                  </a:lnTo>
                  <a:lnTo>
                    <a:pt x="46" y="436"/>
                  </a:lnTo>
                  <a:lnTo>
                    <a:pt x="0" y="50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5" name="Freeform 842"/>
            <p:cNvSpPr/>
            <p:nvPr/>
          </p:nvSpPr>
          <p:spPr bwMode="auto">
            <a:xfrm>
              <a:off x="1804988" y="4360863"/>
              <a:ext cx="55562" cy="46037"/>
            </a:xfrm>
            <a:custGeom>
              <a:avLst/>
              <a:gdLst>
                <a:gd name="T0" fmla="*/ 12 w 116"/>
                <a:gd name="T1" fmla="*/ 0 h 111"/>
                <a:gd name="T2" fmla="*/ 5 w 116"/>
                <a:gd name="T3" fmla="*/ 0 h 111"/>
                <a:gd name="T4" fmla="*/ 0 w 116"/>
                <a:gd name="T5" fmla="*/ 10 h 111"/>
                <a:gd name="T6" fmla="*/ 5 w 116"/>
                <a:gd name="T7" fmla="*/ 11 h 111"/>
                <a:gd name="T8" fmla="*/ 13 w 116"/>
                <a:gd name="T9" fmla="*/ 5 h 111"/>
                <a:gd name="T10" fmla="*/ 12 w 116"/>
                <a:gd name="T11" fmla="*/ 0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6"/>
                <a:gd name="T19" fmla="*/ 0 h 111"/>
                <a:gd name="T20" fmla="*/ 116 w 116"/>
                <a:gd name="T21" fmla="*/ 111 h 1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6" h="111">
                  <a:moveTo>
                    <a:pt x="104" y="0"/>
                  </a:moveTo>
                  <a:lnTo>
                    <a:pt x="41" y="0"/>
                  </a:lnTo>
                  <a:lnTo>
                    <a:pt x="0" y="99"/>
                  </a:lnTo>
                  <a:lnTo>
                    <a:pt x="47" y="111"/>
                  </a:lnTo>
                  <a:lnTo>
                    <a:pt x="116" y="52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6" name="Freeform 843"/>
            <p:cNvSpPr/>
            <p:nvPr/>
          </p:nvSpPr>
          <p:spPr bwMode="auto">
            <a:xfrm>
              <a:off x="1717675" y="4432300"/>
              <a:ext cx="58738" cy="58738"/>
            </a:xfrm>
            <a:custGeom>
              <a:avLst/>
              <a:gdLst>
                <a:gd name="T0" fmla="*/ 10 w 133"/>
                <a:gd name="T1" fmla="*/ 0 h 145"/>
                <a:gd name="T2" fmla="*/ 2 w 133"/>
                <a:gd name="T3" fmla="*/ 2 h 145"/>
                <a:gd name="T4" fmla="*/ 0 w 133"/>
                <a:gd name="T5" fmla="*/ 8 h 145"/>
                <a:gd name="T6" fmla="*/ 3 w 133"/>
                <a:gd name="T7" fmla="*/ 14 h 145"/>
                <a:gd name="T8" fmla="*/ 9 w 133"/>
                <a:gd name="T9" fmla="*/ 14 h 145"/>
                <a:gd name="T10" fmla="*/ 14 w 133"/>
                <a:gd name="T11" fmla="*/ 7 h 145"/>
                <a:gd name="T12" fmla="*/ 14 w 133"/>
                <a:gd name="T13" fmla="*/ 4 h 145"/>
                <a:gd name="T14" fmla="*/ 13 w 133"/>
                <a:gd name="T15" fmla="*/ 2 h 145"/>
                <a:gd name="T16" fmla="*/ 10 w 133"/>
                <a:gd name="T17" fmla="*/ 0 h 1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3"/>
                <a:gd name="T28" fmla="*/ 0 h 145"/>
                <a:gd name="T29" fmla="*/ 133 w 133"/>
                <a:gd name="T30" fmla="*/ 145 h 1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3" h="145">
                  <a:moveTo>
                    <a:pt x="98" y="0"/>
                  </a:moveTo>
                  <a:lnTo>
                    <a:pt x="17" y="23"/>
                  </a:lnTo>
                  <a:lnTo>
                    <a:pt x="0" y="81"/>
                  </a:lnTo>
                  <a:lnTo>
                    <a:pt x="28" y="145"/>
                  </a:lnTo>
                  <a:lnTo>
                    <a:pt x="81" y="145"/>
                  </a:lnTo>
                  <a:lnTo>
                    <a:pt x="133" y="70"/>
                  </a:lnTo>
                  <a:lnTo>
                    <a:pt x="133" y="40"/>
                  </a:lnTo>
                  <a:lnTo>
                    <a:pt x="128" y="17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7" name="Freeform 844"/>
            <p:cNvSpPr/>
            <p:nvPr/>
          </p:nvSpPr>
          <p:spPr bwMode="auto">
            <a:xfrm>
              <a:off x="969963" y="1941513"/>
              <a:ext cx="12700" cy="22225"/>
            </a:xfrm>
            <a:custGeom>
              <a:avLst/>
              <a:gdLst>
                <a:gd name="T0" fmla="*/ 2 w 24"/>
                <a:gd name="T1" fmla="*/ 0 h 58"/>
                <a:gd name="T2" fmla="*/ 3 w 24"/>
                <a:gd name="T3" fmla="*/ 3 h 58"/>
                <a:gd name="T4" fmla="*/ 1 w 24"/>
                <a:gd name="T5" fmla="*/ 5 h 58"/>
                <a:gd name="T6" fmla="*/ 1 w 24"/>
                <a:gd name="T7" fmla="*/ 4 h 58"/>
                <a:gd name="T8" fmla="*/ 1 w 24"/>
                <a:gd name="T9" fmla="*/ 3 h 58"/>
                <a:gd name="T10" fmla="*/ 0 w 24"/>
                <a:gd name="T11" fmla="*/ 1 h 58"/>
                <a:gd name="T12" fmla="*/ 2 w 24"/>
                <a:gd name="T13" fmla="*/ 0 h 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58"/>
                <a:gd name="T23" fmla="*/ 24 w 24"/>
                <a:gd name="T24" fmla="*/ 58 h 5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58">
                  <a:moveTo>
                    <a:pt x="12" y="0"/>
                  </a:moveTo>
                  <a:lnTo>
                    <a:pt x="24" y="35"/>
                  </a:lnTo>
                  <a:lnTo>
                    <a:pt x="6" y="58"/>
                  </a:lnTo>
                  <a:lnTo>
                    <a:pt x="6" y="52"/>
                  </a:lnTo>
                  <a:lnTo>
                    <a:pt x="6" y="40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8" name="Freeform 845"/>
            <p:cNvSpPr/>
            <p:nvPr/>
          </p:nvSpPr>
          <p:spPr bwMode="auto">
            <a:xfrm>
              <a:off x="952500" y="1946275"/>
              <a:ext cx="9525" cy="12700"/>
            </a:xfrm>
            <a:custGeom>
              <a:avLst/>
              <a:gdLst>
                <a:gd name="T0" fmla="*/ 1 w 18"/>
                <a:gd name="T1" fmla="*/ 0 h 35"/>
                <a:gd name="T2" fmla="*/ 0 w 18"/>
                <a:gd name="T3" fmla="*/ 2 h 35"/>
                <a:gd name="T4" fmla="*/ 1 w 18"/>
                <a:gd name="T5" fmla="*/ 3 h 35"/>
                <a:gd name="T6" fmla="*/ 2 w 18"/>
                <a:gd name="T7" fmla="*/ 2 h 35"/>
                <a:gd name="T8" fmla="*/ 2 w 18"/>
                <a:gd name="T9" fmla="*/ 1 h 35"/>
                <a:gd name="T10" fmla="*/ 1 w 18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35"/>
                <a:gd name="T20" fmla="*/ 18 w 18"/>
                <a:gd name="T21" fmla="*/ 35 h 3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35">
                  <a:moveTo>
                    <a:pt x="6" y="0"/>
                  </a:moveTo>
                  <a:lnTo>
                    <a:pt x="0" y="24"/>
                  </a:lnTo>
                  <a:lnTo>
                    <a:pt x="11" y="35"/>
                  </a:lnTo>
                  <a:lnTo>
                    <a:pt x="18" y="18"/>
                  </a:lnTo>
                  <a:lnTo>
                    <a:pt x="18" y="7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9" name="Freeform 846"/>
            <p:cNvSpPr/>
            <p:nvPr/>
          </p:nvSpPr>
          <p:spPr bwMode="auto">
            <a:xfrm>
              <a:off x="957263" y="1917700"/>
              <a:ext cx="25400" cy="15875"/>
            </a:xfrm>
            <a:custGeom>
              <a:avLst/>
              <a:gdLst>
                <a:gd name="T0" fmla="*/ 1 w 53"/>
                <a:gd name="T1" fmla="*/ 2 h 47"/>
                <a:gd name="T2" fmla="*/ 0 w 53"/>
                <a:gd name="T3" fmla="*/ 3 h 47"/>
                <a:gd name="T4" fmla="*/ 2 w 53"/>
                <a:gd name="T5" fmla="*/ 4 h 47"/>
                <a:gd name="T6" fmla="*/ 5 w 53"/>
                <a:gd name="T7" fmla="*/ 3 h 47"/>
                <a:gd name="T8" fmla="*/ 6 w 53"/>
                <a:gd name="T9" fmla="*/ 2 h 47"/>
                <a:gd name="T10" fmla="*/ 3 w 53"/>
                <a:gd name="T11" fmla="*/ 0 h 47"/>
                <a:gd name="T12" fmla="*/ 1 w 53"/>
                <a:gd name="T13" fmla="*/ 0 h 47"/>
                <a:gd name="T14" fmla="*/ 1 w 53"/>
                <a:gd name="T15" fmla="*/ 2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3"/>
                <a:gd name="T25" fmla="*/ 0 h 47"/>
                <a:gd name="T26" fmla="*/ 53 w 53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3" h="47">
                  <a:moveTo>
                    <a:pt x="7" y="18"/>
                  </a:moveTo>
                  <a:lnTo>
                    <a:pt x="0" y="30"/>
                  </a:lnTo>
                  <a:lnTo>
                    <a:pt x="18" y="47"/>
                  </a:lnTo>
                  <a:lnTo>
                    <a:pt x="42" y="41"/>
                  </a:lnTo>
                  <a:lnTo>
                    <a:pt x="53" y="18"/>
                  </a:lnTo>
                  <a:lnTo>
                    <a:pt x="30" y="0"/>
                  </a:lnTo>
                  <a:lnTo>
                    <a:pt x="7" y="0"/>
                  </a:lnTo>
                  <a:lnTo>
                    <a:pt x="7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0" name="Freeform 847"/>
            <p:cNvSpPr/>
            <p:nvPr/>
          </p:nvSpPr>
          <p:spPr bwMode="auto">
            <a:xfrm>
              <a:off x="1041400" y="1908175"/>
              <a:ext cx="15875" cy="9525"/>
            </a:xfrm>
            <a:custGeom>
              <a:avLst/>
              <a:gdLst>
                <a:gd name="T0" fmla="*/ 2 w 28"/>
                <a:gd name="T1" fmla="*/ 1 h 23"/>
                <a:gd name="T2" fmla="*/ 0 w 28"/>
                <a:gd name="T3" fmla="*/ 2 h 23"/>
                <a:gd name="T4" fmla="*/ 2 w 28"/>
                <a:gd name="T5" fmla="*/ 2 h 23"/>
                <a:gd name="T6" fmla="*/ 4 w 28"/>
                <a:gd name="T7" fmla="*/ 2 h 23"/>
                <a:gd name="T8" fmla="*/ 3 w 28"/>
                <a:gd name="T9" fmla="*/ 1 h 23"/>
                <a:gd name="T10" fmla="*/ 2 w 28"/>
                <a:gd name="T11" fmla="*/ 0 h 23"/>
                <a:gd name="T12" fmla="*/ 2 w 28"/>
                <a:gd name="T13" fmla="*/ 1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23"/>
                <a:gd name="T23" fmla="*/ 28 w 28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23">
                  <a:moveTo>
                    <a:pt x="11" y="6"/>
                  </a:moveTo>
                  <a:lnTo>
                    <a:pt x="0" y="18"/>
                  </a:lnTo>
                  <a:lnTo>
                    <a:pt x="11" y="23"/>
                  </a:lnTo>
                  <a:lnTo>
                    <a:pt x="28" y="23"/>
                  </a:lnTo>
                  <a:lnTo>
                    <a:pt x="23" y="6"/>
                  </a:lnTo>
                  <a:lnTo>
                    <a:pt x="17" y="0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1" name="Freeform 848"/>
            <p:cNvSpPr/>
            <p:nvPr/>
          </p:nvSpPr>
          <p:spPr bwMode="auto">
            <a:xfrm>
              <a:off x="931863" y="2022475"/>
              <a:ext cx="55562" cy="49213"/>
            </a:xfrm>
            <a:custGeom>
              <a:avLst/>
              <a:gdLst>
                <a:gd name="T0" fmla="*/ 6 w 123"/>
                <a:gd name="T1" fmla="*/ 0 h 127"/>
                <a:gd name="T2" fmla="*/ 1 w 123"/>
                <a:gd name="T3" fmla="*/ 3 h 127"/>
                <a:gd name="T4" fmla="*/ 0 w 123"/>
                <a:gd name="T5" fmla="*/ 8 h 127"/>
                <a:gd name="T6" fmla="*/ 1 w 123"/>
                <a:gd name="T7" fmla="*/ 10 h 127"/>
                <a:gd name="T8" fmla="*/ 3 w 123"/>
                <a:gd name="T9" fmla="*/ 9 h 127"/>
                <a:gd name="T10" fmla="*/ 9 w 123"/>
                <a:gd name="T11" fmla="*/ 12 h 127"/>
                <a:gd name="T12" fmla="*/ 9 w 123"/>
                <a:gd name="T13" fmla="*/ 12 h 127"/>
                <a:gd name="T14" fmla="*/ 13 w 123"/>
                <a:gd name="T15" fmla="*/ 8 h 127"/>
                <a:gd name="T16" fmla="*/ 12 w 123"/>
                <a:gd name="T17" fmla="*/ 2 h 127"/>
                <a:gd name="T18" fmla="*/ 7 w 123"/>
                <a:gd name="T19" fmla="*/ 1 h 127"/>
                <a:gd name="T20" fmla="*/ 6 w 123"/>
                <a:gd name="T21" fmla="*/ 0 h 1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3"/>
                <a:gd name="T34" fmla="*/ 0 h 127"/>
                <a:gd name="T35" fmla="*/ 123 w 123"/>
                <a:gd name="T36" fmla="*/ 127 h 1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3" h="127">
                  <a:moveTo>
                    <a:pt x="53" y="0"/>
                  </a:moveTo>
                  <a:lnTo>
                    <a:pt x="12" y="35"/>
                  </a:lnTo>
                  <a:lnTo>
                    <a:pt x="0" y="80"/>
                  </a:lnTo>
                  <a:lnTo>
                    <a:pt x="12" y="104"/>
                  </a:lnTo>
                  <a:lnTo>
                    <a:pt x="30" y="98"/>
                  </a:lnTo>
                  <a:lnTo>
                    <a:pt x="82" y="127"/>
                  </a:lnTo>
                  <a:lnTo>
                    <a:pt x="88" y="122"/>
                  </a:lnTo>
                  <a:lnTo>
                    <a:pt x="123" y="80"/>
                  </a:lnTo>
                  <a:lnTo>
                    <a:pt x="111" y="23"/>
                  </a:lnTo>
                  <a:lnTo>
                    <a:pt x="70" y="11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2" name="Freeform 849"/>
            <p:cNvSpPr/>
            <p:nvPr/>
          </p:nvSpPr>
          <p:spPr bwMode="auto">
            <a:xfrm>
              <a:off x="865188" y="2017713"/>
              <a:ext cx="109537" cy="117475"/>
            </a:xfrm>
            <a:custGeom>
              <a:avLst/>
              <a:gdLst>
                <a:gd name="T0" fmla="*/ 22 w 233"/>
                <a:gd name="T1" fmla="*/ 2 h 308"/>
                <a:gd name="T2" fmla="*/ 21 w 233"/>
                <a:gd name="T3" fmla="*/ 0 h 308"/>
                <a:gd name="T4" fmla="*/ 18 w 233"/>
                <a:gd name="T5" fmla="*/ 3 h 308"/>
                <a:gd name="T6" fmla="*/ 14 w 233"/>
                <a:gd name="T7" fmla="*/ 3 h 308"/>
                <a:gd name="T8" fmla="*/ 10 w 233"/>
                <a:gd name="T9" fmla="*/ 4 h 308"/>
                <a:gd name="T10" fmla="*/ 13 w 233"/>
                <a:gd name="T11" fmla="*/ 7 h 308"/>
                <a:gd name="T12" fmla="*/ 8 w 233"/>
                <a:gd name="T13" fmla="*/ 6 h 308"/>
                <a:gd name="T14" fmla="*/ 6 w 233"/>
                <a:gd name="T15" fmla="*/ 8 h 308"/>
                <a:gd name="T16" fmla="*/ 7 w 233"/>
                <a:gd name="T17" fmla="*/ 12 h 308"/>
                <a:gd name="T18" fmla="*/ 5 w 233"/>
                <a:gd name="T19" fmla="*/ 13 h 308"/>
                <a:gd name="T20" fmla="*/ 5 w 233"/>
                <a:gd name="T21" fmla="*/ 14 h 308"/>
                <a:gd name="T22" fmla="*/ 7 w 233"/>
                <a:gd name="T23" fmla="*/ 16 h 308"/>
                <a:gd name="T24" fmla="*/ 0 w 233"/>
                <a:gd name="T25" fmla="*/ 22 h 308"/>
                <a:gd name="T26" fmla="*/ 5 w 233"/>
                <a:gd name="T27" fmla="*/ 26 h 308"/>
                <a:gd name="T28" fmla="*/ 13 w 233"/>
                <a:gd name="T29" fmla="*/ 28 h 308"/>
                <a:gd name="T30" fmla="*/ 18 w 233"/>
                <a:gd name="T31" fmla="*/ 23 h 308"/>
                <a:gd name="T32" fmla="*/ 22 w 233"/>
                <a:gd name="T33" fmla="*/ 27 h 308"/>
                <a:gd name="T34" fmla="*/ 25 w 233"/>
                <a:gd name="T35" fmla="*/ 25 h 308"/>
                <a:gd name="T36" fmla="*/ 23 w 233"/>
                <a:gd name="T37" fmla="*/ 19 h 308"/>
                <a:gd name="T38" fmla="*/ 25 w 233"/>
                <a:gd name="T39" fmla="*/ 17 h 308"/>
                <a:gd name="T40" fmla="*/ 26 w 233"/>
                <a:gd name="T41" fmla="*/ 13 h 308"/>
                <a:gd name="T42" fmla="*/ 25 w 233"/>
                <a:gd name="T43" fmla="*/ 13 h 308"/>
                <a:gd name="T44" fmla="*/ 20 w 233"/>
                <a:gd name="T45" fmla="*/ 11 h 308"/>
                <a:gd name="T46" fmla="*/ 18 w 233"/>
                <a:gd name="T47" fmla="*/ 11 h 308"/>
                <a:gd name="T48" fmla="*/ 16 w 233"/>
                <a:gd name="T49" fmla="*/ 9 h 308"/>
                <a:gd name="T50" fmla="*/ 18 w 233"/>
                <a:gd name="T51" fmla="*/ 5 h 308"/>
                <a:gd name="T52" fmla="*/ 22 w 233"/>
                <a:gd name="T53" fmla="*/ 2 h 30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3"/>
                <a:gd name="T82" fmla="*/ 0 h 308"/>
                <a:gd name="T83" fmla="*/ 233 w 233"/>
                <a:gd name="T84" fmla="*/ 308 h 30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3" h="308">
                  <a:moveTo>
                    <a:pt x="198" y="18"/>
                  </a:moveTo>
                  <a:lnTo>
                    <a:pt x="192" y="0"/>
                  </a:lnTo>
                  <a:lnTo>
                    <a:pt x="157" y="29"/>
                  </a:lnTo>
                  <a:lnTo>
                    <a:pt x="123" y="35"/>
                  </a:lnTo>
                  <a:lnTo>
                    <a:pt x="88" y="46"/>
                  </a:lnTo>
                  <a:lnTo>
                    <a:pt x="116" y="81"/>
                  </a:lnTo>
                  <a:lnTo>
                    <a:pt x="70" y="70"/>
                  </a:lnTo>
                  <a:lnTo>
                    <a:pt x="53" y="87"/>
                  </a:lnTo>
                  <a:lnTo>
                    <a:pt x="64" y="133"/>
                  </a:lnTo>
                  <a:lnTo>
                    <a:pt x="41" y="140"/>
                  </a:lnTo>
                  <a:lnTo>
                    <a:pt x="41" y="151"/>
                  </a:lnTo>
                  <a:lnTo>
                    <a:pt x="64" y="180"/>
                  </a:lnTo>
                  <a:lnTo>
                    <a:pt x="0" y="244"/>
                  </a:lnTo>
                  <a:lnTo>
                    <a:pt x="46" y="290"/>
                  </a:lnTo>
                  <a:lnTo>
                    <a:pt x="116" y="308"/>
                  </a:lnTo>
                  <a:lnTo>
                    <a:pt x="163" y="255"/>
                  </a:lnTo>
                  <a:lnTo>
                    <a:pt x="198" y="297"/>
                  </a:lnTo>
                  <a:lnTo>
                    <a:pt x="221" y="273"/>
                  </a:lnTo>
                  <a:lnTo>
                    <a:pt x="210" y="209"/>
                  </a:lnTo>
                  <a:lnTo>
                    <a:pt x="227" y="186"/>
                  </a:lnTo>
                  <a:lnTo>
                    <a:pt x="233" y="140"/>
                  </a:lnTo>
                  <a:lnTo>
                    <a:pt x="227" y="145"/>
                  </a:lnTo>
                  <a:lnTo>
                    <a:pt x="175" y="116"/>
                  </a:lnTo>
                  <a:lnTo>
                    <a:pt x="157" y="122"/>
                  </a:lnTo>
                  <a:lnTo>
                    <a:pt x="145" y="98"/>
                  </a:lnTo>
                  <a:lnTo>
                    <a:pt x="157" y="53"/>
                  </a:lnTo>
                  <a:lnTo>
                    <a:pt x="198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3" name="Freeform 850"/>
            <p:cNvSpPr/>
            <p:nvPr/>
          </p:nvSpPr>
          <p:spPr bwMode="auto">
            <a:xfrm>
              <a:off x="987425" y="2089150"/>
              <a:ext cx="53975" cy="63500"/>
            </a:xfrm>
            <a:custGeom>
              <a:avLst/>
              <a:gdLst>
                <a:gd name="T0" fmla="*/ 10 w 122"/>
                <a:gd name="T1" fmla="*/ 1 h 163"/>
                <a:gd name="T2" fmla="*/ 13 w 122"/>
                <a:gd name="T3" fmla="*/ 4 h 163"/>
                <a:gd name="T4" fmla="*/ 10 w 122"/>
                <a:gd name="T5" fmla="*/ 5 h 163"/>
                <a:gd name="T6" fmla="*/ 12 w 122"/>
                <a:gd name="T7" fmla="*/ 7 h 163"/>
                <a:gd name="T8" fmla="*/ 10 w 122"/>
                <a:gd name="T9" fmla="*/ 10 h 163"/>
                <a:gd name="T10" fmla="*/ 10 w 122"/>
                <a:gd name="T11" fmla="*/ 11 h 163"/>
                <a:gd name="T12" fmla="*/ 7 w 122"/>
                <a:gd name="T13" fmla="*/ 15 h 163"/>
                <a:gd name="T14" fmla="*/ 0 w 122"/>
                <a:gd name="T15" fmla="*/ 13 h 163"/>
                <a:gd name="T16" fmla="*/ 1 w 122"/>
                <a:gd name="T17" fmla="*/ 10 h 163"/>
                <a:gd name="T18" fmla="*/ 4 w 122"/>
                <a:gd name="T19" fmla="*/ 9 h 163"/>
                <a:gd name="T20" fmla="*/ 4 w 122"/>
                <a:gd name="T21" fmla="*/ 3 h 163"/>
                <a:gd name="T22" fmla="*/ 4 w 122"/>
                <a:gd name="T23" fmla="*/ 1 h 163"/>
                <a:gd name="T24" fmla="*/ 5 w 122"/>
                <a:gd name="T25" fmla="*/ 0 h 163"/>
                <a:gd name="T26" fmla="*/ 7 w 122"/>
                <a:gd name="T27" fmla="*/ 1 h 163"/>
                <a:gd name="T28" fmla="*/ 10 w 122"/>
                <a:gd name="T29" fmla="*/ 1 h 1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2"/>
                <a:gd name="T46" fmla="*/ 0 h 163"/>
                <a:gd name="T47" fmla="*/ 122 w 122"/>
                <a:gd name="T48" fmla="*/ 163 h 1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2" h="163">
                  <a:moveTo>
                    <a:pt x="98" y="6"/>
                  </a:moveTo>
                  <a:lnTo>
                    <a:pt x="122" y="46"/>
                  </a:lnTo>
                  <a:lnTo>
                    <a:pt x="98" y="52"/>
                  </a:lnTo>
                  <a:lnTo>
                    <a:pt x="110" y="76"/>
                  </a:lnTo>
                  <a:lnTo>
                    <a:pt x="93" y="111"/>
                  </a:lnTo>
                  <a:lnTo>
                    <a:pt x="98" y="122"/>
                  </a:lnTo>
                  <a:lnTo>
                    <a:pt x="63" y="163"/>
                  </a:lnTo>
                  <a:lnTo>
                    <a:pt x="0" y="146"/>
                  </a:lnTo>
                  <a:lnTo>
                    <a:pt x="6" y="104"/>
                  </a:lnTo>
                  <a:lnTo>
                    <a:pt x="35" y="99"/>
                  </a:lnTo>
                  <a:lnTo>
                    <a:pt x="40" y="34"/>
                  </a:lnTo>
                  <a:lnTo>
                    <a:pt x="35" y="6"/>
                  </a:lnTo>
                  <a:lnTo>
                    <a:pt x="46" y="0"/>
                  </a:lnTo>
                  <a:lnTo>
                    <a:pt x="70" y="12"/>
                  </a:lnTo>
                  <a:lnTo>
                    <a:pt x="98" y="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4" name="Freeform 851"/>
            <p:cNvSpPr/>
            <p:nvPr/>
          </p:nvSpPr>
          <p:spPr bwMode="auto">
            <a:xfrm>
              <a:off x="969963" y="2025650"/>
              <a:ext cx="163512" cy="163513"/>
            </a:xfrm>
            <a:custGeom>
              <a:avLst/>
              <a:gdLst>
                <a:gd name="T0" fmla="*/ 14 w 360"/>
                <a:gd name="T1" fmla="*/ 11 h 413"/>
                <a:gd name="T2" fmla="*/ 17 w 360"/>
                <a:gd name="T3" fmla="*/ 10 h 413"/>
                <a:gd name="T4" fmla="*/ 18 w 360"/>
                <a:gd name="T5" fmla="*/ 7 h 413"/>
                <a:gd name="T6" fmla="*/ 22 w 360"/>
                <a:gd name="T7" fmla="*/ 3 h 413"/>
                <a:gd name="T8" fmla="*/ 23 w 360"/>
                <a:gd name="T9" fmla="*/ 1 h 413"/>
                <a:gd name="T10" fmla="*/ 23 w 360"/>
                <a:gd name="T11" fmla="*/ 0 h 413"/>
                <a:gd name="T12" fmla="*/ 24 w 360"/>
                <a:gd name="T13" fmla="*/ 2 h 413"/>
                <a:gd name="T14" fmla="*/ 23 w 360"/>
                <a:gd name="T15" fmla="*/ 7 h 413"/>
                <a:gd name="T16" fmla="*/ 26 w 360"/>
                <a:gd name="T17" fmla="*/ 7 h 413"/>
                <a:gd name="T18" fmla="*/ 29 w 360"/>
                <a:gd name="T19" fmla="*/ 9 h 413"/>
                <a:gd name="T20" fmla="*/ 28 w 360"/>
                <a:gd name="T21" fmla="*/ 13 h 413"/>
                <a:gd name="T22" fmla="*/ 30 w 360"/>
                <a:gd name="T23" fmla="*/ 18 h 413"/>
                <a:gd name="T24" fmla="*/ 34 w 360"/>
                <a:gd name="T25" fmla="*/ 19 h 413"/>
                <a:gd name="T26" fmla="*/ 39 w 360"/>
                <a:gd name="T27" fmla="*/ 24 h 413"/>
                <a:gd name="T28" fmla="*/ 38 w 360"/>
                <a:gd name="T29" fmla="*/ 28 h 413"/>
                <a:gd name="T30" fmla="*/ 32 w 360"/>
                <a:gd name="T31" fmla="*/ 31 h 413"/>
                <a:gd name="T32" fmla="*/ 37 w 360"/>
                <a:gd name="T33" fmla="*/ 35 h 413"/>
                <a:gd name="T34" fmla="*/ 34 w 360"/>
                <a:gd name="T35" fmla="*/ 36 h 413"/>
                <a:gd name="T36" fmla="*/ 29 w 360"/>
                <a:gd name="T37" fmla="*/ 37 h 413"/>
                <a:gd name="T38" fmla="*/ 27 w 360"/>
                <a:gd name="T39" fmla="*/ 36 h 413"/>
                <a:gd name="T40" fmla="*/ 25 w 360"/>
                <a:gd name="T41" fmla="*/ 37 h 413"/>
                <a:gd name="T42" fmla="*/ 18 w 360"/>
                <a:gd name="T43" fmla="*/ 38 h 413"/>
                <a:gd name="T44" fmla="*/ 14 w 360"/>
                <a:gd name="T45" fmla="*/ 36 h 413"/>
                <a:gd name="T46" fmla="*/ 6 w 360"/>
                <a:gd name="T47" fmla="*/ 39 h 413"/>
                <a:gd name="T48" fmla="*/ 1 w 360"/>
                <a:gd name="T49" fmla="*/ 37 h 413"/>
                <a:gd name="T50" fmla="*/ 0 w 360"/>
                <a:gd name="T51" fmla="*/ 36 h 413"/>
                <a:gd name="T52" fmla="*/ 3 w 360"/>
                <a:gd name="T53" fmla="*/ 36 h 413"/>
                <a:gd name="T54" fmla="*/ 6 w 360"/>
                <a:gd name="T55" fmla="*/ 32 h 413"/>
                <a:gd name="T56" fmla="*/ 11 w 360"/>
                <a:gd name="T57" fmla="*/ 30 h 413"/>
                <a:gd name="T58" fmla="*/ 14 w 360"/>
                <a:gd name="T59" fmla="*/ 26 h 413"/>
                <a:gd name="T60" fmla="*/ 14 w 360"/>
                <a:gd name="T61" fmla="*/ 25 h 413"/>
                <a:gd name="T62" fmla="*/ 16 w 360"/>
                <a:gd name="T63" fmla="*/ 22 h 413"/>
                <a:gd name="T64" fmla="*/ 15 w 360"/>
                <a:gd name="T65" fmla="*/ 19 h 413"/>
                <a:gd name="T66" fmla="*/ 17 w 360"/>
                <a:gd name="T67" fmla="*/ 19 h 413"/>
                <a:gd name="T68" fmla="*/ 14 w 360"/>
                <a:gd name="T69" fmla="*/ 15 h 413"/>
                <a:gd name="T70" fmla="*/ 14 w 360"/>
                <a:gd name="T71" fmla="*/ 11 h 4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60"/>
                <a:gd name="T109" fmla="*/ 0 h 413"/>
                <a:gd name="T110" fmla="*/ 360 w 360"/>
                <a:gd name="T111" fmla="*/ 413 h 4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60" h="413">
                  <a:moveTo>
                    <a:pt x="128" y="116"/>
                  </a:moveTo>
                  <a:lnTo>
                    <a:pt x="157" y="104"/>
                  </a:lnTo>
                  <a:lnTo>
                    <a:pt x="163" y="69"/>
                  </a:lnTo>
                  <a:lnTo>
                    <a:pt x="203" y="29"/>
                  </a:lnTo>
                  <a:lnTo>
                    <a:pt x="208" y="6"/>
                  </a:lnTo>
                  <a:lnTo>
                    <a:pt x="215" y="0"/>
                  </a:lnTo>
                  <a:lnTo>
                    <a:pt x="226" y="24"/>
                  </a:lnTo>
                  <a:lnTo>
                    <a:pt x="215" y="69"/>
                  </a:lnTo>
                  <a:lnTo>
                    <a:pt x="243" y="69"/>
                  </a:lnTo>
                  <a:lnTo>
                    <a:pt x="267" y="93"/>
                  </a:lnTo>
                  <a:lnTo>
                    <a:pt x="261" y="139"/>
                  </a:lnTo>
                  <a:lnTo>
                    <a:pt x="278" y="191"/>
                  </a:lnTo>
                  <a:lnTo>
                    <a:pt x="313" y="198"/>
                  </a:lnTo>
                  <a:lnTo>
                    <a:pt x="360" y="256"/>
                  </a:lnTo>
                  <a:lnTo>
                    <a:pt x="348" y="296"/>
                  </a:lnTo>
                  <a:lnTo>
                    <a:pt x="296" y="325"/>
                  </a:lnTo>
                  <a:lnTo>
                    <a:pt x="337" y="366"/>
                  </a:lnTo>
                  <a:lnTo>
                    <a:pt x="313" y="383"/>
                  </a:lnTo>
                  <a:lnTo>
                    <a:pt x="267" y="390"/>
                  </a:lnTo>
                  <a:lnTo>
                    <a:pt x="250" y="383"/>
                  </a:lnTo>
                  <a:lnTo>
                    <a:pt x="232" y="395"/>
                  </a:lnTo>
                  <a:lnTo>
                    <a:pt x="163" y="401"/>
                  </a:lnTo>
                  <a:lnTo>
                    <a:pt x="133" y="383"/>
                  </a:lnTo>
                  <a:lnTo>
                    <a:pt x="58" y="413"/>
                  </a:lnTo>
                  <a:lnTo>
                    <a:pt x="6" y="395"/>
                  </a:lnTo>
                  <a:lnTo>
                    <a:pt x="0" y="383"/>
                  </a:lnTo>
                  <a:lnTo>
                    <a:pt x="29" y="378"/>
                  </a:lnTo>
                  <a:lnTo>
                    <a:pt x="53" y="337"/>
                  </a:lnTo>
                  <a:lnTo>
                    <a:pt x="98" y="320"/>
                  </a:lnTo>
                  <a:lnTo>
                    <a:pt x="128" y="279"/>
                  </a:lnTo>
                  <a:lnTo>
                    <a:pt x="128" y="268"/>
                  </a:lnTo>
                  <a:lnTo>
                    <a:pt x="145" y="233"/>
                  </a:lnTo>
                  <a:lnTo>
                    <a:pt x="140" y="203"/>
                  </a:lnTo>
                  <a:lnTo>
                    <a:pt x="157" y="198"/>
                  </a:lnTo>
                  <a:lnTo>
                    <a:pt x="133" y="163"/>
                  </a:lnTo>
                  <a:lnTo>
                    <a:pt x="128" y="11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5" name="Freeform 852"/>
            <p:cNvSpPr/>
            <p:nvPr/>
          </p:nvSpPr>
          <p:spPr bwMode="auto">
            <a:xfrm>
              <a:off x="982663" y="1917700"/>
              <a:ext cx="84137" cy="153988"/>
            </a:xfrm>
            <a:custGeom>
              <a:avLst/>
              <a:gdLst>
                <a:gd name="T0" fmla="*/ 12 w 197"/>
                <a:gd name="T1" fmla="*/ 37 h 401"/>
                <a:gd name="T2" fmla="*/ 10 w 197"/>
                <a:gd name="T3" fmla="*/ 33 h 401"/>
                <a:gd name="T4" fmla="*/ 11 w 197"/>
                <a:gd name="T5" fmla="*/ 29 h 401"/>
                <a:gd name="T6" fmla="*/ 7 w 197"/>
                <a:gd name="T7" fmla="*/ 31 h 401"/>
                <a:gd name="T8" fmla="*/ 4 w 197"/>
                <a:gd name="T9" fmla="*/ 29 h 401"/>
                <a:gd name="T10" fmla="*/ 4 w 197"/>
                <a:gd name="T11" fmla="*/ 23 h 401"/>
                <a:gd name="T12" fmla="*/ 2 w 197"/>
                <a:gd name="T13" fmla="*/ 19 h 401"/>
                <a:gd name="T14" fmla="*/ 0 w 197"/>
                <a:gd name="T15" fmla="*/ 19 h 401"/>
                <a:gd name="T16" fmla="*/ 0 w 197"/>
                <a:gd name="T17" fmla="*/ 16 h 401"/>
                <a:gd name="T18" fmla="*/ 2 w 197"/>
                <a:gd name="T19" fmla="*/ 13 h 401"/>
                <a:gd name="T20" fmla="*/ 2 w 197"/>
                <a:gd name="T21" fmla="*/ 11 h 401"/>
                <a:gd name="T22" fmla="*/ 2 w 197"/>
                <a:gd name="T23" fmla="*/ 7 h 401"/>
                <a:gd name="T24" fmla="*/ 4 w 197"/>
                <a:gd name="T25" fmla="*/ 6 h 401"/>
                <a:gd name="T26" fmla="*/ 3 w 197"/>
                <a:gd name="T27" fmla="*/ 4 h 401"/>
                <a:gd name="T28" fmla="*/ 4 w 197"/>
                <a:gd name="T29" fmla="*/ 1 h 401"/>
                <a:gd name="T30" fmla="*/ 5 w 197"/>
                <a:gd name="T31" fmla="*/ 0 h 401"/>
                <a:gd name="T32" fmla="*/ 13 w 197"/>
                <a:gd name="T33" fmla="*/ 2 h 401"/>
                <a:gd name="T34" fmla="*/ 13 w 197"/>
                <a:gd name="T35" fmla="*/ 4 h 401"/>
                <a:gd name="T36" fmla="*/ 10 w 197"/>
                <a:gd name="T37" fmla="*/ 4 h 401"/>
                <a:gd name="T38" fmla="*/ 9 w 197"/>
                <a:gd name="T39" fmla="*/ 8 h 401"/>
                <a:gd name="T40" fmla="*/ 11 w 197"/>
                <a:gd name="T41" fmla="*/ 8 h 401"/>
                <a:gd name="T42" fmla="*/ 12 w 197"/>
                <a:gd name="T43" fmla="*/ 9 h 401"/>
                <a:gd name="T44" fmla="*/ 15 w 197"/>
                <a:gd name="T45" fmla="*/ 9 h 401"/>
                <a:gd name="T46" fmla="*/ 18 w 197"/>
                <a:gd name="T47" fmla="*/ 12 h 401"/>
                <a:gd name="T48" fmla="*/ 13 w 197"/>
                <a:gd name="T49" fmla="*/ 21 h 401"/>
                <a:gd name="T50" fmla="*/ 18 w 197"/>
                <a:gd name="T51" fmla="*/ 23 h 401"/>
                <a:gd name="T52" fmla="*/ 20 w 197"/>
                <a:gd name="T53" fmla="*/ 26 h 401"/>
                <a:gd name="T54" fmla="*/ 19 w 197"/>
                <a:gd name="T55" fmla="*/ 27 h 401"/>
                <a:gd name="T56" fmla="*/ 19 w 197"/>
                <a:gd name="T57" fmla="*/ 29 h 401"/>
                <a:gd name="T58" fmla="*/ 15 w 197"/>
                <a:gd name="T59" fmla="*/ 33 h 401"/>
                <a:gd name="T60" fmla="*/ 14 w 197"/>
                <a:gd name="T61" fmla="*/ 36 h 401"/>
                <a:gd name="T62" fmla="*/ 12 w 197"/>
                <a:gd name="T63" fmla="*/ 37 h 4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7"/>
                <a:gd name="T97" fmla="*/ 0 h 401"/>
                <a:gd name="T98" fmla="*/ 197 w 197"/>
                <a:gd name="T99" fmla="*/ 401 h 4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7" h="401">
                  <a:moveTo>
                    <a:pt x="115" y="401"/>
                  </a:moveTo>
                  <a:lnTo>
                    <a:pt x="98" y="354"/>
                  </a:lnTo>
                  <a:lnTo>
                    <a:pt x="104" y="314"/>
                  </a:lnTo>
                  <a:lnTo>
                    <a:pt x="69" y="337"/>
                  </a:lnTo>
                  <a:lnTo>
                    <a:pt x="40" y="309"/>
                  </a:lnTo>
                  <a:lnTo>
                    <a:pt x="35" y="250"/>
                  </a:lnTo>
                  <a:lnTo>
                    <a:pt x="17" y="204"/>
                  </a:lnTo>
                  <a:lnTo>
                    <a:pt x="0" y="209"/>
                  </a:lnTo>
                  <a:lnTo>
                    <a:pt x="0" y="175"/>
                  </a:lnTo>
                  <a:lnTo>
                    <a:pt x="23" y="140"/>
                  </a:lnTo>
                  <a:lnTo>
                    <a:pt x="17" y="122"/>
                  </a:lnTo>
                  <a:lnTo>
                    <a:pt x="23" y="75"/>
                  </a:lnTo>
                  <a:lnTo>
                    <a:pt x="40" y="65"/>
                  </a:lnTo>
                  <a:lnTo>
                    <a:pt x="28" y="47"/>
                  </a:lnTo>
                  <a:lnTo>
                    <a:pt x="40" y="6"/>
                  </a:lnTo>
                  <a:lnTo>
                    <a:pt x="45" y="0"/>
                  </a:lnTo>
                  <a:lnTo>
                    <a:pt x="127" y="18"/>
                  </a:lnTo>
                  <a:lnTo>
                    <a:pt x="127" y="41"/>
                  </a:lnTo>
                  <a:lnTo>
                    <a:pt x="98" y="47"/>
                  </a:lnTo>
                  <a:lnTo>
                    <a:pt x="87" y="87"/>
                  </a:lnTo>
                  <a:lnTo>
                    <a:pt x="110" y="82"/>
                  </a:lnTo>
                  <a:lnTo>
                    <a:pt x="115" y="99"/>
                  </a:lnTo>
                  <a:lnTo>
                    <a:pt x="145" y="99"/>
                  </a:lnTo>
                  <a:lnTo>
                    <a:pt x="173" y="128"/>
                  </a:lnTo>
                  <a:lnTo>
                    <a:pt x="127" y="232"/>
                  </a:lnTo>
                  <a:lnTo>
                    <a:pt x="179" y="244"/>
                  </a:lnTo>
                  <a:lnTo>
                    <a:pt x="197" y="285"/>
                  </a:lnTo>
                  <a:lnTo>
                    <a:pt x="190" y="291"/>
                  </a:lnTo>
                  <a:lnTo>
                    <a:pt x="185" y="314"/>
                  </a:lnTo>
                  <a:lnTo>
                    <a:pt x="145" y="354"/>
                  </a:lnTo>
                  <a:lnTo>
                    <a:pt x="139" y="389"/>
                  </a:lnTo>
                  <a:lnTo>
                    <a:pt x="115" y="40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6" name="Freeform 853"/>
            <p:cNvSpPr/>
            <p:nvPr/>
          </p:nvSpPr>
          <p:spPr bwMode="auto">
            <a:xfrm>
              <a:off x="2909888" y="2097088"/>
              <a:ext cx="1473200" cy="1028700"/>
            </a:xfrm>
            <a:custGeom>
              <a:avLst/>
              <a:gdLst>
                <a:gd name="T0" fmla="*/ 28 w 3231"/>
                <a:gd name="T1" fmla="*/ 148 h 2637"/>
                <a:gd name="T2" fmla="*/ 30 w 3231"/>
                <a:gd name="T3" fmla="*/ 164 h 2637"/>
                <a:gd name="T4" fmla="*/ 37 w 3231"/>
                <a:gd name="T5" fmla="*/ 181 h 2637"/>
                <a:gd name="T6" fmla="*/ 71 w 3231"/>
                <a:gd name="T7" fmla="*/ 195 h 2637"/>
                <a:gd name="T8" fmla="*/ 98 w 3231"/>
                <a:gd name="T9" fmla="*/ 200 h 2637"/>
                <a:gd name="T10" fmla="*/ 133 w 3231"/>
                <a:gd name="T11" fmla="*/ 191 h 2637"/>
                <a:gd name="T12" fmla="*/ 160 w 3231"/>
                <a:gd name="T13" fmla="*/ 200 h 2637"/>
                <a:gd name="T14" fmla="*/ 172 w 3231"/>
                <a:gd name="T15" fmla="*/ 223 h 2637"/>
                <a:gd name="T16" fmla="*/ 189 w 3231"/>
                <a:gd name="T17" fmla="*/ 236 h 2637"/>
                <a:gd name="T18" fmla="*/ 211 w 3231"/>
                <a:gd name="T19" fmla="*/ 235 h 2637"/>
                <a:gd name="T20" fmla="*/ 229 w 3231"/>
                <a:gd name="T21" fmla="*/ 245 h 2637"/>
                <a:gd name="T22" fmla="*/ 248 w 3231"/>
                <a:gd name="T23" fmla="*/ 237 h 2637"/>
                <a:gd name="T24" fmla="*/ 272 w 3231"/>
                <a:gd name="T25" fmla="*/ 226 h 2637"/>
                <a:gd name="T26" fmla="*/ 292 w 3231"/>
                <a:gd name="T27" fmla="*/ 206 h 2637"/>
                <a:gd name="T28" fmla="*/ 299 w 3231"/>
                <a:gd name="T29" fmla="*/ 185 h 2637"/>
                <a:gd name="T30" fmla="*/ 290 w 3231"/>
                <a:gd name="T31" fmla="*/ 176 h 2637"/>
                <a:gd name="T32" fmla="*/ 292 w 3231"/>
                <a:gd name="T33" fmla="*/ 164 h 2637"/>
                <a:gd name="T34" fmla="*/ 277 w 3231"/>
                <a:gd name="T35" fmla="*/ 145 h 2637"/>
                <a:gd name="T36" fmla="*/ 280 w 3231"/>
                <a:gd name="T37" fmla="*/ 128 h 2637"/>
                <a:gd name="T38" fmla="*/ 263 w 3231"/>
                <a:gd name="T39" fmla="*/ 126 h 2637"/>
                <a:gd name="T40" fmla="*/ 282 w 3231"/>
                <a:gd name="T41" fmla="*/ 105 h 2637"/>
                <a:gd name="T42" fmla="*/ 285 w 3231"/>
                <a:gd name="T43" fmla="*/ 118 h 2637"/>
                <a:gd name="T44" fmla="*/ 309 w 3231"/>
                <a:gd name="T45" fmla="*/ 103 h 2637"/>
                <a:gd name="T46" fmla="*/ 324 w 3231"/>
                <a:gd name="T47" fmla="*/ 89 h 2637"/>
                <a:gd name="T48" fmla="*/ 333 w 3231"/>
                <a:gd name="T49" fmla="*/ 74 h 2637"/>
                <a:gd name="T50" fmla="*/ 351 w 3231"/>
                <a:gd name="T51" fmla="*/ 51 h 2637"/>
                <a:gd name="T52" fmla="*/ 321 w 3231"/>
                <a:gd name="T53" fmla="*/ 42 h 2637"/>
                <a:gd name="T54" fmla="*/ 302 w 3231"/>
                <a:gd name="T55" fmla="*/ 33 h 2637"/>
                <a:gd name="T56" fmla="*/ 275 w 3231"/>
                <a:gd name="T57" fmla="*/ 0 h 2637"/>
                <a:gd name="T58" fmla="*/ 252 w 3231"/>
                <a:gd name="T59" fmla="*/ 15 h 2637"/>
                <a:gd name="T60" fmla="*/ 235 w 3231"/>
                <a:gd name="T61" fmla="*/ 41 h 2637"/>
                <a:gd name="T62" fmla="*/ 252 w 3231"/>
                <a:gd name="T63" fmla="*/ 49 h 2637"/>
                <a:gd name="T64" fmla="*/ 258 w 3231"/>
                <a:gd name="T65" fmla="*/ 63 h 2637"/>
                <a:gd name="T66" fmla="*/ 218 w 3231"/>
                <a:gd name="T67" fmla="*/ 80 h 2637"/>
                <a:gd name="T68" fmla="*/ 182 w 3231"/>
                <a:gd name="T69" fmla="*/ 103 h 2637"/>
                <a:gd name="T70" fmla="*/ 150 w 3231"/>
                <a:gd name="T71" fmla="*/ 97 h 2637"/>
                <a:gd name="T72" fmla="*/ 103 w 3231"/>
                <a:gd name="T73" fmla="*/ 84 h 2637"/>
                <a:gd name="T74" fmla="*/ 86 w 3231"/>
                <a:gd name="T75" fmla="*/ 61 h 2637"/>
                <a:gd name="T76" fmla="*/ 64 w 3231"/>
                <a:gd name="T77" fmla="*/ 63 h 2637"/>
                <a:gd name="T78" fmla="*/ 47 w 3231"/>
                <a:gd name="T79" fmla="*/ 82 h 2637"/>
                <a:gd name="T80" fmla="*/ 39 w 3231"/>
                <a:gd name="T81" fmla="*/ 99 h 2637"/>
                <a:gd name="T82" fmla="*/ 13 w 3231"/>
                <a:gd name="T83" fmla="*/ 114 h 263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31"/>
                <a:gd name="T127" fmla="*/ 0 h 2637"/>
                <a:gd name="T128" fmla="*/ 3231 w 3231"/>
                <a:gd name="T129" fmla="*/ 2637 h 263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31" h="2637">
                  <a:moveTo>
                    <a:pt x="81" y="1458"/>
                  </a:moveTo>
                  <a:lnTo>
                    <a:pt x="133" y="1580"/>
                  </a:lnTo>
                  <a:lnTo>
                    <a:pt x="256" y="1598"/>
                  </a:lnTo>
                  <a:lnTo>
                    <a:pt x="337" y="1545"/>
                  </a:lnTo>
                  <a:lnTo>
                    <a:pt x="337" y="1638"/>
                  </a:lnTo>
                  <a:lnTo>
                    <a:pt x="273" y="1767"/>
                  </a:lnTo>
                  <a:lnTo>
                    <a:pt x="261" y="1807"/>
                  </a:lnTo>
                  <a:lnTo>
                    <a:pt x="302" y="1911"/>
                  </a:lnTo>
                  <a:lnTo>
                    <a:pt x="343" y="1946"/>
                  </a:lnTo>
                  <a:lnTo>
                    <a:pt x="400" y="1958"/>
                  </a:lnTo>
                  <a:lnTo>
                    <a:pt x="540" y="2011"/>
                  </a:lnTo>
                  <a:lnTo>
                    <a:pt x="651" y="2103"/>
                  </a:lnTo>
                  <a:lnTo>
                    <a:pt x="767" y="2080"/>
                  </a:lnTo>
                  <a:lnTo>
                    <a:pt x="791" y="2150"/>
                  </a:lnTo>
                  <a:lnTo>
                    <a:pt x="901" y="2150"/>
                  </a:lnTo>
                  <a:lnTo>
                    <a:pt x="1017" y="2150"/>
                  </a:lnTo>
                  <a:lnTo>
                    <a:pt x="1133" y="2126"/>
                  </a:lnTo>
                  <a:lnTo>
                    <a:pt x="1220" y="2056"/>
                  </a:lnTo>
                  <a:lnTo>
                    <a:pt x="1307" y="2056"/>
                  </a:lnTo>
                  <a:lnTo>
                    <a:pt x="1307" y="2103"/>
                  </a:lnTo>
                  <a:lnTo>
                    <a:pt x="1471" y="2150"/>
                  </a:lnTo>
                  <a:lnTo>
                    <a:pt x="1517" y="2260"/>
                  </a:lnTo>
                  <a:lnTo>
                    <a:pt x="1517" y="2341"/>
                  </a:lnTo>
                  <a:lnTo>
                    <a:pt x="1581" y="2405"/>
                  </a:lnTo>
                  <a:lnTo>
                    <a:pt x="1668" y="2422"/>
                  </a:lnTo>
                  <a:lnTo>
                    <a:pt x="1691" y="2527"/>
                  </a:lnTo>
                  <a:lnTo>
                    <a:pt x="1743" y="2544"/>
                  </a:lnTo>
                  <a:lnTo>
                    <a:pt x="1865" y="2475"/>
                  </a:lnTo>
                  <a:lnTo>
                    <a:pt x="1935" y="2480"/>
                  </a:lnTo>
                  <a:lnTo>
                    <a:pt x="1941" y="2527"/>
                  </a:lnTo>
                  <a:lnTo>
                    <a:pt x="1988" y="2567"/>
                  </a:lnTo>
                  <a:lnTo>
                    <a:pt x="2075" y="2550"/>
                  </a:lnTo>
                  <a:lnTo>
                    <a:pt x="2104" y="2637"/>
                  </a:lnTo>
                  <a:lnTo>
                    <a:pt x="2167" y="2637"/>
                  </a:lnTo>
                  <a:lnTo>
                    <a:pt x="2167" y="2567"/>
                  </a:lnTo>
                  <a:lnTo>
                    <a:pt x="2279" y="2550"/>
                  </a:lnTo>
                  <a:lnTo>
                    <a:pt x="2324" y="2480"/>
                  </a:lnTo>
                  <a:lnTo>
                    <a:pt x="2394" y="2504"/>
                  </a:lnTo>
                  <a:lnTo>
                    <a:pt x="2505" y="2434"/>
                  </a:lnTo>
                  <a:lnTo>
                    <a:pt x="2638" y="2283"/>
                  </a:lnTo>
                  <a:lnTo>
                    <a:pt x="2638" y="2236"/>
                  </a:lnTo>
                  <a:lnTo>
                    <a:pt x="2685" y="2213"/>
                  </a:lnTo>
                  <a:lnTo>
                    <a:pt x="2715" y="2126"/>
                  </a:lnTo>
                  <a:lnTo>
                    <a:pt x="2755" y="2011"/>
                  </a:lnTo>
                  <a:lnTo>
                    <a:pt x="2755" y="1987"/>
                  </a:lnTo>
                  <a:lnTo>
                    <a:pt x="2685" y="2011"/>
                  </a:lnTo>
                  <a:lnTo>
                    <a:pt x="2638" y="1946"/>
                  </a:lnTo>
                  <a:lnTo>
                    <a:pt x="2668" y="1899"/>
                  </a:lnTo>
                  <a:lnTo>
                    <a:pt x="2621" y="1830"/>
                  </a:lnTo>
                  <a:lnTo>
                    <a:pt x="2715" y="1830"/>
                  </a:lnTo>
                  <a:lnTo>
                    <a:pt x="2685" y="1767"/>
                  </a:lnTo>
                  <a:lnTo>
                    <a:pt x="2621" y="1650"/>
                  </a:lnTo>
                  <a:lnTo>
                    <a:pt x="2551" y="1603"/>
                  </a:lnTo>
                  <a:lnTo>
                    <a:pt x="2551" y="1563"/>
                  </a:lnTo>
                  <a:lnTo>
                    <a:pt x="2668" y="1446"/>
                  </a:lnTo>
                  <a:lnTo>
                    <a:pt x="2598" y="1401"/>
                  </a:lnTo>
                  <a:lnTo>
                    <a:pt x="2575" y="1383"/>
                  </a:lnTo>
                  <a:lnTo>
                    <a:pt x="2528" y="1446"/>
                  </a:lnTo>
                  <a:lnTo>
                    <a:pt x="2464" y="1401"/>
                  </a:lnTo>
                  <a:lnTo>
                    <a:pt x="2418" y="1359"/>
                  </a:lnTo>
                  <a:lnTo>
                    <a:pt x="2418" y="1289"/>
                  </a:lnTo>
                  <a:lnTo>
                    <a:pt x="2528" y="1226"/>
                  </a:lnTo>
                  <a:lnTo>
                    <a:pt x="2598" y="1132"/>
                  </a:lnTo>
                  <a:lnTo>
                    <a:pt x="2621" y="1156"/>
                  </a:lnTo>
                  <a:lnTo>
                    <a:pt x="2621" y="1226"/>
                  </a:lnTo>
                  <a:lnTo>
                    <a:pt x="2621" y="1266"/>
                  </a:lnTo>
                  <a:lnTo>
                    <a:pt x="2715" y="1226"/>
                  </a:lnTo>
                  <a:lnTo>
                    <a:pt x="2778" y="1202"/>
                  </a:lnTo>
                  <a:lnTo>
                    <a:pt x="2848" y="1110"/>
                  </a:lnTo>
                  <a:lnTo>
                    <a:pt x="2889" y="1063"/>
                  </a:lnTo>
                  <a:lnTo>
                    <a:pt x="2959" y="1017"/>
                  </a:lnTo>
                  <a:lnTo>
                    <a:pt x="2982" y="953"/>
                  </a:lnTo>
                  <a:lnTo>
                    <a:pt x="3045" y="883"/>
                  </a:lnTo>
                  <a:lnTo>
                    <a:pt x="3045" y="836"/>
                  </a:lnTo>
                  <a:lnTo>
                    <a:pt x="3069" y="796"/>
                  </a:lnTo>
                  <a:lnTo>
                    <a:pt x="3092" y="703"/>
                  </a:lnTo>
                  <a:lnTo>
                    <a:pt x="3161" y="726"/>
                  </a:lnTo>
                  <a:lnTo>
                    <a:pt x="3231" y="546"/>
                  </a:lnTo>
                  <a:lnTo>
                    <a:pt x="3184" y="436"/>
                  </a:lnTo>
                  <a:lnTo>
                    <a:pt x="3080" y="494"/>
                  </a:lnTo>
                  <a:lnTo>
                    <a:pt x="2959" y="454"/>
                  </a:lnTo>
                  <a:lnTo>
                    <a:pt x="2959" y="407"/>
                  </a:lnTo>
                  <a:lnTo>
                    <a:pt x="2889" y="360"/>
                  </a:lnTo>
                  <a:lnTo>
                    <a:pt x="2778" y="360"/>
                  </a:lnTo>
                  <a:lnTo>
                    <a:pt x="2638" y="203"/>
                  </a:lnTo>
                  <a:lnTo>
                    <a:pt x="2621" y="70"/>
                  </a:lnTo>
                  <a:lnTo>
                    <a:pt x="2528" y="0"/>
                  </a:lnTo>
                  <a:lnTo>
                    <a:pt x="2279" y="93"/>
                  </a:lnTo>
                  <a:lnTo>
                    <a:pt x="2348" y="116"/>
                  </a:lnTo>
                  <a:lnTo>
                    <a:pt x="2324" y="163"/>
                  </a:lnTo>
                  <a:lnTo>
                    <a:pt x="2324" y="320"/>
                  </a:lnTo>
                  <a:lnTo>
                    <a:pt x="2214" y="389"/>
                  </a:lnTo>
                  <a:lnTo>
                    <a:pt x="2167" y="436"/>
                  </a:lnTo>
                  <a:lnTo>
                    <a:pt x="2167" y="546"/>
                  </a:lnTo>
                  <a:lnTo>
                    <a:pt x="2279" y="546"/>
                  </a:lnTo>
                  <a:lnTo>
                    <a:pt x="2324" y="523"/>
                  </a:lnTo>
                  <a:lnTo>
                    <a:pt x="2371" y="593"/>
                  </a:lnTo>
                  <a:lnTo>
                    <a:pt x="2371" y="639"/>
                  </a:lnTo>
                  <a:lnTo>
                    <a:pt x="2371" y="680"/>
                  </a:lnTo>
                  <a:lnTo>
                    <a:pt x="2301" y="680"/>
                  </a:lnTo>
                  <a:lnTo>
                    <a:pt x="2167" y="813"/>
                  </a:lnTo>
                  <a:lnTo>
                    <a:pt x="2010" y="860"/>
                  </a:lnTo>
                  <a:lnTo>
                    <a:pt x="2010" y="953"/>
                  </a:lnTo>
                  <a:lnTo>
                    <a:pt x="1900" y="1045"/>
                  </a:lnTo>
                  <a:lnTo>
                    <a:pt x="1674" y="1110"/>
                  </a:lnTo>
                  <a:lnTo>
                    <a:pt x="1627" y="1132"/>
                  </a:lnTo>
                  <a:lnTo>
                    <a:pt x="1424" y="1063"/>
                  </a:lnTo>
                  <a:lnTo>
                    <a:pt x="1377" y="1045"/>
                  </a:lnTo>
                  <a:lnTo>
                    <a:pt x="1220" y="1045"/>
                  </a:lnTo>
                  <a:lnTo>
                    <a:pt x="1063" y="906"/>
                  </a:lnTo>
                  <a:lnTo>
                    <a:pt x="948" y="906"/>
                  </a:lnTo>
                  <a:lnTo>
                    <a:pt x="836" y="860"/>
                  </a:lnTo>
                  <a:lnTo>
                    <a:pt x="836" y="726"/>
                  </a:lnTo>
                  <a:lnTo>
                    <a:pt x="791" y="656"/>
                  </a:lnTo>
                  <a:lnTo>
                    <a:pt x="680" y="639"/>
                  </a:lnTo>
                  <a:lnTo>
                    <a:pt x="634" y="593"/>
                  </a:lnTo>
                  <a:lnTo>
                    <a:pt x="587" y="680"/>
                  </a:lnTo>
                  <a:lnTo>
                    <a:pt x="447" y="726"/>
                  </a:lnTo>
                  <a:lnTo>
                    <a:pt x="383" y="813"/>
                  </a:lnTo>
                  <a:lnTo>
                    <a:pt x="430" y="883"/>
                  </a:lnTo>
                  <a:lnTo>
                    <a:pt x="290" y="906"/>
                  </a:lnTo>
                  <a:lnTo>
                    <a:pt x="360" y="1000"/>
                  </a:lnTo>
                  <a:lnTo>
                    <a:pt x="360" y="1063"/>
                  </a:lnTo>
                  <a:lnTo>
                    <a:pt x="273" y="1156"/>
                  </a:lnTo>
                  <a:lnTo>
                    <a:pt x="203" y="1226"/>
                  </a:lnTo>
                  <a:lnTo>
                    <a:pt x="116" y="1226"/>
                  </a:lnTo>
                  <a:lnTo>
                    <a:pt x="0" y="1313"/>
                  </a:lnTo>
                  <a:lnTo>
                    <a:pt x="81" y="145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7" name="Freeform 854"/>
            <p:cNvSpPr/>
            <p:nvPr/>
          </p:nvSpPr>
          <p:spPr bwMode="auto">
            <a:xfrm>
              <a:off x="3195638" y="2214563"/>
              <a:ext cx="796925" cy="323850"/>
            </a:xfrm>
            <a:custGeom>
              <a:avLst/>
              <a:gdLst>
                <a:gd name="T0" fmla="*/ 0 w 1744"/>
                <a:gd name="T1" fmla="*/ 25 h 835"/>
                <a:gd name="T2" fmla="*/ 11 w 1744"/>
                <a:gd name="T3" fmla="*/ 19 h 835"/>
                <a:gd name="T4" fmla="*/ 29 w 1744"/>
                <a:gd name="T5" fmla="*/ 9 h 835"/>
                <a:gd name="T6" fmla="*/ 36 w 1744"/>
                <a:gd name="T7" fmla="*/ 8 h 835"/>
                <a:gd name="T8" fmla="*/ 49 w 1744"/>
                <a:gd name="T9" fmla="*/ 16 h 835"/>
                <a:gd name="T10" fmla="*/ 58 w 1744"/>
                <a:gd name="T11" fmla="*/ 14 h 835"/>
                <a:gd name="T12" fmla="*/ 67 w 1744"/>
                <a:gd name="T13" fmla="*/ 0 h 835"/>
                <a:gd name="T14" fmla="*/ 77 w 1744"/>
                <a:gd name="T15" fmla="*/ 0 h 835"/>
                <a:gd name="T16" fmla="*/ 87 w 1744"/>
                <a:gd name="T17" fmla="*/ 13 h 835"/>
                <a:gd name="T18" fmla="*/ 94 w 1744"/>
                <a:gd name="T19" fmla="*/ 13 h 835"/>
                <a:gd name="T20" fmla="*/ 108 w 1744"/>
                <a:gd name="T21" fmla="*/ 7 h 835"/>
                <a:gd name="T22" fmla="*/ 121 w 1744"/>
                <a:gd name="T23" fmla="*/ 14 h 835"/>
                <a:gd name="T24" fmla="*/ 146 w 1744"/>
                <a:gd name="T25" fmla="*/ 13 h 835"/>
                <a:gd name="T26" fmla="*/ 153 w 1744"/>
                <a:gd name="T27" fmla="*/ 4 h 835"/>
                <a:gd name="T28" fmla="*/ 162 w 1744"/>
                <a:gd name="T29" fmla="*/ 8 h 835"/>
                <a:gd name="T30" fmla="*/ 172 w 1744"/>
                <a:gd name="T31" fmla="*/ 8 h 835"/>
                <a:gd name="T32" fmla="*/ 168 w 1744"/>
                <a:gd name="T33" fmla="*/ 12 h 835"/>
                <a:gd name="T34" fmla="*/ 168 w 1744"/>
                <a:gd name="T35" fmla="*/ 23 h 835"/>
                <a:gd name="T36" fmla="*/ 180 w 1744"/>
                <a:gd name="T37" fmla="*/ 23 h 835"/>
                <a:gd name="T38" fmla="*/ 186 w 1744"/>
                <a:gd name="T39" fmla="*/ 21 h 835"/>
                <a:gd name="T40" fmla="*/ 190 w 1744"/>
                <a:gd name="T41" fmla="*/ 28 h 835"/>
                <a:gd name="T42" fmla="*/ 190 w 1744"/>
                <a:gd name="T43" fmla="*/ 35 h 835"/>
                <a:gd name="T44" fmla="*/ 182 w 1744"/>
                <a:gd name="T45" fmla="*/ 35 h 835"/>
                <a:gd name="T46" fmla="*/ 167 w 1744"/>
                <a:gd name="T47" fmla="*/ 49 h 835"/>
                <a:gd name="T48" fmla="*/ 151 w 1744"/>
                <a:gd name="T49" fmla="*/ 51 h 835"/>
                <a:gd name="T50" fmla="*/ 151 w 1744"/>
                <a:gd name="T51" fmla="*/ 60 h 835"/>
                <a:gd name="T52" fmla="*/ 138 w 1744"/>
                <a:gd name="T53" fmla="*/ 69 h 835"/>
                <a:gd name="T54" fmla="*/ 109 w 1744"/>
                <a:gd name="T55" fmla="*/ 77 h 835"/>
                <a:gd name="T56" fmla="*/ 86 w 1744"/>
                <a:gd name="T57" fmla="*/ 71 h 835"/>
                <a:gd name="T58" fmla="*/ 82 w 1744"/>
                <a:gd name="T59" fmla="*/ 69 h 835"/>
                <a:gd name="T60" fmla="*/ 65 w 1744"/>
                <a:gd name="T61" fmla="*/ 69 h 835"/>
                <a:gd name="T62" fmla="*/ 48 w 1744"/>
                <a:gd name="T63" fmla="*/ 56 h 835"/>
                <a:gd name="T64" fmla="*/ 33 w 1744"/>
                <a:gd name="T65" fmla="*/ 56 h 835"/>
                <a:gd name="T66" fmla="*/ 23 w 1744"/>
                <a:gd name="T67" fmla="*/ 52 h 835"/>
                <a:gd name="T68" fmla="*/ 23 w 1744"/>
                <a:gd name="T69" fmla="*/ 40 h 835"/>
                <a:gd name="T70" fmla="*/ 15 w 1744"/>
                <a:gd name="T71" fmla="*/ 33 h 835"/>
                <a:gd name="T72" fmla="*/ 6 w 1744"/>
                <a:gd name="T73" fmla="*/ 32 h 835"/>
                <a:gd name="T74" fmla="*/ 0 w 1744"/>
                <a:gd name="T75" fmla="*/ 28 h 835"/>
                <a:gd name="T76" fmla="*/ 0 w 1744"/>
                <a:gd name="T77" fmla="*/ 25 h 8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44"/>
                <a:gd name="T118" fmla="*/ 0 h 835"/>
                <a:gd name="T119" fmla="*/ 1744 w 1744"/>
                <a:gd name="T120" fmla="*/ 835 h 8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44" h="835">
                  <a:moveTo>
                    <a:pt x="0" y="267"/>
                  </a:moveTo>
                  <a:lnTo>
                    <a:pt x="99" y="202"/>
                  </a:lnTo>
                  <a:lnTo>
                    <a:pt x="268" y="98"/>
                  </a:lnTo>
                  <a:lnTo>
                    <a:pt x="326" y="92"/>
                  </a:lnTo>
                  <a:lnTo>
                    <a:pt x="454" y="174"/>
                  </a:lnTo>
                  <a:lnTo>
                    <a:pt x="530" y="157"/>
                  </a:lnTo>
                  <a:lnTo>
                    <a:pt x="617" y="0"/>
                  </a:lnTo>
                  <a:lnTo>
                    <a:pt x="710" y="0"/>
                  </a:lnTo>
                  <a:lnTo>
                    <a:pt x="797" y="139"/>
                  </a:lnTo>
                  <a:lnTo>
                    <a:pt x="867" y="139"/>
                  </a:lnTo>
                  <a:lnTo>
                    <a:pt x="994" y="75"/>
                  </a:lnTo>
                  <a:lnTo>
                    <a:pt x="1111" y="157"/>
                  </a:lnTo>
                  <a:lnTo>
                    <a:pt x="1338" y="139"/>
                  </a:lnTo>
                  <a:lnTo>
                    <a:pt x="1407" y="46"/>
                  </a:lnTo>
                  <a:lnTo>
                    <a:pt x="1488" y="87"/>
                  </a:lnTo>
                  <a:lnTo>
                    <a:pt x="1582" y="92"/>
                  </a:lnTo>
                  <a:lnTo>
                    <a:pt x="1540" y="127"/>
                  </a:lnTo>
                  <a:lnTo>
                    <a:pt x="1540" y="249"/>
                  </a:lnTo>
                  <a:lnTo>
                    <a:pt x="1652" y="244"/>
                  </a:lnTo>
                  <a:lnTo>
                    <a:pt x="1704" y="232"/>
                  </a:lnTo>
                  <a:lnTo>
                    <a:pt x="1744" y="302"/>
                  </a:lnTo>
                  <a:lnTo>
                    <a:pt x="1744" y="383"/>
                  </a:lnTo>
                  <a:lnTo>
                    <a:pt x="1674" y="383"/>
                  </a:lnTo>
                  <a:lnTo>
                    <a:pt x="1535" y="528"/>
                  </a:lnTo>
                  <a:lnTo>
                    <a:pt x="1383" y="557"/>
                  </a:lnTo>
                  <a:lnTo>
                    <a:pt x="1383" y="650"/>
                  </a:lnTo>
                  <a:lnTo>
                    <a:pt x="1268" y="743"/>
                  </a:lnTo>
                  <a:lnTo>
                    <a:pt x="1000" y="835"/>
                  </a:lnTo>
                  <a:lnTo>
                    <a:pt x="785" y="766"/>
                  </a:lnTo>
                  <a:lnTo>
                    <a:pt x="750" y="748"/>
                  </a:lnTo>
                  <a:lnTo>
                    <a:pt x="593" y="748"/>
                  </a:lnTo>
                  <a:lnTo>
                    <a:pt x="436" y="609"/>
                  </a:lnTo>
                  <a:lnTo>
                    <a:pt x="303" y="609"/>
                  </a:lnTo>
                  <a:lnTo>
                    <a:pt x="209" y="563"/>
                  </a:lnTo>
                  <a:lnTo>
                    <a:pt x="209" y="429"/>
                  </a:lnTo>
                  <a:lnTo>
                    <a:pt x="140" y="359"/>
                  </a:lnTo>
                  <a:lnTo>
                    <a:pt x="59" y="342"/>
                  </a:lnTo>
                  <a:lnTo>
                    <a:pt x="0" y="307"/>
                  </a:lnTo>
                  <a:lnTo>
                    <a:pt x="0" y="26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8" name="Freeform 855"/>
            <p:cNvSpPr/>
            <p:nvPr/>
          </p:nvSpPr>
          <p:spPr bwMode="auto">
            <a:xfrm>
              <a:off x="4186238" y="2408238"/>
              <a:ext cx="150812" cy="222250"/>
            </a:xfrm>
            <a:custGeom>
              <a:avLst/>
              <a:gdLst>
                <a:gd name="T0" fmla="*/ 29 w 337"/>
                <a:gd name="T1" fmla="*/ 0 h 563"/>
                <a:gd name="T2" fmla="*/ 36 w 337"/>
                <a:gd name="T3" fmla="*/ 6 h 563"/>
                <a:gd name="T4" fmla="*/ 31 w 337"/>
                <a:gd name="T5" fmla="*/ 13 h 563"/>
                <a:gd name="T6" fmla="*/ 29 w 337"/>
                <a:gd name="T7" fmla="*/ 21 h 563"/>
                <a:gd name="T8" fmla="*/ 29 w 337"/>
                <a:gd name="T9" fmla="*/ 27 h 563"/>
                <a:gd name="T10" fmla="*/ 19 w 337"/>
                <a:gd name="T11" fmla="*/ 36 h 563"/>
                <a:gd name="T12" fmla="*/ 17 w 337"/>
                <a:gd name="T13" fmla="*/ 42 h 563"/>
                <a:gd name="T14" fmla="*/ 24 w 337"/>
                <a:gd name="T15" fmla="*/ 49 h 563"/>
                <a:gd name="T16" fmla="*/ 22 w 337"/>
                <a:gd name="T17" fmla="*/ 51 h 563"/>
                <a:gd name="T18" fmla="*/ 14 w 337"/>
                <a:gd name="T19" fmla="*/ 53 h 563"/>
                <a:gd name="T20" fmla="*/ 7 w 337"/>
                <a:gd name="T21" fmla="*/ 53 h 563"/>
                <a:gd name="T22" fmla="*/ 7 w 337"/>
                <a:gd name="T23" fmla="*/ 44 h 563"/>
                <a:gd name="T24" fmla="*/ 5 w 337"/>
                <a:gd name="T25" fmla="*/ 40 h 563"/>
                <a:gd name="T26" fmla="*/ 0 w 337"/>
                <a:gd name="T27" fmla="*/ 36 h 563"/>
                <a:gd name="T28" fmla="*/ 9 w 337"/>
                <a:gd name="T29" fmla="*/ 26 h 563"/>
                <a:gd name="T30" fmla="*/ 14 w 337"/>
                <a:gd name="T31" fmla="*/ 23 h 563"/>
                <a:gd name="T32" fmla="*/ 19 w 337"/>
                <a:gd name="T33" fmla="*/ 15 h 563"/>
                <a:gd name="T34" fmla="*/ 26 w 337"/>
                <a:gd name="T35" fmla="*/ 8 h 563"/>
                <a:gd name="T36" fmla="*/ 26 w 337"/>
                <a:gd name="T37" fmla="*/ 2 h 563"/>
                <a:gd name="T38" fmla="*/ 29 w 337"/>
                <a:gd name="T39" fmla="*/ 0 h 5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37"/>
                <a:gd name="T61" fmla="*/ 0 h 563"/>
                <a:gd name="T62" fmla="*/ 337 w 337"/>
                <a:gd name="T63" fmla="*/ 563 h 5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37" h="563">
                  <a:moveTo>
                    <a:pt x="267" y="0"/>
                  </a:moveTo>
                  <a:lnTo>
                    <a:pt x="337" y="64"/>
                  </a:lnTo>
                  <a:lnTo>
                    <a:pt x="290" y="134"/>
                  </a:lnTo>
                  <a:lnTo>
                    <a:pt x="267" y="221"/>
                  </a:lnTo>
                  <a:lnTo>
                    <a:pt x="267" y="291"/>
                  </a:lnTo>
                  <a:lnTo>
                    <a:pt x="180" y="383"/>
                  </a:lnTo>
                  <a:lnTo>
                    <a:pt x="157" y="448"/>
                  </a:lnTo>
                  <a:lnTo>
                    <a:pt x="225" y="517"/>
                  </a:lnTo>
                  <a:lnTo>
                    <a:pt x="203" y="540"/>
                  </a:lnTo>
                  <a:lnTo>
                    <a:pt x="133" y="563"/>
                  </a:lnTo>
                  <a:lnTo>
                    <a:pt x="70" y="563"/>
                  </a:lnTo>
                  <a:lnTo>
                    <a:pt x="70" y="470"/>
                  </a:lnTo>
                  <a:lnTo>
                    <a:pt x="46" y="430"/>
                  </a:lnTo>
                  <a:lnTo>
                    <a:pt x="0" y="383"/>
                  </a:lnTo>
                  <a:lnTo>
                    <a:pt x="80" y="273"/>
                  </a:lnTo>
                  <a:lnTo>
                    <a:pt x="133" y="249"/>
                  </a:lnTo>
                  <a:lnTo>
                    <a:pt x="180" y="157"/>
                  </a:lnTo>
                  <a:lnTo>
                    <a:pt x="243" y="87"/>
                  </a:lnTo>
                  <a:lnTo>
                    <a:pt x="243" y="17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9" name="Freeform 856"/>
            <p:cNvSpPr/>
            <p:nvPr/>
          </p:nvSpPr>
          <p:spPr bwMode="auto">
            <a:xfrm>
              <a:off x="4235450" y="2609850"/>
              <a:ext cx="93663" cy="104775"/>
            </a:xfrm>
            <a:custGeom>
              <a:avLst/>
              <a:gdLst>
                <a:gd name="T0" fmla="*/ 0 w 203"/>
                <a:gd name="T1" fmla="*/ 4 h 267"/>
                <a:gd name="T2" fmla="*/ 5 w 203"/>
                <a:gd name="T3" fmla="*/ 8 h 267"/>
                <a:gd name="T4" fmla="*/ 8 w 203"/>
                <a:gd name="T5" fmla="*/ 17 h 267"/>
                <a:gd name="T6" fmla="*/ 8 w 203"/>
                <a:gd name="T7" fmla="*/ 25 h 267"/>
                <a:gd name="T8" fmla="*/ 12 w 203"/>
                <a:gd name="T9" fmla="*/ 25 h 267"/>
                <a:gd name="T10" fmla="*/ 22 w 203"/>
                <a:gd name="T11" fmla="*/ 23 h 267"/>
                <a:gd name="T12" fmla="*/ 22 w 203"/>
                <a:gd name="T13" fmla="*/ 17 h 267"/>
                <a:gd name="T14" fmla="*/ 17 w 203"/>
                <a:gd name="T15" fmla="*/ 8 h 267"/>
                <a:gd name="T16" fmla="*/ 12 w 203"/>
                <a:gd name="T17" fmla="*/ 0 h 267"/>
                <a:gd name="T18" fmla="*/ 8 w 203"/>
                <a:gd name="T19" fmla="*/ 2 h 267"/>
                <a:gd name="T20" fmla="*/ 0 w 203"/>
                <a:gd name="T21" fmla="*/ 4 h 2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3"/>
                <a:gd name="T34" fmla="*/ 0 h 267"/>
                <a:gd name="T35" fmla="*/ 203 w 203"/>
                <a:gd name="T36" fmla="*/ 267 h 26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3" h="267">
                  <a:moveTo>
                    <a:pt x="0" y="46"/>
                  </a:moveTo>
                  <a:lnTo>
                    <a:pt x="47" y="88"/>
                  </a:lnTo>
                  <a:lnTo>
                    <a:pt x="70" y="180"/>
                  </a:lnTo>
                  <a:lnTo>
                    <a:pt x="70" y="267"/>
                  </a:lnTo>
                  <a:lnTo>
                    <a:pt x="115" y="267"/>
                  </a:lnTo>
                  <a:lnTo>
                    <a:pt x="203" y="250"/>
                  </a:lnTo>
                  <a:lnTo>
                    <a:pt x="203" y="180"/>
                  </a:lnTo>
                  <a:lnTo>
                    <a:pt x="157" y="88"/>
                  </a:lnTo>
                  <a:lnTo>
                    <a:pt x="115" y="0"/>
                  </a:lnTo>
                  <a:lnTo>
                    <a:pt x="70" y="23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0" name="Freeform 857"/>
            <p:cNvSpPr/>
            <p:nvPr/>
          </p:nvSpPr>
          <p:spPr bwMode="auto">
            <a:xfrm>
              <a:off x="4471988" y="2022475"/>
              <a:ext cx="125412" cy="306388"/>
            </a:xfrm>
            <a:custGeom>
              <a:avLst/>
              <a:gdLst>
                <a:gd name="T0" fmla="*/ 0 w 273"/>
                <a:gd name="T1" fmla="*/ 0 h 791"/>
                <a:gd name="T2" fmla="*/ 5 w 273"/>
                <a:gd name="T3" fmla="*/ 8 h 791"/>
                <a:gd name="T4" fmla="*/ 8 w 273"/>
                <a:gd name="T5" fmla="*/ 23 h 791"/>
                <a:gd name="T6" fmla="*/ 13 w 273"/>
                <a:gd name="T7" fmla="*/ 54 h 791"/>
                <a:gd name="T8" fmla="*/ 15 w 273"/>
                <a:gd name="T9" fmla="*/ 71 h 791"/>
                <a:gd name="T10" fmla="*/ 15 w 273"/>
                <a:gd name="T11" fmla="*/ 73 h 791"/>
                <a:gd name="T12" fmla="*/ 22 w 273"/>
                <a:gd name="T13" fmla="*/ 69 h 791"/>
                <a:gd name="T14" fmla="*/ 27 w 273"/>
                <a:gd name="T15" fmla="*/ 73 h 791"/>
                <a:gd name="T16" fmla="*/ 30 w 273"/>
                <a:gd name="T17" fmla="*/ 69 h 791"/>
                <a:gd name="T18" fmla="*/ 22 w 273"/>
                <a:gd name="T19" fmla="*/ 64 h 791"/>
                <a:gd name="T20" fmla="*/ 18 w 273"/>
                <a:gd name="T21" fmla="*/ 46 h 791"/>
                <a:gd name="T22" fmla="*/ 22 w 273"/>
                <a:gd name="T23" fmla="*/ 46 h 791"/>
                <a:gd name="T24" fmla="*/ 22 w 273"/>
                <a:gd name="T25" fmla="*/ 39 h 791"/>
                <a:gd name="T26" fmla="*/ 13 w 273"/>
                <a:gd name="T27" fmla="*/ 29 h 791"/>
                <a:gd name="T28" fmla="*/ 13 w 273"/>
                <a:gd name="T29" fmla="*/ 14 h 791"/>
                <a:gd name="T30" fmla="*/ 8 w 273"/>
                <a:gd name="T31" fmla="*/ 2 h 791"/>
                <a:gd name="T32" fmla="*/ 3 w 273"/>
                <a:gd name="T33" fmla="*/ 0 h 791"/>
                <a:gd name="T34" fmla="*/ 0 w 273"/>
                <a:gd name="T35" fmla="*/ 0 h 79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3"/>
                <a:gd name="T55" fmla="*/ 0 h 791"/>
                <a:gd name="T56" fmla="*/ 273 w 273"/>
                <a:gd name="T57" fmla="*/ 791 h 79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3" h="791">
                  <a:moveTo>
                    <a:pt x="0" y="0"/>
                  </a:moveTo>
                  <a:lnTo>
                    <a:pt x="46" y="87"/>
                  </a:lnTo>
                  <a:lnTo>
                    <a:pt x="69" y="251"/>
                  </a:lnTo>
                  <a:lnTo>
                    <a:pt x="116" y="587"/>
                  </a:lnTo>
                  <a:lnTo>
                    <a:pt x="139" y="767"/>
                  </a:lnTo>
                  <a:lnTo>
                    <a:pt x="139" y="791"/>
                  </a:lnTo>
                  <a:lnTo>
                    <a:pt x="203" y="744"/>
                  </a:lnTo>
                  <a:lnTo>
                    <a:pt x="250" y="791"/>
                  </a:lnTo>
                  <a:lnTo>
                    <a:pt x="273" y="744"/>
                  </a:lnTo>
                  <a:lnTo>
                    <a:pt x="203" y="697"/>
                  </a:lnTo>
                  <a:lnTo>
                    <a:pt x="163" y="495"/>
                  </a:lnTo>
                  <a:lnTo>
                    <a:pt x="203" y="495"/>
                  </a:lnTo>
                  <a:lnTo>
                    <a:pt x="203" y="425"/>
                  </a:lnTo>
                  <a:lnTo>
                    <a:pt x="116" y="314"/>
                  </a:lnTo>
                  <a:lnTo>
                    <a:pt x="116" y="157"/>
                  </a:lnTo>
                  <a:lnTo>
                    <a:pt x="69" y="24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1" name="Freeform 858"/>
            <p:cNvSpPr/>
            <p:nvPr/>
          </p:nvSpPr>
          <p:spPr bwMode="auto">
            <a:xfrm>
              <a:off x="4554538" y="2344738"/>
              <a:ext cx="130175" cy="130175"/>
            </a:xfrm>
            <a:custGeom>
              <a:avLst/>
              <a:gdLst>
                <a:gd name="T0" fmla="*/ 0 w 291"/>
                <a:gd name="T1" fmla="*/ 0 h 331"/>
                <a:gd name="T2" fmla="*/ 2 w 291"/>
                <a:gd name="T3" fmla="*/ 13 h 331"/>
                <a:gd name="T4" fmla="*/ 0 w 291"/>
                <a:gd name="T5" fmla="*/ 29 h 331"/>
                <a:gd name="T6" fmla="*/ 9 w 291"/>
                <a:gd name="T7" fmla="*/ 27 h 331"/>
                <a:gd name="T8" fmla="*/ 16 w 291"/>
                <a:gd name="T9" fmla="*/ 31 h 331"/>
                <a:gd name="T10" fmla="*/ 19 w 291"/>
                <a:gd name="T11" fmla="*/ 29 h 331"/>
                <a:gd name="T12" fmla="*/ 19 w 291"/>
                <a:gd name="T13" fmla="*/ 25 h 331"/>
                <a:gd name="T14" fmla="*/ 31 w 291"/>
                <a:gd name="T15" fmla="*/ 16 h 331"/>
                <a:gd name="T16" fmla="*/ 26 w 291"/>
                <a:gd name="T17" fmla="*/ 13 h 331"/>
                <a:gd name="T18" fmla="*/ 16 w 291"/>
                <a:gd name="T19" fmla="*/ 10 h 331"/>
                <a:gd name="T20" fmla="*/ 4 w 291"/>
                <a:gd name="T21" fmla="*/ 2 h 331"/>
                <a:gd name="T22" fmla="*/ 0 w 291"/>
                <a:gd name="T23" fmla="*/ 0 h 3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1"/>
                <a:gd name="T37" fmla="*/ 0 h 331"/>
                <a:gd name="T38" fmla="*/ 291 w 291"/>
                <a:gd name="T39" fmla="*/ 331 h 3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1" h="331">
                  <a:moveTo>
                    <a:pt x="0" y="0"/>
                  </a:moveTo>
                  <a:lnTo>
                    <a:pt x="17" y="134"/>
                  </a:lnTo>
                  <a:lnTo>
                    <a:pt x="0" y="314"/>
                  </a:lnTo>
                  <a:lnTo>
                    <a:pt x="87" y="291"/>
                  </a:lnTo>
                  <a:lnTo>
                    <a:pt x="151" y="331"/>
                  </a:lnTo>
                  <a:lnTo>
                    <a:pt x="180" y="314"/>
                  </a:lnTo>
                  <a:lnTo>
                    <a:pt x="180" y="267"/>
                  </a:lnTo>
                  <a:lnTo>
                    <a:pt x="291" y="174"/>
                  </a:lnTo>
                  <a:lnTo>
                    <a:pt x="244" y="134"/>
                  </a:lnTo>
                  <a:lnTo>
                    <a:pt x="151" y="111"/>
                  </a:lnTo>
                  <a:lnTo>
                    <a:pt x="40" y="1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2" name="Freeform 859"/>
            <p:cNvSpPr/>
            <p:nvPr/>
          </p:nvSpPr>
          <p:spPr bwMode="auto">
            <a:xfrm>
              <a:off x="4383088" y="2495550"/>
              <a:ext cx="234950" cy="244475"/>
            </a:xfrm>
            <a:custGeom>
              <a:avLst/>
              <a:gdLst>
                <a:gd name="T0" fmla="*/ 42 w 518"/>
                <a:gd name="T1" fmla="*/ 0 h 633"/>
                <a:gd name="T2" fmla="*/ 39 w 518"/>
                <a:gd name="T3" fmla="*/ 19 h 633"/>
                <a:gd name="T4" fmla="*/ 39 w 518"/>
                <a:gd name="T5" fmla="*/ 27 h 633"/>
                <a:gd name="T6" fmla="*/ 21 w 518"/>
                <a:gd name="T7" fmla="*/ 39 h 633"/>
                <a:gd name="T8" fmla="*/ 21 w 518"/>
                <a:gd name="T9" fmla="*/ 44 h 633"/>
                <a:gd name="T10" fmla="*/ 5 w 518"/>
                <a:gd name="T11" fmla="*/ 48 h 633"/>
                <a:gd name="T12" fmla="*/ 0 w 518"/>
                <a:gd name="T13" fmla="*/ 54 h 633"/>
                <a:gd name="T14" fmla="*/ 7 w 518"/>
                <a:gd name="T15" fmla="*/ 56 h 633"/>
                <a:gd name="T16" fmla="*/ 12 w 518"/>
                <a:gd name="T17" fmla="*/ 54 h 633"/>
                <a:gd name="T18" fmla="*/ 17 w 518"/>
                <a:gd name="T19" fmla="*/ 54 h 633"/>
                <a:gd name="T20" fmla="*/ 24 w 518"/>
                <a:gd name="T21" fmla="*/ 52 h 633"/>
                <a:gd name="T22" fmla="*/ 26 w 518"/>
                <a:gd name="T23" fmla="*/ 58 h 633"/>
                <a:gd name="T24" fmla="*/ 34 w 518"/>
                <a:gd name="T25" fmla="*/ 56 h 633"/>
                <a:gd name="T26" fmla="*/ 34 w 518"/>
                <a:gd name="T27" fmla="*/ 50 h 633"/>
                <a:gd name="T28" fmla="*/ 36 w 518"/>
                <a:gd name="T29" fmla="*/ 50 h 633"/>
                <a:gd name="T30" fmla="*/ 39 w 518"/>
                <a:gd name="T31" fmla="*/ 48 h 633"/>
                <a:gd name="T32" fmla="*/ 48 w 518"/>
                <a:gd name="T33" fmla="*/ 48 h 633"/>
                <a:gd name="T34" fmla="*/ 48 w 518"/>
                <a:gd name="T35" fmla="*/ 44 h 633"/>
                <a:gd name="T36" fmla="*/ 56 w 518"/>
                <a:gd name="T37" fmla="*/ 46 h 633"/>
                <a:gd name="T38" fmla="*/ 53 w 518"/>
                <a:gd name="T39" fmla="*/ 34 h 633"/>
                <a:gd name="T40" fmla="*/ 51 w 518"/>
                <a:gd name="T41" fmla="*/ 27 h 633"/>
                <a:gd name="T42" fmla="*/ 53 w 518"/>
                <a:gd name="T43" fmla="*/ 21 h 633"/>
                <a:gd name="T44" fmla="*/ 53 w 518"/>
                <a:gd name="T45" fmla="*/ 17 h 633"/>
                <a:gd name="T46" fmla="*/ 56 w 518"/>
                <a:gd name="T47" fmla="*/ 11 h 633"/>
                <a:gd name="T48" fmla="*/ 51 w 518"/>
                <a:gd name="T49" fmla="*/ 3 h 633"/>
                <a:gd name="T50" fmla="*/ 48 w 518"/>
                <a:gd name="T51" fmla="*/ 3 h 633"/>
                <a:gd name="T52" fmla="*/ 42 w 518"/>
                <a:gd name="T53" fmla="*/ 0 h 63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18"/>
                <a:gd name="T82" fmla="*/ 0 h 633"/>
                <a:gd name="T83" fmla="*/ 518 w 518"/>
                <a:gd name="T84" fmla="*/ 633 h 63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18" h="633">
                  <a:moveTo>
                    <a:pt x="384" y="0"/>
                  </a:moveTo>
                  <a:lnTo>
                    <a:pt x="361" y="209"/>
                  </a:lnTo>
                  <a:lnTo>
                    <a:pt x="361" y="296"/>
                  </a:lnTo>
                  <a:lnTo>
                    <a:pt x="198" y="429"/>
                  </a:lnTo>
                  <a:lnTo>
                    <a:pt x="198" y="476"/>
                  </a:lnTo>
                  <a:lnTo>
                    <a:pt x="47" y="523"/>
                  </a:lnTo>
                  <a:lnTo>
                    <a:pt x="0" y="586"/>
                  </a:lnTo>
                  <a:lnTo>
                    <a:pt x="65" y="610"/>
                  </a:lnTo>
                  <a:lnTo>
                    <a:pt x="110" y="586"/>
                  </a:lnTo>
                  <a:lnTo>
                    <a:pt x="157" y="586"/>
                  </a:lnTo>
                  <a:lnTo>
                    <a:pt x="221" y="563"/>
                  </a:lnTo>
                  <a:lnTo>
                    <a:pt x="244" y="633"/>
                  </a:lnTo>
                  <a:lnTo>
                    <a:pt x="314" y="610"/>
                  </a:lnTo>
                  <a:lnTo>
                    <a:pt x="314" y="546"/>
                  </a:lnTo>
                  <a:lnTo>
                    <a:pt x="337" y="546"/>
                  </a:lnTo>
                  <a:lnTo>
                    <a:pt x="361" y="523"/>
                  </a:lnTo>
                  <a:lnTo>
                    <a:pt x="448" y="523"/>
                  </a:lnTo>
                  <a:lnTo>
                    <a:pt x="448" y="476"/>
                  </a:lnTo>
                  <a:lnTo>
                    <a:pt x="518" y="499"/>
                  </a:lnTo>
                  <a:lnTo>
                    <a:pt x="494" y="366"/>
                  </a:lnTo>
                  <a:lnTo>
                    <a:pt x="471" y="296"/>
                  </a:lnTo>
                  <a:lnTo>
                    <a:pt x="494" y="227"/>
                  </a:lnTo>
                  <a:lnTo>
                    <a:pt x="494" y="185"/>
                  </a:lnTo>
                  <a:lnTo>
                    <a:pt x="518" y="115"/>
                  </a:lnTo>
                  <a:lnTo>
                    <a:pt x="471" y="28"/>
                  </a:lnTo>
                  <a:lnTo>
                    <a:pt x="448" y="28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3" name="Freeform 860"/>
            <p:cNvSpPr/>
            <p:nvPr/>
          </p:nvSpPr>
          <p:spPr bwMode="auto">
            <a:xfrm>
              <a:off x="4433888" y="2740025"/>
              <a:ext cx="38100" cy="28575"/>
            </a:xfrm>
            <a:custGeom>
              <a:avLst/>
              <a:gdLst>
                <a:gd name="T0" fmla="*/ 5 w 88"/>
                <a:gd name="T1" fmla="*/ 0 h 70"/>
                <a:gd name="T2" fmla="*/ 0 w 88"/>
                <a:gd name="T3" fmla="*/ 2 h 70"/>
                <a:gd name="T4" fmla="*/ 0 w 88"/>
                <a:gd name="T5" fmla="*/ 7 h 70"/>
                <a:gd name="T6" fmla="*/ 9 w 88"/>
                <a:gd name="T7" fmla="*/ 7 h 70"/>
                <a:gd name="T8" fmla="*/ 9 w 88"/>
                <a:gd name="T9" fmla="*/ 2 h 70"/>
                <a:gd name="T10" fmla="*/ 5 w 88"/>
                <a:gd name="T11" fmla="*/ 0 h 7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0"/>
                <a:gd name="T20" fmla="*/ 88 w 88"/>
                <a:gd name="T21" fmla="*/ 70 h 7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0">
                  <a:moveTo>
                    <a:pt x="47" y="0"/>
                  </a:moveTo>
                  <a:lnTo>
                    <a:pt x="0" y="23"/>
                  </a:lnTo>
                  <a:lnTo>
                    <a:pt x="0" y="70"/>
                  </a:lnTo>
                  <a:lnTo>
                    <a:pt x="88" y="70"/>
                  </a:lnTo>
                  <a:lnTo>
                    <a:pt x="88" y="23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4" name="Freeform 861"/>
            <p:cNvSpPr/>
            <p:nvPr/>
          </p:nvSpPr>
          <p:spPr bwMode="auto">
            <a:xfrm>
              <a:off x="4370388" y="2752725"/>
              <a:ext cx="38100" cy="74613"/>
            </a:xfrm>
            <a:custGeom>
              <a:avLst/>
              <a:gdLst>
                <a:gd name="T0" fmla="*/ 9 w 88"/>
                <a:gd name="T1" fmla="*/ 4 h 204"/>
                <a:gd name="T2" fmla="*/ 4 w 88"/>
                <a:gd name="T3" fmla="*/ 0 h 204"/>
                <a:gd name="T4" fmla="*/ 0 w 88"/>
                <a:gd name="T5" fmla="*/ 4 h 204"/>
                <a:gd name="T6" fmla="*/ 0 w 88"/>
                <a:gd name="T7" fmla="*/ 14 h 204"/>
                <a:gd name="T8" fmla="*/ 4 w 88"/>
                <a:gd name="T9" fmla="*/ 18 h 204"/>
                <a:gd name="T10" fmla="*/ 7 w 88"/>
                <a:gd name="T11" fmla="*/ 14 h 204"/>
                <a:gd name="T12" fmla="*/ 7 w 88"/>
                <a:gd name="T13" fmla="*/ 8 h 204"/>
                <a:gd name="T14" fmla="*/ 9 w 88"/>
                <a:gd name="T15" fmla="*/ 4 h 2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204"/>
                <a:gd name="T26" fmla="*/ 88 w 88"/>
                <a:gd name="T27" fmla="*/ 204 h 2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204">
                  <a:moveTo>
                    <a:pt x="88" y="47"/>
                  </a:moveTo>
                  <a:lnTo>
                    <a:pt x="41" y="0"/>
                  </a:lnTo>
                  <a:lnTo>
                    <a:pt x="0" y="47"/>
                  </a:lnTo>
                  <a:lnTo>
                    <a:pt x="0" y="157"/>
                  </a:lnTo>
                  <a:lnTo>
                    <a:pt x="41" y="204"/>
                  </a:lnTo>
                  <a:lnTo>
                    <a:pt x="70" y="157"/>
                  </a:lnTo>
                  <a:lnTo>
                    <a:pt x="70" y="94"/>
                  </a:lnTo>
                  <a:lnTo>
                    <a:pt x="88" y="4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5" name="Freeform 862"/>
            <p:cNvSpPr/>
            <p:nvPr/>
          </p:nvSpPr>
          <p:spPr bwMode="auto">
            <a:xfrm>
              <a:off x="3844925" y="3143250"/>
              <a:ext cx="63500" cy="38100"/>
            </a:xfrm>
            <a:custGeom>
              <a:avLst/>
              <a:gdLst>
                <a:gd name="T0" fmla="*/ 12 w 134"/>
                <a:gd name="T1" fmla="*/ 0 h 93"/>
                <a:gd name="T2" fmla="*/ 5 w 134"/>
                <a:gd name="T3" fmla="*/ 0 h 93"/>
                <a:gd name="T4" fmla="*/ 0 w 134"/>
                <a:gd name="T5" fmla="*/ 5 h 93"/>
                <a:gd name="T6" fmla="*/ 5 w 134"/>
                <a:gd name="T7" fmla="*/ 9 h 93"/>
                <a:gd name="T8" fmla="*/ 15 w 134"/>
                <a:gd name="T9" fmla="*/ 5 h 93"/>
                <a:gd name="T10" fmla="*/ 12 w 134"/>
                <a:gd name="T11" fmla="*/ 0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4"/>
                <a:gd name="T19" fmla="*/ 0 h 93"/>
                <a:gd name="T20" fmla="*/ 134 w 134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4" h="93">
                  <a:moveTo>
                    <a:pt x="110" y="0"/>
                  </a:moveTo>
                  <a:lnTo>
                    <a:pt x="47" y="0"/>
                  </a:lnTo>
                  <a:lnTo>
                    <a:pt x="0" y="47"/>
                  </a:lnTo>
                  <a:lnTo>
                    <a:pt x="47" y="93"/>
                  </a:lnTo>
                  <a:lnTo>
                    <a:pt x="134" y="47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6" name="Freeform 863"/>
            <p:cNvSpPr/>
            <p:nvPr/>
          </p:nvSpPr>
          <p:spPr bwMode="auto">
            <a:xfrm>
              <a:off x="3690938" y="3067050"/>
              <a:ext cx="196850" cy="349250"/>
            </a:xfrm>
            <a:custGeom>
              <a:avLst/>
              <a:gdLst>
                <a:gd name="T0" fmla="*/ 0 w 424"/>
                <a:gd name="T1" fmla="*/ 4 h 901"/>
                <a:gd name="T2" fmla="*/ 2 w 424"/>
                <a:gd name="T3" fmla="*/ 10 h 901"/>
                <a:gd name="T4" fmla="*/ 10 w 424"/>
                <a:gd name="T5" fmla="*/ 10 h 901"/>
                <a:gd name="T6" fmla="*/ 15 w 424"/>
                <a:gd name="T7" fmla="*/ 17 h 901"/>
                <a:gd name="T8" fmla="*/ 12 w 424"/>
                <a:gd name="T9" fmla="*/ 23 h 901"/>
                <a:gd name="T10" fmla="*/ 24 w 424"/>
                <a:gd name="T11" fmla="*/ 35 h 901"/>
                <a:gd name="T12" fmla="*/ 35 w 424"/>
                <a:gd name="T13" fmla="*/ 48 h 901"/>
                <a:gd name="T14" fmla="*/ 30 w 424"/>
                <a:gd name="T15" fmla="*/ 54 h 901"/>
                <a:gd name="T16" fmla="*/ 35 w 424"/>
                <a:gd name="T17" fmla="*/ 65 h 901"/>
                <a:gd name="T18" fmla="*/ 24 w 424"/>
                <a:gd name="T19" fmla="*/ 69 h 901"/>
                <a:gd name="T20" fmla="*/ 24 w 424"/>
                <a:gd name="T21" fmla="*/ 73 h 901"/>
                <a:gd name="T22" fmla="*/ 17 w 424"/>
                <a:gd name="T23" fmla="*/ 75 h 901"/>
                <a:gd name="T24" fmla="*/ 17 w 424"/>
                <a:gd name="T25" fmla="*/ 79 h 901"/>
                <a:gd name="T26" fmla="*/ 20 w 424"/>
                <a:gd name="T27" fmla="*/ 83 h 901"/>
                <a:gd name="T28" fmla="*/ 24 w 424"/>
                <a:gd name="T29" fmla="*/ 81 h 901"/>
                <a:gd name="T30" fmla="*/ 39 w 424"/>
                <a:gd name="T31" fmla="*/ 71 h 901"/>
                <a:gd name="T32" fmla="*/ 45 w 424"/>
                <a:gd name="T33" fmla="*/ 66 h 901"/>
                <a:gd name="T34" fmla="*/ 47 w 424"/>
                <a:gd name="T35" fmla="*/ 58 h 901"/>
                <a:gd name="T36" fmla="*/ 45 w 424"/>
                <a:gd name="T37" fmla="*/ 48 h 901"/>
                <a:gd name="T38" fmla="*/ 39 w 424"/>
                <a:gd name="T39" fmla="*/ 42 h 901"/>
                <a:gd name="T40" fmla="*/ 39 w 424"/>
                <a:gd name="T41" fmla="*/ 38 h 901"/>
                <a:gd name="T42" fmla="*/ 32 w 424"/>
                <a:gd name="T43" fmla="*/ 38 h 901"/>
                <a:gd name="T44" fmla="*/ 27 w 424"/>
                <a:gd name="T45" fmla="*/ 31 h 901"/>
                <a:gd name="T46" fmla="*/ 22 w 424"/>
                <a:gd name="T47" fmla="*/ 23 h 901"/>
                <a:gd name="T48" fmla="*/ 22 w 424"/>
                <a:gd name="T49" fmla="*/ 17 h 901"/>
                <a:gd name="T50" fmla="*/ 30 w 424"/>
                <a:gd name="T51" fmla="*/ 10 h 901"/>
                <a:gd name="T52" fmla="*/ 32 w 424"/>
                <a:gd name="T53" fmla="*/ 8 h 901"/>
                <a:gd name="T54" fmla="*/ 30 w 424"/>
                <a:gd name="T55" fmla="*/ 8 h 901"/>
                <a:gd name="T56" fmla="*/ 24 w 424"/>
                <a:gd name="T57" fmla="*/ 4 h 901"/>
                <a:gd name="T58" fmla="*/ 24 w 424"/>
                <a:gd name="T59" fmla="*/ 0 h 901"/>
                <a:gd name="T60" fmla="*/ 22 w 424"/>
                <a:gd name="T61" fmla="*/ 0 h 901"/>
                <a:gd name="T62" fmla="*/ 15 w 424"/>
                <a:gd name="T63" fmla="*/ 0 h 901"/>
                <a:gd name="T64" fmla="*/ 2 w 424"/>
                <a:gd name="T65" fmla="*/ 6 h 901"/>
                <a:gd name="T66" fmla="*/ 0 w 424"/>
                <a:gd name="T67" fmla="*/ 4 h 90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24"/>
                <a:gd name="T103" fmla="*/ 0 h 901"/>
                <a:gd name="T104" fmla="*/ 424 w 424"/>
                <a:gd name="T105" fmla="*/ 901 h 90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24" h="901">
                  <a:moveTo>
                    <a:pt x="0" y="47"/>
                  </a:moveTo>
                  <a:lnTo>
                    <a:pt x="18" y="111"/>
                  </a:lnTo>
                  <a:lnTo>
                    <a:pt x="88" y="111"/>
                  </a:lnTo>
                  <a:lnTo>
                    <a:pt x="133" y="181"/>
                  </a:lnTo>
                  <a:lnTo>
                    <a:pt x="111" y="251"/>
                  </a:lnTo>
                  <a:lnTo>
                    <a:pt x="221" y="384"/>
                  </a:lnTo>
                  <a:lnTo>
                    <a:pt x="314" y="518"/>
                  </a:lnTo>
                  <a:lnTo>
                    <a:pt x="268" y="587"/>
                  </a:lnTo>
                  <a:lnTo>
                    <a:pt x="314" y="704"/>
                  </a:lnTo>
                  <a:lnTo>
                    <a:pt x="221" y="744"/>
                  </a:lnTo>
                  <a:lnTo>
                    <a:pt x="221" y="791"/>
                  </a:lnTo>
                  <a:lnTo>
                    <a:pt x="157" y="814"/>
                  </a:lnTo>
                  <a:lnTo>
                    <a:pt x="157" y="861"/>
                  </a:lnTo>
                  <a:lnTo>
                    <a:pt x="180" y="901"/>
                  </a:lnTo>
                  <a:lnTo>
                    <a:pt x="221" y="878"/>
                  </a:lnTo>
                  <a:lnTo>
                    <a:pt x="355" y="767"/>
                  </a:lnTo>
                  <a:lnTo>
                    <a:pt x="402" y="721"/>
                  </a:lnTo>
                  <a:lnTo>
                    <a:pt x="424" y="634"/>
                  </a:lnTo>
                  <a:lnTo>
                    <a:pt x="402" y="518"/>
                  </a:lnTo>
                  <a:lnTo>
                    <a:pt x="355" y="453"/>
                  </a:lnTo>
                  <a:lnTo>
                    <a:pt x="355" y="408"/>
                  </a:lnTo>
                  <a:lnTo>
                    <a:pt x="290" y="408"/>
                  </a:lnTo>
                  <a:lnTo>
                    <a:pt x="245" y="338"/>
                  </a:lnTo>
                  <a:lnTo>
                    <a:pt x="198" y="251"/>
                  </a:lnTo>
                  <a:lnTo>
                    <a:pt x="198" y="181"/>
                  </a:lnTo>
                  <a:lnTo>
                    <a:pt x="268" y="111"/>
                  </a:lnTo>
                  <a:lnTo>
                    <a:pt x="290" y="87"/>
                  </a:lnTo>
                  <a:lnTo>
                    <a:pt x="268" y="87"/>
                  </a:lnTo>
                  <a:lnTo>
                    <a:pt x="221" y="47"/>
                  </a:lnTo>
                  <a:lnTo>
                    <a:pt x="221" y="0"/>
                  </a:lnTo>
                  <a:lnTo>
                    <a:pt x="198" y="0"/>
                  </a:lnTo>
                  <a:lnTo>
                    <a:pt x="133" y="0"/>
                  </a:lnTo>
                  <a:lnTo>
                    <a:pt x="18" y="70"/>
                  </a:lnTo>
                  <a:lnTo>
                    <a:pt x="0" y="4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7" name="Freeform 864"/>
            <p:cNvSpPr/>
            <p:nvPr/>
          </p:nvSpPr>
          <p:spPr bwMode="auto">
            <a:xfrm>
              <a:off x="3632200" y="3084513"/>
              <a:ext cx="204788" cy="314325"/>
            </a:xfrm>
            <a:custGeom>
              <a:avLst/>
              <a:gdLst>
                <a:gd name="T0" fmla="*/ 12 w 453"/>
                <a:gd name="T1" fmla="*/ 0 h 814"/>
                <a:gd name="T2" fmla="*/ 6 w 453"/>
                <a:gd name="T3" fmla="*/ 5 h 814"/>
                <a:gd name="T4" fmla="*/ 0 w 453"/>
                <a:gd name="T5" fmla="*/ 12 h 814"/>
                <a:gd name="T6" fmla="*/ 8 w 453"/>
                <a:gd name="T7" fmla="*/ 17 h 814"/>
                <a:gd name="T8" fmla="*/ 8 w 453"/>
                <a:gd name="T9" fmla="*/ 27 h 814"/>
                <a:gd name="T10" fmla="*/ 12 w 453"/>
                <a:gd name="T11" fmla="*/ 29 h 814"/>
                <a:gd name="T12" fmla="*/ 19 w 453"/>
                <a:gd name="T13" fmla="*/ 25 h 814"/>
                <a:gd name="T14" fmla="*/ 25 w 453"/>
                <a:gd name="T15" fmla="*/ 25 h 814"/>
                <a:gd name="T16" fmla="*/ 36 w 453"/>
                <a:gd name="T17" fmla="*/ 37 h 814"/>
                <a:gd name="T18" fmla="*/ 36 w 453"/>
                <a:gd name="T19" fmla="*/ 42 h 814"/>
                <a:gd name="T20" fmla="*/ 39 w 453"/>
                <a:gd name="T21" fmla="*/ 46 h 814"/>
                <a:gd name="T22" fmla="*/ 39 w 453"/>
                <a:gd name="T23" fmla="*/ 52 h 814"/>
                <a:gd name="T24" fmla="*/ 36 w 453"/>
                <a:gd name="T25" fmla="*/ 54 h 814"/>
                <a:gd name="T26" fmla="*/ 29 w 453"/>
                <a:gd name="T27" fmla="*/ 52 h 814"/>
                <a:gd name="T28" fmla="*/ 25 w 453"/>
                <a:gd name="T29" fmla="*/ 48 h 814"/>
                <a:gd name="T30" fmla="*/ 19 w 453"/>
                <a:gd name="T31" fmla="*/ 53 h 814"/>
                <a:gd name="T32" fmla="*/ 17 w 453"/>
                <a:gd name="T33" fmla="*/ 56 h 814"/>
                <a:gd name="T34" fmla="*/ 19 w 453"/>
                <a:gd name="T35" fmla="*/ 64 h 814"/>
                <a:gd name="T36" fmla="*/ 25 w 453"/>
                <a:gd name="T37" fmla="*/ 69 h 814"/>
                <a:gd name="T38" fmla="*/ 32 w 453"/>
                <a:gd name="T39" fmla="*/ 75 h 814"/>
                <a:gd name="T40" fmla="*/ 35 w 453"/>
                <a:gd name="T41" fmla="*/ 73 h 814"/>
                <a:gd name="T42" fmla="*/ 39 w 453"/>
                <a:gd name="T43" fmla="*/ 69 h 814"/>
                <a:gd name="T44" fmla="*/ 39 w 453"/>
                <a:gd name="T45" fmla="*/ 64 h 814"/>
                <a:gd name="T46" fmla="*/ 44 w 453"/>
                <a:gd name="T47" fmla="*/ 62 h 814"/>
                <a:gd name="T48" fmla="*/ 48 w 453"/>
                <a:gd name="T49" fmla="*/ 60 h 814"/>
                <a:gd name="T50" fmla="*/ 49 w 453"/>
                <a:gd name="T51" fmla="*/ 56 h 814"/>
                <a:gd name="T52" fmla="*/ 44 w 453"/>
                <a:gd name="T53" fmla="*/ 52 h 814"/>
                <a:gd name="T54" fmla="*/ 47 w 453"/>
                <a:gd name="T55" fmla="*/ 46 h 814"/>
                <a:gd name="T56" fmla="*/ 48 w 453"/>
                <a:gd name="T57" fmla="*/ 43 h 814"/>
                <a:gd name="T58" fmla="*/ 46 w 453"/>
                <a:gd name="T59" fmla="*/ 39 h 814"/>
                <a:gd name="T60" fmla="*/ 35 w 453"/>
                <a:gd name="T61" fmla="*/ 25 h 814"/>
                <a:gd name="T62" fmla="*/ 27 w 453"/>
                <a:gd name="T63" fmla="*/ 19 h 814"/>
                <a:gd name="T64" fmla="*/ 29 w 453"/>
                <a:gd name="T65" fmla="*/ 12 h 814"/>
                <a:gd name="T66" fmla="*/ 27 w 453"/>
                <a:gd name="T67" fmla="*/ 8 h 814"/>
                <a:gd name="T68" fmla="*/ 25 w 453"/>
                <a:gd name="T69" fmla="*/ 6 h 814"/>
                <a:gd name="T70" fmla="*/ 17 w 453"/>
                <a:gd name="T71" fmla="*/ 6 h 814"/>
                <a:gd name="T72" fmla="*/ 17 w 453"/>
                <a:gd name="T73" fmla="*/ 2 h 814"/>
                <a:gd name="T74" fmla="*/ 12 w 453"/>
                <a:gd name="T75" fmla="*/ 0 h 81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3"/>
                <a:gd name="T115" fmla="*/ 0 h 814"/>
                <a:gd name="T116" fmla="*/ 453 w 453"/>
                <a:gd name="T117" fmla="*/ 814 h 81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3" h="814">
                  <a:moveTo>
                    <a:pt x="110" y="0"/>
                  </a:moveTo>
                  <a:lnTo>
                    <a:pt x="52" y="52"/>
                  </a:lnTo>
                  <a:lnTo>
                    <a:pt x="0" y="134"/>
                  </a:lnTo>
                  <a:lnTo>
                    <a:pt x="70" y="180"/>
                  </a:lnTo>
                  <a:lnTo>
                    <a:pt x="70" y="291"/>
                  </a:lnTo>
                  <a:lnTo>
                    <a:pt x="110" y="314"/>
                  </a:lnTo>
                  <a:lnTo>
                    <a:pt x="180" y="267"/>
                  </a:lnTo>
                  <a:lnTo>
                    <a:pt x="227" y="267"/>
                  </a:lnTo>
                  <a:lnTo>
                    <a:pt x="337" y="406"/>
                  </a:lnTo>
                  <a:lnTo>
                    <a:pt x="337" y="453"/>
                  </a:lnTo>
                  <a:lnTo>
                    <a:pt x="360" y="494"/>
                  </a:lnTo>
                  <a:lnTo>
                    <a:pt x="360" y="563"/>
                  </a:lnTo>
                  <a:lnTo>
                    <a:pt x="337" y="587"/>
                  </a:lnTo>
                  <a:lnTo>
                    <a:pt x="272" y="563"/>
                  </a:lnTo>
                  <a:lnTo>
                    <a:pt x="227" y="518"/>
                  </a:lnTo>
                  <a:lnTo>
                    <a:pt x="174" y="570"/>
                  </a:lnTo>
                  <a:lnTo>
                    <a:pt x="157" y="610"/>
                  </a:lnTo>
                  <a:lnTo>
                    <a:pt x="180" y="697"/>
                  </a:lnTo>
                  <a:lnTo>
                    <a:pt x="227" y="744"/>
                  </a:lnTo>
                  <a:lnTo>
                    <a:pt x="296" y="814"/>
                  </a:lnTo>
                  <a:lnTo>
                    <a:pt x="319" y="790"/>
                  </a:lnTo>
                  <a:lnTo>
                    <a:pt x="360" y="744"/>
                  </a:lnTo>
                  <a:lnTo>
                    <a:pt x="360" y="697"/>
                  </a:lnTo>
                  <a:lnTo>
                    <a:pt x="407" y="674"/>
                  </a:lnTo>
                  <a:lnTo>
                    <a:pt x="447" y="650"/>
                  </a:lnTo>
                  <a:lnTo>
                    <a:pt x="453" y="610"/>
                  </a:lnTo>
                  <a:lnTo>
                    <a:pt x="407" y="563"/>
                  </a:lnTo>
                  <a:lnTo>
                    <a:pt x="436" y="494"/>
                  </a:lnTo>
                  <a:lnTo>
                    <a:pt x="447" y="471"/>
                  </a:lnTo>
                  <a:lnTo>
                    <a:pt x="424" y="424"/>
                  </a:lnTo>
                  <a:lnTo>
                    <a:pt x="319" y="267"/>
                  </a:lnTo>
                  <a:lnTo>
                    <a:pt x="250" y="204"/>
                  </a:lnTo>
                  <a:lnTo>
                    <a:pt x="272" y="134"/>
                  </a:lnTo>
                  <a:lnTo>
                    <a:pt x="250" y="87"/>
                  </a:lnTo>
                  <a:lnTo>
                    <a:pt x="227" y="64"/>
                  </a:lnTo>
                  <a:lnTo>
                    <a:pt x="157" y="64"/>
                  </a:lnTo>
                  <a:lnTo>
                    <a:pt x="157" y="23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8" name="Freeform 865"/>
            <p:cNvSpPr/>
            <p:nvPr/>
          </p:nvSpPr>
          <p:spPr bwMode="auto">
            <a:xfrm>
              <a:off x="3573463" y="3133725"/>
              <a:ext cx="222250" cy="336550"/>
            </a:xfrm>
            <a:custGeom>
              <a:avLst/>
              <a:gdLst>
                <a:gd name="T0" fmla="*/ 13 w 482"/>
                <a:gd name="T1" fmla="*/ 0 h 854"/>
                <a:gd name="T2" fmla="*/ 11 w 482"/>
                <a:gd name="T3" fmla="*/ 3 h 854"/>
                <a:gd name="T4" fmla="*/ 6 w 482"/>
                <a:gd name="T5" fmla="*/ 7 h 854"/>
                <a:gd name="T6" fmla="*/ 0 w 482"/>
                <a:gd name="T7" fmla="*/ 13 h 854"/>
                <a:gd name="T8" fmla="*/ 8 w 482"/>
                <a:gd name="T9" fmla="*/ 25 h 854"/>
                <a:gd name="T10" fmla="*/ 8 w 482"/>
                <a:gd name="T11" fmla="*/ 34 h 854"/>
                <a:gd name="T12" fmla="*/ 8 w 482"/>
                <a:gd name="T13" fmla="*/ 38 h 854"/>
                <a:gd name="T14" fmla="*/ 11 w 482"/>
                <a:gd name="T15" fmla="*/ 45 h 854"/>
                <a:gd name="T16" fmla="*/ 8 w 482"/>
                <a:gd name="T17" fmla="*/ 61 h 854"/>
                <a:gd name="T18" fmla="*/ 8 w 482"/>
                <a:gd name="T19" fmla="*/ 67 h 854"/>
                <a:gd name="T20" fmla="*/ 16 w 482"/>
                <a:gd name="T21" fmla="*/ 72 h 854"/>
                <a:gd name="T22" fmla="*/ 18 w 482"/>
                <a:gd name="T23" fmla="*/ 79 h 854"/>
                <a:gd name="T24" fmla="*/ 26 w 482"/>
                <a:gd name="T25" fmla="*/ 80 h 854"/>
                <a:gd name="T26" fmla="*/ 21 w 482"/>
                <a:gd name="T27" fmla="*/ 70 h 854"/>
                <a:gd name="T28" fmla="*/ 16 w 482"/>
                <a:gd name="T29" fmla="*/ 65 h 854"/>
                <a:gd name="T30" fmla="*/ 18 w 482"/>
                <a:gd name="T31" fmla="*/ 51 h 854"/>
                <a:gd name="T32" fmla="*/ 18 w 482"/>
                <a:gd name="T33" fmla="*/ 42 h 854"/>
                <a:gd name="T34" fmla="*/ 26 w 482"/>
                <a:gd name="T35" fmla="*/ 45 h 854"/>
                <a:gd name="T36" fmla="*/ 31 w 482"/>
                <a:gd name="T37" fmla="*/ 45 h 854"/>
                <a:gd name="T38" fmla="*/ 33 w 482"/>
                <a:gd name="T39" fmla="*/ 40 h 854"/>
                <a:gd name="T40" fmla="*/ 38 w 482"/>
                <a:gd name="T41" fmla="*/ 36 h 854"/>
                <a:gd name="T42" fmla="*/ 43 w 482"/>
                <a:gd name="T43" fmla="*/ 40 h 854"/>
                <a:gd name="T44" fmla="*/ 52 w 482"/>
                <a:gd name="T45" fmla="*/ 42 h 854"/>
                <a:gd name="T46" fmla="*/ 53 w 482"/>
                <a:gd name="T47" fmla="*/ 38 h 854"/>
                <a:gd name="T48" fmla="*/ 53 w 482"/>
                <a:gd name="T49" fmla="*/ 32 h 854"/>
                <a:gd name="T50" fmla="*/ 50 w 482"/>
                <a:gd name="T51" fmla="*/ 25 h 854"/>
                <a:gd name="T52" fmla="*/ 43 w 482"/>
                <a:gd name="T53" fmla="*/ 17 h 854"/>
                <a:gd name="T54" fmla="*/ 38 w 482"/>
                <a:gd name="T55" fmla="*/ 12 h 854"/>
                <a:gd name="T56" fmla="*/ 33 w 482"/>
                <a:gd name="T57" fmla="*/ 13 h 854"/>
                <a:gd name="T58" fmla="*/ 26 w 482"/>
                <a:gd name="T59" fmla="*/ 17 h 854"/>
                <a:gd name="T60" fmla="*/ 21 w 482"/>
                <a:gd name="T61" fmla="*/ 12 h 854"/>
                <a:gd name="T62" fmla="*/ 20 w 482"/>
                <a:gd name="T63" fmla="*/ 5 h 854"/>
                <a:gd name="T64" fmla="*/ 18 w 482"/>
                <a:gd name="T65" fmla="*/ 2 h 854"/>
                <a:gd name="T66" fmla="*/ 13 w 482"/>
                <a:gd name="T67" fmla="*/ 0 h 8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2"/>
                <a:gd name="T103" fmla="*/ 0 h 854"/>
                <a:gd name="T104" fmla="*/ 482 w 482"/>
                <a:gd name="T105" fmla="*/ 854 h 8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2" h="854">
                  <a:moveTo>
                    <a:pt x="122" y="0"/>
                  </a:moveTo>
                  <a:lnTo>
                    <a:pt x="99" y="28"/>
                  </a:lnTo>
                  <a:lnTo>
                    <a:pt x="58" y="75"/>
                  </a:lnTo>
                  <a:lnTo>
                    <a:pt x="0" y="140"/>
                  </a:lnTo>
                  <a:lnTo>
                    <a:pt x="75" y="272"/>
                  </a:lnTo>
                  <a:lnTo>
                    <a:pt x="75" y="360"/>
                  </a:lnTo>
                  <a:lnTo>
                    <a:pt x="75" y="406"/>
                  </a:lnTo>
                  <a:lnTo>
                    <a:pt x="99" y="476"/>
                  </a:lnTo>
                  <a:lnTo>
                    <a:pt x="75" y="656"/>
                  </a:lnTo>
                  <a:lnTo>
                    <a:pt x="75" y="720"/>
                  </a:lnTo>
                  <a:lnTo>
                    <a:pt x="145" y="767"/>
                  </a:lnTo>
                  <a:lnTo>
                    <a:pt x="168" y="848"/>
                  </a:lnTo>
                  <a:lnTo>
                    <a:pt x="232" y="854"/>
                  </a:lnTo>
                  <a:lnTo>
                    <a:pt x="192" y="743"/>
                  </a:lnTo>
                  <a:lnTo>
                    <a:pt x="145" y="697"/>
                  </a:lnTo>
                  <a:lnTo>
                    <a:pt x="168" y="540"/>
                  </a:lnTo>
                  <a:lnTo>
                    <a:pt x="168" y="453"/>
                  </a:lnTo>
                  <a:lnTo>
                    <a:pt x="232" y="476"/>
                  </a:lnTo>
                  <a:lnTo>
                    <a:pt x="279" y="476"/>
                  </a:lnTo>
                  <a:lnTo>
                    <a:pt x="302" y="429"/>
                  </a:lnTo>
                  <a:lnTo>
                    <a:pt x="349" y="384"/>
                  </a:lnTo>
                  <a:lnTo>
                    <a:pt x="394" y="429"/>
                  </a:lnTo>
                  <a:lnTo>
                    <a:pt x="476" y="453"/>
                  </a:lnTo>
                  <a:lnTo>
                    <a:pt x="482" y="406"/>
                  </a:lnTo>
                  <a:lnTo>
                    <a:pt x="482" y="337"/>
                  </a:lnTo>
                  <a:lnTo>
                    <a:pt x="459" y="272"/>
                  </a:lnTo>
                  <a:lnTo>
                    <a:pt x="394" y="180"/>
                  </a:lnTo>
                  <a:lnTo>
                    <a:pt x="349" y="133"/>
                  </a:lnTo>
                  <a:lnTo>
                    <a:pt x="296" y="140"/>
                  </a:lnTo>
                  <a:lnTo>
                    <a:pt x="232" y="180"/>
                  </a:lnTo>
                  <a:lnTo>
                    <a:pt x="192" y="133"/>
                  </a:lnTo>
                  <a:lnTo>
                    <a:pt x="185" y="58"/>
                  </a:lnTo>
                  <a:lnTo>
                    <a:pt x="168" y="23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9" name="Freeform 866"/>
            <p:cNvSpPr/>
            <p:nvPr/>
          </p:nvSpPr>
          <p:spPr bwMode="auto">
            <a:xfrm>
              <a:off x="3438525" y="2924175"/>
              <a:ext cx="242888" cy="423863"/>
            </a:xfrm>
            <a:custGeom>
              <a:avLst/>
              <a:gdLst>
                <a:gd name="T0" fmla="*/ 27 w 534"/>
                <a:gd name="T1" fmla="*/ 0 h 1075"/>
                <a:gd name="T2" fmla="*/ 22 w 534"/>
                <a:gd name="T3" fmla="*/ 4 h 1075"/>
                <a:gd name="T4" fmla="*/ 14 w 534"/>
                <a:gd name="T5" fmla="*/ 10 h 1075"/>
                <a:gd name="T6" fmla="*/ 10 w 534"/>
                <a:gd name="T7" fmla="*/ 19 h 1075"/>
                <a:gd name="T8" fmla="*/ 10 w 534"/>
                <a:gd name="T9" fmla="*/ 29 h 1075"/>
                <a:gd name="T10" fmla="*/ 4 w 534"/>
                <a:gd name="T11" fmla="*/ 29 h 1075"/>
                <a:gd name="T12" fmla="*/ 2 w 534"/>
                <a:gd name="T13" fmla="*/ 33 h 1075"/>
                <a:gd name="T14" fmla="*/ 2 w 534"/>
                <a:gd name="T15" fmla="*/ 43 h 1075"/>
                <a:gd name="T16" fmla="*/ 0 w 534"/>
                <a:gd name="T17" fmla="*/ 48 h 1075"/>
                <a:gd name="T18" fmla="*/ 7 w 534"/>
                <a:gd name="T19" fmla="*/ 52 h 1075"/>
                <a:gd name="T20" fmla="*/ 12 w 534"/>
                <a:gd name="T21" fmla="*/ 67 h 1075"/>
                <a:gd name="T22" fmla="*/ 16 w 534"/>
                <a:gd name="T23" fmla="*/ 74 h 1075"/>
                <a:gd name="T24" fmla="*/ 20 w 534"/>
                <a:gd name="T25" fmla="*/ 76 h 1075"/>
                <a:gd name="T26" fmla="*/ 24 w 534"/>
                <a:gd name="T27" fmla="*/ 76 h 1075"/>
                <a:gd name="T28" fmla="*/ 27 w 534"/>
                <a:gd name="T29" fmla="*/ 67 h 1075"/>
                <a:gd name="T30" fmla="*/ 31 w 534"/>
                <a:gd name="T31" fmla="*/ 72 h 1075"/>
                <a:gd name="T32" fmla="*/ 31 w 534"/>
                <a:gd name="T33" fmla="*/ 78 h 1075"/>
                <a:gd name="T34" fmla="*/ 37 w 534"/>
                <a:gd name="T35" fmla="*/ 84 h 1075"/>
                <a:gd name="T36" fmla="*/ 38 w 534"/>
                <a:gd name="T37" fmla="*/ 86 h 1075"/>
                <a:gd name="T38" fmla="*/ 38 w 534"/>
                <a:gd name="T39" fmla="*/ 95 h 1075"/>
                <a:gd name="T40" fmla="*/ 44 w 534"/>
                <a:gd name="T41" fmla="*/ 101 h 1075"/>
                <a:gd name="T42" fmla="*/ 44 w 534"/>
                <a:gd name="T43" fmla="*/ 93 h 1075"/>
                <a:gd name="T44" fmla="*/ 41 w 534"/>
                <a:gd name="T45" fmla="*/ 88 h 1075"/>
                <a:gd name="T46" fmla="*/ 41 w 534"/>
                <a:gd name="T47" fmla="*/ 78 h 1075"/>
                <a:gd name="T48" fmla="*/ 37 w 534"/>
                <a:gd name="T49" fmla="*/ 69 h 1075"/>
                <a:gd name="T50" fmla="*/ 33 w 534"/>
                <a:gd name="T51" fmla="*/ 62 h 1075"/>
                <a:gd name="T52" fmla="*/ 38 w 534"/>
                <a:gd name="T53" fmla="*/ 57 h 1075"/>
                <a:gd name="T54" fmla="*/ 42 w 534"/>
                <a:gd name="T55" fmla="*/ 54 h 1075"/>
                <a:gd name="T56" fmla="*/ 46 w 534"/>
                <a:gd name="T57" fmla="*/ 50 h 1075"/>
                <a:gd name="T58" fmla="*/ 51 w 534"/>
                <a:gd name="T59" fmla="*/ 44 h 1075"/>
                <a:gd name="T60" fmla="*/ 58 w 534"/>
                <a:gd name="T61" fmla="*/ 38 h 1075"/>
                <a:gd name="T62" fmla="*/ 55 w 534"/>
                <a:gd name="T63" fmla="*/ 27 h 1075"/>
                <a:gd name="T64" fmla="*/ 46 w 534"/>
                <a:gd name="T65" fmla="*/ 27 h 1075"/>
                <a:gd name="T66" fmla="*/ 38 w 534"/>
                <a:gd name="T67" fmla="*/ 21 h 1075"/>
                <a:gd name="T68" fmla="*/ 38 w 534"/>
                <a:gd name="T69" fmla="*/ 13 h 1075"/>
                <a:gd name="T70" fmla="*/ 34 w 534"/>
                <a:gd name="T71" fmla="*/ 3 h 1075"/>
                <a:gd name="T72" fmla="*/ 31 w 534"/>
                <a:gd name="T73" fmla="*/ 2 h 1075"/>
                <a:gd name="T74" fmla="*/ 27 w 534"/>
                <a:gd name="T75" fmla="*/ 0 h 107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4"/>
                <a:gd name="T115" fmla="*/ 0 h 1075"/>
                <a:gd name="T116" fmla="*/ 534 w 534"/>
                <a:gd name="T117" fmla="*/ 1075 h 107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4" h="1075">
                  <a:moveTo>
                    <a:pt x="244" y="0"/>
                  </a:moveTo>
                  <a:lnTo>
                    <a:pt x="203" y="47"/>
                  </a:lnTo>
                  <a:lnTo>
                    <a:pt x="133" y="110"/>
                  </a:lnTo>
                  <a:lnTo>
                    <a:pt x="93" y="204"/>
                  </a:lnTo>
                  <a:lnTo>
                    <a:pt x="93" y="308"/>
                  </a:lnTo>
                  <a:lnTo>
                    <a:pt x="35" y="308"/>
                  </a:lnTo>
                  <a:lnTo>
                    <a:pt x="23" y="354"/>
                  </a:lnTo>
                  <a:lnTo>
                    <a:pt x="17" y="459"/>
                  </a:lnTo>
                  <a:lnTo>
                    <a:pt x="0" y="511"/>
                  </a:lnTo>
                  <a:lnTo>
                    <a:pt x="63" y="558"/>
                  </a:lnTo>
                  <a:lnTo>
                    <a:pt x="110" y="715"/>
                  </a:lnTo>
                  <a:lnTo>
                    <a:pt x="150" y="785"/>
                  </a:lnTo>
                  <a:lnTo>
                    <a:pt x="180" y="807"/>
                  </a:lnTo>
                  <a:lnTo>
                    <a:pt x="220" y="807"/>
                  </a:lnTo>
                  <a:lnTo>
                    <a:pt x="244" y="715"/>
                  </a:lnTo>
                  <a:lnTo>
                    <a:pt x="290" y="762"/>
                  </a:lnTo>
                  <a:lnTo>
                    <a:pt x="290" y="825"/>
                  </a:lnTo>
                  <a:lnTo>
                    <a:pt x="337" y="895"/>
                  </a:lnTo>
                  <a:lnTo>
                    <a:pt x="354" y="919"/>
                  </a:lnTo>
                  <a:lnTo>
                    <a:pt x="354" y="1011"/>
                  </a:lnTo>
                  <a:lnTo>
                    <a:pt x="401" y="1075"/>
                  </a:lnTo>
                  <a:lnTo>
                    <a:pt x="401" y="988"/>
                  </a:lnTo>
                  <a:lnTo>
                    <a:pt x="377" y="941"/>
                  </a:lnTo>
                  <a:lnTo>
                    <a:pt x="377" y="825"/>
                  </a:lnTo>
                  <a:lnTo>
                    <a:pt x="337" y="738"/>
                  </a:lnTo>
                  <a:lnTo>
                    <a:pt x="302" y="663"/>
                  </a:lnTo>
                  <a:lnTo>
                    <a:pt x="349" y="610"/>
                  </a:lnTo>
                  <a:lnTo>
                    <a:pt x="384" y="575"/>
                  </a:lnTo>
                  <a:lnTo>
                    <a:pt x="424" y="535"/>
                  </a:lnTo>
                  <a:lnTo>
                    <a:pt x="470" y="465"/>
                  </a:lnTo>
                  <a:lnTo>
                    <a:pt x="534" y="406"/>
                  </a:lnTo>
                  <a:lnTo>
                    <a:pt x="505" y="291"/>
                  </a:lnTo>
                  <a:lnTo>
                    <a:pt x="424" y="284"/>
                  </a:lnTo>
                  <a:lnTo>
                    <a:pt x="354" y="221"/>
                  </a:lnTo>
                  <a:lnTo>
                    <a:pt x="354" y="134"/>
                  </a:lnTo>
                  <a:lnTo>
                    <a:pt x="314" y="30"/>
                  </a:lnTo>
                  <a:lnTo>
                    <a:pt x="290" y="24"/>
                  </a:lnTo>
                  <a:lnTo>
                    <a:pt x="244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0" name="Freeform 867"/>
            <p:cNvSpPr/>
            <p:nvPr/>
          </p:nvSpPr>
          <p:spPr bwMode="auto">
            <a:xfrm>
              <a:off x="3313113" y="2982913"/>
              <a:ext cx="130175" cy="147637"/>
            </a:xfrm>
            <a:custGeom>
              <a:avLst/>
              <a:gdLst>
                <a:gd name="T0" fmla="*/ 29 w 291"/>
                <a:gd name="T1" fmla="*/ 35 h 366"/>
                <a:gd name="T2" fmla="*/ 26 w 291"/>
                <a:gd name="T3" fmla="*/ 28 h 366"/>
                <a:gd name="T4" fmla="*/ 19 w 291"/>
                <a:gd name="T5" fmla="*/ 19 h 366"/>
                <a:gd name="T6" fmla="*/ 14 w 291"/>
                <a:gd name="T7" fmla="*/ 15 h 366"/>
                <a:gd name="T8" fmla="*/ 9 w 291"/>
                <a:gd name="T9" fmla="*/ 9 h 366"/>
                <a:gd name="T10" fmla="*/ 7 w 291"/>
                <a:gd name="T11" fmla="*/ 11 h 366"/>
                <a:gd name="T12" fmla="*/ 7 w 291"/>
                <a:gd name="T13" fmla="*/ 17 h 366"/>
                <a:gd name="T14" fmla="*/ 2 w 291"/>
                <a:gd name="T15" fmla="*/ 24 h 366"/>
                <a:gd name="T16" fmla="*/ 2 w 291"/>
                <a:gd name="T17" fmla="*/ 17 h 366"/>
                <a:gd name="T18" fmla="*/ 2 w 291"/>
                <a:gd name="T19" fmla="*/ 7 h 366"/>
                <a:gd name="T20" fmla="*/ 0 w 291"/>
                <a:gd name="T21" fmla="*/ 4 h 366"/>
                <a:gd name="T22" fmla="*/ 0 w 291"/>
                <a:gd name="T23" fmla="*/ 0 h 366"/>
                <a:gd name="T24" fmla="*/ 3 w 291"/>
                <a:gd name="T25" fmla="*/ 0 h 366"/>
                <a:gd name="T26" fmla="*/ 15 w 291"/>
                <a:gd name="T27" fmla="*/ 2 h 366"/>
                <a:gd name="T28" fmla="*/ 16 w 291"/>
                <a:gd name="T29" fmla="*/ 6 h 366"/>
                <a:gd name="T30" fmla="*/ 22 w 291"/>
                <a:gd name="T31" fmla="*/ 5 h 366"/>
                <a:gd name="T32" fmla="*/ 24 w 291"/>
                <a:gd name="T33" fmla="*/ 9 h 366"/>
                <a:gd name="T34" fmla="*/ 25 w 291"/>
                <a:gd name="T35" fmla="*/ 15 h 366"/>
                <a:gd name="T36" fmla="*/ 30 w 291"/>
                <a:gd name="T37" fmla="*/ 22 h 366"/>
                <a:gd name="T38" fmla="*/ 31 w 291"/>
                <a:gd name="T39" fmla="*/ 24 h 366"/>
                <a:gd name="T40" fmla="*/ 30 w 291"/>
                <a:gd name="T41" fmla="*/ 30 h 366"/>
                <a:gd name="T42" fmla="*/ 29 w 291"/>
                <a:gd name="T43" fmla="*/ 35 h 36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91"/>
                <a:gd name="T67" fmla="*/ 0 h 366"/>
                <a:gd name="T68" fmla="*/ 291 w 291"/>
                <a:gd name="T69" fmla="*/ 366 h 36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91" h="366">
                  <a:moveTo>
                    <a:pt x="274" y="366"/>
                  </a:moveTo>
                  <a:lnTo>
                    <a:pt x="245" y="289"/>
                  </a:lnTo>
                  <a:lnTo>
                    <a:pt x="175" y="202"/>
                  </a:lnTo>
                  <a:lnTo>
                    <a:pt x="134" y="156"/>
                  </a:lnTo>
                  <a:lnTo>
                    <a:pt x="88" y="92"/>
                  </a:lnTo>
                  <a:lnTo>
                    <a:pt x="65" y="110"/>
                  </a:lnTo>
                  <a:lnTo>
                    <a:pt x="65" y="179"/>
                  </a:lnTo>
                  <a:lnTo>
                    <a:pt x="18" y="249"/>
                  </a:lnTo>
                  <a:lnTo>
                    <a:pt x="18" y="179"/>
                  </a:lnTo>
                  <a:lnTo>
                    <a:pt x="18" y="69"/>
                  </a:lnTo>
                  <a:lnTo>
                    <a:pt x="0" y="45"/>
                  </a:lnTo>
                  <a:lnTo>
                    <a:pt x="0" y="5"/>
                  </a:lnTo>
                  <a:lnTo>
                    <a:pt x="30" y="0"/>
                  </a:lnTo>
                  <a:lnTo>
                    <a:pt x="140" y="22"/>
                  </a:lnTo>
                  <a:lnTo>
                    <a:pt x="152" y="63"/>
                  </a:lnTo>
                  <a:lnTo>
                    <a:pt x="204" y="57"/>
                  </a:lnTo>
                  <a:lnTo>
                    <a:pt x="227" y="98"/>
                  </a:lnTo>
                  <a:lnTo>
                    <a:pt x="233" y="162"/>
                  </a:lnTo>
                  <a:lnTo>
                    <a:pt x="279" y="226"/>
                  </a:lnTo>
                  <a:lnTo>
                    <a:pt x="291" y="249"/>
                  </a:lnTo>
                  <a:lnTo>
                    <a:pt x="285" y="313"/>
                  </a:lnTo>
                  <a:lnTo>
                    <a:pt x="274" y="36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1" name="Freeform 868"/>
            <p:cNvSpPr/>
            <p:nvPr/>
          </p:nvSpPr>
          <p:spPr bwMode="auto">
            <a:xfrm>
              <a:off x="3300413" y="2898775"/>
              <a:ext cx="242887" cy="211138"/>
            </a:xfrm>
            <a:custGeom>
              <a:avLst/>
              <a:gdLst>
                <a:gd name="T0" fmla="*/ 34 w 535"/>
                <a:gd name="T1" fmla="*/ 50 h 535"/>
                <a:gd name="T2" fmla="*/ 34 w 535"/>
                <a:gd name="T3" fmla="*/ 44 h 535"/>
                <a:gd name="T4" fmla="*/ 27 w 535"/>
                <a:gd name="T5" fmla="*/ 35 h 535"/>
                <a:gd name="T6" fmla="*/ 27 w 535"/>
                <a:gd name="T7" fmla="*/ 31 h 535"/>
                <a:gd name="T8" fmla="*/ 27 w 535"/>
                <a:gd name="T9" fmla="*/ 29 h 535"/>
                <a:gd name="T10" fmla="*/ 26 w 535"/>
                <a:gd name="T11" fmla="*/ 27 h 535"/>
                <a:gd name="T12" fmla="*/ 19 w 535"/>
                <a:gd name="T13" fmla="*/ 27 h 535"/>
                <a:gd name="T14" fmla="*/ 18 w 535"/>
                <a:gd name="T15" fmla="*/ 23 h 535"/>
                <a:gd name="T16" fmla="*/ 4 w 535"/>
                <a:gd name="T17" fmla="*/ 21 h 535"/>
                <a:gd name="T18" fmla="*/ 1 w 535"/>
                <a:gd name="T19" fmla="*/ 21 h 535"/>
                <a:gd name="T20" fmla="*/ 0 w 535"/>
                <a:gd name="T21" fmla="*/ 19 h 535"/>
                <a:gd name="T22" fmla="*/ 4 w 535"/>
                <a:gd name="T23" fmla="*/ 9 h 535"/>
                <a:gd name="T24" fmla="*/ 8 w 535"/>
                <a:gd name="T25" fmla="*/ 9 h 535"/>
                <a:gd name="T26" fmla="*/ 8 w 535"/>
                <a:gd name="T27" fmla="*/ 15 h 535"/>
                <a:gd name="T28" fmla="*/ 12 w 535"/>
                <a:gd name="T29" fmla="*/ 19 h 535"/>
                <a:gd name="T30" fmla="*/ 25 w 535"/>
                <a:gd name="T31" fmla="*/ 17 h 535"/>
                <a:gd name="T32" fmla="*/ 25 w 535"/>
                <a:gd name="T33" fmla="*/ 7 h 535"/>
                <a:gd name="T34" fmla="*/ 30 w 535"/>
                <a:gd name="T35" fmla="*/ 6 h 535"/>
                <a:gd name="T36" fmla="*/ 35 w 535"/>
                <a:gd name="T37" fmla="*/ 3 h 535"/>
                <a:gd name="T38" fmla="*/ 40 w 535"/>
                <a:gd name="T39" fmla="*/ 0 h 535"/>
                <a:gd name="T40" fmla="*/ 46 w 535"/>
                <a:gd name="T41" fmla="*/ 0 h 535"/>
                <a:gd name="T42" fmla="*/ 48 w 535"/>
                <a:gd name="T43" fmla="*/ 0 h 535"/>
                <a:gd name="T44" fmla="*/ 50 w 535"/>
                <a:gd name="T45" fmla="*/ 4 h 535"/>
                <a:gd name="T46" fmla="*/ 58 w 535"/>
                <a:gd name="T47" fmla="*/ 7 h 535"/>
                <a:gd name="T48" fmla="*/ 55 w 535"/>
                <a:gd name="T49" fmla="*/ 10 h 535"/>
                <a:gd name="T50" fmla="*/ 46 w 535"/>
                <a:gd name="T51" fmla="*/ 18 h 535"/>
                <a:gd name="T52" fmla="*/ 43 w 535"/>
                <a:gd name="T53" fmla="*/ 23 h 535"/>
                <a:gd name="T54" fmla="*/ 42 w 535"/>
                <a:gd name="T55" fmla="*/ 31 h 535"/>
                <a:gd name="T56" fmla="*/ 42 w 535"/>
                <a:gd name="T57" fmla="*/ 35 h 535"/>
                <a:gd name="T58" fmla="*/ 37 w 535"/>
                <a:gd name="T59" fmla="*/ 35 h 535"/>
                <a:gd name="T60" fmla="*/ 34 w 535"/>
                <a:gd name="T61" fmla="*/ 42 h 535"/>
                <a:gd name="T62" fmla="*/ 34 w 535"/>
                <a:gd name="T63" fmla="*/ 50 h 5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35"/>
                <a:gd name="T97" fmla="*/ 0 h 535"/>
                <a:gd name="T98" fmla="*/ 535 w 535"/>
                <a:gd name="T99" fmla="*/ 535 h 5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35" h="535">
                  <a:moveTo>
                    <a:pt x="314" y="535"/>
                  </a:moveTo>
                  <a:lnTo>
                    <a:pt x="314" y="471"/>
                  </a:lnTo>
                  <a:lnTo>
                    <a:pt x="250" y="378"/>
                  </a:lnTo>
                  <a:lnTo>
                    <a:pt x="250" y="332"/>
                  </a:lnTo>
                  <a:lnTo>
                    <a:pt x="250" y="309"/>
                  </a:lnTo>
                  <a:lnTo>
                    <a:pt x="238" y="285"/>
                  </a:lnTo>
                  <a:lnTo>
                    <a:pt x="175" y="291"/>
                  </a:lnTo>
                  <a:lnTo>
                    <a:pt x="163" y="250"/>
                  </a:lnTo>
                  <a:lnTo>
                    <a:pt x="41" y="222"/>
                  </a:lnTo>
                  <a:lnTo>
                    <a:pt x="6" y="222"/>
                  </a:lnTo>
                  <a:lnTo>
                    <a:pt x="0" y="198"/>
                  </a:lnTo>
                  <a:lnTo>
                    <a:pt x="35" y="94"/>
                  </a:lnTo>
                  <a:lnTo>
                    <a:pt x="70" y="94"/>
                  </a:lnTo>
                  <a:lnTo>
                    <a:pt x="70" y="157"/>
                  </a:lnTo>
                  <a:lnTo>
                    <a:pt x="111" y="204"/>
                  </a:lnTo>
                  <a:lnTo>
                    <a:pt x="227" y="180"/>
                  </a:lnTo>
                  <a:lnTo>
                    <a:pt x="227" y="77"/>
                  </a:lnTo>
                  <a:lnTo>
                    <a:pt x="273" y="65"/>
                  </a:lnTo>
                  <a:lnTo>
                    <a:pt x="325" y="30"/>
                  </a:lnTo>
                  <a:lnTo>
                    <a:pt x="367" y="0"/>
                  </a:lnTo>
                  <a:lnTo>
                    <a:pt x="424" y="0"/>
                  </a:lnTo>
                  <a:lnTo>
                    <a:pt x="442" y="0"/>
                  </a:lnTo>
                  <a:lnTo>
                    <a:pt x="459" y="42"/>
                  </a:lnTo>
                  <a:lnTo>
                    <a:pt x="535" y="70"/>
                  </a:lnTo>
                  <a:lnTo>
                    <a:pt x="506" y="105"/>
                  </a:lnTo>
                  <a:lnTo>
                    <a:pt x="424" y="192"/>
                  </a:lnTo>
                  <a:lnTo>
                    <a:pt x="395" y="250"/>
                  </a:lnTo>
                  <a:lnTo>
                    <a:pt x="384" y="332"/>
                  </a:lnTo>
                  <a:lnTo>
                    <a:pt x="384" y="378"/>
                  </a:lnTo>
                  <a:lnTo>
                    <a:pt x="337" y="378"/>
                  </a:lnTo>
                  <a:lnTo>
                    <a:pt x="314" y="448"/>
                  </a:lnTo>
                  <a:lnTo>
                    <a:pt x="314" y="53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2" name="Freeform 869"/>
            <p:cNvSpPr/>
            <p:nvPr/>
          </p:nvSpPr>
          <p:spPr bwMode="auto">
            <a:xfrm>
              <a:off x="3328988" y="2928938"/>
              <a:ext cx="79375" cy="50800"/>
            </a:xfrm>
            <a:custGeom>
              <a:avLst/>
              <a:gdLst>
                <a:gd name="T0" fmla="*/ 0 w 168"/>
                <a:gd name="T1" fmla="*/ 2 h 127"/>
                <a:gd name="T2" fmla="*/ 0 w 168"/>
                <a:gd name="T3" fmla="*/ 7 h 127"/>
                <a:gd name="T4" fmla="*/ 2 w 168"/>
                <a:gd name="T5" fmla="*/ 10 h 127"/>
                <a:gd name="T6" fmla="*/ 5 w 168"/>
                <a:gd name="T7" fmla="*/ 12 h 127"/>
                <a:gd name="T8" fmla="*/ 13 w 168"/>
                <a:gd name="T9" fmla="*/ 10 h 127"/>
                <a:gd name="T10" fmla="*/ 19 w 168"/>
                <a:gd name="T11" fmla="*/ 9 h 127"/>
                <a:gd name="T12" fmla="*/ 18 w 168"/>
                <a:gd name="T13" fmla="*/ 3 h 127"/>
                <a:gd name="T14" fmla="*/ 19 w 168"/>
                <a:gd name="T15" fmla="*/ 0 h 127"/>
                <a:gd name="T16" fmla="*/ 11 w 168"/>
                <a:gd name="T17" fmla="*/ 2 h 127"/>
                <a:gd name="T18" fmla="*/ 3 w 168"/>
                <a:gd name="T19" fmla="*/ 2 h 127"/>
                <a:gd name="T20" fmla="*/ 0 w 168"/>
                <a:gd name="T21" fmla="*/ 2 h 1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8"/>
                <a:gd name="T34" fmla="*/ 0 h 127"/>
                <a:gd name="T35" fmla="*/ 168 w 168"/>
                <a:gd name="T36" fmla="*/ 127 h 1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8" h="127">
                  <a:moveTo>
                    <a:pt x="0" y="17"/>
                  </a:moveTo>
                  <a:lnTo>
                    <a:pt x="0" y="75"/>
                  </a:lnTo>
                  <a:lnTo>
                    <a:pt x="18" y="103"/>
                  </a:lnTo>
                  <a:lnTo>
                    <a:pt x="46" y="127"/>
                  </a:lnTo>
                  <a:lnTo>
                    <a:pt x="116" y="110"/>
                  </a:lnTo>
                  <a:lnTo>
                    <a:pt x="168" y="98"/>
                  </a:lnTo>
                  <a:lnTo>
                    <a:pt x="163" y="33"/>
                  </a:lnTo>
                  <a:lnTo>
                    <a:pt x="168" y="0"/>
                  </a:lnTo>
                  <a:lnTo>
                    <a:pt x="98" y="17"/>
                  </a:lnTo>
                  <a:lnTo>
                    <a:pt x="29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3" name="Freeform 870"/>
            <p:cNvSpPr/>
            <p:nvPr/>
          </p:nvSpPr>
          <p:spPr bwMode="auto">
            <a:xfrm>
              <a:off x="2787650" y="2681288"/>
              <a:ext cx="533400" cy="717550"/>
            </a:xfrm>
            <a:custGeom>
              <a:avLst/>
              <a:gdLst>
                <a:gd name="T0" fmla="*/ 39 w 1169"/>
                <a:gd name="T1" fmla="*/ 0 h 1848"/>
                <a:gd name="T2" fmla="*/ 24 w 1169"/>
                <a:gd name="T3" fmla="*/ 4 h 1848"/>
                <a:gd name="T4" fmla="*/ 22 w 1169"/>
                <a:gd name="T5" fmla="*/ 6 h 1848"/>
                <a:gd name="T6" fmla="*/ 22 w 1169"/>
                <a:gd name="T7" fmla="*/ 10 h 1848"/>
                <a:gd name="T8" fmla="*/ 29 w 1169"/>
                <a:gd name="T9" fmla="*/ 17 h 1848"/>
                <a:gd name="T10" fmla="*/ 24 w 1169"/>
                <a:gd name="T11" fmla="*/ 23 h 1848"/>
                <a:gd name="T12" fmla="*/ 27 w 1169"/>
                <a:gd name="T13" fmla="*/ 29 h 1848"/>
                <a:gd name="T14" fmla="*/ 42 w 1169"/>
                <a:gd name="T15" fmla="*/ 31 h 1848"/>
                <a:gd name="T16" fmla="*/ 42 w 1169"/>
                <a:gd name="T17" fmla="*/ 33 h 1848"/>
                <a:gd name="T18" fmla="*/ 37 w 1169"/>
                <a:gd name="T19" fmla="*/ 38 h 1848"/>
                <a:gd name="T20" fmla="*/ 29 w 1169"/>
                <a:gd name="T21" fmla="*/ 54 h 1848"/>
                <a:gd name="T22" fmla="*/ 24 w 1169"/>
                <a:gd name="T23" fmla="*/ 61 h 1848"/>
                <a:gd name="T24" fmla="*/ 10 w 1169"/>
                <a:gd name="T25" fmla="*/ 64 h 1848"/>
                <a:gd name="T26" fmla="*/ 12 w 1169"/>
                <a:gd name="T27" fmla="*/ 71 h 1848"/>
                <a:gd name="T28" fmla="*/ 19 w 1169"/>
                <a:gd name="T29" fmla="*/ 79 h 1848"/>
                <a:gd name="T30" fmla="*/ 12 w 1169"/>
                <a:gd name="T31" fmla="*/ 83 h 1848"/>
                <a:gd name="T32" fmla="*/ 7 w 1169"/>
                <a:gd name="T33" fmla="*/ 81 h 1848"/>
                <a:gd name="T34" fmla="*/ 0 w 1169"/>
                <a:gd name="T35" fmla="*/ 79 h 1848"/>
                <a:gd name="T36" fmla="*/ 0 w 1169"/>
                <a:gd name="T37" fmla="*/ 83 h 1848"/>
                <a:gd name="T38" fmla="*/ 3 w 1169"/>
                <a:gd name="T39" fmla="*/ 87 h 1848"/>
                <a:gd name="T40" fmla="*/ 15 w 1169"/>
                <a:gd name="T41" fmla="*/ 87 h 1848"/>
                <a:gd name="T42" fmla="*/ 15 w 1169"/>
                <a:gd name="T43" fmla="*/ 89 h 1848"/>
                <a:gd name="T44" fmla="*/ 7 w 1169"/>
                <a:gd name="T45" fmla="*/ 91 h 1848"/>
                <a:gd name="T46" fmla="*/ 15 w 1169"/>
                <a:gd name="T47" fmla="*/ 99 h 1848"/>
                <a:gd name="T48" fmla="*/ 22 w 1169"/>
                <a:gd name="T49" fmla="*/ 99 h 1848"/>
                <a:gd name="T50" fmla="*/ 27 w 1169"/>
                <a:gd name="T51" fmla="*/ 89 h 1848"/>
                <a:gd name="T52" fmla="*/ 29 w 1169"/>
                <a:gd name="T53" fmla="*/ 96 h 1848"/>
                <a:gd name="T54" fmla="*/ 32 w 1169"/>
                <a:gd name="T55" fmla="*/ 117 h 1848"/>
                <a:gd name="T56" fmla="*/ 44 w 1169"/>
                <a:gd name="T57" fmla="*/ 144 h 1848"/>
                <a:gd name="T58" fmla="*/ 51 w 1169"/>
                <a:gd name="T59" fmla="*/ 158 h 1848"/>
                <a:gd name="T60" fmla="*/ 59 w 1169"/>
                <a:gd name="T61" fmla="*/ 169 h 1848"/>
                <a:gd name="T62" fmla="*/ 61 w 1169"/>
                <a:gd name="T63" fmla="*/ 171 h 1848"/>
                <a:gd name="T64" fmla="*/ 73 w 1169"/>
                <a:gd name="T65" fmla="*/ 165 h 1848"/>
                <a:gd name="T66" fmla="*/ 85 w 1169"/>
                <a:gd name="T67" fmla="*/ 144 h 1848"/>
                <a:gd name="T68" fmla="*/ 90 w 1169"/>
                <a:gd name="T69" fmla="*/ 123 h 1848"/>
                <a:gd name="T70" fmla="*/ 98 w 1169"/>
                <a:gd name="T71" fmla="*/ 119 h 1848"/>
                <a:gd name="T72" fmla="*/ 118 w 1169"/>
                <a:gd name="T73" fmla="*/ 108 h 1848"/>
                <a:gd name="T74" fmla="*/ 125 w 1169"/>
                <a:gd name="T75" fmla="*/ 98 h 1848"/>
                <a:gd name="T76" fmla="*/ 127 w 1169"/>
                <a:gd name="T77" fmla="*/ 96 h 1848"/>
                <a:gd name="T78" fmla="*/ 127 w 1169"/>
                <a:gd name="T79" fmla="*/ 79 h 1848"/>
                <a:gd name="T80" fmla="*/ 125 w 1169"/>
                <a:gd name="T81" fmla="*/ 75 h 1848"/>
                <a:gd name="T82" fmla="*/ 123 w 1169"/>
                <a:gd name="T83" fmla="*/ 71 h 1848"/>
                <a:gd name="T84" fmla="*/ 123 w 1169"/>
                <a:gd name="T85" fmla="*/ 69 h 1848"/>
                <a:gd name="T86" fmla="*/ 108 w 1169"/>
                <a:gd name="T87" fmla="*/ 69 h 1848"/>
                <a:gd name="T88" fmla="*/ 103 w 1169"/>
                <a:gd name="T89" fmla="*/ 67 h 1848"/>
                <a:gd name="T90" fmla="*/ 95 w 1169"/>
                <a:gd name="T91" fmla="*/ 63 h 1848"/>
                <a:gd name="T92" fmla="*/ 85 w 1169"/>
                <a:gd name="T93" fmla="*/ 63 h 1848"/>
                <a:gd name="T94" fmla="*/ 73 w 1169"/>
                <a:gd name="T95" fmla="*/ 52 h 1848"/>
                <a:gd name="T96" fmla="*/ 73 w 1169"/>
                <a:gd name="T97" fmla="*/ 50 h 1848"/>
                <a:gd name="T98" fmla="*/ 73 w 1169"/>
                <a:gd name="T99" fmla="*/ 44 h 1848"/>
                <a:gd name="T100" fmla="*/ 66 w 1169"/>
                <a:gd name="T101" fmla="*/ 42 h 1848"/>
                <a:gd name="T102" fmla="*/ 61 w 1169"/>
                <a:gd name="T103" fmla="*/ 38 h 1848"/>
                <a:gd name="T104" fmla="*/ 59 w 1169"/>
                <a:gd name="T105" fmla="*/ 29 h 1848"/>
                <a:gd name="T106" fmla="*/ 59 w 1169"/>
                <a:gd name="T107" fmla="*/ 25 h 1848"/>
                <a:gd name="T108" fmla="*/ 63 w 1169"/>
                <a:gd name="T109" fmla="*/ 17 h 1848"/>
                <a:gd name="T110" fmla="*/ 66 w 1169"/>
                <a:gd name="T111" fmla="*/ 12 h 1848"/>
                <a:gd name="T112" fmla="*/ 66 w 1169"/>
                <a:gd name="T113" fmla="*/ 4 h 1848"/>
                <a:gd name="T114" fmla="*/ 59 w 1169"/>
                <a:gd name="T115" fmla="*/ 9 h 1848"/>
                <a:gd name="T116" fmla="*/ 55 w 1169"/>
                <a:gd name="T117" fmla="*/ 10 h 1848"/>
                <a:gd name="T118" fmla="*/ 44 w 1169"/>
                <a:gd name="T119" fmla="*/ 9 h 1848"/>
                <a:gd name="T120" fmla="*/ 41 w 1169"/>
                <a:gd name="T121" fmla="*/ 2 h 1848"/>
                <a:gd name="T122" fmla="*/ 39 w 1169"/>
                <a:gd name="T123" fmla="*/ 0 h 18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69"/>
                <a:gd name="T187" fmla="*/ 0 h 1848"/>
                <a:gd name="T188" fmla="*/ 1169 w 1169"/>
                <a:gd name="T189" fmla="*/ 1848 h 18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69" h="1848">
                  <a:moveTo>
                    <a:pt x="356" y="0"/>
                  </a:moveTo>
                  <a:lnTo>
                    <a:pt x="222" y="47"/>
                  </a:lnTo>
                  <a:lnTo>
                    <a:pt x="199" y="70"/>
                  </a:lnTo>
                  <a:lnTo>
                    <a:pt x="199" y="110"/>
                  </a:lnTo>
                  <a:lnTo>
                    <a:pt x="268" y="180"/>
                  </a:lnTo>
                  <a:lnTo>
                    <a:pt x="222" y="250"/>
                  </a:lnTo>
                  <a:lnTo>
                    <a:pt x="244" y="314"/>
                  </a:lnTo>
                  <a:lnTo>
                    <a:pt x="384" y="337"/>
                  </a:lnTo>
                  <a:lnTo>
                    <a:pt x="384" y="361"/>
                  </a:lnTo>
                  <a:lnTo>
                    <a:pt x="338" y="406"/>
                  </a:lnTo>
                  <a:lnTo>
                    <a:pt x="268" y="587"/>
                  </a:lnTo>
                  <a:lnTo>
                    <a:pt x="222" y="657"/>
                  </a:lnTo>
                  <a:lnTo>
                    <a:pt x="88" y="697"/>
                  </a:lnTo>
                  <a:lnTo>
                    <a:pt x="112" y="767"/>
                  </a:lnTo>
                  <a:lnTo>
                    <a:pt x="175" y="854"/>
                  </a:lnTo>
                  <a:lnTo>
                    <a:pt x="112" y="895"/>
                  </a:lnTo>
                  <a:lnTo>
                    <a:pt x="65" y="872"/>
                  </a:lnTo>
                  <a:lnTo>
                    <a:pt x="0" y="854"/>
                  </a:lnTo>
                  <a:lnTo>
                    <a:pt x="0" y="895"/>
                  </a:lnTo>
                  <a:lnTo>
                    <a:pt x="24" y="941"/>
                  </a:lnTo>
                  <a:lnTo>
                    <a:pt x="134" y="941"/>
                  </a:lnTo>
                  <a:lnTo>
                    <a:pt x="134" y="964"/>
                  </a:lnTo>
                  <a:lnTo>
                    <a:pt x="65" y="987"/>
                  </a:lnTo>
                  <a:lnTo>
                    <a:pt x="134" y="1074"/>
                  </a:lnTo>
                  <a:lnTo>
                    <a:pt x="199" y="1074"/>
                  </a:lnTo>
                  <a:lnTo>
                    <a:pt x="244" y="964"/>
                  </a:lnTo>
                  <a:lnTo>
                    <a:pt x="268" y="1034"/>
                  </a:lnTo>
                  <a:lnTo>
                    <a:pt x="291" y="1261"/>
                  </a:lnTo>
                  <a:lnTo>
                    <a:pt x="401" y="1552"/>
                  </a:lnTo>
                  <a:lnTo>
                    <a:pt x="471" y="1708"/>
                  </a:lnTo>
                  <a:lnTo>
                    <a:pt x="541" y="1824"/>
                  </a:lnTo>
                  <a:lnTo>
                    <a:pt x="558" y="1848"/>
                  </a:lnTo>
                  <a:lnTo>
                    <a:pt x="675" y="1778"/>
                  </a:lnTo>
                  <a:lnTo>
                    <a:pt x="785" y="1552"/>
                  </a:lnTo>
                  <a:lnTo>
                    <a:pt x="832" y="1325"/>
                  </a:lnTo>
                  <a:lnTo>
                    <a:pt x="902" y="1284"/>
                  </a:lnTo>
                  <a:lnTo>
                    <a:pt x="1082" y="1168"/>
                  </a:lnTo>
                  <a:lnTo>
                    <a:pt x="1151" y="1057"/>
                  </a:lnTo>
                  <a:lnTo>
                    <a:pt x="1169" y="1034"/>
                  </a:lnTo>
                  <a:lnTo>
                    <a:pt x="1169" y="854"/>
                  </a:lnTo>
                  <a:lnTo>
                    <a:pt x="1151" y="807"/>
                  </a:lnTo>
                  <a:lnTo>
                    <a:pt x="1128" y="767"/>
                  </a:lnTo>
                  <a:lnTo>
                    <a:pt x="1128" y="743"/>
                  </a:lnTo>
                  <a:lnTo>
                    <a:pt x="994" y="743"/>
                  </a:lnTo>
                  <a:lnTo>
                    <a:pt x="948" y="720"/>
                  </a:lnTo>
                  <a:lnTo>
                    <a:pt x="878" y="680"/>
                  </a:lnTo>
                  <a:lnTo>
                    <a:pt x="785" y="680"/>
                  </a:lnTo>
                  <a:lnTo>
                    <a:pt x="675" y="563"/>
                  </a:lnTo>
                  <a:lnTo>
                    <a:pt x="675" y="541"/>
                  </a:lnTo>
                  <a:lnTo>
                    <a:pt x="675" y="471"/>
                  </a:lnTo>
                  <a:lnTo>
                    <a:pt x="605" y="453"/>
                  </a:lnTo>
                  <a:lnTo>
                    <a:pt x="558" y="406"/>
                  </a:lnTo>
                  <a:lnTo>
                    <a:pt x="541" y="314"/>
                  </a:lnTo>
                  <a:lnTo>
                    <a:pt x="541" y="274"/>
                  </a:lnTo>
                  <a:lnTo>
                    <a:pt x="581" y="180"/>
                  </a:lnTo>
                  <a:lnTo>
                    <a:pt x="605" y="134"/>
                  </a:lnTo>
                  <a:lnTo>
                    <a:pt x="605" y="47"/>
                  </a:lnTo>
                  <a:lnTo>
                    <a:pt x="541" y="99"/>
                  </a:lnTo>
                  <a:lnTo>
                    <a:pt x="506" y="105"/>
                  </a:lnTo>
                  <a:lnTo>
                    <a:pt x="401" y="93"/>
                  </a:lnTo>
                  <a:lnTo>
                    <a:pt x="373" y="23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4" name="Freeform 871"/>
            <p:cNvSpPr/>
            <p:nvPr/>
          </p:nvSpPr>
          <p:spPr bwMode="auto">
            <a:xfrm>
              <a:off x="3094038" y="2862263"/>
              <a:ext cx="222250" cy="107950"/>
            </a:xfrm>
            <a:custGeom>
              <a:avLst/>
              <a:gdLst>
                <a:gd name="T0" fmla="*/ 0 w 488"/>
                <a:gd name="T1" fmla="*/ 0 h 272"/>
                <a:gd name="T2" fmla="*/ 0 w 488"/>
                <a:gd name="T3" fmla="*/ 4 h 272"/>
                <a:gd name="T4" fmla="*/ 0 w 488"/>
                <a:gd name="T5" fmla="*/ 9 h 272"/>
                <a:gd name="T6" fmla="*/ 10 w 488"/>
                <a:gd name="T7" fmla="*/ 18 h 272"/>
                <a:gd name="T8" fmla="*/ 13 w 488"/>
                <a:gd name="T9" fmla="*/ 20 h 272"/>
                <a:gd name="T10" fmla="*/ 22 w 488"/>
                <a:gd name="T11" fmla="*/ 20 h 272"/>
                <a:gd name="T12" fmla="*/ 30 w 488"/>
                <a:gd name="T13" fmla="*/ 24 h 272"/>
                <a:gd name="T14" fmla="*/ 34 w 488"/>
                <a:gd name="T15" fmla="*/ 26 h 272"/>
                <a:gd name="T16" fmla="*/ 37 w 488"/>
                <a:gd name="T17" fmla="*/ 26 h 272"/>
                <a:gd name="T18" fmla="*/ 47 w 488"/>
                <a:gd name="T19" fmla="*/ 26 h 272"/>
                <a:gd name="T20" fmla="*/ 50 w 488"/>
                <a:gd name="T21" fmla="*/ 26 h 272"/>
                <a:gd name="T22" fmla="*/ 53 w 488"/>
                <a:gd name="T23" fmla="*/ 22 h 272"/>
                <a:gd name="T24" fmla="*/ 53 w 488"/>
                <a:gd name="T25" fmla="*/ 18 h 272"/>
                <a:gd name="T26" fmla="*/ 44 w 488"/>
                <a:gd name="T27" fmla="*/ 18 h 272"/>
                <a:gd name="T28" fmla="*/ 42 w 488"/>
                <a:gd name="T29" fmla="*/ 15 h 272"/>
                <a:gd name="T30" fmla="*/ 39 w 488"/>
                <a:gd name="T31" fmla="*/ 12 h 272"/>
                <a:gd name="T32" fmla="*/ 35 w 488"/>
                <a:gd name="T33" fmla="*/ 12 h 272"/>
                <a:gd name="T34" fmla="*/ 30 w 488"/>
                <a:gd name="T35" fmla="*/ 13 h 272"/>
                <a:gd name="T36" fmla="*/ 21 w 488"/>
                <a:gd name="T37" fmla="*/ 9 h 272"/>
                <a:gd name="T38" fmla="*/ 14 w 488"/>
                <a:gd name="T39" fmla="*/ 4 h 272"/>
                <a:gd name="T40" fmla="*/ 7 w 488"/>
                <a:gd name="T41" fmla="*/ 2 h 272"/>
                <a:gd name="T42" fmla="*/ 0 w 488"/>
                <a:gd name="T43" fmla="*/ 0 h 2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88"/>
                <a:gd name="T67" fmla="*/ 0 h 272"/>
                <a:gd name="T68" fmla="*/ 488 w 488"/>
                <a:gd name="T69" fmla="*/ 272 h 2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88" h="272">
                  <a:moveTo>
                    <a:pt x="0" y="0"/>
                  </a:moveTo>
                  <a:lnTo>
                    <a:pt x="0" y="47"/>
                  </a:lnTo>
                  <a:lnTo>
                    <a:pt x="0" y="92"/>
                  </a:lnTo>
                  <a:lnTo>
                    <a:pt x="93" y="186"/>
                  </a:lnTo>
                  <a:lnTo>
                    <a:pt x="116" y="209"/>
                  </a:lnTo>
                  <a:lnTo>
                    <a:pt x="203" y="209"/>
                  </a:lnTo>
                  <a:lnTo>
                    <a:pt x="273" y="249"/>
                  </a:lnTo>
                  <a:lnTo>
                    <a:pt x="314" y="272"/>
                  </a:lnTo>
                  <a:lnTo>
                    <a:pt x="337" y="272"/>
                  </a:lnTo>
                  <a:lnTo>
                    <a:pt x="429" y="272"/>
                  </a:lnTo>
                  <a:lnTo>
                    <a:pt x="459" y="272"/>
                  </a:lnTo>
                  <a:lnTo>
                    <a:pt x="488" y="226"/>
                  </a:lnTo>
                  <a:lnTo>
                    <a:pt x="488" y="186"/>
                  </a:lnTo>
                  <a:lnTo>
                    <a:pt x="407" y="186"/>
                  </a:lnTo>
                  <a:lnTo>
                    <a:pt x="384" y="162"/>
                  </a:lnTo>
                  <a:lnTo>
                    <a:pt x="360" y="122"/>
                  </a:lnTo>
                  <a:lnTo>
                    <a:pt x="319" y="122"/>
                  </a:lnTo>
                  <a:lnTo>
                    <a:pt x="279" y="134"/>
                  </a:lnTo>
                  <a:lnTo>
                    <a:pt x="192" y="92"/>
                  </a:lnTo>
                  <a:lnTo>
                    <a:pt x="128" y="47"/>
                  </a:lnTo>
                  <a:lnTo>
                    <a:pt x="63" y="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5" name="Freeform 872"/>
            <p:cNvSpPr/>
            <p:nvPr/>
          </p:nvSpPr>
          <p:spPr bwMode="auto">
            <a:xfrm>
              <a:off x="2598738" y="2706688"/>
              <a:ext cx="365125" cy="322262"/>
            </a:xfrm>
            <a:custGeom>
              <a:avLst/>
              <a:gdLst>
                <a:gd name="T0" fmla="*/ 67 w 796"/>
                <a:gd name="T1" fmla="*/ 0 h 825"/>
                <a:gd name="T2" fmla="*/ 60 w 796"/>
                <a:gd name="T3" fmla="*/ 2 h 825"/>
                <a:gd name="T4" fmla="*/ 57 w 796"/>
                <a:gd name="T5" fmla="*/ 2 h 825"/>
                <a:gd name="T6" fmla="*/ 57 w 796"/>
                <a:gd name="T7" fmla="*/ 9 h 825"/>
                <a:gd name="T8" fmla="*/ 55 w 796"/>
                <a:gd name="T9" fmla="*/ 15 h 825"/>
                <a:gd name="T10" fmla="*/ 52 w 796"/>
                <a:gd name="T11" fmla="*/ 15 h 825"/>
                <a:gd name="T12" fmla="*/ 48 w 796"/>
                <a:gd name="T13" fmla="*/ 25 h 825"/>
                <a:gd name="T14" fmla="*/ 43 w 796"/>
                <a:gd name="T15" fmla="*/ 28 h 825"/>
                <a:gd name="T16" fmla="*/ 39 w 796"/>
                <a:gd name="T17" fmla="*/ 33 h 825"/>
                <a:gd name="T18" fmla="*/ 27 w 796"/>
                <a:gd name="T19" fmla="*/ 34 h 825"/>
                <a:gd name="T20" fmla="*/ 27 w 796"/>
                <a:gd name="T21" fmla="*/ 42 h 825"/>
                <a:gd name="T22" fmla="*/ 18 w 796"/>
                <a:gd name="T23" fmla="*/ 44 h 825"/>
                <a:gd name="T24" fmla="*/ 10 w 796"/>
                <a:gd name="T25" fmla="*/ 42 h 825"/>
                <a:gd name="T26" fmla="*/ 0 w 796"/>
                <a:gd name="T27" fmla="*/ 40 h 825"/>
                <a:gd name="T28" fmla="*/ 0 w 796"/>
                <a:gd name="T29" fmla="*/ 46 h 825"/>
                <a:gd name="T30" fmla="*/ 10 w 796"/>
                <a:gd name="T31" fmla="*/ 53 h 825"/>
                <a:gd name="T32" fmla="*/ 10 w 796"/>
                <a:gd name="T33" fmla="*/ 59 h 825"/>
                <a:gd name="T34" fmla="*/ 5 w 796"/>
                <a:gd name="T35" fmla="*/ 59 h 825"/>
                <a:gd name="T36" fmla="*/ 3 w 796"/>
                <a:gd name="T37" fmla="*/ 67 h 825"/>
                <a:gd name="T38" fmla="*/ 13 w 796"/>
                <a:gd name="T39" fmla="*/ 67 h 825"/>
                <a:gd name="T40" fmla="*/ 32 w 796"/>
                <a:gd name="T41" fmla="*/ 67 h 825"/>
                <a:gd name="T42" fmla="*/ 37 w 796"/>
                <a:gd name="T43" fmla="*/ 71 h 825"/>
                <a:gd name="T44" fmla="*/ 45 w 796"/>
                <a:gd name="T45" fmla="*/ 77 h 825"/>
                <a:gd name="T46" fmla="*/ 45 w 796"/>
                <a:gd name="T47" fmla="*/ 73 h 825"/>
                <a:gd name="T48" fmla="*/ 50 w 796"/>
                <a:gd name="T49" fmla="*/ 75 h 825"/>
                <a:gd name="T50" fmla="*/ 57 w 796"/>
                <a:gd name="T51" fmla="*/ 77 h 825"/>
                <a:gd name="T52" fmla="*/ 64 w 796"/>
                <a:gd name="T53" fmla="*/ 73 h 825"/>
                <a:gd name="T54" fmla="*/ 55 w 796"/>
                <a:gd name="T55" fmla="*/ 59 h 825"/>
                <a:gd name="T56" fmla="*/ 62 w 796"/>
                <a:gd name="T57" fmla="*/ 57 h 825"/>
                <a:gd name="T58" fmla="*/ 69 w 796"/>
                <a:gd name="T59" fmla="*/ 55 h 825"/>
                <a:gd name="T60" fmla="*/ 82 w 796"/>
                <a:gd name="T61" fmla="*/ 37 h 825"/>
                <a:gd name="T62" fmla="*/ 82 w 796"/>
                <a:gd name="T63" fmla="*/ 34 h 825"/>
                <a:gd name="T64" fmla="*/ 87 w 796"/>
                <a:gd name="T65" fmla="*/ 25 h 825"/>
                <a:gd name="T66" fmla="*/ 77 w 796"/>
                <a:gd name="T67" fmla="*/ 23 h 825"/>
                <a:gd name="T68" fmla="*/ 72 w 796"/>
                <a:gd name="T69" fmla="*/ 23 h 825"/>
                <a:gd name="T70" fmla="*/ 69 w 796"/>
                <a:gd name="T71" fmla="*/ 16 h 825"/>
                <a:gd name="T72" fmla="*/ 74 w 796"/>
                <a:gd name="T73" fmla="*/ 10 h 825"/>
                <a:gd name="T74" fmla="*/ 68 w 796"/>
                <a:gd name="T75" fmla="*/ 5 h 825"/>
                <a:gd name="T76" fmla="*/ 67 w 796"/>
                <a:gd name="T77" fmla="*/ 2 h 825"/>
                <a:gd name="T78" fmla="*/ 67 w 796"/>
                <a:gd name="T79" fmla="*/ 0 h 8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6"/>
                <a:gd name="T121" fmla="*/ 0 h 825"/>
                <a:gd name="T122" fmla="*/ 796 w 796"/>
                <a:gd name="T123" fmla="*/ 825 h 82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6" h="825">
                  <a:moveTo>
                    <a:pt x="611" y="0"/>
                  </a:moveTo>
                  <a:lnTo>
                    <a:pt x="546" y="17"/>
                  </a:lnTo>
                  <a:lnTo>
                    <a:pt x="524" y="17"/>
                  </a:lnTo>
                  <a:lnTo>
                    <a:pt x="517" y="92"/>
                  </a:lnTo>
                  <a:lnTo>
                    <a:pt x="500" y="157"/>
                  </a:lnTo>
                  <a:lnTo>
                    <a:pt x="477" y="157"/>
                  </a:lnTo>
                  <a:lnTo>
                    <a:pt x="436" y="267"/>
                  </a:lnTo>
                  <a:lnTo>
                    <a:pt x="389" y="296"/>
                  </a:lnTo>
                  <a:lnTo>
                    <a:pt x="360" y="354"/>
                  </a:lnTo>
                  <a:lnTo>
                    <a:pt x="250" y="360"/>
                  </a:lnTo>
                  <a:lnTo>
                    <a:pt x="250" y="448"/>
                  </a:lnTo>
                  <a:lnTo>
                    <a:pt x="163" y="471"/>
                  </a:lnTo>
                  <a:lnTo>
                    <a:pt x="93" y="448"/>
                  </a:lnTo>
                  <a:lnTo>
                    <a:pt x="0" y="424"/>
                  </a:lnTo>
                  <a:lnTo>
                    <a:pt x="0" y="493"/>
                  </a:lnTo>
                  <a:lnTo>
                    <a:pt x="93" y="563"/>
                  </a:lnTo>
                  <a:lnTo>
                    <a:pt x="93" y="627"/>
                  </a:lnTo>
                  <a:lnTo>
                    <a:pt x="46" y="627"/>
                  </a:lnTo>
                  <a:lnTo>
                    <a:pt x="23" y="720"/>
                  </a:lnTo>
                  <a:lnTo>
                    <a:pt x="116" y="720"/>
                  </a:lnTo>
                  <a:lnTo>
                    <a:pt x="297" y="720"/>
                  </a:lnTo>
                  <a:lnTo>
                    <a:pt x="343" y="760"/>
                  </a:lnTo>
                  <a:lnTo>
                    <a:pt x="412" y="825"/>
                  </a:lnTo>
                  <a:lnTo>
                    <a:pt x="412" y="784"/>
                  </a:lnTo>
                  <a:lnTo>
                    <a:pt x="454" y="802"/>
                  </a:lnTo>
                  <a:lnTo>
                    <a:pt x="517" y="825"/>
                  </a:lnTo>
                  <a:lnTo>
                    <a:pt x="587" y="784"/>
                  </a:lnTo>
                  <a:lnTo>
                    <a:pt x="500" y="627"/>
                  </a:lnTo>
                  <a:lnTo>
                    <a:pt x="564" y="610"/>
                  </a:lnTo>
                  <a:lnTo>
                    <a:pt x="634" y="587"/>
                  </a:lnTo>
                  <a:lnTo>
                    <a:pt x="750" y="401"/>
                  </a:lnTo>
                  <a:lnTo>
                    <a:pt x="750" y="360"/>
                  </a:lnTo>
                  <a:lnTo>
                    <a:pt x="796" y="267"/>
                  </a:lnTo>
                  <a:lnTo>
                    <a:pt x="703" y="244"/>
                  </a:lnTo>
                  <a:lnTo>
                    <a:pt x="663" y="244"/>
                  </a:lnTo>
                  <a:lnTo>
                    <a:pt x="634" y="169"/>
                  </a:lnTo>
                  <a:lnTo>
                    <a:pt x="680" y="110"/>
                  </a:lnTo>
                  <a:lnTo>
                    <a:pt x="622" y="52"/>
                  </a:lnTo>
                  <a:lnTo>
                    <a:pt x="611" y="17"/>
                  </a:lnTo>
                  <a:lnTo>
                    <a:pt x="611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6" name="Freeform 873"/>
            <p:cNvSpPr/>
            <p:nvPr/>
          </p:nvSpPr>
          <p:spPr bwMode="auto">
            <a:xfrm>
              <a:off x="2557463" y="2651125"/>
              <a:ext cx="390525" cy="239713"/>
            </a:xfrm>
            <a:custGeom>
              <a:avLst/>
              <a:gdLst>
                <a:gd name="T0" fmla="*/ 7 w 855"/>
                <a:gd name="T1" fmla="*/ 16 h 611"/>
                <a:gd name="T2" fmla="*/ 2 w 855"/>
                <a:gd name="T3" fmla="*/ 26 h 611"/>
                <a:gd name="T4" fmla="*/ 5 w 855"/>
                <a:gd name="T5" fmla="*/ 32 h 611"/>
                <a:gd name="T6" fmla="*/ 0 w 855"/>
                <a:gd name="T7" fmla="*/ 40 h 611"/>
                <a:gd name="T8" fmla="*/ 5 w 855"/>
                <a:gd name="T9" fmla="*/ 44 h 611"/>
                <a:gd name="T10" fmla="*/ 12 w 855"/>
                <a:gd name="T11" fmla="*/ 44 h 611"/>
                <a:gd name="T12" fmla="*/ 12 w 855"/>
                <a:gd name="T13" fmla="*/ 50 h 611"/>
                <a:gd name="T14" fmla="*/ 9 w 855"/>
                <a:gd name="T15" fmla="*/ 53 h 611"/>
                <a:gd name="T16" fmla="*/ 27 w 855"/>
                <a:gd name="T17" fmla="*/ 57 h 611"/>
                <a:gd name="T18" fmla="*/ 37 w 855"/>
                <a:gd name="T19" fmla="*/ 55 h 611"/>
                <a:gd name="T20" fmla="*/ 37 w 855"/>
                <a:gd name="T21" fmla="*/ 47 h 611"/>
                <a:gd name="T22" fmla="*/ 49 w 855"/>
                <a:gd name="T23" fmla="*/ 47 h 611"/>
                <a:gd name="T24" fmla="*/ 52 w 855"/>
                <a:gd name="T25" fmla="*/ 40 h 611"/>
                <a:gd name="T26" fmla="*/ 57 w 855"/>
                <a:gd name="T27" fmla="*/ 38 h 611"/>
                <a:gd name="T28" fmla="*/ 61 w 855"/>
                <a:gd name="T29" fmla="*/ 28 h 611"/>
                <a:gd name="T30" fmla="*/ 64 w 855"/>
                <a:gd name="T31" fmla="*/ 28 h 611"/>
                <a:gd name="T32" fmla="*/ 66 w 855"/>
                <a:gd name="T33" fmla="*/ 21 h 611"/>
                <a:gd name="T34" fmla="*/ 66 w 855"/>
                <a:gd name="T35" fmla="*/ 15 h 611"/>
                <a:gd name="T36" fmla="*/ 69 w 855"/>
                <a:gd name="T37" fmla="*/ 15 h 611"/>
                <a:gd name="T38" fmla="*/ 76 w 855"/>
                <a:gd name="T39" fmla="*/ 13 h 611"/>
                <a:gd name="T40" fmla="*/ 78 w 855"/>
                <a:gd name="T41" fmla="*/ 11 h 611"/>
                <a:gd name="T42" fmla="*/ 93 w 855"/>
                <a:gd name="T43" fmla="*/ 7 h 611"/>
                <a:gd name="T44" fmla="*/ 90 w 855"/>
                <a:gd name="T45" fmla="*/ 0 h 611"/>
                <a:gd name="T46" fmla="*/ 78 w 855"/>
                <a:gd name="T47" fmla="*/ 3 h 611"/>
                <a:gd name="T48" fmla="*/ 71 w 855"/>
                <a:gd name="T49" fmla="*/ 4 h 611"/>
                <a:gd name="T50" fmla="*/ 66 w 855"/>
                <a:gd name="T51" fmla="*/ 1 h 611"/>
                <a:gd name="T52" fmla="*/ 54 w 855"/>
                <a:gd name="T53" fmla="*/ 4 h 611"/>
                <a:gd name="T54" fmla="*/ 42 w 855"/>
                <a:gd name="T55" fmla="*/ 3 h 611"/>
                <a:gd name="T56" fmla="*/ 30 w 855"/>
                <a:gd name="T57" fmla="*/ 10 h 611"/>
                <a:gd name="T58" fmla="*/ 25 w 855"/>
                <a:gd name="T59" fmla="*/ 14 h 611"/>
                <a:gd name="T60" fmla="*/ 15 w 855"/>
                <a:gd name="T61" fmla="*/ 19 h 611"/>
                <a:gd name="T62" fmla="*/ 10 w 855"/>
                <a:gd name="T63" fmla="*/ 17 h 611"/>
                <a:gd name="T64" fmla="*/ 7 w 855"/>
                <a:gd name="T65" fmla="*/ 16 h 6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55"/>
                <a:gd name="T100" fmla="*/ 0 h 611"/>
                <a:gd name="T101" fmla="*/ 855 w 855"/>
                <a:gd name="T102" fmla="*/ 611 h 61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55" h="611">
                  <a:moveTo>
                    <a:pt x="63" y="169"/>
                  </a:moveTo>
                  <a:lnTo>
                    <a:pt x="18" y="274"/>
                  </a:lnTo>
                  <a:lnTo>
                    <a:pt x="46" y="344"/>
                  </a:lnTo>
                  <a:lnTo>
                    <a:pt x="0" y="431"/>
                  </a:lnTo>
                  <a:lnTo>
                    <a:pt x="46" y="476"/>
                  </a:lnTo>
                  <a:lnTo>
                    <a:pt x="110" y="476"/>
                  </a:lnTo>
                  <a:lnTo>
                    <a:pt x="110" y="541"/>
                  </a:lnTo>
                  <a:lnTo>
                    <a:pt x="87" y="564"/>
                  </a:lnTo>
                  <a:lnTo>
                    <a:pt x="250" y="611"/>
                  </a:lnTo>
                  <a:lnTo>
                    <a:pt x="337" y="588"/>
                  </a:lnTo>
                  <a:lnTo>
                    <a:pt x="337" y="500"/>
                  </a:lnTo>
                  <a:lnTo>
                    <a:pt x="454" y="500"/>
                  </a:lnTo>
                  <a:lnTo>
                    <a:pt x="476" y="431"/>
                  </a:lnTo>
                  <a:lnTo>
                    <a:pt x="523" y="407"/>
                  </a:lnTo>
                  <a:lnTo>
                    <a:pt x="564" y="297"/>
                  </a:lnTo>
                  <a:lnTo>
                    <a:pt x="587" y="297"/>
                  </a:lnTo>
                  <a:lnTo>
                    <a:pt x="611" y="227"/>
                  </a:lnTo>
                  <a:lnTo>
                    <a:pt x="611" y="157"/>
                  </a:lnTo>
                  <a:lnTo>
                    <a:pt x="633" y="157"/>
                  </a:lnTo>
                  <a:lnTo>
                    <a:pt x="698" y="140"/>
                  </a:lnTo>
                  <a:lnTo>
                    <a:pt x="721" y="117"/>
                  </a:lnTo>
                  <a:lnTo>
                    <a:pt x="855" y="70"/>
                  </a:lnTo>
                  <a:lnTo>
                    <a:pt x="825" y="0"/>
                  </a:lnTo>
                  <a:lnTo>
                    <a:pt x="715" y="30"/>
                  </a:lnTo>
                  <a:lnTo>
                    <a:pt x="651" y="41"/>
                  </a:lnTo>
                  <a:lnTo>
                    <a:pt x="611" y="6"/>
                  </a:lnTo>
                  <a:lnTo>
                    <a:pt x="499" y="47"/>
                  </a:lnTo>
                  <a:lnTo>
                    <a:pt x="389" y="30"/>
                  </a:lnTo>
                  <a:lnTo>
                    <a:pt x="279" y="105"/>
                  </a:lnTo>
                  <a:lnTo>
                    <a:pt x="227" y="145"/>
                  </a:lnTo>
                  <a:lnTo>
                    <a:pt x="140" y="204"/>
                  </a:lnTo>
                  <a:lnTo>
                    <a:pt x="93" y="180"/>
                  </a:lnTo>
                  <a:lnTo>
                    <a:pt x="63" y="16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7" name="Freeform 874"/>
            <p:cNvSpPr/>
            <p:nvPr/>
          </p:nvSpPr>
          <p:spPr bwMode="auto">
            <a:xfrm>
              <a:off x="2141538" y="2605088"/>
              <a:ext cx="498475" cy="382587"/>
            </a:xfrm>
            <a:custGeom>
              <a:avLst/>
              <a:gdLst>
                <a:gd name="T0" fmla="*/ 2 w 1104"/>
                <a:gd name="T1" fmla="*/ 0 h 982"/>
                <a:gd name="T2" fmla="*/ 0 w 1104"/>
                <a:gd name="T3" fmla="*/ 9 h 982"/>
                <a:gd name="T4" fmla="*/ 0 w 1104"/>
                <a:gd name="T5" fmla="*/ 13 h 982"/>
                <a:gd name="T6" fmla="*/ 8 w 1104"/>
                <a:gd name="T7" fmla="*/ 24 h 982"/>
                <a:gd name="T8" fmla="*/ 17 w 1104"/>
                <a:gd name="T9" fmla="*/ 26 h 982"/>
                <a:gd name="T10" fmla="*/ 12 w 1104"/>
                <a:gd name="T11" fmla="*/ 34 h 982"/>
                <a:gd name="T12" fmla="*/ 14 w 1104"/>
                <a:gd name="T13" fmla="*/ 41 h 982"/>
                <a:gd name="T14" fmla="*/ 24 w 1104"/>
                <a:gd name="T15" fmla="*/ 43 h 982"/>
                <a:gd name="T16" fmla="*/ 27 w 1104"/>
                <a:gd name="T17" fmla="*/ 53 h 982"/>
                <a:gd name="T18" fmla="*/ 34 w 1104"/>
                <a:gd name="T19" fmla="*/ 61 h 982"/>
                <a:gd name="T20" fmla="*/ 41 w 1104"/>
                <a:gd name="T21" fmla="*/ 64 h 982"/>
                <a:gd name="T22" fmla="*/ 46 w 1104"/>
                <a:gd name="T23" fmla="*/ 72 h 982"/>
                <a:gd name="T24" fmla="*/ 51 w 1104"/>
                <a:gd name="T25" fmla="*/ 74 h 982"/>
                <a:gd name="T26" fmla="*/ 63 w 1104"/>
                <a:gd name="T27" fmla="*/ 81 h 982"/>
                <a:gd name="T28" fmla="*/ 70 w 1104"/>
                <a:gd name="T29" fmla="*/ 82 h 982"/>
                <a:gd name="T30" fmla="*/ 83 w 1104"/>
                <a:gd name="T31" fmla="*/ 81 h 982"/>
                <a:gd name="T32" fmla="*/ 85 w 1104"/>
                <a:gd name="T33" fmla="*/ 87 h 982"/>
                <a:gd name="T34" fmla="*/ 102 w 1104"/>
                <a:gd name="T35" fmla="*/ 89 h 982"/>
                <a:gd name="T36" fmla="*/ 113 w 1104"/>
                <a:gd name="T37" fmla="*/ 91 h 982"/>
                <a:gd name="T38" fmla="*/ 114 w 1104"/>
                <a:gd name="T39" fmla="*/ 84 h 982"/>
                <a:gd name="T40" fmla="*/ 119 w 1104"/>
                <a:gd name="T41" fmla="*/ 82 h 982"/>
                <a:gd name="T42" fmla="*/ 119 w 1104"/>
                <a:gd name="T43" fmla="*/ 76 h 982"/>
                <a:gd name="T44" fmla="*/ 109 w 1104"/>
                <a:gd name="T45" fmla="*/ 70 h 982"/>
                <a:gd name="T46" fmla="*/ 109 w 1104"/>
                <a:gd name="T47" fmla="*/ 64 h 982"/>
                <a:gd name="T48" fmla="*/ 111 w 1104"/>
                <a:gd name="T49" fmla="*/ 61 h 982"/>
                <a:gd name="T50" fmla="*/ 111 w 1104"/>
                <a:gd name="T51" fmla="*/ 55 h 982"/>
                <a:gd name="T52" fmla="*/ 105 w 1104"/>
                <a:gd name="T53" fmla="*/ 55 h 982"/>
                <a:gd name="T54" fmla="*/ 100 w 1104"/>
                <a:gd name="T55" fmla="*/ 51 h 982"/>
                <a:gd name="T56" fmla="*/ 105 w 1104"/>
                <a:gd name="T57" fmla="*/ 44 h 982"/>
                <a:gd name="T58" fmla="*/ 102 w 1104"/>
                <a:gd name="T59" fmla="*/ 37 h 982"/>
                <a:gd name="T60" fmla="*/ 106 w 1104"/>
                <a:gd name="T61" fmla="*/ 26 h 982"/>
                <a:gd name="T62" fmla="*/ 105 w 1104"/>
                <a:gd name="T63" fmla="*/ 20 h 982"/>
                <a:gd name="T64" fmla="*/ 97 w 1104"/>
                <a:gd name="T65" fmla="*/ 13 h 982"/>
                <a:gd name="T66" fmla="*/ 83 w 1104"/>
                <a:gd name="T67" fmla="*/ 12 h 982"/>
                <a:gd name="T68" fmla="*/ 74 w 1104"/>
                <a:gd name="T69" fmla="*/ 11 h 982"/>
                <a:gd name="T70" fmla="*/ 69 w 1104"/>
                <a:gd name="T71" fmla="*/ 12 h 982"/>
                <a:gd name="T72" fmla="*/ 63 w 1104"/>
                <a:gd name="T73" fmla="*/ 13 h 982"/>
                <a:gd name="T74" fmla="*/ 63 w 1104"/>
                <a:gd name="T75" fmla="*/ 18 h 982"/>
                <a:gd name="T76" fmla="*/ 49 w 1104"/>
                <a:gd name="T77" fmla="*/ 20 h 982"/>
                <a:gd name="T78" fmla="*/ 39 w 1104"/>
                <a:gd name="T79" fmla="*/ 16 h 982"/>
                <a:gd name="T80" fmla="*/ 29 w 1104"/>
                <a:gd name="T81" fmla="*/ 5 h 982"/>
                <a:gd name="T82" fmla="*/ 26 w 1104"/>
                <a:gd name="T83" fmla="*/ 3 h 982"/>
                <a:gd name="T84" fmla="*/ 13 w 1104"/>
                <a:gd name="T85" fmla="*/ 8 h 982"/>
                <a:gd name="T86" fmla="*/ 7 w 1104"/>
                <a:gd name="T87" fmla="*/ 0 h 982"/>
                <a:gd name="T88" fmla="*/ 4 w 1104"/>
                <a:gd name="T89" fmla="*/ 0 h 982"/>
                <a:gd name="T90" fmla="*/ 2 w 1104"/>
                <a:gd name="T91" fmla="*/ 0 h 98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4"/>
                <a:gd name="T139" fmla="*/ 0 h 982"/>
                <a:gd name="T140" fmla="*/ 1104 w 1104"/>
                <a:gd name="T141" fmla="*/ 982 h 98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4" h="982">
                  <a:moveTo>
                    <a:pt x="17" y="0"/>
                  </a:moveTo>
                  <a:lnTo>
                    <a:pt x="0" y="100"/>
                  </a:lnTo>
                  <a:lnTo>
                    <a:pt x="0" y="145"/>
                  </a:lnTo>
                  <a:lnTo>
                    <a:pt x="70" y="262"/>
                  </a:lnTo>
                  <a:lnTo>
                    <a:pt x="157" y="279"/>
                  </a:lnTo>
                  <a:lnTo>
                    <a:pt x="110" y="372"/>
                  </a:lnTo>
                  <a:lnTo>
                    <a:pt x="134" y="442"/>
                  </a:lnTo>
                  <a:lnTo>
                    <a:pt x="227" y="466"/>
                  </a:lnTo>
                  <a:lnTo>
                    <a:pt x="249" y="576"/>
                  </a:lnTo>
                  <a:lnTo>
                    <a:pt x="314" y="663"/>
                  </a:lnTo>
                  <a:lnTo>
                    <a:pt x="383" y="686"/>
                  </a:lnTo>
                  <a:lnTo>
                    <a:pt x="430" y="779"/>
                  </a:lnTo>
                  <a:lnTo>
                    <a:pt x="471" y="802"/>
                  </a:lnTo>
                  <a:lnTo>
                    <a:pt x="586" y="872"/>
                  </a:lnTo>
                  <a:lnTo>
                    <a:pt x="651" y="889"/>
                  </a:lnTo>
                  <a:lnTo>
                    <a:pt x="767" y="872"/>
                  </a:lnTo>
                  <a:lnTo>
                    <a:pt x="790" y="935"/>
                  </a:lnTo>
                  <a:lnTo>
                    <a:pt x="947" y="959"/>
                  </a:lnTo>
                  <a:lnTo>
                    <a:pt x="1052" y="982"/>
                  </a:lnTo>
                  <a:lnTo>
                    <a:pt x="1057" y="907"/>
                  </a:lnTo>
                  <a:lnTo>
                    <a:pt x="1104" y="883"/>
                  </a:lnTo>
                  <a:lnTo>
                    <a:pt x="1104" y="825"/>
                  </a:lnTo>
                  <a:lnTo>
                    <a:pt x="1011" y="755"/>
                  </a:lnTo>
                  <a:lnTo>
                    <a:pt x="1011" y="686"/>
                  </a:lnTo>
                  <a:lnTo>
                    <a:pt x="1034" y="663"/>
                  </a:lnTo>
                  <a:lnTo>
                    <a:pt x="1034" y="598"/>
                  </a:lnTo>
                  <a:lnTo>
                    <a:pt x="970" y="598"/>
                  </a:lnTo>
                  <a:lnTo>
                    <a:pt x="924" y="553"/>
                  </a:lnTo>
                  <a:lnTo>
                    <a:pt x="970" y="471"/>
                  </a:lnTo>
                  <a:lnTo>
                    <a:pt x="947" y="396"/>
                  </a:lnTo>
                  <a:lnTo>
                    <a:pt x="987" y="279"/>
                  </a:lnTo>
                  <a:lnTo>
                    <a:pt x="970" y="215"/>
                  </a:lnTo>
                  <a:lnTo>
                    <a:pt x="900" y="145"/>
                  </a:lnTo>
                  <a:lnTo>
                    <a:pt x="767" y="128"/>
                  </a:lnTo>
                  <a:lnTo>
                    <a:pt x="685" y="122"/>
                  </a:lnTo>
                  <a:lnTo>
                    <a:pt x="639" y="128"/>
                  </a:lnTo>
                  <a:lnTo>
                    <a:pt x="586" y="145"/>
                  </a:lnTo>
                  <a:lnTo>
                    <a:pt x="581" y="192"/>
                  </a:lnTo>
                  <a:lnTo>
                    <a:pt x="453" y="215"/>
                  </a:lnTo>
                  <a:lnTo>
                    <a:pt x="361" y="169"/>
                  </a:lnTo>
                  <a:lnTo>
                    <a:pt x="267" y="58"/>
                  </a:lnTo>
                  <a:lnTo>
                    <a:pt x="244" y="35"/>
                  </a:lnTo>
                  <a:lnTo>
                    <a:pt x="122" y="82"/>
                  </a:lnTo>
                  <a:lnTo>
                    <a:pt x="64" y="0"/>
                  </a:lnTo>
                  <a:lnTo>
                    <a:pt x="4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8" name="Freeform 875"/>
            <p:cNvSpPr/>
            <p:nvPr/>
          </p:nvSpPr>
          <p:spPr bwMode="auto">
            <a:xfrm>
              <a:off x="2338388" y="2944813"/>
              <a:ext cx="17462" cy="25400"/>
            </a:xfrm>
            <a:custGeom>
              <a:avLst/>
              <a:gdLst>
                <a:gd name="T0" fmla="*/ 4 w 41"/>
                <a:gd name="T1" fmla="*/ 4 h 63"/>
                <a:gd name="T2" fmla="*/ 2 w 41"/>
                <a:gd name="T3" fmla="*/ 0 h 63"/>
                <a:gd name="T4" fmla="*/ 0 w 41"/>
                <a:gd name="T5" fmla="*/ 0 h 63"/>
                <a:gd name="T6" fmla="*/ 0 w 41"/>
                <a:gd name="T7" fmla="*/ 4 h 63"/>
                <a:gd name="T8" fmla="*/ 4 w 41"/>
                <a:gd name="T9" fmla="*/ 6 h 63"/>
                <a:gd name="T10" fmla="*/ 4 w 41"/>
                <a:gd name="T11" fmla="*/ 4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63"/>
                <a:gd name="T20" fmla="*/ 41 w 4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63">
                  <a:moveTo>
                    <a:pt x="41" y="40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41" y="63"/>
                  </a:lnTo>
                  <a:lnTo>
                    <a:pt x="41" y="4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9" name="Freeform 876"/>
            <p:cNvSpPr/>
            <p:nvPr/>
          </p:nvSpPr>
          <p:spPr bwMode="auto">
            <a:xfrm>
              <a:off x="1897063" y="2819400"/>
              <a:ext cx="546100" cy="395288"/>
            </a:xfrm>
            <a:custGeom>
              <a:avLst/>
              <a:gdLst>
                <a:gd name="T0" fmla="*/ 0 w 1196"/>
                <a:gd name="T1" fmla="*/ 15 h 1010"/>
                <a:gd name="T2" fmla="*/ 0 w 1196"/>
                <a:gd name="T3" fmla="*/ 21 h 1010"/>
                <a:gd name="T4" fmla="*/ 5 w 1196"/>
                <a:gd name="T5" fmla="*/ 25 h 1010"/>
                <a:gd name="T6" fmla="*/ 18 w 1196"/>
                <a:gd name="T7" fmla="*/ 38 h 1010"/>
                <a:gd name="T8" fmla="*/ 20 w 1196"/>
                <a:gd name="T9" fmla="*/ 42 h 1010"/>
                <a:gd name="T10" fmla="*/ 25 w 1196"/>
                <a:gd name="T11" fmla="*/ 58 h 1010"/>
                <a:gd name="T12" fmla="*/ 40 w 1196"/>
                <a:gd name="T13" fmla="*/ 75 h 1010"/>
                <a:gd name="T14" fmla="*/ 49 w 1196"/>
                <a:gd name="T15" fmla="*/ 94 h 1010"/>
                <a:gd name="T16" fmla="*/ 54 w 1196"/>
                <a:gd name="T17" fmla="*/ 91 h 1010"/>
                <a:gd name="T18" fmla="*/ 54 w 1196"/>
                <a:gd name="T19" fmla="*/ 86 h 1010"/>
                <a:gd name="T20" fmla="*/ 64 w 1196"/>
                <a:gd name="T21" fmla="*/ 85 h 1010"/>
                <a:gd name="T22" fmla="*/ 69 w 1196"/>
                <a:gd name="T23" fmla="*/ 87 h 1010"/>
                <a:gd name="T24" fmla="*/ 73 w 1196"/>
                <a:gd name="T25" fmla="*/ 89 h 1010"/>
                <a:gd name="T26" fmla="*/ 79 w 1196"/>
                <a:gd name="T27" fmla="*/ 92 h 1010"/>
                <a:gd name="T28" fmla="*/ 81 w 1196"/>
                <a:gd name="T29" fmla="*/ 92 h 1010"/>
                <a:gd name="T30" fmla="*/ 86 w 1196"/>
                <a:gd name="T31" fmla="*/ 82 h 1010"/>
                <a:gd name="T32" fmla="*/ 123 w 1196"/>
                <a:gd name="T33" fmla="*/ 73 h 1010"/>
                <a:gd name="T34" fmla="*/ 128 w 1196"/>
                <a:gd name="T35" fmla="*/ 73 h 1010"/>
                <a:gd name="T36" fmla="*/ 130 w 1196"/>
                <a:gd name="T37" fmla="*/ 63 h 1010"/>
                <a:gd name="T38" fmla="*/ 128 w 1196"/>
                <a:gd name="T39" fmla="*/ 56 h 1010"/>
                <a:gd name="T40" fmla="*/ 104 w 1196"/>
                <a:gd name="T41" fmla="*/ 54 h 1010"/>
                <a:gd name="T42" fmla="*/ 96 w 1196"/>
                <a:gd name="T43" fmla="*/ 42 h 1010"/>
                <a:gd name="T44" fmla="*/ 98 w 1196"/>
                <a:gd name="T45" fmla="*/ 28 h 1010"/>
                <a:gd name="T46" fmla="*/ 91 w 1196"/>
                <a:gd name="T47" fmla="*/ 21 h 1010"/>
                <a:gd name="T48" fmla="*/ 84 w 1196"/>
                <a:gd name="T49" fmla="*/ 21 h 1010"/>
                <a:gd name="T50" fmla="*/ 74 w 1196"/>
                <a:gd name="T51" fmla="*/ 17 h 1010"/>
                <a:gd name="T52" fmla="*/ 62 w 1196"/>
                <a:gd name="T53" fmla="*/ 21 h 1010"/>
                <a:gd name="T54" fmla="*/ 54 w 1196"/>
                <a:gd name="T55" fmla="*/ 12 h 1010"/>
                <a:gd name="T56" fmla="*/ 54 w 1196"/>
                <a:gd name="T57" fmla="*/ 10 h 1010"/>
                <a:gd name="T58" fmla="*/ 42 w 1196"/>
                <a:gd name="T59" fmla="*/ 0 h 1010"/>
                <a:gd name="T60" fmla="*/ 37 w 1196"/>
                <a:gd name="T61" fmla="*/ 0 h 1010"/>
                <a:gd name="T62" fmla="*/ 18 w 1196"/>
                <a:gd name="T63" fmla="*/ 2 h 1010"/>
                <a:gd name="T64" fmla="*/ 18 w 1196"/>
                <a:gd name="T65" fmla="*/ 6 h 1010"/>
                <a:gd name="T66" fmla="*/ 27 w 1196"/>
                <a:gd name="T67" fmla="*/ 9 h 1010"/>
                <a:gd name="T68" fmla="*/ 25 w 1196"/>
                <a:gd name="T69" fmla="*/ 15 h 1010"/>
                <a:gd name="T70" fmla="*/ 17 w 1196"/>
                <a:gd name="T71" fmla="*/ 15 h 1010"/>
                <a:gd name="T72" fmla="*/ 13 w 1196"/>
                <a:gd name="T73" fmla="*/ 17 h 1010"/>
                <a:gd name="T74" fmla="*/ 5 w 1196"/>
                <a:gd name="T75" fmla="*/ 16 h 1010"/>
                <a:gd name="T76" fmla="*/ 0 w 1196"/>
                <a:gd name="T77" fmla="*/ 15 h 101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96"/>
                <a:gd name="T118" fmla="*/ 0 h 1010"/>
                <a:gd name="T119" fmla="*/ 1196 w 1196"/>
                <a:gd name="T120" fmla="*/ 1010 h 101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96" h="1010">
                  <a:moveTo>
                    <a:pt x="0" y="157"/>
                  </a:moveTo>
                  <a:lnTo>
                    <a:pt x="0" y="226"/>
                  </a:lnTo>
                  <a:lnTo>
                    <a:pt x="46" y="272"/>
                  </a:lnTo>
                  <a:lnTo>
                    <a:pt x="162" y="406"/>
                  </a:lnTo>
                  <a:lnTo>
                    <a:pt x="186" y="446"/>
                  </a:lnTo>
                  <a:lnTo>
                    <a:pt x="226" y="626"/>
                  </a:lnTo>
                  <a:lnTo>
                    <a:pt x="366" y="807"/>
                  </a:lnTo>
                  <a:lnTo>
                    <a:pt x="453" y="1010"/>
                  </a:lnTo>
                  <a:lnTo>
                    <a:pt x="500" y="975"/>
                  </a:lnTo>
                  <a:lnTo>
                    <a:pt x="500" y="923"/>
                  </a:lnTo>
                  <a:lnTo>
                    <a:pt x="587" y="917"/>
                  </a:lnTo>
                  <a:lnTo>
                    <a:pt x="639" y="940"/>
                  </a:lnTo>
                  <a:lnTo>
                    <a:pt x="668" y="957"/>
                  </a:lnTo>
                  <a:lnTo>
                    <a:pt x="727" y="987"/>
                  </a:lnTo>
                  <a:lnTo>
                    <a:pt x="744" y="987"/>
                  </a:lnTo>
                  <a:lnTo>
                    <a:pt x="790" y="877"/>
                  </a:lnTo>
                  <a:lnTo>
                    <a:pt x="1133" y="783"/>
                  </a:lnTo>
                  <a:lnTo>
                    <a:pt x="1174" y="783"/>
                  </a:lnTo>
                  <a:lnTo>
                    <a:pt x="1196" y="673"/>
                  </a:lnTo>
                  <a:lnTo>
                    <a:pt x="1174" y="603"/>
                  </a:lnTo>
                  <a:lnTo>
                    <a:pt x="953" y="580"/>
                  </a:lnTo>
                  <a:lnTo>
                    <a:pt x="884" y="446"/>
                  </a:lnTo>
                  <a:lnTo>
                    <a:pt x="906" y="296"/>
                  </a:lnTo>
                  <a:lnTo>
                    <a:pt x="837" y="226"/>
                  </a:lnTo>
                  <a:lnTo>
                    <a:pt x="772" y="226"/>
                  </a:lnTo>
                  <a:lnTo>
                    <a:pt x="680" y="180"/>
                  </a:lnTo>
                  <a:lnTo>
                    <a:pt x="570" y="226"/>
                  </a:lnTo>
                  <a:lnTo>
                    <a:pt x="500" y="133"/>
                  </a:lnTo>
                  <a:lnTo>
                    <a:pt x="500" y="110"/>
                  </a:lnTo>
                  <a:lnTo>
                    <a:pt x="383" y="0"/>
                  </a:lnTo>
                  <a:lnTo>
                    <a:pt x="343" y="0"/>
                  </a:lnTo>
                  <a:lnTo>
                    <a:pt x="162" y="23"/>
                  </a:lnTo>
                  <a:lnTo>
                    <a:pt x="162" y="69"/>
                  </a:lnTo>
                  <a:lnTo>
                    <a:pt x="249" y="92"/>
                  </a:lnTo>
                  <a:lnTo>
                    <a:pt x="226" y="157"/>
                  </a:lnTo>
                  <a:lnTo>
                    <a:pt x="157" y="157"/>
                  </a:lnTo>
                  <a:lnTo>
                    <a:pt x="116" y="180"/>
                  </a:lnTo>
                  <a:lnTo>
                    <a:pt x="46" y="168"/>
                  </a:lnTo>
                  <a:lnTo>
                    <a:pt x="0" y="15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0" name="Freeform 877"/>
            <p:cNvSpPr/>
            <p:nvPr/>
          </p:nvSpPr>
          <p:spPr bwMode="auto">
            <a:xfrm>
              <a:off x="2108200" y="3181350"/>
              <a:ext cx="130175" cy="95250"/>
            </a:xfrm>
            <a:custGeom>
              <a:avLst/>
              <a:gdLst>
                <a:gd name="T0" fmla="*/ 0 w 291"/>
                <a:gd name="T1" fmla="*/ 8 h 244"/>
                <a:gd name="T2" fmla="*/ 5 w 291"/>
                <a:gd name="T3" fmla="*/ 19 h 244"/>
                <a:gd name="T4" fmla="*/ 13 w 291"/>
                <a:gd name="T5" fmla="*/ 23 h 244"/>
                <a:gd name="T6" fmla="*/ 17 w 291"/>
                <a:gd name="T7" fmla="*/ 18 h 244"/>
                <a:gd name="T8" fmla="*/ 22 w 291"/>
                <a:gd name="T9" fmla="*/ 16 h 244"/>
                <a:gd name="T10" fmla="*/ 24 w 291"/>
                <a:gd name="T11" fmla="*/ 12 h 244"/>
                <a:gd name="T12" fmla="*/ 31 w 291"/>
                <a:gd name="T13" fmla="*/ 7 h 244"/>
                <a:gd name="T14" fmla="*/ 21 w 291"/>
                <a:gd name="T15" fmla="*/ 2 h 244"/>
                <a:gd name="T16" fmla="*/ 15 w 291"/>
                <a:gd name="T17" fmla="*/ 0 h 244"/>
                <a:gd name="T18" fmla="*/ 5 w 291"/>
                <a:gd name="T19" fmla="*/ 0 h 244"/>
                <a:gd name="T20" fmla="*/ 5 w 291"/>
                <a:gd name="T21" fmla="*/ 5 h 244"/>
                <a:gd name="T22" fmla="*/ 0 w 291"/>
                <a:gd name="T23" fmla="*/ 8 h 2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1"/>
                <a:gd name="T37" fmla="*/ 0 h 244"/>
                <a:gd name="T38" fmla="*/ 291 w 291"/>
                <a:gd name="T39" fmla="*/ 244 h 24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1" h="244">
                  <a:moveTo>
                    <a:pt x="0" y="87"/>
                  </a:moveTo>
                  <a:lnTo>
                    <a:pt x="47" y="203"/>
                  </a:lnTo>
                  <a:lnTo>
                    <a:pt x="122" y="244"/>
                  </a:lnTo>
                  <a:lnTo>
                    <a:pt x="162" y="191"/>
                  </a:lnTo>
                  <a:lnTo>
                    <a:pt x="209" y="168"/>
                  </a:lnTo>
                  <a:lnTo>
                    <a:pt x="227" y="128"/>
                  </a:lnTo>
                  <a:lnTo>
                    <a:pt x="291" y="69"/>
                  </a:lnTo>
                  <a:lnTo>
                    <a:pt x="197" y="17"/>
                  </a:lnTo>
                  <a:lnTo>
                    <a:pt x="140" y="0"/>
                  </a:lnTo>
                  <a:lnTo>
                    <a:pt x="47" y="0"/>
                  </a:lnTo>
                  <a:lnTo>
                    <a:pt x="47" y="52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1" name="Freeform 878"/>
            <p:cNvSpPr/>
            <p:nvPr/>
          </p:nvSpPr>
          <p:spPr bwMode="auto">
            <a:xfrm>
              <a:off x="2166938" y="3133725"/>
              <a:ext cx="222250" cy="142875"/>
            </a:xfrm>
            <a:custGeom>
              <a:avLst/>
              <a:gdLst>
                <a:gd name="T0" fmla="*/ 0 w 493"/>
                <a:gd name="T1" fmla="*/ 34 h 360"/>
                <a:gd name="T2" fmla="*/ 11 w 493"/>
                <a:gd name="T3" fmla="*/ 32 h 360"/>
                <a:gd name="T4" fmla="*/ 21 w 493"/>
                <a:gd name="T5" fmla="*/ 27 h 360"/>
                <a:gd name="T6" fmla="*/ 28 w 493"/>
                <a:gd name="T7" fmla="*/ 26 h 360"/>
                <a:gd name="T8" fmla="*/ 44 w 493"/>
                <a:gd name="T9" fmla="*/ 21 h 360"/>
                <a:gd name="T10" fmla="*/ 53 w 493"/>
                <a:gd name="T11" fmla="*/ 16 h 360"/>
                <a:gd name="T12" fmla="*/ 51 w 493"/>
                <a:gd name="T13" fmla="*/ 12 h 360"/>
                <a:gd name="T14" fmla="*/ 51 w 493"/>
                <a:gd name="T15" fmla="*/ 8 h 360"/>
                <a:gd name="T16" fmla="*/ 49 w 493"/>
                <a:gd name="T17" fmla="*/ 0 h 360"/>
                <a:gd name="T18" fmla="*/ 28 w 493"/>
                <a:gd name="T19" fmla="*/ 4 h 360"/>
                <a:gd name="T20" fmla="*/ 22 w 493"/>
                <a:gd name="T21" fmla="*/ 7 h 360"/>
                <a:gd name="T22" fmla="*/ 18 w 493"/>
                <a:gd name="T23" fmla="*/ 17 h 360"/>
                <a:gd name="T24" fmla="*/ 16 w 493"/>
                <a:gd name="T25" fmla="*/ 19 h 360"/>
                <a:gd name="T26" fmla="*/ 11 w 493"/>
                <a:gd name="T27" fmla="*/ 24 h 360"/>
                <a:gd name="T28" fmla="*/ 9 w 493"/>
                <a:gd name="T29" fmla="*/ 27 h 360"/>
                <a:gd name="T30" fmla="*/ 4 w 493"/>
                <a:gd name="T31" fmla="*/ 30 h 360"/>
                <a:gd name="T32" fmla="*/ 0 w 493"/>
                <a:gd name="T33" fmla="*/ 34 h 36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93"/>
                <a:gd name="T52" fmla="*/ 0 h 360"/>
                <a:gd name="T53" fmla="*/ 493 w 493"/>
                <a:gd name="T54" fmla="*/ 360 h 36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93" h="360">
                  <a:moveTo>
                    <a:pt x="0" y="360"/>
                  </a:moveTo>
                  <a:lnTo>
                    <a:pt x="99" y="337"/>
                  </a:lnTo>
                  <a:lnTo>
                    <a:pt x="191" y="290"/>
                  </a:lnTo>
                  <a:lnTo>
                    <a:pt x="256" y="272"/>
                  </a:lnTo>
                  <a:lnTo>
                    <a:pt x="413" y="227"/>
                  </a:lnTo>
                  <a:lnTo>
                    <a:pt x="493" y="168"/>
                  </a:lnTo>
                  <a:lnTo>
                    <a:pt x="476" y="122"/>
                  </a:lnTo>
                  <a:lnTo>
                    <a:pt x="476" y="87"/>
                  </a:lnTo>
                  <a:lnTo>
                    <a:pt x="458" y="0"/>
                  </a:lnTo>
                  <a:lnTo>
                    <a:pt x="256" y="46"/>
                  </a:lnTo>
                  <a:lnTo>
                    <a:pt x="209" y="70"/>
                  </a:lnTo>
                  <a:lnTo>
                    <a:pt x="169" y="180"/>
                  </a:lnTo>
                  <a:lnTo>
                    <a:pt x="146" y="203"/>
                  </a:lnTo>
                  <a:lnTo>
                    <a:pt x="99" y="250"/>
                  </a:lnTo>
                  <a:lnTo>
                    <a:pt x="87" y="284"/>
                  </a:lnTo>
                  <a:lnTo>
                    <a:pt x="34" y="314"/>
                  </a:lnTo>
                  <a:lnTo>
                    <a:pt x="0" y="36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2" name="Freeform 879"/>
            <p:cNvSpPr/>
            <p:nvPr/>
          </p:nvSpPr>
          <p:spPr bwMode="auto">
            <a:xfrm>
              <a:off x="2363788" y="2995613"/>
              <a:ext cx="184150" cy="206375"/>
            </a:xfrm>
            <a:custGeom>
              <a:avLst/>
              <a:gdLst>
                <a:gd name="T0" fmla="*/ 0 w 406"/>
                <a:gd name="T1" fmla="*/ 33 h 529"/>
                <a:gd name="T2" fmla="*/ 15 w 406"/>
                <a:gd name="T3" fmla="*/ 29 h 529"/>
                <a:gd name="T4" fmla="*/ 19 w 406"/>
                <a:gd name="T5" fmla="*/ 25 h 529"/>
                <a:gd name="T6" fmla="*/ 18 w 406"/>
                <a:gd name="T7" fmla="*/ 15 h 529"/>
                <a:gd name="T8" fmla="*/ 21 w 406"/>
                <a:gd name="T9" fmla="*/ 9 h 529"/>
                <a:gd name="T10" fmla="*/ 23 w 406"/>
                <a:gd name="T11" fmla="*/ 4 h 529"/>
                <a:gd name="T12" fmla="*/ 23 w 406"/>
                <a:gd name="T13" fmla="*/ 0 h 529"/>
                <a:gd name="T14" fmla="*/ 28 w 406"/>
                <a:gd name="T15" fmla="*/ 6 h 529"/>
                <a:gd name="T16" fmla="*/ 35 w 406"/>
                <a:gd name="T17" fmla="*/ 11 h 529"/>
                <a:gd name="T18" fmla="*/ 42 w 406"/>
                <a:gd name="T19" fmla="*/ 12 h 529"/>
                <a:gd name="T20" fmla="*/ 42 w 406"/>
                <a:gd name="T21" fmla="*/ 16 h 529"/>
                <a:gd name="T22" fmla="*/ 44 w 406"/>
                <a:gd name="T23" fmla="*/ 19 h 529"/>
                <a:gd name="T24" fmla="*/ 44 w 406"/>
                <a:gd name="T25" fmla="*/ 23 h 529"/>
                <a:gd name="T26" fmla="*/ 36 w 406"/>
                <a:gd name="T27" fmla="*/ 27 h 529"/>
                <a:gd name="T28" fmla="*/ 32 w 406"/>
                <a:gd name="T29" fmla="*/ 36 h 529"/>
                <a:gd name="T30" fmla="*/ 24 w 406"/>
                <a:gd name="T31" fmla="*/ 40 h 529"/>
                <a:gd name="T32" fmla="*/ 13 w 406"/>
                <a:gd name="T33" fmla="*/ 46 h 529"/>
                <a:gd name="T34" fmla="*/ 6 w 406"/>
                <a:gd name="T35" fmla="*/ 49 h 529"/>
                <a:gd name="T36" fmla="*/ 4 w 406"/>
                <a:gd name="T37" fmla="*/ 45 h 529"/>
                <a:gd name="T38" fmla="*/ 4 w 406"/>
                <a:gd name="T39" fmla="*/ 41 h 529"/>
                <a:gd name="T40" fmla="*/ 0 w 406"/>
                <a:gd name="T41" fmla="*/ 33 h 52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6"/>
                <a:gd name="T64" fmla="*/ 0 h 529"/>
                <a:gd name="T65" fmla="*/ 406 w 406"/>
                <a:gd name="T66" fmla="*/ 529 h 52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6" h="529">
                  <a:moveTo>
                    <a:pt x="0" y="361"/>
                  </a:moveTo>
                  <a:lnTo>
                    <a:pt x="139" y="314"/>
                  </a:lnTo>
                  <a:lnTo>
                    <a:pt x="174" y="267"/>
                  </a:lnTo>
                  <a:lnTo>
                    <a:pt x="162" y="163"/>
                  </a:lnTo>
                  <a:lnTo>
                    <a:pt x="197" y="93"/>
                  </a:lnTo>
                  <a:lnTo>
                    <a:pt x="214" y="41"/>
                  </a:lnTo>
                  <a:lnTo>
                    <a:pt x="209" y="0"/>
                  </a:lnTo>
                  <a:lnTo>
                    <a:pt x="256" y="65"/>
                  </a:lnTo>
                  <a:lnTo>
                    <a:pt x="325" y="122"/>
                  </a:lnTo>
                  <a:lnTo>
                    <a:pt x="383" y="134"/>
                  </a:lnTo>
                  <a:lnTo>
                    <a:pt x="389" y="175"/>
                  </a:lnTo>
                  <a:lnTo>
                    <a:pt x="406" y="204"/>
                  </a:lnTo>
                  <a:lnTo>
                    <a:pt x="406" y="250"/>
                  </a:lnTo>
                  <a:lnTo>
                    <a:pt x="336" y="291"/>
                  </a:lnTo>
                  <a:lnTo>
                    <a:pt x="296" y="384"/>
                  </a:lnTo>
                  <a:lnTo>
                    <a:pt x="226" y="431"/>
                  </a:lnTo>
                  <a:lnTo>
                    <a:pt x="116" y="494"/>
                  </a:lnTo>
                  <a:lnTo>
                    <a:pt x="57" y="529"/>
                  </a:lnTo>
                  <a:lnTo>
                    <a:pt x="40" y="483"/>
                  </a:lnTo>
                  <a:lnTo>
                    <a:pt x="34" y="448"/>
                  </a:lnTo>
                  <a:lnTo>
                    <a:pt x="0" y="36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3" name="Freeform 880"/>
            <p:cNvSpPr/>
            <p:nvPr/>
          </p:nvSpPr>
          <p:spPr bwMode="auto">
            <a:xfrm>
              <a:off x="2305050" y="2944813"/>
              <a:ext cx="158750" cy="109537"/>
            </a:xfrm>
            <a:custGeom>
              <a:avLst/>
              <a:gdLst>
                <a:gd name="T0" fmla="*/ 2 w 354"/>
                <a:gd name="T1" fmla="*/ 0 h 284"/>
                <a:gd name="T2" fmla="*/ 0 w 354"/>
                <a:gd name="T3" fmla="*/ 10 h 284"/>
                <a:gd name="T4" fmla="*/ 0 w 354"/>
                <a:gd name="T5" fmla="*/ 11 h 284"/>
                <a:gd name="T6" fmla="*/ 6 w 354"/>
                <a:gd name="T7" fmla="*/ 21 h 284"/>
                <a:gd name="T8" fmla="*/ 7 w 354"/>
                <a:gd name="T9" fmla="*/ 24 h 284"/>
                <a:gd name="T10" fmla="*/ 27 w 354"/>
                <a:gd name="T11" fmla="*/ 26 h 284"/>
                <a:gd name="T12" fmla="*/ 31 w 354"/>
                <a:gd name="T13" fmla="*/ 26 h 284"/>
                <a:gd name="T14" fmla="*/ 38 w 354"/>
                <a:gd name="T15" fmla="*/ 15 h 284"/>
                <a:gd name="T16" fmla="*/ 36 w 354"/>
                <a:gd name="T17" fmla="*/ 10 h 284"/>
                <a:gd name="T18" fmla="*/ 33 w 354"/>
                <a:gd name="T19" fmla="*/ 10 h 284"/>
                <a:gd name="T20" fmla="*/ 27 w 354"/>
                <a:gd name="T21" fmla="*/ 14 h 284"/>
                <a:gd name="T22" fmla="*/ 27 w 354"/>
                <a:gd name="T23" fmla="*/ 16 h 284"/>
                <a:gd name="T24" fmla="*/ 13 w 354"/>
                <a:gd name="T25" fmla="*/ 14 h 284"/>
                <a:gd name="T26" fmla="*/ 12 w 354"/>
                <a:gd name="T27" fmla="*/ 12 h 284"/>
                <a:gd name="T28" fmla="*/ 12 w 354"/>
                <a:gd name="T29" fmla="*/ 10 h 284"/>
                <a:gd name="T30" fmla="*/ 7 w 354"/>
                <a:gd name="T31" fmla="*/ 12 h 284"/>
                <a:gd name="T32" fmla="*/ 2 w 354"/>
                <a:gd name="T33" fmla="*/ 2 h 284"/>
                <a:gd name="T34" fmla="*/ 2 w 354"/>
                <a:gd name="T35" fmla="*/ 0 h 2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4"/>
                <a:gd name="T55" fmla="*/ 0 h 284"/>
                <a:gd name="T56" fmla="*/ 354 w 354"/>
                <a:gd name="T57" fmla="*/ 284 h 2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4" h="284">
                  <a:moveTo>
                    <a:pt x="22" y="0"/>
                  </a:moveTo>
                  <a:lnTo>
                    <a:pt x="0" y="105"/>
                  </a:lnTo>
                  <a:lnTo>
                    <a:pt x="0" y="122"/>
                  </a:lnTo>
                  <a:lnTo>
                    <a:pt x="52" y="232"/>
                  </a:lnTo>
                  <a:lnTo>
                    <a:pt x="69" y="261"/>
                  </a:lnTo>
                  <a:lnTo>
                    <a:pt x="249" y="284"/>
                  </a:lnTo>
                  <a:lnTo>
                    <a:pt x="290" y="284"/>
                  </a:lnTo>
                  <a:lnTo>
                    <a:pt x="354" y="168"/>
                  </a:lnTo>
                  <a:lnTo>
                    <a:pt x="336" y="110"/>
                  </a:lnTo>
                  <a:lnTo>
                    <a:pt x="312" y="110"/>
                  </a:lnTo>
                  <a:lnTo>
                    <a:pt x="249" y="150"/>
                  </a:lnTo>
                  <a:lnTo>
                    <a:pt x="249" y="174"/>
                  </a:lnTo>
                  <a:lnTo>
                    <a:pt x="121" y="157"/>
                  </a:lnTo>
                  <a:lnTo>
                    <a:pt x="110" y="127"/>
                  </a:lnTo>
                  <a:lnTo>
                    <a:pt x="110" y="110"/>
                  </a:lnTo>
                  <a:lnTo>
                    <a:pt x="69" y="127"/>
                  </a:lnTo>
                  <a:lnTo>
                    <a:pt x="22" y="17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4" name="Freeform 881"/>
            <p:cNvSpPr/>
            <p:nvPr/>
          </p:nvSpPr>
          <p:spPr bwMode="auto">
            <a:xfrm>
              <a:off x="2220913" y="2873375"/>
              <a:ext cx="50800" cy="38100"/>
            </a:xfrm>
            <a:custGeom>
              <a:avLst/>
              <a:gdLst>
                <a:gd name="T0" fmla="*/ 12 w 122"/>
                <a:gd name="T1" fmla="*/ 9 h 93"/>
                <a:gd name="T2" fmla="*/ 9 w 122"/>
                <a:gd name="T3" fmla="*/ 0 h 93"/>
                <a:gd name="T4" fmla="*/ 3 w 122"/>
                <a:gd name="T5" fmla="*/ 1 h 93"/>
                <a:gd name="T6" fmla="*/ 0 w 122"/>
                <a:gd name="T7" fmla="*/ 5 h 93"/>
                <a:gd name="T8" fmla="*/ 7 w 122"/>
                <a:gd name="T9" fmla="*/ 9 h 93"/>
                <a:gd name="T10" fmla="*/ 12 w 122"/>
                <a:gd name="T11" fmla="*/ 9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2"/>
                <a:gd name="T19" fmla="*/ 0 h 93"/>
                <a:gd name="T20" fmla="*/ 122 w 122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2" h="93">
                  <a:moveTo>
                    <a:pt x="122" y="93"/>
                  </a:moveTo>
                  <a:lnTo>
                    <a:pt x="93" y="0"/>
                  </a:lnTo>
                  <a:lnTo>
                    <a:pt x="35" y="6"/>
                  </a:lnTo>
                  <a:lnTo>
                    <a:pt x="0" y="52"/>
                  </a:lnTo>
                  <a:lnTo>
                    <a:pt x="75" y="93"/>
                  </a:lnTo>
                  <a:lnTo>
                    <a:pt x="122" y="9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5" name="Freeform 882"/>
            <p:cNvSpPr/>
            <p:nvPr/>
          </p:nvSpPr>
          <p:spPr bwMode="auto">
            <a:xfrm>
              <a:off x="2014538" y="2668588"/>
              <a:ext cx="257175" cy="242887"/>
            </a:xfrm>
            <a:custGeom>
              <a:avLst/>
              <a:gdLst>
                <a:gd name="T0" fmla="*/ 58 w 570"/>
                <a:gd name="T1" fmla="*/ 49 h 610"/>
                <a:gd name="T2" fmla="*/ 61 w 570"/>
                <a:gd name="T3" fmla="*/ 45 h 610"/>
                <a:gd name="T4" fmla="*/ 56 w 570"/>
                <a:gd name="T5" fmla="*/ 37 h 610"/>
                <a:gd name="T6" fmla="*/ 54 w 570"/>
                <a:gd name="T7" fmla="*/ 28 h 610"/>
                <a:gd name="T8" fmla="*/ 44 w 570"/>
                <a:gd name="T9" fmla="*/ 26 h 610"/>
                <a:gd name="T10" fmla="*/ 42 w 570"/>
                <a:gd name="T11" fmla="*/ 20 h 610"/>
                <a:gd name="T12" fmla="*/ 46 w 570"/>
                <a:gd name="T13" fmla="*/ 10 h 610"/>
                <a:gd name="T14" fmla="*/ 39 w 570"/>
                <a:gd name="T15" fmla="*/ 9 h 610"/>
                <a:gd name="T16" fmla="*/ 35 w 570"/>
                <a:gd name="T17" fmla="*/ 7 h 610"/>
                <a:gd name="T18" fmla="*/ 31 w 570"/>
                <a:gd name="T19" fmla="*/ 0 h 610"/>
                <a:gd name="T20" fmla="*/ 25 w 570"/>
                <a:gd name="T21" fmla="*/ 0 h 610"/>
                <a:gd name="T22" fmla="*/ 14 w 570"/>
                <a:gd name="T23" fmla="*/ 4 h 610"/>
                <a:gd name="T24" fmla="*/ 15 w 570"/>
                <a:gd name="T25" fmla="*/ 8 h 610"/>
                <a:gd name="T26" fmla="*/ 11 w 570"/>
                <a:gd name="T27" fmla="*/ 18 h 610"/>
                <a:gd name="T28" fmla="*/ 3 w 570"/>
                <a:gd name="T29" fmla="*/ 24 h 610"/>
                <a:gd name="T30" fmla="*/ 0 w 570"/>
                <a:gd name="T31" fmla="*/ 30 h 610"/>
                <a:gd name="T32" fmla="*/ 3 w 570"/>
                <a:gd name="T33" fmla="*/ 37 h 610"/>
                <a:gd name="T34" fmla="*/ 14 w 570"/>
                <a:gd name="T35" fmla="*/ 37 h 610"/>
                <a:gd name="T36" fmla="*/ 27 w 570"/>
                <a:gd name="T37" fmla="*/ 47 h 610"/>
                <a:gd name="T38" fmla="*/ 27 w 570"/>
                <a:gd name="T39" fmla="*/ 50 h 610"/>
                <a:gd name="T40" fmla="*/ 34 w 570"/>
                <a:gd name="T41" fmla="*/ 58 h 610"/>
                <a:gd name="T42" fmla="*/ 45 w 570"/>
                <a:gd name="T43" fmla="*/ 54 h 610"/>
                <a:gd name="T44" fmla="*/ 49 w 570"/>
                <a:gd name="T45" fmla="*/ 54 h 610"/>
                <a:gd name="T46" fmla="*/ 51 w 570"/>
                <a:gd name="T47" fmla="*/ 50 h 610"/>
                <a:gd name="T48" fmla="*/ 56 w 570"/>
                <a:gd name="T49" fmla="*/ 49 h 610"/>
                <a:gd name="T50" fmla="*/ 58 w 570"/>
                <a:gd name="T51" fmla="*/ 49 h 61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70"/>
                <a:gd name="T79" fmla="*/ 0 h 610"/>
                <a:gd name="T80" fmla="*/ 570 w 570"/>
                <a:gd name="T81" fmla="*/ 610 h 61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70" h="610">
                  <a:moveTo>
                    <a:pt x="541" y="517"/>
                  </a:moveTo>
                  <a:lnTo>
                    <a:pt x="570" y="476"/>
                  </a:lnTo>
                  <a:lnTo>
                    <a:pt x="523" y="384"/>
                  </a:lnTo>
                  <a:lnTo>
                    <a:pt x="501" y="297"/>
                  </a:lnTo>
                  <a:lnTo>
                    <a:pt x="408" y="273"/>
                  </a:lnTo>
                  <a:lnTo>
                    <a:pt x="390" y="209"/>
                  </a:lnTo>
                  <a:lnTo>
                    <a:pt x="431" y="110"/>
                  </a:lnTo>
                  <a:lnTo>
                    <a:pt x="361" y="93"/>
                  </a:lnTo>
                  <a:lnTo>
                    <a:pt x="326" y="70"/>
                  </a:lnTo>
                  <a:lnTo>
                    <a:pt x="291" y="0"/>
                  </a:lnTo>
                  <a:lnTo>
                    <a:pt x="233" y="0"/>
                  </a:lnTo>
                  <a:lnTo>
                    <a:pt x="129" y="41"/>
                  </a:lnTo>
                  <a:lnTo>
                    <a:pt x="140" y="87"/>
                  </a:lnTo>
                  <a:lnTo>
                    <a:pt x="105" y="185"/>
                  </a:lnTo>
                  <a:lnTo>
                    <a:pt x="24" y="250"/>
                  </a:lnTo>
                  <a:lnTo>
                    <a:pt x="0" y="314"/>
                  </a:lnTo>
                  <a:lnTo>
                    <a:pt x="30" y="389"/>
                  </a:lnTo>
                  <a:lnTo>
                    <a:pt x="134" y="384"/>
                  </a:lnTo>
                  <a:lnTo>
                    <a:pt x="251" y="494"/>
                  </a:lnTo>
                  <a:lnTo>
                    <a:pt x="251" y="523"/>
                  </a:lnTo>
                  <a:lnTo>
                    <a:pt x="321" y="610"/>
                  </a:lnTo>
                  <a:lnTo>
                    <a:pt x="425" y="564"/>
                  </a:lnTo>
                  <a:lnTo>
                    <a:pt x="454" y="564"/>
                  </a:lnTo>
                  <a:lnTo>
                    <a:pt x="478" y="523"/>
                  </a:lnTo>
                  <a:lnTo>
                    <a:pt x="523" y="517"/>
                  </a:lnTo>
                  <a:lnTo>
                    <a:pt x="541" y="51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6" name="Freeform 883"/>
            <p:cNvSpPr/>
            <p:nvPr/>
          </p:nvSpPr>
          <p:spPr bwMode="auto">
            <a:xfrm>
              <a:off x="1893888" y="2790825"/>
              <a:ext cx="133350" cy="100013"/>
            </a:xfrm>
            <a:custGeom>
              <a:avLst/>
              <a:gdLst>
                <a:gd name="T0" fmla="*/ 28 w 302"/>
                <a:gd name="T1" fmla="*/ 1 h 257"/>
                <a:gd name="T2" fmla="*/ 23 w 302"/>
                <a:gd name="T3" fmla="*/ 1 h 257"/>
                <a:gd name="T4" fmla="*/ 20 w 302"/>
                <a:gd name="T5" fmla="*/ 3 h 257"/>
                <a:gd name="T6" fmla="*/ 12 w 302"/>
                <a:gd name="T7" fmla="*/ 3 h 257"/>
                <a:gd name="T8" fmla="*/ 4 w 302"/>
                <a:gd name="T9" fmla="*/ 0 h 257"/>
                <a:gd name="T10" fmla="*/ 2 w 302"/>
                <a:gd name="T11" fmla="*/ 6 h 257"/>
                <a:gd name="T12" fmla="*/ 5 w 302"/>
                <a:gd name="T13" fmla="*/ 13 h 257"/>
                <a:gd name="T14" fmla="*/ 2 w 302"/>
                <a:gd name="T15" fmla="*/ 16 h 257"/>
                <a:gd name="T16" fmla="*/ 0 w 302"/>
                <a:gd name="T17" fmla="*/ 17 h 257"/>
                <a:gd name="T18" fmla="*/ 2 w 302"/>
                <a:gd name="T19" fmla="*/ 22 h 257"/>
                <a:gd name="T20" fmla="*/ 8 w 302"/>
                <a:gd name="T21" fmla="*/ 23 h 257"/>
                <a:gd name="T22" fmla="*/ 14 w 302"/>
                <a:gd name="T23" fmla="*/ 24 h 257"/>
                <a:gd name="T24" fmla="*/ 19 w 302"/>
                <a:gd name="T25" fmla="*/ 22 h 257"/>
                <a:gd name="T26" fmla="*/ 26 w 302"/>
                <a:gd name="T27" fmla="*/ 22 h 257"/>
                <a:gd name="T28" fmla="*/ 28 w 302"/>
                <a:gd name="T29" fmla="*/ 16 h 257"/>
                <a:gd name="T30" fmla="*/ 19 w 302"/>
                <a:gd name="T31" fmla="*/ 14 h 257"/>
                <a:gd name="T32" fmla="*/ 19 w 302"/>
                <a:gd name="T33" fmla="*/ 9 h 257"/>
                <a:gd name="T34" fmla="*/ 26 w 302"/>
                <a:gd name="T35" fmla="*/ 8 h 257"/>
                <a:gd name="T36" fmla="*/ 32 w 302"/>
                <a:gd name="T37" fmla="*/ 8 h 257"/>
                <a:gd name="T38" fmla="*/ 28 w 302"/>
                <a:gd name="T39" fmla="*/ 1 h 25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02"/>
                <a:gd name="T61" fmla="*/ 0 h 257"/>
                <a:gd name="T62" fmla="*/ 302 w 302"/>
                <a:gd name="T63" fmla="*/ 257 h 25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02" h="257">
                  <a:moveTo>
                    <a:pt x="267" y="12"/>
                  </a:moveTo>
                  <a:lnTo>
                    <a:pt x="215" y="12"/>
                  </a:lnTo>
                  <a:lnTo>
                    <a:pt x="187" y="30"/>
                  </a:lnTo>
                  <a:lnTo>
                    <a:pt x="117" y="30"/>
                  </a:lnTo>
                  <a:lnTo>
                    <a:pt x="35" y="0"/>
                  </a:lnTo>
                  <a:lnTo>
                    <a:pt x="23" y="59"/>
                  </a:lnTo>
                  <a:lnTo>
                    <a:pt x="47" y="140"/>
                  </a:lnTo>
                  <a:lnTo>
                    <a:pt x="18" y="169"/>
                  </a:lnTo>
                  <a:lnTo>
                    <a:pt x="0" y="187"/>
                  </a:lnTo>
                  <a:lnTo>
                    <a:pt x="18" y="234"/>
                  </a:lnTo>
                  <a:lnTo>
                    <a:pt x="75" y="251"/>
                  </a:lnTo>
                  <a:lnTo>
                    <a:pt x="134" y="257"/>
                  </a:lnTo>
                  <a:lnTo>
                    <a:pt x="175" y="234"/>
                  </a:lnTo>
                  <a:lnTo>
                    <a:pt x="244" y="234"/>
                  </a:lnTo>
                  <a:lnTo>
                    <a:pt x="267" y="169"/>
                  </a:lnTo>
                  <a:lnTo>
                    <a:pt x="180" y="146"/>
                  </a:lnTo>
                  <a:lnTo>
                    <a:pt x="180" y="100"/>
                  </a:lnTo>
                  <a:lnTo>
                    <a:pt x="250" y="88"/>
                  </a:lnTo>
                  <a:lnTo>
                    <a:pt x="302" y="82"/>
                  </a:lnTo>
                  <a:lnTo>
                    <a:pt x="267" y="1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7" name="Freeform 884"/>
            <p:cNvSpPr/>
            <p:nvPr/>
          </p:nvSpPr>
          <p:spPr bwMode="auto">
            <a:xfrm>
              <a:off x="1876425" y="2781300"/>
              <a:ext cx="42863" cy="80963"/>
            </a:xfrm>
            <a:custGeom>
              <a:avLst/>
              <a:gdLst>
                <a:gd name="T0" fmla="*/ 10 w 87"/>
                <a:gd name="T1" fmla="*/ 3 h 209"/>
                <a:gd name="T2" fmla="*/ 5 w 87"/>
                <a:gd name="T3" fmla="*/ 0 h 209"/>
                <a:gd name="T4" fmla="*/ 2 w 87"/>
                <a:gd name="T5" fmla="*/ 9 h 209"/>
                <a:gd name="T6" fmla="*/ 3 w 87"/>
                <a:gd name="T7" fmla="*/ 13 h 209"/>
                <a:gd name="T8" fmla="*/ 0 w 87"/>
                <a:gd name="T9" fmla="*/ 16 h 209"/>
                <a:gd name="T10" fmla="*/ 3 w 87"/>
                <a:gd name="T11" fmla="*/ 19 h 209"/>
                <a:gd name="T12" fmla="*/ 9 w 87"/>
                <a:gd name="T13" fmla="*/ 15 h 209"/>
                <a:gd name="T14" fmla="*/ 9 w 87"/>
                <a:gd name="T15" fmla="*/ 13 h 209"/>
                <a:gd name="T16" fmla="*/ 7 w 87"/>
                <a:gd name="T17" fmla="*/ 7 h 209"/>
                <a:gd name="T18" fmla="*/ 8 w 87"/>
                <a:gd name="T19" fmla="*/ 4 h 209"/>
                <a:gd name="T20" fmla="*/ 10 w 87"/>
                <a:gd name="T21" fmla="*/ 3 h 20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7"/>
                <a:gd name="T34" fmla="*/ 0 h 209"/>
                <a:gd name="T35" fmla="*/ 87 w 87"/>
                <a:gd name="T36" fmla="*/ 209 h 20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7" h="209">
                  <a:moveTo>
                    <a:pt x="87" y="29"/>
                  </a:moveTo>
                  <a:lnTo>
                    <a:pt x="47" y="0"/>
                  </a:lnTo>
                  <a:lnTo>
                    <a:pt x="17" y="104"/>
                  </a:lnTo>
                  <a:lnTo>
                    <a:pt x="24" y="144"/>
                  </a:lnTo>
                  <a:lnTo>
                    <a:pt x="0" y="174"/>
                  </a:lnTo>
                  <a:lnTo>
                    <a:pt x="29" y="209"/>
                  </a:lnTo>
                  <a:lnTo>
                    <a:pt x="76" y="168"/>
                  </a:lnTo>
                  <a:lnTo>
                    <a:pt x="76" y="144"/>
                  </a:lnTo>
                  <a:lnTo>
                    <a:pt x="59" y="81"/>
                  </a:lnTo>
                  <a:lnTo>
                    <a:pt x="69" y="40"/>
                  </a:lnTo>
                  <a:lnTo>
                    <a:pt x="87" y="2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8" name="Freeform 885"/>
            <p:cNvSpPr/>
            <p:nvPr/>
          </p:nvSpPr>
          <p:spPr bwMode="auto">
            <a:xfrm>
              <a:off x="1897063" y="2740025"/>
              <a:ext cx="47625" cy="53975"/>
            </a:xfrm>
            <a:custGeom>
              <a:avLst/>
              <a:gdLst>
                <a:gd name="T0" fmla="*/ 0 w 92"/>
                <a:gd name="T1" fmla="*/ 11 h 139"/>
                <a:gd name="T2" fmla="*/ 3 w 92"/>
                <a:gd name="T3" fmla="*/ 7 h 139"/>
                <a:gd name="T4" fmla="*/ 6 w 92"/>
                <a:gd name="T5" fmla="*/ 0 h 139"/>
                <a:gd name="T6" fmla="*/ 11 w 92"/>
                <a:gd name="T7" fmla="*/ 2 h 139"/>
                <a:gd name="T8" fmla="*/ 8 w 92"/>
                <a:gd name="T9" fmla="*/ 7 h 139"/>
                <a:gd name="T10" fmla="*/ 6 w 92"/>
                <a:gd name="T11" fmla="*/ 13 h 139"/>
                <a:gd name="T12" fmla="*/ 0 w 92"/>
                <a:gd name="T13" fmla="*/ 11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2"/>
                <a:gd name="T22" fmla="*/ 0 h 139"/>
                <a:gd name="T23" fmla="*/ 92 w 92"/>
                <a:gd name="T24" fmla="*/ 139 h 1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2" h="139">
                  <a:moveTo>
                    <a:pt x="0" y="117"/>
                  </a:moveTo>
                  <a:lnTo>
                    <a:pt x="29" y="70"/>
                  </a:lnTo>
                  <a:lnTo>
                    <a:pt x="46" y="0"/>
                  </a:lnTo>
                  <a:lnTo>
                    <a:pt x="92" y="23"/>
                  </a:lnTo>
                  <a:lnTo>
                    <a:pt x="69" y="70"/>
                  </a:lnTo>
                  <a:lnTo>
                    <a:pt x="46" y="139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19" name="Freeform 886"/>
            <p:cNvSpPr/>
            <p:nvPr/>
          </p:nvSpPr>
          <p:spPr bwMode="auto">
            <a:xfrm>
              <a:off x="1914525" y="2681288"/>
              <a:ext cx="158750" cy="122237"/>
            </a:xfrm>
            <a:custGeom>
              <a:avLst/>
              <a:gdLst>
                <a:gd name="T0" fmla="*/ 0 w 354"/>
                <a:gd name="T1" fmla="*/ 27 h 314"/>
                <a:gd name="T2" fmla="*/ 7 w 354"/>
                <a:gd name="T3" fmla="*/ 29 h 314"/>
                <a:gd name="T4" fmla="*/ 14 w 354"/>
                <a:gd name="T5" fmla="*/ 29 h 314"/>
                <a:gd name="T6" fmla="*/ 18 w 354"/>
                <a:gd name="T7" fmla="*/ 28 h 314"/>
                <a:gd name="T8" fmla="*/ 24 w 354"/>
                <a:gd name="T9" fmla="*/ 27 h 314"/>
                <a:gd name="T10" fmla="*/ 26 w 354"/>
                <a:gd name="T11" fmla="*/ 21 h 314"/>
                <a:gd name="T12" fmla="*/ 36 w 354"/>
                <a:gd name="T13" fmla="*/ 14 h 314"/>
                <a:gd name="T14" fmla="*/ 38 w 354"/>
                <a:gd name="T15" fmla="*/ 6 h 314"/>
                <a:gd name="T16" fmla="*/ 38 w 354"/>
                <a:gd name="T17" fmla="*/ 2 h 314"/>
                <a:gd name="T18" fmla="*/ 36 w 354"/>
                <a:gd name="T19" fmla="*/ 2 h 314"/>
                <a:gd name="T20" fmla="*/ 31 w 354"/>
                <a:gd name="T21" fmla="*/ 1 h 314"/>
                <a:gd name="T22" fmla="*/ 27 w 354"/>
                <a:gd name="T23" fmla="*/ 2 h 314"/>
                <a:gd name="T24" fmla="*/ 22 w 354"/>
                <a:gd name="T25" fmla="*/ 2 h 314"/>
                <a:gd name="T26" fmla="*/ 19 w 354"/>
                <a:gd name="T27" fmla="*/ 0 h 314"/>
                <a:gd name="T28" fmla="*/ 14 w 354"/>
                <a:gd name="T29" fmla="*/ 1 h 314"/>
                <a:gd name="T30" fmla="*/ 9 w 354"/>
                <a:gd name="T31" fmla="*/ 2 h 314"/>
                <a:gd name="T32" fmla="*/ 4 w 354"/>
                <a:gd name="T33" fmla="*/ 6 h 314"/>
                <a:gd name="T34" fmla="*/ 2 w 354"/>
                <a:gd name="T35" fmla="*/ 14 h 314"/>
                <a:gd name="T36" fmla="*/ 5 w 354"/>
                <a:gd name="T37" fmla="*/ 16 h 314"/>
                <a:gd name="T38" fmla="*/ 7 w 354"/>
                <a:gd name="T39" fmla="*/ 17 h 314"/>
                <a:gd name="T40" fmla="*/ 4 w 354"/>
                <a:gd name="T41" fmla="*/ 20 h 314"/>
                <a:gd name="T42" fmla="*/ 0 w 354"/>
                <a:gd name="T43" fmla="*/ 27 h 3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54"/>
                <a:gd name="T67" fmla="*/ 0 h 314"/>
                <a:gd name="T68" fmla="*/ 354 w 354"/>
                <a:gd name="T69" fmla="*/ 314 h 3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54" h="314">
                  <a:moveTo>
                    <a:pt x="0" y="291"/>
                  </a:moveTo>
                  <a:lnTo>
                    <a:pt x="63" y="314"/>
                  </a:lnTo>
                  <a:lnTo>
                    <a:pt x="133" y="314"/>
                  </a:lnTo>
                  <a:lnTo>
                    <a:pt x="168" y="302"/>
                  </a:lnTo>
                  <a:lnTo>
                    <a:pt x="220" y="296"/>
                  </a:lnTo>
                  <a:lnTo>
                    <a:pt x="244" y="227"/>
                  </a:lnTo>
                  <a:lnTo>
                    <a:pt x="337" y="157"/>
                  </a:lnTo>
                  <a:lnTo>
                    <a:pt x="354" y="70"/>
                  </a:lnTo>
                  <a:lnTo>
                    <a:pt x="354" y="23"/>
                  </a:lnTo>
                  <a:lnTo>
                    <a:pt x="337" y="18"/>
                  </a:lnTo>
                  <a:lnTo>
                    <a:pt x="290" y="6"/>
                  </a:lnTo>
                  <a:lnTo>
                    <a:pt x="255" y="23"/>
                  </a:lnTo>
                  <a:lnTo>
                    <a:pt x="203" y="18"/>
                  </a:lnTo>
                  <a:lnTo>
                    <a:pt x="174" y="0"/>
                  </a:lnTo>
                  <a:lnTo>
                    <a:pt x="133" y="6"/>
                  </a:lnTo>
                  <a:lnTo>
                    <a:pt x="81" y="23"/>
                  </a:lnTo>
                  <a:lnTo>
                    <a:pt x="40" y="70"/>
                  </a:lnTo>
                  <a:lnTo>
                    <a:pt x="17" y="157"/>
                  </a:lnTo>
                  <a:lnTo>
                    <a:pt x="46" y="169"/>
                  </a:lnTo>
                  <a:lnTo>
                    <a:pt x="63" y="186"/>
                  </a:lnTo>
                  <a:lnTo>
                    <a:pt x="40" y="221"/>
                  </a:lnTo>
                  <a:lnTo>
                    <a:pt x="0" y="29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0" name="Freeform 887"/>
            <p:cNvSpPr/>
            <p:nvPr/>
          </p:nvSpPr>
          <p:spPr bwMode="auto">
            <a:xfrm>
              <a:off x="1674813" y="2530475"/>
              <a:ext cx="474662" cy="176213"/>
            </a:xfrm>
            <a:custGeom>
              <a:avLst/>
              <a:gdLst>
                <a:gd name="T0" fmla="*/ 3 w 1035"/>
                <a:gd name="T1" fmla="*/ 11 h 453"/>
                <a:gd name="T2" fmla="*/ 3 w 1035"/>
                <a:gd name="T3" fmla="*/ 17 h 453"/>
                <a:gd name="T4" fmla="*/ 0 w 1035"/>
                <a:gd name="T5" fmla="*/ 25 h 453"/>
                <a:gd name="T6" fmla="*/ 5 w 1035"/>
                <a:gd name="T7" fmla="*/ 27 h 453"/>
                <a:gd name="T8" fmla="*/ 10 w 1035"/>
                <a:gd name="T9" fmla="*/ 31 h 453"/>
                <a:gd name="T10" fmla="*/ 14 w 1035"/>
                <a:gd name="T11" fmla="*/ 36 h 453"/>
                <a:gd name="T12" fmla="*/ 22 w 1035"/>
                <a:gd name="T13" fmla="*/ 38 h 453"/>
                <a:gd name="T14" fmla="*/ 34 w 1035"/>
                <a:gd name="T15" fmla="*/ 36 h 453"/>
                <a:gd name="T16" fmla="*/ 39 w 1035"/>
                <a:gd name="T17" fmla="*/ 40 h 453"/>
                <a:gd name="T18" fmla="*/ 41 w 1035"/>
                <a:gd name="T19" fmla="*/ 40 h 453"/>
                <a:gd name="T20" fmla="*/ 51 w 1035"/>
                <a:gd name="T21" fmla="*/ 38 h 453"/>
                <a:gd name="T22" fmla="*/ 57 w 1035"/>
                <a:gd name="T23" fmla="*/ 38 h 453"/>
                <a:gd name="T24" fmla="*/ 58 w 1035"/>
                <a:gd name="T25" fmla="*/ 38 h 453"/>
                <a:gd name="T26" fmla="*/ 61 w 1035"/>
                <a:gd name="T27" fmla="*/ 42 h 453"/>
                <a:gd name="T28" fmla="*/ 66 w 1035"/>
                <a:gd name="T29" fmla="*/ 38 h 453"/>
                <a:gd name="T30" fmla="*/ 74 w 1035"/>
                <a:gd name="T31" fmla="*/ 36 h 453"/>
                <a:gd name="T32" fmla="*/ 76 w 1035"/>
                <a:gd name="T33" fmla="*/ 36 h 453"/>
                <a:gd name="T34" fmla="*/ 78 w 1035"/>
                <a:gd name="T35" fmla="*/ 38 h 453"/>
                <a:gd name="T36" fmla="*/ 83 w 1035"/>
                <a:gd name="T37" fmla="*/ 38 h 453"/>
                <a:gd name="T38" fmla="*/ 88 w 1035"/>
                <a:gd name="T39" fmla="*/ 36 h 453"/>
                <a:gd name="T40" fmla="*/ 93 w 1035"/>
                <a:gd name="T41" fmla="*/ 38 h 453"/>
                <a:gd name="T42" fmla="*/ 98 w 1035"/>
                <a:gd name="T43" fmla="*/ 36 h 453"/>
                <a:gd name="T44" fmla="*/ 105 w 1035"/>
                <a:gd name="T45" fmla="*/ 33 h 453"/>
                <a:gd name="T46" fmla="*/ 110 w 1035"/>
                <a:gd name="T47" fmla="*/ 33 h 453"/>
                <a:gd name="T48" fmla="*/ 110 w 1035"/>
                <a:gd name="T49" fmla="*/ 27 h 453"/>
                <a:gd name="T50" fmla="*/ 113 w 1035"/>
                <a:gd name="T51" fmla="*/ 19 h 453"/>
                <a:gd name="T52" fmla="*/ 110 w 1035"/>
                <a:gd name="T53" fmla="*/ 14 h 453"/>
                <a:gd name="T54" fmla="*/ 105 w 1035"/>
                <a:gd name="T55" fmla="*/ 4 h 453"/>
                <a:gd name="T56" fmla="*/ 100 w 1035"/>
                <a:gd name="T57" fmla="*/ 2 h 453"/>
                <a:gd name="T58" fmla="*/ 93 w 1035"/>
                <a:gd name="T59" fmla="*/ 2 h 453"/>
                <a:gd name="T60" fmla="*/ 83 w 1035"/>
                <a:gd name="T61" fmla="*/ 4 h 453"/>
                <a:gd name="T62" fmla="*/ 78 w 1035"/>
                <a:gd name="T63" fmla="*/ 9 h 453"/>
                <a:gd name="T64" fmla="*/ 71 w 1035"/>
                <a:gd name="T65" fmla="*/ 6 h 453"/>
                <a:gd name="T66" fmla="*/ 49 w 1035"/>
                <a:gd name="T67" fmla="*/ 0 h 453"/>
                <a:gd name="T68" fmla="*/ 36 w 1035"/>
                <a:gd name="T69" fmla="*/ 0 h 453"/>
                <a:gd name="T70" fmla="*/ 24 w 1035"/>
                <a:gd name="T71" fmla="*/ 4 h 453"/>
                <a:gd name="T72" fmla="*/ 14 w 1035"/>
                <a:gd name="T73" fmla="*/ 6 h 453"/>
                <a:gd name="T74" fmla="*/ 13 w 1035"/>
                <a:gd name="T75" fmla="*/ 8 h 453"/>
                <a:gd name="T76" fmla="*/ 13 w 1035"/>
                <a:gd name="T77" fmla="*/ 11 h 453"/>
                <a:gd name="T78" fmla="*/ 6 w 1035"/>
                <a:gd name="T79" fmla="*/ 10 h 453"/>
                <a:gd name="T80" fmla="*/ 3 w 1035"/>
                <a:gd name="T81" fmla="*/ 11 h 45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5"/>
                <a:gd name="T124" fmla="*/ 0 h 453"/>
                <a:gd name="T125" fmla="*/ 1035 w 1035"/>
                <a:gd name="T126" fmla="*/ 453 h 45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5" h="453">
                  <a:moveTo>
                    <a:pt x="24" y="116"/>
                  </a:moveTo>
                  <a:lnTo>
                    <a:pt x="24" y="179"/>
                  </a:lnTo>
                  <a:lnTo>
                    <a:pt x="0" y="273"/>
                  </a:lnTo>
                  <a:lnTo>
                    <a:pt x="47" y="291"/>
                  </a:lnTo>
                  <a:lnTo>
                    <a:pt x="93" y="336"/>
                  </a:lnTo>
                  <a:lnTo>
                    <a:pt x="128" y="383"/>
                  </a:lnTo>
                  <a:lnTo>
                    <a:pt x="198" y="406"/>
                  </a:lnTo>
                  <a:lnTo>
                    <a:pt x="314" y="383"/>
                  </a:lnTo>
                  <a:lnTo>
                    <a:pt x="355" y="430"/>
                  </a:lnTo>
                  <a:lnTo>
                    <a:pt x="378" y="430"/>
                  </a:lnTo>
                  <a:lnTo>
                    <a:pt x="471" y="406"/>
                  </a:lnTo>
                  <a:lnTo>
                    <a:pt x="518" y="406"/>
                  </a:lnTo>
                  <a:lnTo>
                    <a:pt x="535" y="406"/>
                  </a:lnTo>
                  <a:lnTo>
                    <a:pt x="558" y="453"/>
                  </a:lnTo>
                  <a:lnTo>
                    <a:pt x="605" y="406"/>
                  </a:lnTo>
                  <a:lnTo>
                    <a:pt x="675" y="383"/>
                  </a:lnTo>
                  <a:lnTo>
                    <a:pt x="698" y="383"/>
                  </a:lnTo>
                  <a:lnTo>
                    <a:pt x="715" y="406"/>
                  </a:lnTo>
                  <a:lnTo>
                    <a:pt x="762" y="406"/>
                  </a:lnTo>
                  <a:lnTo>
                    <a:pt x="808" y="383"/>
                  </a:lnTo>
                  <a:lnTo>
                    <a:pt x="855" y="406"/>
                  </a:lnTo>
                  <a:lnTo>
                    <a:pt x="895" y="383"/>
                  </a:lnTo>
                  <a:lnTo>
                    <a:pt x="965" y="360"/>
                  </a:lnTo>
                  <a:lnTo>
                    <a:pt x="1012" y="360"/>
                  </a:lnTo>
                  <a:lnTo>
                    <a:pt x="1012" y="291"/>
                  </a:lnTo>
                  <a:lnTo>
                    <a:pt x="1035" y="203"/>
                  </a:lnTo>
                  <a:lnTo>
                    <a:pt x="1012" y="156"/>
                  </a:lnTo>
                  <a:lnTo>
                    <a:pt x="965" y="46"/>
                  </a:lnTo>
                  <a:lnTo>
                    <a:pt x="919" y="22"/>
                  </a:lnTo>
                  <a:lnTo>
                    <a:pt x="855" y="22"/>
                  </a:lnTo>
                  <a:lnTo>
                    <a:pt x="762" y="46"/>
                  </a:lnTo>
                  <a:lnTo>
                    <a:pt x="715" y="92"/>
                  </a:lnTo>
                  <a:lnTo>
                    <a:pt x="651" y="69"/>
                  </a:lnTo>
                  <a:lnTo>
                    <a:pt x="448" y="0"/>
                  </a:lnTo>
                  <a:lnTo>
                    <a:pt x="332" y="0"/>
                  </a:lnTo>
                  <a:lnTo>
                    <a:pt x="222" y="46"/>
                  </a:lnTo>
                  <a:lnTo>
                    <a:pt x="128" y="69"/>
                  </a:lnTo>
                  <a:lnTo>
                    <a:pt x="117" y="87"/>
                  </a:lnTo>
                  <a:lnTo>
                    <a:pt x="122" y="116"/>
                  </a:lnTo>
                  <a:lnTo>
                    <a:pt x="58" y="104"/>
                  </a:lnTo>
                  <a:lnTo>
                    <a:pt x="24" y="11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1" name="Freeform 888"/>
            <p:cNvSpPr/>
            <p:nvPr/>
          </p:nvSpPr>
          <p:spPr bwMode="auto">
            <a:xfrm>
              <a:off x="1825625" y="2722563"/>
              <a:ext cx="42863" cy="30162"/>
            </a:xfrm>
            <a:custGeom>
              <a:avLst/>
              <a:gdLst>
                <a:gd name="T0" fmla="*/ 10 w 92"/>
                <a:gd name="T1" fmla="*/ 0 h 70"/>
                <a:gd name="T2" fmla="*/ 5 w 92"/>
                <a:gd name="T3" fmla="*/ 0 h 70"/>
                <a:gd name="T4" fmla="*/ 0 w 92"/>
                <a:gd name="T5" fmla="*/ 2 h 70"/>
                <a:gd name="T6" fmla="*/ 0 w 92"/>
                <a:gd name="T7" fmla="*/ 7 h 70"/>
                <a:gd name="T8" fmla="*/ 3 w 92"/>
                <a:gd name="T9" fmla="*/ 7 h 70"/>
                <a:gd name="T10" fmla="*/ 5 w 92"/>
                <a:gd name="T11" fmla="*/ 5 h 70"/>
                <a:gd name="T12" fmla="*/ 8 w 92"/>
                <a:gd name="T13" fmla="*/ 5 h 70"/>
                <a:gd name="T14" fmla="*/ 10 w 92"/>
                <a:gd name="T15" fmla="*/ 2 h 70"/>
                <a:gd name="T16" fmla="*/ 10 w 92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2"/>
                <a:gd name="T28" fmla="*/ 0 h 70"/>
                <a:gd name="T29" fmla="*/ 92 w 9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2" h="70">
                  <a:moveTo>
                    <a:pt x="92" y="0"/>
                  </a:moveTo>
                  <a:lnTo>
                    <a:pt x="46" y="0"/>
                  </a:lnTo>
                  <a:lnTo>
                    <a:pt x="0" y="24"/>
                  </a:lnTo>
                  <a:lnTo>
                    <a:pt x="0" y="70"/>
                  </a:lnTo>
                  <a:lnTo>
                    <a:pt x="23" y="70"/>
                  </a:lnTo>
                  <a:lnTo>
                    <a:pt x="46" y="47"/>
                  </a:lnTo>
                  <a:lnTo>
                    <a:pt x="69" y="47"/>
                  </a:lnTo>
                  <a:lnTo>
                    <a:pt x="92" y="24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2" name="Freeform 889"/>
            <p:cNvSpPr/>
            <p:nvPr/>
          </p:nvSpPr>
          <p:spPr bwMode="auto">
            <a:xfrm>
              <a:off x="1562100" y="2224088"/>
              <a:ext cx="423863" cy="212725"/>
            </a:xfrm>
            <a:custGeom>
              <a:avLst/>
              <a:gdLst>
                <a:gd name="T0" fmla="*/ 96 w 924"/>
                <a:gd name="T1" fmla="*/ 33 h 558"/>
                <a:gd name="T2" fmla="*/ 91 w 924"/>
                <a:gd name="T3" fmla="*/ 35 h 558"/>
                <a:gd name="T4" fmla="*/ 86 w 924"/>
                <a:gd name="T5" fmla="*/ 39 h 558"/>
                <a:gd name="T6" fmla="*/ 76 w 924"/>
                <a:gd name="T7" fmla="*/ 41 h 558"/>
                <a:gd name="T8" fmla="*/ 71 w 924"/>
                <a:gd name="T9" fmla="*/ 41 h 558"/>
                <a:gd name="T10" fmla="*/ 71 w 924"/>
                <a:gd name="T11" fmla="*/ 45 h 558"/>
                <a:gd name="T12" fmla="*/ 76 w 924"/>
                <a:gd name="T13" fmla="*/ 47 h 558"/>
                <a:gd name="T14" fmla="*/ 71 w 924"/>
                <a:gd name="T15" fmla="*/ 49 h 558"/>
                <a:gd name="T16" fmla="*/ 69 w 924"/>
                <a:gd name="T17" fmla="*/ 49 h 558"/>
                <a:gd name="T18" fmla="*/ 64 w 924"/>
                <a:gd name="T19" fmla="*/ 44 h 558"/>
                <a:gd name="T20" fmla="*/ 62 w 924"/>
                <a:gd name="T21" fmla="*/ 41 h 558"/>
                <a:gd name="T22" fmla="*/ 56 w 924"/>
                <a:gd name="T23" fmla="*/ 41 h 558"/>
                <a:gd name="T24" fmla="*/ 51 w 924"/>
                <a:gd name="T25" fmla="*/ 41 h 558"/>
                <a:gd name="T26" fmla="*/ 49 w 924"/>
                <a:gd name="T27" fmla="*/ 47 h 558"/>
                <a:gd name="T28" fmla="*/ 44 w 924"/>
                <a:gd name="T29" fmla="*/ 49 h 558"/>
                <a:gd name="T30" fmla="*/ 41 w 924"/>
                <a:gd name="T31" fmla="*/ 49 h 558"/>
                <a:gd name="T32" fmla="*/ 39 w 924"/>
                <a:gd name="T33" fmla="*/ 51 h 558"/>
                <a:gd name="T34" fmla="*/ 39 w 924"/>
                <a:gd name="T35" fmla="*/ 40 h 558"/>
                <a:gd name="T36" fmla="*/ 45 w 924"/>
                <a:gd name="T37" fmla="*/ 36 h 558"/>
                <a:gd name="T38" fmla="*/ 49 w 924"/>
                <a:gd name="T39" fmla="*/ 35 h 558"/>
                <a:gd name="T40" fmla="*/ 46 w 924"/>
                <a:gd name="T41" fmla="*/ 31 h 558"/>
                <a:gd name="T42" fmla="*/ 41 w 924"/>
                <a:gd name="T43" fmla="*/ 25 h 558"/>
                <a:gd name="T44" fmla="*/ 37 w 924"/>
                <a:gd name="T45" fmla="*/ 25 h 558"/>
                <a:gd name="T46" fmla="*/ 30 w 924"/>
                <a:gd name="T47" fmla="*/ 27 h 558"/>
                <a:gd name="T48" fmla="*/ 27 w 924"/>
                <a:gd name="T49" fmla="*/ 31 h 558"/>
                <a:gd name="T50" fmla="*/ 18 w 924"/>
                <a:gd name="T51" fmla="*/ 31 h 558"/>
                <a:gd name="T52" fmla="*/ 6 w 924"/>
                <a:gd name="T53" fmla="*/ 31 h 558"/>
                <a:gd name="T54" fmla="*/ 2 w 924"/>
                <a:gd name="T55" fmla="*/ 28 h 558"/>
                <a:gd name="T56" fmla="*/ 0 w 924"/>
                <a:gd name="T57" fmla="*/ 23 h 558"/>
                <a:gd name="T58" fmla="*/ 10 w 924"/>
                <a:gd name="T59" fmla="*/ 11 h 558"/>
                <a:gd name="T60" fmla="*/ 8 w 924"/>
                <a:gd name="T61" fmla="*/ 6 h 558"/>
                <a:gd name="T62" fmla="*/ 13 w 924"/>
                <a:gd name="T63" fmla="*/ 4 h 558"/>
                <a:gd name="T64" fmla="*/ 18 w 924"/>
                <a:gd name="T65" fmla="*/ 4 h 558"/>
                <a:gd name="T66" fmla="*/ 20 w 924"/>
                <a:gd name="T67" fmla="*/ 4 h 558"/>
                <a:gd name="T68" fmla="*/ 27 w 924"/>
                <a:gd name="T69" fmla="*/ 8 h 558"/>
                <a:gd name="T70" fmla="*/ 39 w 924"/>
                <a:gd name="T71" fmla="*/ 4 h 558"/>
                <a:gd name="T72" fmla="*/ 41 w 924"/>
                <a:gd name="T73" fmla="*/ 6 h 558"/>
                <a:gd name="T74" fmla="*/ 44 w 924"/>
                <a:gd name="T75" fmla="*/ 4 h 558"/>
                <a:gd name="T76" fmla="*/ 49 w 924"/>
                <a:gd name="T77" fmla="*/ 2 h 558"/>
                <a:gd name="T78" fmla="*/ 54 w 924"/>
                <a:gd name="T79" fmla="*/ 2 h 558"/>
                <a:gd name="T80" fmla="*/ 64 w 924"/>
                <a:gd name="T81" fmla="*/ 0 h 558"/>
                <a:gd name="T82" fmla="*/ 76 w 924"/>
                <a:gd name="T83" fmla="*/ 0 h 558"/>
                <a:gd name="T84" fmla="*/ 81 w 924"/>
                <a:gd name="T85" fmla="*/ 6 h 558"/>
                <a:gd name="T86" fmla="*/ 86 w 924"/>
                <a:gd name="T87" fmla="*/ 11 h 558"/>
                <a:gd name="T88" fmla="*/ 93 w 924"/>
                <a:gd name="T89" fmla="*/ 11 h 558"/>
                <a:gd name="T90" fmla="*/ 98 w 924"/>
                <a:gd name="T91" fmla="*/ 21 h 558"/>
                <a:gd name="T92" fmla="*/ 98 w 924"/>
                <a:gd name="T93" fmla="*/ 23 h 558"/>
                <a:gd name="T94" fmla="*/ 101 w 924"/>
                <a:gd name="T95" fmla="*/ 29 h 558"/>
                <a:gd name="T96" fmla="*/ 93 w 924"/>
                <a:gd name="T97" fmla="*/ 31 h 558"/>
                <a:gd name="T98" fmla="*/ 96 w 924"/>
                <a:gd name="T99" fmla="*/ 33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4"/>
                <a:gd name="T151" fmla="*/ 0 h 558"/>
                <a:gd name="T152" fmla="*/ 924 w 924"/>
                <a:gd name="T153" fmla="*/ 558 h 55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4" h="558">
                  <a:moveTo>
                    <a:pt x="877" y="360"/>
                  </a:moveTo>
                  <a:lnTo>
                    <a:pt x="830" y="383"/>
                  </a:lnTo>
                  <a:lnTo>
                    <a:pt x="784" y="430"/>
                  </a:lnTo>
                  <a:lnTo>
                    <a:pt x="697" y="453"/>
                  </a:lnTo>
                  <a:lnTo>
                    <a:pt x="650" y="453"/>
                  </a:lnTo>
                  <a:lnTo>
                    <a:pt x="650" y="493"/>
                  </a:lnTo>
                  <a:lnTo>
                    <a:pt x="697" y="516"/>
                  </a:lnTo>
                  <a:lnTo>
                    <a:pt x="650" y="540"/>
                  </a:lnTo>
                  <a:lnTo>
                    <a:pt x="627" y="540"/>
                  </a:lnTo>
                  <a:lnTo>
                    <a:pt x="581" y="476"/>
                  </a:lnTo>
                  <a:lnTo>
                    <a:pt x="563" y="453"/>
                  </a:lnTo>
                  <a:lnTo>
                    <a:pt x="516" y="453"/>
                  </a:lnTo>
                  <a:lnTo>
                    <a:pt x="471" y="453"/>
                  </a:lnTo>
                  <a:lnTo>
                    <a:pt x="447" y="516"/>
                  </a:lnTo>
                  <a:lnTo>
                    <a:pt x="401" y="540"/>
                  </a:lnTo>
                  <a:lnTo>
                    <a:pt x="377" y="540"/>
                  </a:lnTo>
                  <a:lnTo>
                    <a:pt x="359" y="558"/>
                  </a:lnTo>
                  <a:lnTo>
                    <a:pt x="359" y="441"/>
                  </a:lnTo>
                  <a:lnTo>
                    <a:pt x="412" y="395"/>
                  </a:lnTo>
                  <a:lnTo>
                    <a:pt x="447" y="383"/>
                  </a:lnTo>
                  <a:lnTo>
                    <a:pt x="424" y="336"/>
                  </a:lnTo>
                  <a:lnTo>
                    <a:pt x="377" y="273"/>
                  </a:lnTo>
                  <a:lnTo>
                    <a:pt x="342" y="273"/>
                  </a:lnTo>
                  <a:lnTo>
                    <a:pt x="273" y="296"/>
                  </a:lnTo>
                  <a:lnTo>
                    <a:pt x="249" y="343"/>
                  </a:lnTo>
                  <a:lnTo>
                    <a:pt x="162" y="336"/>
                  </a:lnTo>
                  <a:lnTo>
                    <a:pt x="57" y="343"/>
                  </a:lnTo>
                  <a:lnTo>
                    <a:pt x="17" y="308"/>
                  </a:lnTo>
                  <a:lnTo>
                    <a:pt x="0" y="249"/>
                  </a:lnTo>
                  <a:lnTo>
                    <a:pt x="92" y="116"/>
                  </a:lnTo>
                  <a:lnTo>
                    <a:pt x="69" y="69"/>
                  </a:lnTo>
                  <a:lnTo>
                    <a:pt x="116" y="40"/>
                  </a:lnTo>
                  <a:lnTo>
                    <a:pt x="162" y="40"/>
                  </a:lnTo>
                  <a:lnTo>
                    <a:pt x="180" y="40"/>
                  </a:lnTo>
                  <a:lnTo>
                    <a:pt x="249" y="87"/>
                  </a:lnTo>
                  <a:lnTo>
                    <a:pt x="359" y="40"/>
                  </a:lnTo>
                  <a:lnTo>
                    <a:pt x="377" y="69"/>
                  </a:lnTo>
                  <a:lnTo>
                    <a:pt x="401" y="40"/>
                  </a:lnTo>
                  <a:lnTo>
                    <a:pt x="447" y="23"/>
                  </a:lnTo>
                  <a:lnTo>
                    <a:pt x="493" y="23"/>
                  </a:lnTo>
                  <a:lnTo>
                    <a:pt x="581" y="0"/>
                  </a:lnTo>
                  <a:lnTo>
                    <a:pt x="697" y="0"/>
                  </a:lnTo>
                  <a:lnTo>
                    <a:pt x="738" y="69"/>
                  </a:lnTo>
                  <a:lnTo>
                    <a:pt x="784" y="116"/>
                  </a:lnTo>
                  <a:lnTo>
                    <a:pt x="854" y="116"/>
                  </a:lnTo>
                  <a:lnTo>
                    <a:pt x="900" y="226"/>
                  </a:lnTo>
                  <a:lnTo>
                    <a:pt x="900" y="249"/>
                  </a:lnTo>
                  <a:lnTo>
                    <a:pt x="924" y="319"/>
                  </a:lnTo>
                  <a:lnTo>
                    <a:pt x="854" y="336"/>
                  </a:lnTo>
                  <a:lnTo>
                    <a:pt x="877" y="36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3" name="Freeform 890"/>
            <p:cNvSpPr/>
            <p:nvPr/>
          </p:nvSpPr>
          <p:spPr bwMode="auto">
            <a:xfrm>
              <a:off x="1692275" y="2328863"/>
              <a:ext cx="79375" cy="66675"/>
            </a:xfrm>
            <a:custGeom>
              <a:avLst/>
              <a:gdLst>
                <a:gd name="T0" fmla="*/ 0 w 174"/>
                <a:gd name="T1" fmla="*/ 2 h 168"/>
                <a:gd name="T2" fmla="*/ 8 w 174"/>
                <a:gd name="T3" fmla="*/ 13 h 168"/>
                <a:gd name="T4" fmla="*/ 9 w 174"/>
                <a:gd name="T5" fmla="*/ 16 h 168"/>
                <a:gd name="T6" fmla="*/ 15 w 174"/>
                <a:gd name="T7" fmla="*/ 12 h 168"/>
                <a:gd name="T8" fmla="*/ 19 w 174"/>
                <a:gd name="T9" fmla="*/ 10 h 168"/>
                <a:gd name="T10" fmla="*/ 14 w 174"/>
                <a:gd name="T11" fmla="*/ 3 h 168"/>
                <a:gd name="T12" fmla="*/ 11 w 174"/>
                <a:gd name="T13" fmla="*/ 0 h 168"/>
                <a:gd name="T14" fmla="*/ 7 w 174"/>
                <a:gd name="T15" fmla="*/ 0 h 168"/>
                <a:gd name="T16" fmla="*/ 3 w 174"/>
                <a:gd name="T17" fmla="*/ 1 h 168"/>
                <a:gd name="T18" fmla="*/ 0 w 174"/>
                <a:gd name="T19" fmla="*/ 2 h 1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4"/>
                <a:gd name="T31" fmla="*/ 0 h 168"/>
                <a:gd name="T32" fmla="*/ 174 w 174"/>
                <a:gd name="T33" fmla="*/ 168 h 16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4" h="168">
                  <a:moveTo>
                    <a:pt x="0" y="18"/>
                  </a:moveTo>
                  <a:lnTo>
                    <a:pt x="75" y="133"/>
                  </a:lnTo>
                  <a:lnTo>
                    <a:pt x="80" y="168"/>
                  </a:lnTo>
                  <a:lnTo>
                    <a:pt x="133" y="122"/>
                  </a:lnTo>
                  <a:lnTo>
                    <a:pt x="174" y="110"/>
                  </a:lnTo>
                  <a:lnTo>
                    <a:pt x="127" y="35"/>
                  </a:lnTo>
                  <a:lnTo>
                    <a:pt x="98" y="0"/>
                  </a:lnTo>
                  <a:lnTo>
                    <a:pt x="63" y="0"/>
                  </a:lnTo>
                  <a:lnTo>
                    <a:pt x="23" y="11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4" name="Freeform 891"/>
            <p:cNvSpPr/>
            <p:nvPr/>
          </p:nvSpPr>
          <p:spPr bwMode="auto">
            <a:xfrm>
              <a:off x="1582738" y="2093913"/>
              <a:ext cx="252412" cy="158750"/>
            </a:xfrm>
            <a:custGeom>
              <a:avLst/>
              <a:gdLst>
                <a:gd name="T0" fmla="*/ 4 w 551"/>
                <a:gd name="T1" fmla="*/ 36 h 424"/>
                <a:gd name="T2" fmla="*/ 0 w 551"/>
                <a:gd name="T3" fmla="*/ 30 h 424"/>
                <a:gd name="T4" fmla="*/ 2 w 551"/>
                <a:gd name="T5" fmla="*/ 26 h 424"/>
                <a:gd name="T6" fmla="*/ 2 w 551"/>
                <a:gd name="T7" fmla="*/ 21 h 424"/>
                <a:gd name="T8" fmla="*/ 9 w 551"/>
                <a:gd name="T9" fmla="*/ 19 h 424"/>
                <a:gd name="T10" fmla="*/ 14 w 551"/>
                <a:gd name="T11" fmla="*/ 14 h 424"/>
                <a:gd name="T12" fmla="*/ 18 w 551"/>
                <a:gd name="T13" fmla="*/ 8 h 424"/>
                <a:gd name="T14" fmla="*/ 30 w 551"/>
                <a:gd name="T15" fmla="*/ 0 h 424"/>
                <a:gd name="T16" fmla="*/ 40 w 551"/>
                <a:gd name="T17" fmla="*/ 4 h 424"/>
                <a:gd name="T18" fmla="*/ 50 w 551"/>
                <a:gd name="T19" fmla="*/ 5 h 424"/>
                <a:gd name="T20" fmla="*/ 52 w 551"/>
                <a:gd name="T21" fmla="*/ 9 h 424"/>
                <a:gd name="T22" fmla="*/ 57 w 551"/>
                <a:gd name="T23" fmla="*/ 13 h 424"/>
                <a:gd name="T24" fmla="*/ 60 w 551"/>
                <a:gd name="T25" fmla="*/ 18 h 424"/>
                <a:gd name="T26" fmla="*/ 56 w 551"/>
                <a:gd name="T27" fmla="*/ 25 h 424"/>
                <a:gd name="T28" fmla="*/ 57 w 551"/>
                <a:gd name="T29" fmla="*/ 31 h 424"/>
                <a:gd name="T30" fmla="*/ 51 w 551"/>
                <a:gd name="T31" fmla="*/ 33 h 424"/>
                <a:gd name="T32" fmla="*/ 44 w 551"/>
                <a:gd name="T33" fmla="*/ 32 h 424"/>
                <a:gd name="T34" fmla="*/ 36 w 551"/>
                <a:gd name="T35" fmla="*/ 36 h 424"/>
                <a:gd name="T36" fmla="*/ 34 w 551"/>
                <a:gd name="T37" fmla="*/ 34 h 424"/>
                <a:gd name="T38" fmla="*/ 30 w 551"/>
                <a:gd name="T39" fmla="*/ 35 h 424"/>
                <a:gd name="T40" fmla="*/ 22 w 551"/>
                <a:gd name="T41" fmla="*/ 38 h 424"/>
                <a:gd name="T42" fmla="*/ 14 w 551"/>
                <a:gd name="T43" fmla="*/ 34 h 424"/>
                <a:gd name="T44" fmla="*/ 8 w 551"/>
                <a:gd name="T45" fmla="*/ 34 h 424"/>
                <a:gd name="T46" fmla="*/ 4 w 551"/>
                <a:gd name="T47" fmla="*/ 36 h 42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51"/>
                <a:gd name="T73" fmla="*/ 0 h 424"/>
                <a:gd name="T74" fmla="*/ 551 w 551"/>
                <a:gd name="T75" fmla="*/ 424 h 42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51" h="424">
                  <a:moveTo>
                    <a:pt x="40" y="401"/>
                  </a:moveTo>
                  <a:lnTo>
                    <a:pt x="0" y="337"/>
                  </a:lnTo>
                  <a:lnTo>
                    <a:pt x="22" y="290"/>
                  </a:lnTo>
                  <a:lnTo>
                    <a:pt x="22" y="232"/>
                  </a:lnTo>
                  <a:lnTo>
                    <a:pt x="87" y="209"/>
                  </a:lnTo>
                  <a:lnTo>
                    <a:pt x="133" y="157"/>
                  </a:lnTo>
                  <a:lnTo>
                    <a:pt x="162" y="87"/>
                  </a:lnTo>
                  <a:lnTo>
                    <a:pt x="272" y="0"/>
                  </a:lnTo>
                  <a:lnTo>
                    <a:pt x="371" y="46"/>
                  </a:lnTo>
                  <a:lnTo>
                    <a:pt x="458" y="58"/>
                  </a:lnTo>
                  <a:lnTo>
                    <a:pt x="476" y="105"/>
                  </a:lnTo>
                  <a:lnTo>
                    <a:pt x="528" y="140"/>
                  </a:lnTo>
                  <a:lnTo>
                    <a:pt x="551" y="197"/>
                  </a:lnTo>
                  <a:lnTo>
                    <a:pt x="516" y="284"/>
                  </a:lnTo>
                  <a:lnTo>
                    <a:pt x="528" y="342"/>
                  </a:lnTo>
                  <a:lnTo>
                    <a:pt x="464" y="366"/>
                  </a:lnTo>
                  <a:lnTo>
                    <a:pt x="400" y="360"/>
                  </a:lnTo>
                  <a:lnTo>
                    <a:pt x="330" y="406"/>
                  </a:lnTo>
                  <a:lnTo>
                    <a:pt x="312" y="377"/>
                  </a:lnTo>
                  <a:lnTo>
                    <a:pt x="272" y="394"/>
                  </a:lnTo>
                  <a:lnTo>
                    <a:pt x="202" y="424"/>
                  </a:lnTo>
                  <a:lnTo>
                    <a:pt x="133" y="377"/>
                  </a:lnTo>
                  <a:lnTo>
                    <a:pt x="69" y="377"/>
                  </a:lnTo>
                  <a:lnTo>
                    <a:pt x="40" y="401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5" name="Freeform 892"/>
            <p:cNvSpPr/>
            <p:nvPr/>
          </p:nvSpPr>
          <p:spPr bwMode="auto">
            <a:xfrm>
              <a:off x="1524000" y="2336800"/>
              <a:ext cx="201613" cy="138113"/>
            </a:xfrm>
            <a:custGeom>
              <a:avLst/>
              <a:gdLst>
                <a:gd name="T0" fmla="*/ 12 w 447"/>
                <a:gd name="T1" fmla="*/ 3 h 359"/>
                <a:gd name="T2" fmla="*/ 7 w 447"/>
                <a:gd name="T3" fmla="*/ 11 h 359"/>
                <a:gd name="T4" fmla="*/ 0 w 447"/>
                <a:gd name="T5" fmla="*/ 17 h 359"/>
                <a:gd name="T6" fmla="*/ 0 w 447"/>
                <a:gd name="T7" fmla="*/ 21 h 359"/>
                <a:gd name="T8" fmla="*/ 4 w 447"/>
                <a:gd name="T9" fmla="*/ 25 h 359"/>
                <a:gd name="T10" fmla="*/ 12 w 447"/>
                <a:gd name="T11" fmla="*/ 27 h 359"/>
                <a:gd name="T12" fmla="*/ 14 w 447"/>
                <a:gd name="T13" fmla="*/ 29 h 359"/>
                <a:gd name="T14" fmla="*/ 24 w 447"/>
                <a:gd name="T15" fmla="*/ 33 h 359"/>
                <a:gd name="T16" fmla="*/ 34 w 447"/>
                <a:gd name="T17" fmla="*/ 27 h 359"/>
                <a:gd name="T18" fmla="*/ 39 w 447"/>
                <a:gd name="T19" fmla="*/ 31 h 359"/>
                <a:gd name="T20" fmla="*/ 46 w 447"/>
                <a:gd name="T21" fmla="*/ 29 h 359"/>
                <a:gd name="T22" fmla="*/ 47 w 447"/>
                <a:gd name="T23" fmla="*/ 27 h 359"/>
                <a:gd name="T24" fmla="*/ 47 w 447"/>
                <a:gd name="T25" fmla="*/ 25 h 359"/>
                <a:gd name="T26" fmla="*/ 48 w 447"/>
                <a:gd name="T27" fmla="*/ 19 h 359"/>
                <a:gd name="T28" fmla="*/ 48 w 447"/>
                <a:gd name="T29" fmla="*/ 11 h 359"/>
                <a:gd name="T30" fmla="*/ 44 w 447"/>
                <a:gd name="T31" fmla="*/ 4 h 359"/>
                <a:gd name="T32" fmla="*/ 39 w 447"/>
                <a:gd name="T33" fmla="*/ 0 h 359"/>
                <a:gd name="T34" fmla="*/ 36 w 447"/>
                <a:gd name="T35" fmla="*/ 4 h 359"/>
                <a:gd name="T36" fmla="*/ 17 w 447"/>
                <a:gd name="T37" fmla="*/ 4 h 359"/>
                <a:gd name="T38" fmla="*/ 12 w 447"/>
                <a:gd name="T39" fmla="*/ 3 h 3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47"/>
                <a:gd name="T61" fmla="*/ 0 h 359"/>
                <a:gd name="T62" fmla="*/ 447 w 447"/>
                <a:gd name="T63" fmla="*/ 359 h 3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47" h="359">
                  <a:moveTo>
                    <a:pt x="111" y="28"/>
                  </a:moveTo>
                  <a:lnTo>
                    <a:pt x="65" y="115"/>
                  </a:lnTo>
                  <a:lnTo>
                    <a:pt x="0" y="185"/>
                  </a:lnTo>
                  <a:lnTo>
                    <a:pt x="0" y="225"/>
                  </a:lnTo>
                  <a:lnTo>
                    <a:pt x="41" y="272"/>
                  </a:lnTo>
                  <a:lnTo>
                    <a:pt x="111" y="295"/>
                  </a:lnTo>
                  <a:lnTo>
                    <a:pt x="135" y="312"/>
                  </a:lnTo>
                  <a:lnTo>
                    <a:pt x="227" y="359"/>
                  </a:lnTo>
                  <a:lnTo>
                    <a:pt x="314" y="295"/>
                  </a:lnTo>
                  <a:lnTo>
                    <a:pt x="361" y="336"/>
                  </a:lnTo>
                  <a:lnTo>
                    <a:pt x="430" y="312"/>
                  </a:lnTo>
                  <a:lnTo>
                    <a:pt x="436" y="295"/>
                  </a:lnTo>
                  <a:lnTo>
                    <a:pt x="442" y="272"/>
                  </a:lnTo>
                  <a:lnTo>
                    <a:pt x="447" y="202"/>
                  </a:lnTo>
                  <a:lnTo>
                    <a:pt x="447" y="115"/>
                  </a:lnTo>
                  <a:lnTo>
                    <a:pt x="407" y="45"/>
                  </a:lnTo>
                  <a:lnTo>
                    <a:pt x="361" y="0"/>
                  </a:lnTo>
                  <a:lnTo>
                    <a:pt x="337" y="45"/>
                  </a:lnTo>
                  <a:lnTo>
                    <a:pt x="157" y="45"/>
                  </a:lnTo>
                  <a:lnTo>
                    <a:pt x="111" y="2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6" name="Freeform 893"/>
            <p:cNvSpPr/>
            <p:nvPr/>
          </p:nvSpPr>
          <p:spPr bwMode="auto">
            <a:xfrm>
              <a:off x="1327150" y="2252663"/>
              <a:ext cx="242888" cy="101600"/>
            </a:xfrm>
            <a:custGeom>
              <a:avLst/>
              <a:gdLst>
                <a:gd name="T0" fmla="*/ 56 w 535"/>
                <a:gd name="T1" fmla="*/ 17 h 249"/>
                <a:gd name="T2" fmla="*/ 49 w 535"/>
                <a:gd name="T3" fmla="*/ 13 h 249"/>
                <a:gd name="T4" fmla="*/ 42 w 535"/>
                <a:gd name="T5" fmla="*/ 13 h 249"/>
                <a:gd name="T6" fmla="*/ 37 w 535"/>
                <a:gd name="T7" fmla="*/ 13 h 249"/>
                <a:gd name="T8" fmla="*/ 30 w 535"/>
                <a:gd name="T9" fmla="*/ 7 h 249"/>
                <a:gd name="T10" fmla="*/ 13 w 535"/>
                <a:gd name="T11" fmla="*/ 0 h 249"/>
                <a:gd name="T12" fmla="*/ 0 w 535"/>
                <a:gd name="T13" fmla="*/ 9 h 249"/>
                <a:gd name="T14" fmla="*/ 5 w 535"/>
                <a:gd name="T15" fmla="*/ 13 h 249"/>
                <a:gd name="T16" fmla="*/ 5 w 535"/>
                <a:gd name="T17" fmla="*/ 18 h 249"/>
                <a:gd name="T18" fmla="*/ 13 w 535"/>
                <a:gd name="T19" fmla="*/ 18 h 249"/>
                <a:gd name="T20" fmla="*/ 17 w 535"/>
                <a:gd name="T21" fmla="*/ 16 h 249"/>
                <a:gd name="T22" fmla="*/ 20 w 535"/>
                <a:gd name="T23" fmla="*/ 18 h 249"/>
                <a:gd name="T24" fmla="*/ 25 w 535"/>
                <a:gd name="T25" fmla="*/ 18 h 249"/>
                <a:gd name="T26" fmla="*/ 27 w 535"/>
                <a:gd name="T27" fmla="*/ 24 h 249"/>
                <a:gd name="T28" fmla="*/ 40 w 535"/>
                <a:gd name="T29" fmla="*/ 24 h 249"/>
                <a:gd name="T30" fmla="*/ 44 w 535"/>
                <a:gd name="T31" fmla="*/ 22 h 249"/>
                <a:gd name="T32" fmla="*/ 52 w 535"/>
                <a:gd name="T33" fmla="*/ 22 h 249"/>
                <a:gd name="T34" fmla="*/ 58 w 535"/>
                <a:gd name="T35" fmla="*/ 21 h 249"/>
                <a:gd name="T36" fmla="*/ 56 w 535"/>
                <a:gd name="T37" fmla="*/ 17 h 2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35"/>
                <a:gd name="T58" fmla="*/ 0 h 249"/>
                <a:gd name="T59" fmla="*/ 535 w 535"/>
                <a:gd name="T60" fmla="*/ 249 h 2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35" h="249">
                  <a:moveTo>
                    <a:pt x="518" y="174"/>
                  </a:moveTo>
                  <a:lnTo>
                    <a:pt x="453" y="139"/>
                  </a:lnTo>
                  <a:lnTo>
                    <a:pt x="384" y="139"/>
                  </a:lnTo>
                  <a:lnTo>
                    <a:pt x="343" y="139"/>
                  </a:lnTo>
                  <a:lnTo>
                    <a:pt x="273" y="70"/>
                  </a:lnTo>
                  <a:lnTo>
                    <a:pt x="117" y="0"/>
                  </a:lnTo>
                  <a:lnTo>
                    <a:pt x="0" y="92"/>
                  </a:lnTo>
                  <a:lnTo>
                    <a:pt x="47" y="139"/>
                  </a:lnTo>
                  <a:lnTo>
                    <a:pt x="47" y="186"/>
                  </a:lnTo>
                  <a:lnTo>
                    <a:pt x="117" y="186"/>
                  </a:lnTo>
                  <a:lnTo>
                    <a:pt x="157" y="162"/>
                  </a:lnTo>
                  <a:lnTo>
                    <a:pt x="181" y="186"/>
                  </a:lnTo>
                  <a:lnTo>
                    <a:pt x="227" y="186"/>
                  </a:lnTo>
                  <a:lnTo>
                    <a:pt x="251" y="249"/>
                  </a:lnTo>
                  <a:lnTo>
                    <a:pt x="366" y="249"/>
                  </a:lnTo>
                  <a:lnTo>
                    <a:pt x="408" y="232"/>
                  </a:lnTo>
                  <a:lnTo>
                    <a:pt x="477" y="232"/>
                  </a:lnTo>
                  <a:lnTo>
                    <a:pt x="535" y="221"/>
                  </a:lnTo>
                  <a:lnTo>
                    <a:pt x="518" y="17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7" name="Freeform 894"/>
            <p:cNvSpPr/>
            <p:nvPr/>
          </p:nvSpPr>
          <p:spPr bwMode="auto">
            <a:xfrm>
              <a:off x="1360488" y="2143125"/>
              <a:ext cx="247650" cy="180975"/>
            </a:xfrm>
            <a:custGeom>
              <a:avLst/>
              <a:gdLst>
                <a:gd name="T0" fmla="*/ 5 w 540"/>
                <a:gd name="T1" fmla="*/ 27 h 465"/>
                <a:gd name="T2" fmla="*/ 5 w 540"/>
                <a:gd name="T3" fmla="*/ 23 h 465"/>
                <a:gd name="T4" fmla="*/ 5 w 540"/>
                <a:gd name="T5" fmla="*/ 19 h 465"/>
                <a:gd name="T6" fmla="*/ 0 w 540"/>
                <a:gd name="T7" fmla="*/ 17 h 465"/>
                <a:gd name="T8" fmla="*/ 2 w 540"/>
                <a:gd name="T9" fmla="*/ 10 h 465"/>
                <a:gd name="T10" fmla="*/ 2 w 540"/>
                <a:gd name="T11" fmla="*/ 6 h 465"/>
                <a:gd name="T12" fmla="*/ 17 w 540"/>
                <a:gd name="T13" fmla="*/ 0 h 465"/>
                <a:gd name="T14" fmla="*/ 30 w 540"/>
                <a:gd name="T15" fmla="*/ 0 h 465"/>
                <a:gd name="T16" fmla="*/ 32 w 540"/>
                <a:gd name="T17" fmla="*/ 0 h 465"/>
                <a:gd name="T18" fmla="*/ 44 w 540"/>
                <a:gd name="T19" fmla="*/ 4 h 465"/>
                <a:gd name="T20" fmla="*/ 49 w 540"/>
                <a:gd name="T21" fmla="*/ 6 h 465"/>
                <a:gd name="T22" fmla="*/ 56 w 540"/>
                <a:gd name="T23" fmla="*/ 8 h 465"/>
                <a:gd name="T24" fmla="*/ 56 w 540"/>
                <a:gd name="T25" fmla="*/ 15 h 465"/>
                <a:gd name="T26" fmla="*/ 54 w 540"/>
                <a:gd name="T27" fmla="*/ 19 h 465"/>
                <a:gd name="T28" fmla="*/ 56 w 540"/>
                <a:gd name="T29" fmla="*/ 23 h 465"/>
                <a:gd name="T30" fmla="*/ 59 w 540"/>
                <a:gd name="T31" fmla="*/ 27 h 465"/>
                <a:gd name="T32" fmla="*/ 57 w 540"/>
                <a:gd name="T33" fmla="*/ 33 h 465"/>
                <a:gd name="T34" fmla="*/ 51 w 540"/>
                <a:gd name="T35" fmla="*/ 40 h 465"/>
                <a:gd name="T36" fmla="*/ 49 w 540"/>
                <a:gd name="T37" fmla="*/ 43 h 465"/>
                <a:gd name="T38" fmla="*/ 40 w 540"/>
                <a:gd name="T39" fmla="*/ 40 h 465"/>
                <a:gd name="T40" fmla="*/ 29 w 540"/>
                <a:gd name="T41" fmla="*/ 40 h 465"/>
                <a:gd name="T42" fmla="*/ 22 w 540"/>
                <a:gd name="T43" fmla="*/ 33 h 465"/>
                <a:gd name="T44" fmla="*/ 15 w 540"/>
                <a:gd name="T45" fmla="*/ 30 h 465"/>
                <a:gd name="T46" fmla="*/ 5 w 540"/>
                <a:gd name="T47" fmla="*/ 27 h 4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0"/>
                <a:gd name="T73" fmla="*/ 0 h 465"/>
                <a:gd name="T74" fmla="*/ 540 w 540"/>
                <a:gd name="T75" fmla="*/ 465 h 4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0" h="465">
                  <a:moveTo>
                    <a:pt x="47" y="296"/>
                  </a:moveTo>
                  <a:lnTo>
                    <a:pt x="47" y="244"/>
                  </a:lnTo>
                  <a:lnTo>
                    <a:pt x="47" y="204"/>
                  </a:lnTo>
                  <a:lnTo>
                    <a:pt x="0" y="181"/>
                  </a:lnTo>
                  <a:lnTo>
                    <a:pt x="17" y="111"/>
                  </a:lnTo>
                  <a:lnTo>
                    <a:pt x="17" y="70"/>
                  </a:lnTo>
                  <a:lnTo>
                    <a:pt x="157" y="0"/>
                  </a:lnTo>
                  <a:lnTo>
                    <a:pt x="273" y="0"/>
                  </a:lnTo>
                  <a:lnTo>
                    <a:pt x="296" y="0"/>
                  </a:lnTo>
                  <a:lnTo>
                    <a:pt x="407" y="47"/>
                  </a:lnTo>
                  <a:lnTo>
                    <a:pt x="448" y="70"/>
                  </a:lnTo>
                  <a:lnTo>
                    <a:pt x="517" y="87"/>
                  </a:lnTo>
                  <a:lnTo>
                    <a:pt x="517" y="157"/>
                  </a:lnTo>
                  <a:lnTo>
                    <a:pt x="495" y="204"/>
                  </a:lnTo>
                  <a:lnTo>
                    <a:pt x="517" y="244"/>
                  </a:lnTo>
                  <a:lnTo>
                    <a:pt x="540" y="291"/>
                  </a:lnTo>
                  <a:lnTo>
                    <a:pt x="523" y="355"/>
                  </a:lnTo>
                  <a:lnTo>
                    <a:pt x="465" y="430"/>
                  </a:lnTo>
                  <a:lnTo>
                    <a:pt x="448" y="465"/>
                  </a:lnTo>
                  <a:lnTo>
                    <a:pt x="366" y="430"/>
                  </a:lnTo>
                  <a:lnTo>
                    <a:pt x="268" y="430"/>
                  </a:lnTo>
                  <a:lnTo>
                    <a:pt x="198" y="355"/>
                  </a:lnTo>
                  <a:lnTo>
                    <a:pt x="139" y="326"/>
                  </a:lnTo>
                  <a:lnTo>
                    <a:pt x="47" y="29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8" name="Freeform 895"/>
            <p:cNvSpPr/>
            <p:nvPr/>
          </p:nvSpPr>
          <p:spPr bwMode="auto">
            <a:xfrm>
              <a:off x="1495425" y="2084388"/>
              <a:ext cx="163513" cy="96837"/>
            </a:xfrm>
            <a:custGeom>
              <a:avLst/>
              <a:gdLst>
                <a:gd name="T0" fmla="*/ 0 w 361"/>
                <a:gd name="T1" fmla="*/ 14 h 239"/>
                <a:gd name="T2" fmla="*/ 5 w 361"/>
                <a:gd name="T3" fmla="*/ 11 h 239"/>
                <a:gd name="T4" fmla="*/ 5 w 361"/>
                <a:gd name="T5" fmla="*/ 8 h 239"/>
                <a:gd name="T6" fmla="*/ 6 w 361"/>
                <a:gd name="T7" fmla="*/ 3 h 239"/>
                <a:gd name="T8" fmla="*/ 9 w 361"/>
                <a:gd name="T9" fmla="*/ 2 h 239"/>
                <a:gd name="T10" fmla="*/ 12 w 361"/>
                <a:gd name="T11" fmla="*/ 0 h 239"/>
                <a:gd name="T12" fmla="*/ 14 w 361"/>
                <a:gd name="T13" fmla="*/ 3 h 239"/>
                <a:gd name="T14" fmla="*/ 16 w 361"/>
                <a:gd name="T15" fmla="*/ 6 h 239"/>
                <a:gd name="T16" fmla="*/ 24 w 361"/>
                <a:gd name="T17" fmla="*/ 7 h 239"/>
                <a:gd name="T18" fmla="*/ 31 w 361"/>
                <a:gd name="T19" fmla="*/ 6 h 239"/>
                <a:gd name="T20" fmla="*/ 34 w 361"/>
                <a:gd name="T21" fmla="*/ 7 h 239"/>
                <a:gd name="T22" fmla="*/ 39 w 361"/>
                <a:gd name="T23" fmla="*/ 10 h 239"/>
                <a:gd name="T24" fmla="*/ 36 w 361"/>
                <a:gd name="T25" fmla="*/ 16 h 239"/>
                <a:gd name="T26" fmla="*/ 30 w 361"/>
                <a:gd name="T27" fmla="*/ 21 h 239"/>
                <a:gd name="T28" fmla="*/ 24 w 361"/>
                <a:gd name="T29" fmla="*/ 23 h 239"/>
                <a:gd name="T30" fmla="*/ 16 w 361"/>
                <a:gd name="T31" fmla="*/ 21 h 239"/>
                <a:gd name="T32" fmla="*/ 5 w 361"/>
                <a:gd name="T33" fmla="*/ 16 h 239"/>
                <a:gd name="T34" fmla="*/ 0 w 361"/>
                <a:gd name="T35" fmla="*/ 14 h 2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61"/>
                <a:gd name="T55" fmla="*/ 0 h 239"/>
                <a:gd name="T56" fmla="*/ 361 w 361"/>
                <a:gd name="T57" fmla="*/ 239 h 2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61" h="239">
                  <a:moveTo>
                    <a:pt x="0" y="145"/>
                  </a:moveTo>
                  <a:lnTo>
                    <a:pt x="42" y="117"/>
                  </a:lnTo>
                  <a:lnTo>
                    <a:pt x="42" y="87"/>
                  </a:lnTo>
                  <a:lnTo>
                    <a:pt x="52" y="29"/>
                  </a:lnTo>
                  <a:lnTo>
                    <a:pt x="87" y="18"/>
                  </a:lnTo>
                  <a:lnTo>
                    <a:pt x="111" y="0"/>
                  </a:lnTo>
                  <a:lnTo>
                    <a:pt x="129" y="29"/>
                  </a:lnTo>
                  <a:lnTo>
                    <a:pt x="152" y="58"/>
                  </a:lnTo>
                  <a:lnTo>
                    <a:pt x="221" y="75"/>
                  </a:lnTo>
                  <a:lnTo>
                    <a:pt x="286" y="58"/>
                  </a:lnTo>
                  <a:lnTo>
                    <a:pt x="314" y="75"/>
                  </a:lnTo>
                  <a:lnTo>
                    <a:pt x="361" y="105"/>
                  </a:lnTo>
                  <a:lnTo>
                    <a:pt x="332" y="169"/>
                  </a:lnTo>
                  <a:lnTo>
                    <a:pt x="279" y="221"/>
                  </a:lnTo>
                  <a:lnTo>
                    <a:pt x="221" y="239"/>
                  </a:lnTo>
                  <a:lnTo>
                    <a:pt x="152" y="215"/>
                  </a:lnTo>
                  <a:lnTo>
                    <a:pt x="42" y="169"/>
                  </a:lnTo>
                  <a:lnTo>
                    <a:pt x="0" y="14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29" name="Freeform 896"/>
            <p:cNvSpPr/>
            <p:nvPr/>
          </p:nvSpPr>
          <p:spPr bwMode="auto">
            <a:xfrm>
              <a:off x="1524000" y="2030413"/>
              <a:ext cx="184150" cy="92075"/>
            </a:xfrm>
            <a:custGeom>
              <a:avLst/>
              <a:gdLst>
                <a:gd name="T0" fmla="*/ 0 w 407"/>
                <a:gd name="T1" fmla="*/ 16 h 244"/>
                <a:gd name="T2" fmla="*/ 0 w 407"/>
                <a:gd name="T3" fmla="*/ 10 h 244"/>
                <a:gd name="T4" fmla="*/ 5 w 407"/>
                <a:gd name="T5" fmla="*/ 6 h 244"/>
                <a:gd name="T6" fmla="*/ 15 w 407"/>
                <a:gd name="T7" fmla="*/ 8 h 244"/>
                <a:gd name="T8" fmla="*/ 17 w 407"/>
                <a:gd name="T9" fmla="*/ 8 h 244"/>
                <a:gd name="T10" fmla="*/ 15 w 407"/>
                <a:gd name="T11" fmla="*/ 0 h 244"/>
                <a:gd name="T12" fmla="*/ 22 w 407"/>
                <a:gd name="T13" fmla="*/ 6 h 244"/>
                <a:gd name="T14" fmla="*/ 27 w 407"/>
                <a:gd name="T15" fmla="*/ 6 h 244"/>
                <a:gd name="T16" fmla="*/ 32 w 407"/>
                <a:gd name="T17" fmla="*/ 6 h 244"/>
                <a:gd name="T18" fmla="*/ 44 w 407"/>
                <a:gd name="T19" fmla="*/ 14 h 244"/>
                <a:gd name="T20" fmla="*/ 41 w 407"/>
                <a:gd name="T21" fmla="*/ 16 h 244"/>
                <a:gd name="T22" fmla="*/ 32 w 407"/>
                <a:gd name="T23" fmla="*/ 22 h 244"/>
                <a:gd name="T24" fmla="*/ 24 w 407"/>
                <a:gd name="T25" fmla="*/ 18 h 244"/>
                <a:gd name="T26" fmla="*/ 16 w 407"/>
                <a:gd name="T27" fmla="*/ 20 h 244"/>
                <a:gd name="T28" fmla="*/ 10 w 407"/>
                <a:gd name="T29" fmla="*/ 18 h 244"/>
                <a:gd name="T30" fmla="*/ 7 w 407"/>
                <a:gd name="T31" fmla="*/ 16 h 244"/>
                <a:gd name="T32" fmla="*/ 5 w 407"/>
                <a:gd name="T33" fmla="*/ 12 h 244"/>
                <a:gd name="T34" fmla="*/ 2 w 407"/>
                <a:gd name="T35" fmla="*/ 15 h 244"/>
                <a:gd name="T36" fmla="*/ 0 w 407"/>
                <a:gd name="T37" fmla="*/ 16 h 2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7"/>
                <a:gd name="T58" fmla="*/ 0 h 244"/>
                <a:gd name="T59" fmla="*/ 407 w 407"/>
                <a:gd name="T60" fmla="*/ 244 h 2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7" h="244">
                  <a:moveTo>
                    <a:pt x="0" y="174"/>
                  </a:moveTo>
                  <a:lnTo>
                    <a:pt x="0" y="110"/>
                  </a:lnTo>
                  <a:lnTo>
                    <a:pt x="47" y="63"/>
                  </a:lnTo>
                  <a:lnTo>
                    <a:pt x="135" y="87"/>
                  </a:lnTo>
                  <a:lnTo>
                    <a:pt x="157" y="87"/>
                  </a:lnTo>
                  <a:lnTo>
                    <a:pt x="135" y="0"/>
                  </a:lnTo>
                  <a:lnTo>
                    <a:pt x="204" y="63"/>
                  </a:lnTo>
                  <a:lnTo>
                    <a:pt x="250" y="63"/>
                  </a:lnTo>
                  <a:lnTo>
                    <a:pt x="297" y="70"/>
                  </a:lnTo>
                  <a:lnTo>
                    <a:pt x="407" y="151"/>
                  </a:lnTo>
                  <a:lnTo>
                    <a:pt x="378" y="180"/>
                  </a:lnTo>
                  <a:lnTo>
                    <a:pt x="297" y="244"/>
                  </a:lnTo>
                  <a:lnTo>
                    <a:pt x="222" y="203"/>
                  </a:lnTo>
                  <a:lnTo>
                    <a:pt x="145" y="220"/>
                  </a:lnTo>
                  <a:lnTo>
                    <a:pt x="88" y="203"/>
                  </a:lnTo>
                  <a:lnTo>
                    <a:pt x="65" y="174"/>
                  </a:lnTo>
                  <a:lnTo>
                    <a:pt x="47" y="133"/>
                  </a:lnTo>
                  <a:lnTo>
                    <a:pt x="23" y="163"/>
                  </a:lnTo>
                  <a:lnTo>
                    <a:pt x="0" y="17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0" name="Freeform 897"/>
            <p:cNvSpPr/>
            <p:nvPr/>
          </p:nvSpPr>
          <p:spPr bwMode="auto">
            <a:xfrm>
              <a:off x="1582738" y="1976438"/>
              <a:ext cx="138112" cy="104775"/>
            </a:xfrm>
            <a:custGeom>
              <a:avLst/>
              <a:gdLst>
                <a:gd name="T0" fmla="*/ 0 w 295"/>
                <a:gd name="T1" fmla="*/ 13 h 272"/>
                <a:gd name="T2" fmla="*/ 0 w 295"/>
                <a:gd name="T3" fmla="*/ 6 h 272"/>
                <a:gd name="T4" fmla="*/ 5 w 295"/>
                <a:gd name="T5" fmla="*/ 4 h 272"/>
                <a:gd name="T6" fmla="*/ 15 w 295"/>
                <a:gd name="T7" fmla="*/ 2 h 272"/>
                <a:gd name="T8" fmla="*/ 18 w 295"/>
                <a:gd name="T9" fmla="*/ 0 h 272"/>
                <a:gd name="T10" fmla="*/ 23 w 295"/>
                <a:gd name="T11" fmla="*/ 0 h 272"/>
                <a:gd name="T12" fmla="*/ 33 w 295"/>
                <a:gd name="T13" fmla="*/ 2 h 272"/>
                <a:gd name="T14" fmla="*/ 28 w 295"/>
                <a:gd name="T15" fmla="*/ 4 h 272"/>
                <a:gd name="T16" fmla="*/ 30 w 295"/>
                <a:gd name="T17" fmla="*/ 11 h 272"/>
                <a:gd name="T18" fmla="*/ 33 w 295"/>
                <a:gd name="T19" fmla="*/ 14 h 272"/>
                <a:gd name="T20" fmla="*/ 30 w 295"/>
                <a:gd name="T21" fmla="*/ 20 h 272"/>
                <a:gd name="T22" fmla="*/ 28 w 295"/>
                <a:gd name="T23" fmla="*/ 25 h 272"/>
                <a:gd name="T24" fmla="*/ 18 w 295"/>
                <a:gd name="T25" fmla="*/ 19 h 272"/>
                <a:gd name="T26" fmla="*/ 8 w 295"/>
                <a:gd name="T27" fmla="*/ 19 h 272"/>
                <a:gd name="T28" fmla="*/ 2 w 295"/>
                <a:gd name="T29" fmla="*/ 14 h 272"/>
                <a:gd name="T30" fmla="*/ 0 w 295"/>
                <a:gd name="T31" fmla="*/ 13 h 27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5"/>
                <a:gd name="T49" fmla="*/ 0 h 272"/>
                <a:gd name="T50" fmla="*/ 295 w 295"/>
                <a:gd name="T51" fmla="*/ 272 h 27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5" h="272">
                  <a:moveTo>
                    <a:pt x="0" y="139"/>
                  </a:moveTo>
                  <a:lnTo>
                    <a:pt x="0" y="69"/>
                  </a:lnTo>
                  <a:lnTo>
                    <a:pt x="45" y="45"/>
                  </a:lnTo>
                  <a:lnTo>
                    <a:pt x="133" y="23"/>
                  </a:lnTo>
                  <a:lnTo>
                    <a:pt x="162" y="0"/>
                  </a:lnTo>
                  <a:lnTo>
                    <a:pt x="202" y="0"/>
                  </a:lnTo>
                  <a:lnTo>
                    <a:pt x="295" y="23"/>
                  </a:lnTo>
                  <a:lnTo>
                    <a:pt x="249" y="45"/>
                  </a:lnTo>
                  <a:lnTo>
                    <a:pt x="272" y="115"/>
                  </a:lnTo>
                  <a:lnTo>
                    <a:pt x="295" y="157"/>
                  </a:lnTo>
                  <a:lnTo>
                    <a:pt x="272" y="220"/>
                  </a:lnTo>
                  <a:lnTo>
                    <a:pt x="249" y="272"/>
                  </a:lnTo>
                  <a:lnTo>
                    <a:pt x="162" y="202"/>
                  </a:lnTo>
                  <a:lnTo>
                    <a:pt x="69" y="202"/>
                  </a:lnTo>
                  <a:lnTo>
                    <a:pt x="22" y="157"/>
                  </a:lnTo>
                  <a:lnTo>
                    <a:pt x="0" y="13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1" name="Freeform 898"/>
            <p:cNvSpPr/>
            <p:nvPr/>
          </p:nvSpPr>
          <p:spPr bwMode="auto">
            <a:xfrm>
              <a:off x="1473200" y="1576388"/>
              <a:ext cx="293688" cy="374650"/>
            </a:xfrm>
            <a:custGeom>
              <a:avLst/>
              <a:gdLst>
                <a:gd name="T0" fmla="*/ 59 w 651"/>
                <a:gd name="T1" fmla="*/ 87 h 959"/>
                <a:gd name="T2" fmla="*/ 56 w 651"/>
                <a:gd name="T3" fmla="*/ 87 h 959"/>
                <a:gd name="T4" fmla="*/ 51 w 651"/>
                <a:gd name="T5" fmla="*/ 85 h 959"/>
                <a:gd name="T6" fmla="*/ 51 w 651"/>
                <a:gd name="T7" fmla="*/ 81 h 959"/>
                <a:gd name="T8" fmla="*/ 49 w 651"/>
                <a:gd name="T9" fmla="*/ 81 h 959"/>
                <a:gd name="T10" fmla="*/ 46 w 651"/>
                <a:gd name="T11" fmla="*/ 85 h 959"/>
                <a:gd name="T12" fmla="*/ 29 w 651"/>
                <a:gd name="T13" fmla="*/ 89 h 959"/>
                <a:gd name="T14" fmla="*/ 19 w 651"/>
                <a:gd name="T15" fmla="*/ 87 h 959"/>
                <a:gd name="T16" fmla="*/ 12 w 651"/>
                <a:gd name="T17" fmla="*/ 87 h 959"/>
                <a:gd name="T18" fmla="*/ 12 w 651"/>
                <a:gd name="T19" fmla="*/ 83 h 959"/>
                <a:gd name="T20" fmla="*/ 15 w 651"/>
                <a:gd name="T21" fmla="*/ 79 h 959"/>
                <a:gd name="T22" fmla="*/ 10 w 651"/>
                <a:gd name="T23" fmla="*/ 74 h 959"/>
                <a:gd name="T24" fmla="*/ 10 w 651"/>
                <a:gd name="T25" fmla="*/ 68 h 959"/>
                <a:gd name="T26" fmla="*/ 12 w 651"/>
                <a:gd name="T27" fmla="*/ 64 h 959"/>
                <a:gd name="T28" fmla="*/ 18 w 651"/>
                <a:gd name="T29" fmla="*/ 64 h 959"/>
                <a:gd name="T30" fmla="*/ 18 w 651"/>
                <a:gd name="T31" fmla="*/ 60 h 959"/>
                <a:gd name="T32" fmla="*/ 29 w 651"/>
                <a:gd name="T33" fmla="*/ 52 h 959"/>
                <a:gd name="T34" fmla="*/ 32 w 651"/>
                <a:gd name="T35" fmla="*/ 47 h 959"/>
                <a:gd name="T36" fmla="*/ 29 w 651"/>
                <a:gd name="T37" fmla="*/ 43 h 959"/>
                <a:gd name="T38" fmla="*/ 24 w 651"/>
                <a:gd name="T39" fmla="*/ 39 h 959"/>
                <a:gd name="T40" fmla="*/ 19 w 651"/>
                <a:gd name="T41" fmla="*/ 39 h 959"/>
                <a:gd name="T42" fmla="*/ 19 w 651"/>
                <a:gd name="T43" fmla="*/ 31 h 959"/>
                <a:gd name="T44" fmla="*/ 15 w 651"/>
                <a:gd name="T45" fmla="*/ 20 h 959"/>
                <a:gd name="T46" fmla="*/ 0 w 651"/>
                <a:gd name="T47" fmla="*/ 7 h 959"/>
                <a:gd name="T48" fmla="*/ 4 w 651"/>
                <a:gd name="T49" fmla="*/ 6 h 959"/>
                <a:gd name="T50" fmla="*/ 18 w 651"/>
                <a:gd name="T51" fmla="*/ 11 h 959"/>
                <a:gd name="T52" fmla="*/ 24 w 651"/>
                <a:gd name="T53" fmla="*/ 9 h 959"/>
                <a:gd name="T54" fmla="*/ 34 w 651"/>
                <a:gd name="T55" fmla="*/ 2 h 959"/>
                <a:gd name="T56" fmla="*/ 43 w 651"/>
                <a:gd name="T57" fmla="*/ 0 h 959"/>
                <a:gd name="T58" fmla="*/ 42 w 651"/>
                <a:gd name="T59" fmla="*/ 4 h 959"/>
                <a:gd name="T60" fmla="*/ 46 w 651"/>
                <a:gd name="T61" fmla="*/ 12 h 959"/>
                <a:gd name="T62" fmla="*/ 46 w 651"/>
                <a:gd name="T63" fmla="*/ 21 h 959"/>
                <a:gd name="T64" fmla="*/ 49 w 651"/>
                <a:gd name="T65" fmla="*/ 25 h 959"/>
                <a:gd name="T66" fmla="*/ 54 w 651"/>
                <a:gd name="T67" fmla="*/ 31 h 959"/>
                <a:gd name="T68" fmla="*/ 54 w 651"/>
                <a:gd name="T69" fmla="*/ 39 h 959"/>
                <a:gd name="T70" fmla="*/ 59 w 651"/>
                <a:gd name="T71" fmla="*/ 45 h 959"/>
                <a:gd name="T72" fmla="*/ 59 w 651"/>
                <a:gd name="T73" fmla="*/ 54 h 959"/>
                <a:gd name="T74" fmla="*/ 65 w 651"/>
                <a:gd name="T75" fmla="*/ 64 h 959"/>
                <a:gd name="T76" fmla="*/ 70 w 651"/>
                <a:gd name="T77" fmla="*/ 71 h 959"/>
                <a:gd name="T78" fmla="*/ 65 w 651"/>
                <a:gd name="T79" fmla="*/ 81 h 959"/>
                <a:gd name="T80" fmla="*/ 56 w 651"/>
                <a:gd name="T81" fmla="*/ 83 h 959"/>
                <a:gd name="T82" fmla="*/ 59 w 651"/>
                <a:gd name="T83" fmla="*/ 87 h 95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51"/>
                <a:gd name="T127" fmla="*/ 0 h 959"/>
                <a:gd name="T128" fmla="*/ 651 w 651"/>
                <a:gd name="T129" fmla="*/ 959 h 95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51" h="959">
                  <a:moveTo>
                    <a:pt x="546" y="942"/>
                  </a:moveTo>
                  <a:lnTo>
                    <a:pt x="523" y="942"/>
                  </a:lnTo>
                  <a:lnTo>
                    <a:pt x="477" y="918"/>
                  </a:lnTo>
                  <a:lnTo>
                    <a:pt x="477" y="872"/>
                  </a:lnTo>
                  <a:lnTo>
                    <a:pt x="453" y="872"/>
                  </a:lnTo>
                  <a:lnTo>
                    <a:pt x="430" y="918"/>
                  </a:lnTo>
                  <a:lnTo>
                    <a:pt x="273" y="959"/>
                  </a:lnTo>
                  <a:lnTo>
                    <a:pt x="181" y="942"/>
                  </a:lnTo>
                  <a:lnTo>
                    <a:pt x="116" y="942"/>
                  </a:lnTo>
                  <a:lnTo>
                    <a:pt x="116" y="895"/>
                  </a:lnTo>
                  <a:lnTo>
                    <a:pt x="139" y="848"/>
                  </a:lnTo>
                  <a:lnTo>
                    <a:pt x="94" y="802"/>
                  </a:lnTo>
                  <a:lnTo>
                    <a:pt x="94" y="738"/>
                  </a:lnTo>
                  <a:lnTo>
                    <a:pt x="116" y="692"/>
                  </a:lnTo>
                  <a:lnTo>
                    <a:pt x="163" y="692"/>
                  </a:lnTo>
                  <a:lnTo>
                    <a:pt x="163" y="645"/>
                  </a:lnTo>
                  <a:lnTo>
                    <a:pt x="273" y="558"/>
                  </a:lnTo>
                  <a:lnTo>
                    <a:pt x="296" y="511"/>
                  </a:lnTo>
                  <a:lnTo>
                    <a:pt x="273" y="465"/>
                  </a:lnTo>
                  <a:lnTo>
                    <a:pt x="227" y="424"/>
                  </a:lnTo>
                  <a:lnTo>
                    <a:pt x="181" y="424"/>
                  </a:lnTo>
                  <a:lnTo>
                    <a:pt x="181" y="331"/>
                  </a:lnTo>
                  <a:lnTo>
                    <a:pt x="139" y="215"/>
                  </a:lnTo>
                  <a:lnTo>
                    <a:pt x="0" y="75"/>
                  </a:lnTo>
                  <a:lnTo>
                    <a:pt x="41" y="64"/>
                  </a:lnTo>
                  <a:lnTo>
                    <a:pt x="163" y="117"/>
                  </a:lnTo>
                  <a:lnTo>
                    <a:pt x="227" y="99"/>
                  </a:lnTo>
                  <a:lnTo>
                    <a:pt x="320" y="18"/>
                  </a:lnTo>
                  <a:lnTo>
                    <a:pt x="401" y="0"/>
                  </a:lnTo>
                  <a:lnTo>
                    <a:pt x="390" y="41"/>
                  </a:lnTo>
                  <a:lnTo>
                    <a:pt x="430" y="128"/>
                  </a:lnTo>
                  <a:lnTo>
                    <a:pt x="430" y="221"/>
                  </a:lnTo>
                  <a:lnTo>
                    <a:pt x="453" y="267"/>
                  </a:lnTo>
                  <a:lnTo>
                    <a:pt x="500" y="331"/>
                  </a:lnTo>
                  <a:lnTo>
                    <a:pt x="500" y="424"/>
                  </a:lnTo>
                  <a:lnTo>
                    <a:pt x="546" y="488"/>
                  </a:lnTo>
                  <a:lnTo>
                    <a:pt x="546" y="581"/>
                  </a:lnTo>
                  <a:lnTo>
                    <a:pt x="605" y="692"/>
                  </a:lnTo>
                  <a:lnTo>
                    <a:pt x="651" y="761"/>
                  </a:lnTo>
                  <a:lnTo>
                    <a:pt x="605" y="872"/>
                  </a:lnTo>
                  <a:lnTo>
                    <a:pt x="523" y="895"/>
                  </a:lnTo>
                  <a:lnTo>
                    <a:pt x="546" y="94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2" name="Freeform 899"/>
            <p:cNvSpPr/>
            <p:nvPr/>
          </p:nvSpPr>
          <p:spPr bwMode="auto">
            <a:xfrm>
              <a:off x="1296988" y="1635125"/>
              <a:ext cx="260350" cy="474663"/>
            </a:xfrm>
            <a:custGeom>
              <a:avLst/>
              <a:gdLst>
                <a:gd name="T0" fmla="*/ 62 w 576"/>
                <a:gd name="T1" fmla="*/ 25 h 1219"/>
                <a:gd name="T2" fmla="*/ 54 w 576"/>
                <a:gd name="T3" fmla="*/ 31 h 1219"/>
                <a:gd name="T4" fmla="*/ 51 w 576"/>
                <a:gd name="T5" fmla="*/ 41 h 1219"/>
                <a:gd name="T6" fmla="*/ 49 w 576"/>
                <a:gd name="T7" fmla="*/ 48 h 1219"/>
                <a:gd name="T8" fmla="*/ 42 w 576"/>
                <a:gd name="T9" fmla="*/ 54 h 1219"/>
                <a:gd name="T10" fmla="*/ 35 w 576"/>
                <a:gd name="T11" fmla="*/ 56 h 1219"/>
                <a:gd name="T12" fmla="*/ 29 w 576"/>
                <a:gd name="T13" fmla="*/ 67 h 1219"/>
                <a:gd name="T14" fmla="*/ 29 w 576"/>
                <a:gd name="T15" fmla="*/ 71 h 1219"/>
                <a:gd name="T16" fmla="*/ 37 w 576"/>
                <a:gd name="T17" fmla="*/ 79 h 1219"/>
                <a:gd name="T18" fmla="*/ 37 w 576"/>
                <a:gd name="T19" fmla="*/ 81 h 1219"/>
                <a:gd name="T20" fmla="*/ 32 w 576"/>
                <a:gd name="T21" fmla="*/ 83 h 1219"/>
                <a:gd name="T22" fmla="*/ 29 w 576"/>
                <a:gd name="T23" fmla="*/ 81 h 1219"/>
                <a:gd name="T24" fmla="*/ 27 w 576"/>
                <a:gd name="T25" fmla="*/ 83 h 1219"/>
                <a:gd name="T26" fmla="*/ 29 w 576"/>
                <a:gd name="T27" fmla="*/ 85 h 1219"/>
                <a:gd name="T28" fmla="*/ 29 w 576"/>
                <a:gd name="T29" fmla="*/ 90 h 1219"/>
                <a:gd name="T30" fmla="*/ 29 w 576"/>
                <a:gd name="T31" fmla="*/ 92 h 1219"/>
                <a:gd name="T32" fmla="*/ 29 w 576"/>
                <a:gd name="T33" fmla="*/ 100 h 1219"/>
                <a:gd name="T34" fmla="*/ 24 w 576"/>
                <a:gd name="T35" fmla="*/ 104 h 1219"/>
                <a:gd name="T36" fmla="*/ 17 w 576"/>
                <a:gd name="T37" fmla="*/ 107 h 1219"/>
                <a:gd name="T38" fmla="*/ 15 w 576"/>
                <a:gd name="T39" fmla="*/ 113 h 1219"/>
                <a:gd name="T40" fmla="*/ 10 w 576"/>
                <a:gd name="T41" fmla="*/ 113 h 1219"/>
                <a:gd name="T42" fmla="*/ 8 w 576"/>
                <a:gd name="T43" fmla="*/ 107 h 1219"/>
                <a:gd name="T44" fmla="*/ 5 w 576"/>
                <a:gd name="T45" fmla="*/ 100 h 1219"/>
                <a:gd name="T46" fmla="*/ 1 w 576"/>
                <a:gd name="T47" fmla="*/ 97 h 1219"/>
                <a:gd name="T48" fmla="*/ 0 w 576"/>
                <a:gd name="T49" fmla="*/ 90 h 1219"/>
                <a:gd name="T50" fmla="*/ 0 w 576"/>
                <a:gd name="T51" fmla="*/ 83 h 1219"/>
                <a:gd name="T52" fmla="*/ 0 w 576"/>
                <a:gd name="T53" fmla="*/ 81 h 1219"/>
                <a:gd name="T54" fmla="*/ 5 w 576"/>
                <a:gd name="T55" fmla="*/ 75 h 1219"/>
                <a:gd name="T56" fmla="*/ 8 w 576"/>
                <a:gd name="T57" fmla="*/ 62 h 1219"/>
                <a:gd name="T58" fmla="*/ 5 w 576"/>
                <a:gd name="T59" fmla="*/ 50 h 1219"/>
                <a:gd name="T60" fmla="*/ 8 w 576"/>
                <a:gd name="T61" fmla="*/ 44 h 1219"/>
                <a:gd name="T62" fmla="*/ 19 w 576"/>
                <a:gd name="T63" fmla="*/ 34 h 1219"/>
                <a:gd name="T64" fmla="*/ 20 w 576"/>
                <a:gd name="T65" fmla="*/ 27 h 1219"/>
                <a:gd name="T66" fmla="*/ 29 w 576"/>
                <a:gd name="T67" fmla="*/ 13 h 1219"/>
                <a:gd name="T68" fmla="*/ 33 w 576"/>
                <a:gd name="T69" fmla="*/ 5 h 1219"/>
                <a:gd name="T70" fmla="*/ 41 w 576"/>
                <a:gd name="T71" fmla="*/ 3 h 1219"/>
                <a:gd name="T72" fmla="*/ 44 w 576"/>
                <a:gd name="T73" fmla="*/ 0 h 1219"/>
                <a:gd name="T74" fmla="*/ 52 w 576"/>
                <a:gd name="T75" fmla="*/ 0 h 1219"/>
                <a:gd name="T76" fmla="*/ 56 w 576"/>
                <a:gd name="T77" fmla="*/ 5 h 1219"/>
                <a:gd name="T78" fmla="*/ 61 w 576"/>
                <a:gd name="T79" fmla="*/ 15 h 1219"/>
                <a:gd name="T80" fmla="*/ 61 w 576"/>
                <a:gd name="T81" fmla="*/ 19 h 1219"/>
                <a:gd name="T82" fmla="*/ 62 w 576"/>
                <a:gd name="T83" fmla="*/ 25 h 12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6"/>
                <a:gd name="T127" fmla="*/ 0 h 1219"/>
                <a:gd name="T128" fmla="*/ 576 w 576"/>
                <a:gd name="T129" fmla="*/ 1219 h 12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6" h="1219">
                  <a:moveTo>
                    <a:pt x="576" y="272"/>
                  </a:moveTo>
                  <a:lnTo>
                    <a:pt x="500" y="336"/>
                  </a:lnTo>
                  <a:lnTo>
                    <a:pt x="478" y="446"/>
                  </a:lnTo>
                  <a:lnTo>
                    <a:pt x="454" y="516"/>
                  </a:lnTo>
                  <a:lnTo>
                    <a:pt x="390" y="586"/>
                  </a:lnTo>
                  <a:lnTo>
                    <a:pt x="321" y="609"/>
                  </a:lnTo>
                  <a:lnTo>
                    <a:pt x="274" y="720"/>
                  </a:lnTo>
                  <a:lnTo>
                    <a:pt x="274" y="766"/>
                  </a:lnTo>
                  <a:lnTo>
                    <a:pt x="343" y="853"/>
                  </a:lnTo>
                  <a:lnTo>
                    <a:pt x="343" y="877"/>
                  </a:lnTo>
                  <a:lnTo>
                    <a:pt x="297" y="900"/>
                  </a:lnTo>
                  <a:lnTo>
                    <a:pt x="274" y="877"/>
                  </a:lnTo>
                  <a:lnTo>
                    <a:pt x="251" y="900"/>
                  </a:lnTo>
                  <a:lnTo>
                    <a:pt x="274" y="922"/>
                  </a:lnTo>
                  <a:lnTo>
                    <a:pt x="274" y="969"/>
                  </a:lnTo>
                  <a:lnTo>
                    <a:pt x="274" y="992"/>
                  </a:lnTo>
                  <a:lnTo>
                    <a:pt x="274" y="1079"/>
                  </a:lnTo>
                  <a:lnTo>
                    <a:pt x="227" y="1126"/>
                  </a:lnTo>
                  <a:lnTo>
                    <a:pt x="157" y="1149"/>
                  </a:lnTo>
                  <a:lnTo>
                    <a:pt x="140" y="1219"/>
                  </a:lnTo>
                  <a:lnTo>
                    <a:pt x="94" y="1219"/>
                  </a:lnTo>
                  <a:lnTo>
                    <a:pt x="70" y="1149"/>
                  </a:lnTo>
                  <a:lnTo>
                    <a:pt x="47" y="1079"/>
                  </a:lnTo>
                  <a:lnTo>
                    <a:pt x="7" y="1044"/>
                  </a:lnTo>
                  <a:lnTo>
                    <a:pt x="0" y="969"/>
                  </a:lnTo>
                  <a:lnTo>
                    <a:pt x="0" y="900"/>
                  </a:lnTo>
                  <a:lnTo>
                    <a:pt x="0" y="877"/>
                  </a:lnTo>
                  <a:lnTo>
                    <a:pt x="47" y="807"/>
                  </a:lnTo>
                  <a:lnTo>
                    <a:pt x="70" y="673"/>
                  </a:lnTo>
                  <a:lnTo>
                    <a:pt x="47" y="540"/>
                  </a:lnTo>
                  <a:lnTo>
                    <a:pt x="70" y="476"/>
                  </a:lnTo>
                  <a:lnTo>
                    <a:pt x="175" y="366"/>
                  </a:lnTo>
                  <a:lnTo>
                    <a:pt x="187" y="296"/>
                  </a:lnTo>
                  <a:lnTo>
                    <a:pt x="274" y="139"/>
                  </a:lnTo>
                  <a:lnTo>
                    <a:pt x="303" y="57"/>
                  </a:lnTo>
                  <a:lnTo>
                    <a:pt x="378" y="35"/>
                  </a:lnTo>
                  <a:lnTo>
                    <a:pt x="413" y="0"/>
                  </a:lnTo>
                  <a:lnTo>
                    <a:pt x="483" y="0"/>
                  </a:lnTo>
                  <a:lnTo>
                    <a:pt x="518" y="57"/>
                  </a:lnTo>
                  <a:lnTo>
                    <a:pt x="565" y="157"/>
                  </a:lnTo>
                  <a:lnTo>
                    <a:pt x="565" y="202"/>
                  </a:lnTo>
                  <a:lnTo>
                    <a:pt x="576" y="27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3" name="Freeform 900"/>
            <p:cNvSpPr/>
            <p:nvPr/>
          </p:nvSpPr>
          <p:spPr bwMode="auto">
            <a:xfrm>
              <a:off x="1163638" y="1535113"/>
              <a:ext cx="523875" cy="495300"/>
            </a:xfrm>
            <a:custGeom>
              <a:avLst/>
              <a:gdLst>
                <a:gd name="T0" fmla="*/ 110 w 1151"/>
                <a:gd name="T1" fmla="*/ 0 h 1267"/>
                <a:gd name="T2" fmla="*/ 103 w 1151"/>
                <a:gd name="T3" fmla="*/ 0 h 1267"/>
                <a:gd name="T4" fmla="*/ 95 w 1151"/>
                <a:gd name="T5" fmla="*/ 2 h 1267"/>
                <a:gd name="T6" fmla="*/ 83 w 1151"/>
                <a:gd name="T7" fmla="*/ 4 h 1267"/>
                <a:gd name="T8" fmla="*/ 74 w 1151"/>
                <a:gd name="T9" fmla="*/ 11 h 1267"/>
                <a:gd name="T10" fmla="*/ 56 w 1151"/>
                <a:gd name="T11" fmla="*/ 23 h 1267"/>
                <a:gd name="T12" fmla="*/ 54 w 1151"/>
                <a:gd name="T13" fmla="*/ 28 h 1267"/>
                <a:gd name="T14" fmla="*/ 52 w 1151"/>
                <a:gd name="T15" fmla="*/ 34 h 1267"/>
                <a:gd name="T16" fmla="*/ 42 w 1151"/>
                <a:gd name="T17" fmla="*/ 40 h 1267"/>
                <a:gd name="T18" fmla="*/ 31 w 1151"/>
                <a:gd name="T19" fmla="*/ 57 h 1267"/>
                <a:gd name="T20" fmla="*/ 22 w 1151"/>
                <a:gd name="T21" fmla="*/ 69 h 1267"/>
                <a:gd name="T22" fmla="*/ 26 w 1151"/>
                <a:gd name="T23" fmla="*/ 71 h 1267"/>
                <a:gd name="T24" fmla="*/ 17 w 1151"/>
                <a:gd name="T25" fmla="*/ 76 h 1267"/>
                <a:gd name="T26" fmla="*/ 0 w 1151"/>
                <a:gd name="T27" fmla="*/ 86 h 1267"/>
                <a:gd name="T28" fmla="*/ 7 w 1151"/>
                <a:gd name="T29" fmla="*/ 90 h 1267"/>
                <a:gd name="T30" fmla="*/ 7 w 1151"/>
                <a:gd name="T31" fmla="*/ 95 h 1267"/>
                <a:gd name="T32" fmla="*/ 2 w 1151"/>
                <a:gd name="T33" fmla="*/ 99 h 1267"/>
                <a:gd name="T34" fmla="*/ 2 w 1151"/>
                <a:gd name="T35" fmla="*/ 105 h 1267"/>
                <a:gd name="T36" fmla="*/ 2 w 1151"/>
                <a:gd name="T37" fmla="*/ 111 h 1267"/>
                <a:gd name="T38" fmla="*/ 5 w 1151"/>
                <a:gd name="T39" fmla="*/ 118 h 1267"/>
                <a:gd name="T40" fmla="*/ 25 w 1151"/>
                <a:gd name="T41" fmla="*/ 111 h 1267"/>
                <a:gd name="T42" fmla="*/ 37 w 1151"/>
                <a:gd name="T43" fmla="*/ 99 h 1267"/>
                <a:gd name="T44" fmla="*/ 39 w 1151"/>
                <a:gd name="T45" fmla="*/ 82 h 1267"/>
                <a:gd name="T46" fmla="*/ 42 w 1151"/>
                <a:gd name="T47" fmla="*/ 65 h 1267"/>
                <a:gd name="T48" fmla="*/ 52 w 1151"/>
                <a:gd name="T49" fmla="*/ 57 h 1267"/>
                <a:gd name="T50" fmla="*/ 56 w 1151"/>
                <a:gd name="T51" fmla="*/ 44 h 1267"/>
                <a:gd name="T52" fmla="*/ 71 w 1151"/>
                <a:gd name="T53" fmla="*/ 28 h 1267"/>
                <a:gd name="T54" fmla="*/ 74 w 1151"/>
                <a:gd name="T55" fmla="*/ 15 h 1267"/>
                <a:gd name="T56" fmla="*/ 90 w 1151"/>
                <a:gd name="T57" fmla="*/ 21 h 1267"/>
                <a:gd name="T58" fmla="*/ 105 w 1151"/>
                <a:gd name="T59" fmla="*/ 13 h 1267"/>
                <a:gd name="T60" fmla="*/ 118 w 1151"/>
                <a:gd name="T61" fmla="*/ 9 h 1267"/>
                <a:gd name="T62" fmla="*/ 125 w 1151"/>
                <a:gd name="T63" fmla="*/ 4 h 12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51"/>
                <a:gd name="T97" fmla="*/ 0 h 1267"/>
                <a:gd name="T98" fmla="*/ 1151 w 1151"/>
                <a:gd name="T99" fmla="*/ 1267 h 12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51" h="1267">
                  <a:moveTo>
                    <a:pt x="1127" y="0"/>
                  </a:moveTo>
                  <a:lnTo>
                    <a:pt x="1012" y="0"/>
                  </a:lnTo>
                  <a:lnTo>
                    <a:pt x="970" y="47"/>
                  </a:lnTo>
                  <a:lnTo>
                    <a:pt x="947" y="0"/>
                  </a:lnTo>
                  <a:lnTo>
                    <a:pt x="878" y="0"/>
                  </a:lnTo>
                  <a:lnTo>
                    <a:pt x="878" y="24"/>
                  </a:lnTo>
                  <a:lnTo>
                    <a:pt x="837" y="24"/>
                  </a:lnTo>
                  <a:lnTo>
                    <a:pt x="768" y="47"/>
                  </a:lnTo>
                  <a:lnTo>
                    <a:pt x="761" y="117"/>
                  </a:lnTo>
                  <a:lnTo>
                    <a:pt x="680" y="117"/>
                  </a:lnTo>
                  <a:lnTo>
                    <a:pt x="611" y="140"/>
                  </a:lnTo>
                  <a:lnTo>
                    <a:pt x="517" y="251"/>
                  </a:lnTo>
                  <a:lnTo>
                    <a:pt x="564" y="274"/>
                  </a:lnTo>
                  <a:lnTo>
                    <a:pt x="494" y="296"/>
                  </a:lnTo>
                  <a:lnTo>
                    <a:pt x="494" y="338"/>
                  </a:lnTo>
                  <a:lnTo>
                    <a:pt x="477" y="366"/>
                  </a:lnTo>
                  <a:lnTo>
                    <a:pt x="430" y="338"/>
                  </a:lnTo>
                  <a:lnTo>
                    <a:pt x="384" y="430"/>
                  </a:lnTo>
                  <a:lnTo>
                    <a:pt x="384" y="477"/>
                  </a:lnTo>
                  <a:lnTo>
                    <a:pt x="290" y="610"/>
                  </a:lnTo>
                  <a:lnTo>
                    <a:pt x="203" y="727"/>
                  </a:lnTo>
                  <a:lnTo>
                    <a:pt x="203" y="744"/>
                  </a:lnTo>
                  <a:lnTo>
                    <a:pt x="267" y="744"/>
                  </a:lnTo>
                  <a:lnTo>
                    <a:pt x="244" y="767"/>
                  </a:lnTo>
                  <a:lnTo>
                    <a:pt x="180" y="767"/>
                  </a:lnTo>
                  <a:lnTo>
                    <a:pt x="157" y="814"/>
                  </a:lnTo>
                  <a:lnTo>
                    <a:pt x="46" y="884"/>
                  </a:lnTo>
                  <a:lnTo>
                    <a:pt x="0" y="924"/>
                  </a:lnTo>
                  <a:lnTo>
                    <a:pt x="0" y="994"/>
                  </a:lnTo>
                  <a:lnTo>
                    <a:pt x="63" y="971"/>
                  </a:lnTo>
                  <a:lnTo>
                    <a:pt x="93" y="971"/>
                  </a:lnTo>
                  <a:lnTo>
                    <a:pt x="63" y="1017"/>
                  </a:lnTo>
                  <a:lnTo>
                    <a:pt x="23" y="1017"/>
                  </a:lnTo>
                  <a:lnTo>
                    <a:pt x="23" y="1058"/>
                  </a:lnTo>
                  <a:lnTo>
                    <a:pt x="6" y="1104"/>
                  </a:lnTo>
                  <a:lnTo>
                    <a:pt x="23" y="1128"/>
                  </a:lnTo>
                  <a:lnTo>
                    <a:pt x="6" y="1145"/>
                  </a:lnTo>
                  <a:lnTo>
                    <a:pt x="23" y="1197"/>
                  </a:lnTo>
                  <a:lnTo>
                    <a:pt x="0" y="1220"/>
                  </a:lnTo>
                  <a:lnTo>
                    <a:pt x="46" y="1267"/>
                  </a:lnTo>
                  <a:lnTo>
                    <a:pt x="157" y="1243"/>
                  </a:lnTo>
                  <a:lnTo>
                    <a:pt x="227" y="1197"/>
                  </a:lnTo>
                  <a:lnTo>
                    <a:pt x="290" y="1151"/>
                  </a:lnTo>
                  <a:lnTo>
                    <a:pt x="337" y="1058"/>
                  </a:lnTo>
                  <a:lnTo>
                    <a:pt x="360" y="924"/>
                  </a:lnTo>
                  <a:lnTo>
                    <a:pt x="360" y="884"/>
                  </a:lnTo>
                  <a:lnTo>
                    <a:pt x="337" y="791"/>
                  </a:lnTo>
                  <a:lnTo>
                    <a:pt x="384" y="697"/>
                  </a:lnTo>
                  <a:lnTo>
                    <a:pt x="430" y="657"/>
                  </a:lnTo>
                  <a:lnTo>
                    <a:pt x="477" y="610"/>
                  </a:lnTo>
                  <a:lnTo>
                    <a:pt x="477" y="564"/>
                  </a:lnTo>
                  <a:lnTo>
                    <a:pt x="517" y="477"/>
                  </a:lnTo>
                  <a:lnTo>
                    <a:pt x="587" y="320"/>
                  </a:lnTo>
                  <a:lnTo>
                    <a:pt x="656" y="296"/>
                  </a:lnTo>
                  <a:lnTo>
                    <a:pt x="778" y="256"/>
                  </a:lnTo>
                  <a:lnTo>
                    <a:pt x="680" y="163"/>
                  </a:lnTo>
                  <a:lnTo>
                    <a:pt x="715" y="157"/>
                  </a:lnTo>
                  <a:lnTo>
                    <a:pt x="831" y="221"/>
                  </a:lnTo>
                  <a:lnTo>
                    <a:pt x="883" y="216"/>
                  </a:lnTo>
                  <a:lnTo>
                    <a:pt x="965" y="140"/>
                  </a:lnTo>
                  <a:lnTo>
                    <a:pt x="994" y="117"/>
                  </a:lnTo>
                  <a:lnTo>
                    <a:pt x="1087" y="94"/>
                  </a:lnTo>
                  <a:lnTo>
                    <a:pt x="1087" y="70"/>
                  </a:lnTo>
                  <a:lnTo>
                    <a:pt x="1151" y="47"/>
                  </a:lnTo>
                  <a:lnTo>
                    <a:pt x="112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4" name="Freeform 901"/>
            <p:cNvSpPr/>
            <p:nvPr/>
          </p:nvSpPr>
          <p:spPr bwMode="auto">
            <a:xfrm>
              <a:off x="1431925" y="2030413"/>
              <a:ext cx="28575" cy="33337"/>
            </a:xfrm>
            <a:custGeom>
              <a:avLst/>
              <a:gdLst>
                <a:gd name="T0" fmla="*/ 5 w 69"/>
                <a:gd name="T1" fmla="*/ 0 h 87"/>
                <a:gd name="T2" fmla="*/ 0 w 69"/>
                <a:gd name="T3" fmla="*/ 2 h 87"/>
                <a:gd name="T4" fmla="*/ 2 w 69"/>
                <a:gd name="T5" fmla="*/ 8 h 87"/>
                <a:gd name="T6" fmla="*/ 5 w 69"/>
                <a:gd name="T7" fmla="*/ 6 h 87"/>
                <a:gd name="T8" fmla="*/ 7 w 69"/>
                <a:gd name="T9" fmla="*/ 4 h 87"/>
                <a:gd name="T10" fmla="*/ 5 w 69"/>
                <a:gd name="T11" fmla="*/ 0 h 8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9"/>
                <a:gd name="T19" fmla="*/ 0 h 87"/>
                <a:gd name="T20" fmla="*/ 69 w 69"/>
                <a:gd name="T21" fmla="*/ 87 h 8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9" h="87">
                  <a:moveTo>
                    <a:pt x="46" y="0"/>
                  </a:moveTo>
                  <a:lnTo>
                    <a:pt x="0" y="18"/>
                  </a:lnTo>
                  <a:lnTo>
                    <a:pt x="24" y="87"/>
                  </a:lnTo>
                  <a:lnTo>
                    <a:pt x="46" y="63"/>
                  </a:lnTo>
                  <a:lnTo>
                    <a:pt x="69" y="40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5" name="Freeform 902"/>
            <p:cNvSpPr/>
            <p:nvPr/>
          </p:nvSpPr>
          <p:spPr bwMode="auto">
            <a:xfrm>
              <a:off x="1284288" y="2117725"/>
              <a:ext cx="33337" cy="25400"/>
            </a:xfrm>
            <a:custGeom>
              <a:avLst/>
              <a:gdLst>
                <a:gd name="T0" fmla="*/ 5 w 70"/>
                <a:gd name="T1" fmla="*/ 0 h 63"/>
                <a:gd name="T2" fmla="*/ 0 w 70"/>
                <a:gd name="T3" fmla="*/ 4 h 63"/>
                <a:gd name="T4" fmla="*/ 3 w 70"/>
                <a:gd name="T5" fmla="*/ 6 h 63"/>
                <a:gd name="T6" fmla="*/ 8 w 70"/>
                <a:gd name="T7" fmla="*/ 4 h 63"/>
                <a:gd name="T8" fmla="*/ 5 w 70"/>
                <a:gd name="T9" fmla="*/ 0 h 6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0"/>
                <a:gd name="T16" fmla="*/ 0 h 63"/>
                <a:gd name="T17" fmla="*/ 70 w 70"/>
                <a:gd name="T18" fmla="*/ 63 h 6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0" h="63">
                  <a:moveTo>
                    <a:pt x="47" y="0"/>
                  </a:moveTo>
                  <a:lnTo>
                    <a:pt x="0" y="40"/>
                  </a:lnTo>
                  <a:lnTo>
                    <a:pt x="23" y="63"/>
                  </a:lnTo>
                  <a:lnTo>
                    <a:pt x="70" y="40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6" name="Freeform 903"/>
            <p:cNvSpPr/>
            <p:nvPr/>
          </p:nvSpPr>
          <p:spPr bwMode="auto">
            <a:xfrm>
              <a:off x="1565275" y="2449513"/>
              <a:ext cx="155575" cy="84137"/>
            </a:xfrm>
            <a:custGeom>
              <a:avLst/>
              <a:gdLst>
                <a:gd name="T0" fmla="*/ 37 w 337"/>
                <a:gd name="T1" fmla="*/ 2 h 216"/>
                <a:gd name="T2" fmla="*/ 34 w 337"/>
                <a:gd name="T3" fmla="*/ 6 h 216"/>
                <a:gd name="T4" fmla="*/ 29 w 337"/>
                <a:gd name="T5" fmla="*/ 10 h 216"/>
                <a:gd name="T6" fmla="*/ 34 w 337"/>
                <a:gd name="T7" fmla="*/ 15 h 216"/>
                <a:gd name="T8" fmla="*/ 29 w 337"/>
                <a:gd name="T9" fmla="*/ 19 h 216"/>
                <a:gd name="T10" fmla="*/ 24 w 337"/>
                <a:gd name="T11" fmla="*/ 19 h 216"/>
                <a:gd name="T12" fmla="*/ 12 w 337"/>
                <a:gd name="T13" fmla="*/ 19 h 216"/>
                <a:gd name="T14" fmla="*/ 5 w 337"/>
                <a:gd name="T15" fmla="*/ 20 h 216"/>
                <a:gd name="T16" fmla="*/ 2 w 337"/>
                <a:gd name="T17" fmla="*/ 17 h 216"/>
                <a:gd name="T18" fmla="*/ 4 w 337"/>
                <a:gd name="T19" fmla="*/ 15 h 216"/>
                <a:gd name="T20" fmla="*/ 0 w 337"/>
                <a:gd name="T21" fmla="*/ 9 h 216"/>
                <a:gd name="T22" fmla="*/ 2 w 337"/>
                <a:gd name="T23" fmla="*/ 8 h 216"/>
                <a:gd name="T24" fmla="*/ 3 w 337"/>
                <a:gd name="T25" fmla="*/ 3 h 216"/>
                <a:gd name="T26" fmla="*/ 5 w 337"/>
                <a:gd name="T27" fmla="*/ 2 h 216"/>
                <a:gd name="T28" fmla="*/ 14 w 337"/>
                <a:gd name="T29" fmla="*/ 6 h 216"/>
                <a:gd name="T30" fmla="*/ 24 w 337"/>
                <a:gd name="T31" fmla="*/ 0 h 216"/>
                <a:gd name="T32" fmla="*/ 29 w 337"/>
                <a:gd name="T33" fmla="*/ 4 h 216"/>
                <a:gd name="T34" fmla="*/ 37 w 337"/>
                <a:gd name="T35" fmla="*/ 2 h 21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7"/>
                <a:gd name="T55" fmla="*/ 0 h 216"/>
                <a:gd name="T56" fmla="*/ 337 w 337"/>
                <a:gd name="T57" fmla="*/ 216 h 21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7" h="216">
                  <a:moveTo>
                    <a:pt x="337" y="24"/>
                  </a:moveTo>
                  <a:lnTo>
                    <a:pt x="314" y="64"/>
                  </a:lnTo>
                  <a:lnTo>
                    <a:pt x="268" y="111"/>
                  </a:lnTo>
                  <a:lnTo>
                    <a:pt x="314" y="157"/>
                  </a:lnTo>
                  <a:lnTo>
                    <a:pt x="268" y="204"/>
                  </a:lnTo>
                  <a:lnTo>
                    <a:pt x="221" y="204"/>
                  </a:lnTo>
                  <a:lnTo>
                    <a:pt x="111" y="204"/>
                  </a:lnTo>
                  <a:lnTo>
                    <a:pt x="42" y="216"/>
                  </a:lnTo>
                  <a:lnTo>
                    <a:pt x="18" y="181"/>
                  </a:lnTo>
                  <a:lnTo>
                    <a:pt x="35" y="157"/>
                  </a:lnTo>
                  <a:lnTo>
                    <a:pt x="0" y="99"/>
                  </a:lnTo>
                  <a:lnTo>
                    <a:pt x="18" y="87"/>
                  </a:lnTo>
                  <a:lnTo>
                    <a:pt x="24" y="35"/>
                  </a:lnTo>
                  <a:lnTo>
                    <a:pt x="42" y="24"/>
                  </a:lnTo>
                  <a:lnTo>
                    <a:pt x="129" y="64"/>
                  </a:lnTo>
                  <a:lnTo>
                    <a:pt x="221" y="0"/>
                  </a:lnTo>
                  <a:lnTo>
                    <a:pt x="268" y="47"/>
                  </a:lnTo>
                  <a:lnTo>
                    <a:pt x="337" y="2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7" name="Freeform 904"/>
            <p:cNvSpPr/>
            <p:nvPr/>
          </p:nvSpPr>
          <p:spPr bwMode="auto">
            <a:xfrm>
              <a:off x="1658938" y="2517775"/>
              <a:ext cx="66675" cy="53975"/>
            </a:xfrm>
            <a:custGeom>
              <a:avLst/>
              <a:gdLst>
                <a:gd name="T0" fmla="*/ 13 w 139"/>
                <a:gd name="T1" fmla="*/ 0 h 145"/>
                <a:gd name="T2" fmla="*/ 4 w 139"/>
                <a:gd name="T3" fmla="*/ 6 h 145"/>
                <a:gd name="T4" fmla="*/ 0 w 139"/>
                <a:gd name="T5" fmla="*/ 9 h 145"/>
                <a:gd name="T6" fmla="*/ 6 w 139"/>
                <a:gd name="T7" fmla="*/ 13 h 145"/>
                <a:gd name="T8" fmla="*/ 11 w 139"/>
                <a:gd name="T9" fmla="*/ 9 h 145"/>
                <a:gd name="T10" fmla="*/ 16 w 139"/>
                <a:gd name="T11" fmla="*/ 6 h 145"/>
                <a:gd name="T12" fmla="*/ 15 w 139"/>
                <a:gd name="T13" fmla="*/ 0 h 145"/>
                <a:gd name="T14" fmla="*/ 13 w 139"/>
                <a:gd name="T15" fmla="*/ 0 h 14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9"/>
                <a:gd name="T25" fmla="*/ 0 h 145"/>
                <a:gd name="T26" fmla="*/ 139 w 139"/>
                <a:gd name="T27" fmla="*/ 145 h 14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9" h="145">
                  <a:moveTo>
                    <a:pt x="110" y="0"/>
                  </a:moveTo>
                  <a:lnTo>
                    <a:pt x="35" y="64"/>
                  </a:lnTo>
                  <a:lnTo>
                    <a:pt x="0" y="104"/>
                  </a:lnTo>
                  <a:lnTo>
                    <a:pt x="52" y="145"/>
                  </a:lnTo>
                  <a:lnTo>
                    <a:pt x="93" y="104"/>
                  </a:lnTo>
                  <a:lnTo>
                    <a:pt x="139" y="64"/>
                  </a:lnTo>
                  <a:lnTo>
                    <a:pt x="127" y="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8" name="Freeform 905"/>
            <p:cNvSpPr/>
            <p:nvPr/>
          </p:nvSpPr>
          <p:spPr bwMode="auto">
            <a:xfrm>
              <a:off x="1531938" y="2530475"/>
              <a:ext cx="142875" cy="138113"/>
            </a:xfrm>
            <a:custGeom>
              <a:avLst/>
              <a:gdLst>
                <a:gd name="T0" fmla="*/ 30 w 314"/>
                <a:gd name="T1" fmla="*/ 6 h 360"/>
                <a:gd name="T2" fmla="*/ 27 w 314"/>
                <a:gd name="T3" fmla="*/ 6 h 360"/>
                <a:gd name="T4" fmla="*/ 22 w 314"/>
                <a:gd name="T5" fmla="*/ 8 h 360"/>
                <a:gd name="T6" fmla="*/ 17 w 314"/>
                <a:gd name="T7" fmla="*/ 6 h 360"/>
                <a:gd name="T8" fmla="*/ 17 w 314"/>
                <a:gd name="T9" fmla="*/ 11 h 360"/>
                <a:gd name="T10" fmla="*/ 12 w 314"/>
                <a:gd name="T11" fmla="*/ 8 h 360"/>
                <a:gd name="T12" fmla="*/ 8 w 314"/>
                <a:gd name="T13" fmla="*/ 8 h 360"/>
                <a:gd name="T14" fmla="*/ 17 w 314"/>
                <a:gd name="T15" fmla="*/ 14 h 360"/>
                <a:gd name="T16" fmla="*/ 10 w 314"/>
                <a:gd name="T17" fmla="*/ 12 h 360"/>
                <a:gd name="T18" fmla="*/ 10 w 314"/>
                <a:gd name="T19" fmla="*/ 16 h 360"/>
                <a:gd name="T20" fmla="*/ 15 w 314"/>
                <a:gd name="T21" fmla="*/ 21 h 360"/>
                <a:gd name="T22" fmla="*/ 17 w 314"/>
                <a:gd name="T23" fmla="*/ 25 h 360"/>
                <a:gd name="T24" fmla="*/ 13 w 314"/>
                <a:gd name="T25" fmla="*/ 23 h 360"/>
                <a:gd name="T26" fmla="*/ 20 w 314"/>
                <a:gd name="T27" fmla="*/ 29 h 360"/>
                <a:gd name="T28" fmla="*/ 15 w 314"/>
                <a:gd name="T29" fmla="*/ 27 h 360"/>
                <a:gd name="T30" fmla="*/ 11 w 314"/>
                <a:gd name="T31" fmla="*/ 26 h 360"/>
                <a:gd name="T32" fmla="*/ 16 w 314"/>
                <a:gd name="T33" fmla="*/ 30 h 360"/>
                <a:gd name="T34" fmla="*/ 17 w 314"/>
                <a:gd name="T35" fmla="*/ 33 h 360"/>
                <a:gd name="T36" fmla="*/ 10 w 314"/>
                <a:gd name="T37" fmla="*/ 32 h 360"/>
                <a:gd name="T38" fmla="*/ 5 w 314"/>
                <a:gd name="T39" fmla="*/ 31 h 360"/>
                <a:gd name="T40" fmla="*/ 3 w 314"/>
                <a:gd name="T41" fmla="*/ 23 h 360"/>
                <a:gd name="T42" fmla="*/ 1 w 314"/>
                <a:gd name="T43" fmla="*/ 19 h 360"/>
                <a:gd name="T44" fmla="*/ 11 w 314"/>
                <a:gd name="T45" fmla="*/ 24 h 360"/>
                <a:gd name="T46" fmla="*/ 5 w 314"/>
                <a:gd name="T47" fmla="*/ 18 h 360"/>
                <a:gd name="T48" fmla="*/ 1 w 314"/>
                <a:gd name="T49" fmla="*/ 14 h 360"/>
                <a:gd name="T50" fmla="*/ 0 w 314"/>
                <a:gd name="T51" fmla="*/ 8 h 360"/>
                <a:gd name="T52" fmla="*/ 5 w 314"/>
                <a:gd name="T53" fmla="*/ 6 h 360"/>
                <a:gd name="T54" fmla="*/ 10 w 314"/>
                <a:gd name="T55" fmla="*/ 2 h 360"/>
                <a:gd name="T56" fmla="*/ 17 w 314"/>
                <a:gd name="T57" fmla="*/ 0 h 360"/>
                <a:gd name="T58" fmla="*/ 30 w 314"/>
                <a:gd name="T59" fmla="*/ 0 h 360"/>
                <a:gd name="T60" fmla="*/ 34 w 314"/>
                <a:gd name="T61" fmla="*/ 0 h 360"/>
                <a:gd name="T62" fmla="*/ 34 w 314"/>
                <a:gd name="T63" fmla="*/ 2 h 360"/>
                <a:gd name="T64" fmla="*/ 30 w 314"/>
                <a:gd name="T65" fmla="*/ 6 h 36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14"/>
                <a:gd name="T100" fmla="*/ 0 h 360"/>
                <a:gd name="T101" fmla="*/ 314 w 314"/>
                <a:gd name="T102" fmla="*/ 360 h 36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14" h="360">
                  <a:moveTo>
                    <a:pt x="274" y="69"/>
                  </a:moveTo>
                  <a:lnTo>
                    <a:pt x="245" y="69"/>
                  </a:lnTo>
                  <a:lnTo>
                    <a:pt x="199" y="92"/>
                  </a:lnTo>
                  <a:lnTo>
                    <a:pt x="157" y="69"/>
                  </a:lnTo>
                  <a:lnTo>
                    <a:pt x="157" y="116"/>
                  </a:lnTo>
                  <a:lnTo>
                    <a:pt x="112" y="92"/>
                  </a:lnTo>
                  <a:lnTo>
                    <a:pt x="77" y="87"/>
                  </a:lnTo>
                  <a:lnTo>
                    <a:pt x="157" y="156"/>
                  </a:lnTo>
                  <a:lnTo>
                    <a:pt x="88" y="134"/>
                  </a:lnTo>
                  <a:lnTo>
                    <a:pt x="88" y="179"/>
                  </a:lnTo>
                  <a:lnTo>
                    <a:pt x="134" y="226"/>
                  </a:lnTo>
                  <a:lnTo>
                    <a:pt x="157" y="273"/>
                  </a:lnTo>
                  <a:lnTo>
                    <a:pt x="122" y="256"/>
                  </a:lnTo>
                  <a:lnTo>
                    <a:pt x="181" y="319"/>
                  </a:lnTo>
                  <a:lnTo>
                    <a:pt x="134" y="291"/>
                  </a:lnTo>
                  <a:lnTo>
                    <a:pt x="100" y="279"/>
                  </a:lnTo>
                  <a:lnTo>
                    <a:pt x="152" y="331"/>
                  </a:lnTo>
                  <a:lnTo>
                    <a:pt x="157" y="360"/>
                  </a:lnTo>
                  <a:lnTo>
                    <a:pt x="88" y="354"/>
                  </a:lnTo>
                  <a:lnTo>
                    <a:pt x="42" y="336"/>
                  </a:lnTo>
                  <a:lnTo>
                    <a:pt x="24" y="249"/>
                  </a:lnTo>
                  <a:lnTo>
                    <a:pt x="12" y="209"/>
                  </a:lnTo>
                  <a:lnTo>
                    <a:pt x="100" y="267"/>
                  </a:lnTo>
                  <a:lnTo>
                    <a:pt x="42" y="191"/>
                  </a:lnTo>
                  <a:lnTo>
                    <a:pt x="12" y="156"/>
                  </a:lnTo>
                  <a:lnTo>
                    <a:pt x="0" y="87"/>
                  </a:lnTo>
                  <a:lnTo>
                    <a:pt x="42" y="69"/>
                  </a:lnTo>
                  <a:lnTo>
                    <a:pt x="88" y="22"/>
                  </a:lnTo>
                  <a:lnTo>
                    <a:pt x="157" y="0"/>
                  </a:lnTo>
                  <a:lnTo>
                    <a:pt x="274" y="0"/>
                  </a:lnTo>
                  <a:lnTo>
                    <a:pt x="314" y="0"/>
                  </a:lnTo>
                  <a:lnTo>
                    <a:pt x="314" y="22"/>
                  </a:lnTo>
                  <a:lnTo>
                    <a:pt x="274" y="69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39" name="Freeform 906"/>
            <p:cNvSpPr/>
            <p:nvPr/>
          </p:nvSpPr>
          <p:spPr bwMode="auto">
            <a:xfrm>
              <a:off x="1616075" y="2622550"/>
              <a:ext cx="42863" cy="38100"/>
            </a:xfrm>
            <a:custGeom>
              <a:avLst/>
              <a:gdLst>
                <a:gd name="T0" fmla="*/ 0 w 93"/>
                <a:gd name="T1" fmla="*/ 0 h 110"/>
                <a:gd name="T2" fmla="*/ 5 w 93"/>
                <a:gd name="T3" fmla="*/ 4 h 110"/>
                <a:gd name="T4" fmla="*/ 10 w 93"/>
                <a:gd name="T5" fmla="*/ 9 h 110"/>
                <a:gd name="T6" fmla="*/ 7 w 93"/>
                <a:gd name="T7" fmla="*/ 5 h 110"/>
                <a:gd name="T8" fmla="*/ 2 w 93"/>
                <a:gd name="T9" fmla="*/ 2 h 110"/>
                <a:gd name="T10" fmla="*/ 0 w 93"/>
                <a:gd name="T11" fmla="*/ 0 h 1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3"/>
                <a:gd name="T19" fmla="*/ 0 h 110"/>
                <a:gd name="T20" fmla="*/ 93 w 93"/>
                <a:gd name="T21" fmla="*/ 110 h 1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3" h="110">
                  <a:moveTo>
                    <a:pt x="0" y="0"/>
                  </a:moveTo>
                  <a:lnTo>
                    <a:pt x="46" y="47"/>
                  </a:lnTo>
                  <a:lnTo>
                    <a:pt x="93" y="110"/>
                  </a:lnTo>
                  <a:lnTo>
                    <a:pt x="64" y="65"/>
                  </a:lnTo>
                  <a:lnTo>
                    <a:pt x="18" y="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0" name="Freeform 907"/>
            <p:cNvSpPr/>
            <p:nvPr/>
          </p:nvSpPr>
          <p:spPr bwMode="auto">
            <a:xfrm>
              <a:off x="1595438" y="2714625"/>
              <a:ext cx="63500" cy="17463"/>
            </a:xfrm>
            <a:custGeom>
              <a:avLst/>
              <a:gdLst>
                <a:gd name="T0" fmla="*/ 0 w 140"/>
                <a:gd name="T1" fmla="*/ 2 h 47"/>
                <a:gd name="T2" fmla="*/ 2 w 140"/>
                <a:gd name="T3" fmla="*/ 4 h 47"/>
                <a:gd name="T4" fmla="*/ 7 w 140"/>
                <a:gd name="T5" fmla="*/ 4 h 47"/>
                <a:gd name="T6" fmla="*/ 15 w 140"/>
                <a:gd name="T7" fmla="*/ 2 h 47"/>
                <a:gd name="T8" fmla="*/ 10 w 140"/>
                <a:gd name="T9" fmla="*/ 2 h 47"/>
                <a:gd name="T10" fmla="*/ 0 w 140"/>
                <a:gd name="T11" fmla="*/ 0 h 47"/>
                <a:gd name="T12" fmla="*/ 0 w 140"/>
                <a:gd name="T13" fmla="*/ 2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0"/>
                <a:gd name="T22" fmla="*/ 0 h 47"/>
                <a:gd name="T23" fmla="*/ 140 w 140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0" h="47">
                  <a:moveTo>
                    <a:pt x="0" y="23"/>
                  </a:moveTo>
                  <a:lnTo>
                    <a:pt x="23" y="47"/>
                  </a:lnTo>
                  <a:lnTo>
                    <a:pt x="65" y="47"/>
                  </a:lnTo>
                  <a:lnTo>
                    <a:pt x="140" y="23"/>
                  </a:lnTo>
                  <a:lnTo>
                    <a:pt x="93" y="23"/>
                  </a:lnTo>
                  <a:lnTo>
                    <a:pt x="0" y="0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1" name="Rectangle 908"/>
            <p:cNvSpPr>
              <a:spLocks noChangeArrowheads="1"/>
            </p:cNvSpPr>
            <p:nvPr/>
          </p:nvSpPr>
          <p:spPr bwMode="auto">
            <a:xfrm>
              <a:off x="1695450" y="2697163"/>
              <a:ext cx="25400" cy="9525"/>
            </a:xfrm>
            <a:prstGeom prst="rect">
              <a:avLst/>
            </a:pr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9pPr>
            </a:lstStyle>
            <a:p>
              <a:pPr eaLnBrk="1" hangingPunct="1">
                <a:defRPr/>
              </a:pPr>
              <a:endParaRPr lang="zh-CN" altLang="en-US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2" name="Freeform 909"/>
            <p:cNvSpPr/>
            <p:nvPr/>
          </p:nvSpPr>
          <p:spPr bwMode="auto">
            <a:xfrm>
              <a:off x="1317625" y="2390775"/>
              <a:ext cx="265113" cy="160338"/>
            </a:xfrm>
            <a:custGeom>
              <a:avLst/>
              <a:gdLst>
                <a:gd name="T0" fmla="*/ 2 w 588"/>
                <a:gd name="T1" fmla="*/ 2 h 406"/>
                <a:gd name="T2" fmla="*/ 0 w 588"/>
                <a:gd name="T3" fmla="*/ 6 h 406"/>
                <a:gd name="T4" fmla="*/ 5 w 588"/>
                <a:gd name="T5" fmla="*/ 8 h 406"/>
                <a:gd name="T6" fmla="*/ 19 w 588"/>
                <a:gd name="T7" fmla="*/ 10 h 406"/>
                <a:gd name="T8" fmla="*/ 19 w 588"/>
                <a:gd name="T9" fmla="*/ 12 h 406"/>
                <a:gd name="T10" fmla="*/ 17 w 588"/>
                <a:gd name="T11" fmla="*/ 12 h 406"/>
                <a:gd name="T12" fmla="*/ 22 w 588"/>
                <a:gd name="T13" fmla="*/ 19 h 406"/>
                <a:gd name="T14" fmla="*/ 29 w 588"/>
                <a:gd name="T15" fmla="*/ 23 h 406"/>
                <a:gd name="T16" fmla="*/ 39 w 588"/>
                <a:gd name="T17" fmla="*/ 25 h 406"/>
                <a:gd name="T18" fmla="*/ 42 w 588"/>
                <a:gd name="T19" fmla="*/ 29 h 406"/>
                <a:gd name="T20" fmla="*/ 46 w 588"/>
                <a:gd name="T21" fmla="*/ 29 h 406"/>
                <a:gd name="T22" fmla="*/ 51 w 588"/>
                <a:gd name="T23" fmla="*/ 32 h 406"/>
                <a:gd name="T24" fmla="*/ 56 w 588"/>
                <a:gd name="T25" fmla="*/ 36 h 406"/>
                <a:gd name="T26" fmla="*/ 58 w 588"/>
                <a:gd name="T27" fmla="*/ 38 h 406"/>
                <a:gd name="T28" fmla="*/ 63 w 588"/>
                <a:gd name="T29" fmla="*/ 36 h 406"/>
                <a:gd name="T30" fmla="*/ 60 w 588"/>
                <a:gd name="T31" fmla="*/ 32 h 406"/>
                <a:gd name="T32" fmla="*/ 63 w 588"/>
                <a:gd name="T33" fmla="*/ 29 h 406"/>
                <a:gd name="T34" fmla="*/ 58 w 588"/>
                <a:gd name="T35" fmla="*/ 23 h 406"/>
                <a:gd name="T36" fmla="*/ 61 w 588"/>
                <a:gd name="T37" fmla="*/ 23 h 406"/>
                <a:gd name="T38" fmla="*/ 61 w 588"/>
                <a:gd name="T39" fmla="*/ 19 h 406"/>
                <a:gd name="T40" fmla="*/ 62 w 588"/>
                <a:gd name="T41" fmla="*/ 16 h 406"/>
                <a:gd name="T42" fmla="*/ 61 w 588"/>
                <a:gd name="T43" fmla="*/ 15 h 406"/>
                <a:gd name="T44" fmla="*/ 54 w 588"/>
                <a:gd name="T45" fmla="*/ 12 h 406"/>
                <a:gd name="T46" fmla="*/ 49 w 588"/>
                <a:gd name="T47" fmla="*/ 8 h 406"/>
                <a:gd name="T48" fmla="*/ 49 w 588"/>
                <a:gd name="T49" fmla="*/ 6 h 406"/>
                <a:gd name="T50" fmla="*/ 39 w 588"/>
                <a:gd name="T51" fmla="*/ 8 h 406"/>
                <a:gd name="T52" fmla="*/ 34 w 588"/>
                <a:gd name="T53" fmla="*/ 10 h 406"/>
                <a:gd name="T54" fmla="*/ 29 w 588"/>
                <a:gd name="T55" fmla="*/ 4 h 406"/>
                <a:gd name="T56" fmla="*/ 19 w 588"/>
                <a:gd name="T57" fmla="*/ 0 h 406"/>
                <a:gd name="T58" fmla="*/ 15 w 588"/>
                <a:gd name="T59" fmla="*/ 2 h 406"/>
                <a:gd name="T60" fmla="*/ 12 w 588"/>
                <a:gd name="T61" fmla="*/ 2 h 406"/>
                <a:gd name="T62" fmla="*/ 8 w 588"/>
                <a:gd name="T63" fmla="*/ 2 h 406"/>
                <a:gd name="T64" fmla="*/ 2 w 588"/>
                <a:gd name="T65" fmla="*/ 2 h 40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88"/>
                <a:gd name="T100" fmla="*/ 0 h 406"/>
                <a:gd name="T101" fmla="*/ 588 w 588"/>
                <a:gd name="T102" fmla="*/ 406 h 40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88" h="406">
                  <a:moveTo>
                    <a:pt x="23" y="23"/>
                  </a:moveTo>
                  <a:lnTo>
                    <a:pt x="0" y="63"/>
                  </a:lnTo>
                  <a:lnTo>
                    <a:pt x="47" y="86"/>
                  </a:lnTo>
                  <a:lnTo>
                    <a:pt x="180" y="110"/>
                  </a:lnTo>
                  <a:lnTo>
                    <a:pt x="180" y="133"/>
                  </a:lnTo>
                  <a:lnTo>
                    <a:pt x="157" y="133"/>
                  </a:lnTo>
                  <a:lnTo>
                    <a:pt x="204" y="203"/>
                  </a:lnTo>
                  <a:lnTo>
                    <a:pt x="274" y="250"/>
                  </a:lnTo>
                  <a:lnTo>
                    <a:pt x="366" y="267"/>
                  </a:lnTo>
                  <a:lnTo>
                    <a:pt x="389" y="313"/>
                  </a:lnTo>
                  <a:lnTo>
                    <a:pt x="431" y="313"/>
                  </a:lnTo>
                  <a:lnTo>
                    <a:pt x="476" y="337"/>
                  </a:lnTo>
                  <a:lnTo>
                    <a:pt x="518" y="382"/>
                  </a:lnTo>
                  <a:lnTo>
                    <a:pt x="541" y="406"/>
                  </a:lnTo>
                  <a:lnTo>
                    <a:pt x="588" y="382"/>
                  </a:lnTo>
                  <a:lnTo>
                    <a:pt x="564" y="337"/>
                  </a:lnTo>
                  <a:lnTo>
                    <a:pt x="588" y="313"/>
                  </a:lnTo>
                  <a:lnTo>
                    <a:pt x="541" y="250"/>
                  </a:lnTo>
                  <a:lnTo>
                    <a:pt x="570" y="243"/>
                  </a:lnTo>
                  <a:lnTo>
                    <a:pt x="570" y="203"/>
                  </a:lnTo>
                  <a:lnTo>
                    <a:pt x="581" y="173"/>
                  </a:lnTo>
                  <a:lnTo>
                    <a:pt x="570" y="156"/>
                  </a:lnTo>
                  <a:lnTo>
                    <a:pt x="500" y="133"/>
                  </a:lnTo>
                  <a:lnTo>
                    <a:pt x="453" y="86"/>
                  </a:lnTo>
                  <a:lnTo>
                    <a:pt x="453" y="63"/>
                  </a:lnTo>
                  <a:lnTo>
                    <a:pt x="366" y="86"/>
                  </a:lnTo>
                  <a:lnTo>
                    <a:pt x="319" y="110"/>
                  </a:lnTo>
                  <a:lnTo>
                    <a:pt x="274" y="46"/>
                  </a:lnTo>
                  <a:lnTo>
                    <a:pt x="180" y="0"/>
                  </a:lnTo>
                  <a:lnTo>
                    <a:pt x="140" y="23"/>
                  </a:lnTo>
                  <a:lnTo>
                    <a:pt x="110" y="23"/>
                  </a:lnTo>
                  <a:lnTo>
                    <a:pt x="70" y="23"/>
                  </a:lnTo>
                  <a:lnTo>
                    <a:pt x="23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3" name="Freeform 910"/>
            <p:cNvSpPr/>
            <p:nvPr/>
          </p:nvSpPr>
          <p:spPr bwMode="auto">
            <a:xfrm>
              <a:off x="1255713" y="2319338"/>
              <a:ext cx="192087" cy="80962"/>
            </a:xfrm>
            <a:custGeom>
              <a:avLst/>
              <a:gdLst>
                <a:gd name="T0" fmla="*/ 0 w 425"/>
                <a:gd name="T1" fmla="*/ 12 h 204"/>
                <a:gd name="T2" fmla="*/ 1 w 425"/>
                <a:gd name="T3" fmla="*/ 15 h 204"/>
                <a:gd name="T4" fmla="*/ 8 w 425"/>
                <a:gd name="T5" fmla="*/ 17 h 204"/>
                <a:gd name="T6" fmla="*/ 11 w 425"/>
                <a:gd name="T7" fmla="*/ 12 h 204"/>
                <a:gd name="T8" fmla="*/ 20 w 425"/>
                <a:gd name="T9" fmla="*/ 14 h 204"/>
                <a:gd name="T10" fmla="*/ 20 w 425"/>
                <a:gd name="T11" fmla="*/ 17 h 204"/>
                <a:gd name="T12" fmla="*/ 18 w 425"/>
                <a:gd name="T13" fmla="*/ 19 h 204"/>
                <a:gd name="T14" fmla="*/ 31 w 425"/>
                <a:gd name="T15" fmla="*/ 18 h 204"/>
                <a:gd name="T16" fmla="*/ 35 w 425"/>
                <a:gd name="T17" fmla="*/ 17 h 204"/>
                <a:gd name="T18" fmla="*/ 37 w 425"/>
                <a:gd name="T19" fmla="*/ 17 h 204"/>
                <a:gd name="T20" fmla="*/ 40 w 425"/>
                <a:gd name="T21" fmla="*/ 12 h 204"/>
                <a:gd name="T22" fmla="*/ 46 w 425"/>
                <a:gd name="T23" fmla="*/ 9 h 204"/>
                <a:gd name="T24" fmla="*/ 44 w 425"/>
                <a:gd name="T25" fmla="*/ 4 h 204"/>
                <a:gd name="T26" fmla="*/ 42 w 425"/>
                <a:gd name="T27" fmla="*/ 2 h 204"/>
                <a:gd name="T28" fmla="*/ 40 w 425"/>
                <a:gd name="T29" fmla="*/ 2 h 204"/>
                <a:gd name="T30" fmla="*/ 35 w 425"/>
                <a:gd name="T31" fmla="*/ 0 h 204"/>
                <a:gd name="T32" fmla="*/ 30 w 425"/>
                <a:gd name="T33" fmla="*/ 1 h 204"/>
                <a:gd name="T34" fmla="*/ 23 w 425"/>
                <a:gd name="T35" fmla="*/ 2 h 204"/>
                <a:gd name="T36" fmla="*/ 18 w 425"/>
                <a:gd name="T37" fmla="*/ 4 h 204"/>
                <a:gd name="T38" fmla="*/ 18 w 425"/>
                <a:gd name="T39" fmla="*/ 8 h 204"/>
                <a:gd name="T40" fmla="*/ 15 w 425"/>
                <a:gd name="T41" fmla="*/ 8 h 204"/>
                <a:gd name="T42" fmla="*/ 6 w 425"/>
                <a:gd name="T43" fmla="*/ 8 h 204"/>
                <a:gd name="T44" fmla="*/ 1 w 425"/>
                <a:gd name="T45" fmla="*/ 9 h 204"/>
                <a:gd name="T46" fmla="*/ 0 w 425"/>
                <a:gd name="T47" fmla="*/ 12 h 2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25"/>
                <a:gd name="T73" fmla="*/ 0 h 204"/>
                <a:gd name="T74" fmla="*/ 425 w 425"/>
                <a:gd name="T75" fmla="*/ 204 h 2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25" h="204">
                  <a:moveTo>
                    <a:pt x="0" y="134"/>
                  </a:moveTo>
                  <a:lnTo>
                    <a:pt x="6" y="157"/>
                  </a:lnTo>
                  <a:lnTo>
                    <a:pt x="70" y="181"/>
                  </a:lnTo>
                  <a:lnTo>
                    <a:pt x="100" y="134"/>
                  </a:lnTo>
                  <a:lnTo>
                    <a:pt x="187" y="152"/>
                  </a:lnTo>
                  <a:lnTo>
                    <a:pt x="187" y="181"/>
                  </a:lnTo>
                  <a:lnTo>
                    <a:pt x="163" y="204"/>
                  </a:lnTo>
                  <a:lnTo>
                    <a:pt x="285" y="198"/>
                  </a:lnTo>
                  <a:lnTo>
                    <a:pt x="320" y="181"/>
                  </a:lnTo>
                  <a:lnTo>
                    <a:pt x="344" y="181"/>
                  </a:lnTo>
                  <a:lnTo>
                    <a:pt x="367" y="134"/>
                  </a:lnTo>
                  <a:lnTo>
                    <a:pt x="425" y="94"/>
                  </a:lnTo>
                  <a:lnTo>
                    <a:pt x="407" y="47"/>
                  </a:lnTo>
                  <a:lnTo>
                    <a:pt x="390" y="24"/>
                  </a:lnTo>
                  <a:lnTo>
                    <a:pt x="372" y="24"/>
                  </a:lnTo>
                  <a:lnTo>
                    <a:pt x="320" y="0"/>
                  </a:lnTo>
                  <a:lnTo>
                    <a:pt x="280" y="12"/>
                  </a:lnTo>
                  <a:lnTo>
                    <a:pt x="210" y="24"/>
                  </a:lnTo>
                  <a:lnTo>
                    <a:pt x="163" y="42"/>
                  </a:lnTo>
                  <a:lnTo>
                    <a:pt x="163" y="87"/>
                  </a:lnTo>
                  <a:lnTo>
                    <a:pt x="140" y="87"/>
                  </a:lnTo>
                  <a:lnTo>
                    <a:pt x="53" y="87"/>
                  </a:lnTo>
                  <a:lnTo>
                    <a:pt x="12" y="99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4" name="Freeform 911"/>
            <p:cNvSpPr/>
            <p:nvPr/>
          </p:nvSpPr>
          <p:spPr bwMode="auto">
            <a:xfrm>
              <a:off x="1401763" y="2344738"/>
              <a:ext cx="173037" cy="88900"/>
            </a:xfrm>
            <a:custGeom>
              <a:avLst/>
              <a:gdLst>
                <a:gd name="T0" fmla="*/ 11 w 372"/>
                <a:gd name="T1" fmla="*/ 2 h 227"/>
                <a:gd name="T2" fmla="*/ 4 w 372"/>
                <a:gd name="T3" fmla="*/ 6 h 227"/>
                <a:gd name="T4" fmla="*/ 0 w 372"/>
                <a:gd name="T5" fmla="*/ 11 h 227"/>
                <a:gd name="T6" fmla="*/ 8 w 372"/>
                <a:gd name="T7" fmla="*/ 15 h 227"/>
                <a:gd name="T8" fmla="*/ 11 w 372"/>
                <a:gd name="T9" fmla="*/ 19 h 227"/>
                <a:gd name="T10" fmla="*/ 13 w 372"/>
                <a:gd name="T11" fmla="*/ 21 h 227"/>
                <a:gd name="T12" fmla="*/ 19 w 372"/>
                <a:gd name="T13" fmla="*/ 19 h 227"/>
                <a:gd name="T14" fmla="*/ 22 w 372"/>
                <a:gd name="T15" fmla="*/ 18 h 227"/>
                <a:gd name="T16" fmla="*/ 26 w 372"/>
                <a:gd name="T17" fmla="*/ 17 h 227"/>
                <a:gd name="T18" fmla="*/ 29 w 372"/>
                <a:gd name="T19" fmla="*/ 15 h 227"/>
                <a:gd name="T20" fmla="*/ 34 w 372"/>
                <a:gd name="T21" fmla="*/ 11 h 227"/>
                <a:gd name="T22" fmla="*/ 38 w 372"/>
                <a:gd name="T23" fmla="*/ 6 h 227"/>
                <a:gd name="T24" fmla="*/ 41 w 372"/>
                <a:gd name="T25" fmla="*/ 0 h 227"/>
                <a:gd name="T26" fmla="*/ 29 w 372"/>
                <a:gd name="T27" fmla="*/ 1 h 227"/>
                <a:gd name="T28" fmla="*/ 22 w 372"/>
                <a:gd name="T29" fmla="*/ 2 h 227"/>
                <a:gd name="T30" fmla="*/ 11 w 372"/>
                <a:gd name="T31" fmla="*/ 2 h 2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72"/>
                <a:gd name="T49" fmla="*/ 0 h 227"/>
                <a:gd name="T50" fmla="*/ 372 w 372"/>
                <a:gd name="T51" fmla="*/ 227 h 2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72" h="227">
                  <a:moveTo>
                    <a:pt x="104" y="23"/>
                  </a:moveTo>
                  <a:lnTo>
                    <a:pt x="35" y="70"/>
                  </a:lnTo>
                  <a:lnTo>
                    <a:pt x="0" y="123"/>
                  </a:lnTo>
                  <a:lnTo>
                    <a:pt x="70" y="157"/>
                  </a:lnTo>
                  <a:lnTo>
                    <a:pt x="104" y="203"/>
                  </a:lnTo>
                  <a:lnTo>
                    <a:pt x="116" y="227"/>
                  </a:lnTo>
                  <a:lnTo>
                    <a:pt x="174" y="203"/>
                  </a:lnTo>
                  <a:lnTo>
                    <a:pt x="204" y="198"/>
                  </a:lnTo>
                  <a:lnTo>
                    <a:pt x="239" y="180"/>
                  </a:lnTo>
                  <a:lnTo>
                    <a:pt x="261" y="163"/>
                  </a:lnTo>
                  <a:lnTo>
                    <a:pt x="308" y="117"/>
                  </a:lnTo>
                  <a:lnTo>
                    <a:pt x="349" y="65"/>
                  </a:lnTo>
                  <a:lnTo>
                    <a:pt x="372" y="0"/>
                  </a:lnTo>
                  <a:lnTo>
                    <a:pt x="261" y="6"/>
                  </a:lnTo>
                  <a:lnTo>
                    <a:pt x="197" y="23"/>
                  </a:lnTo>
                  <a:lnTo>
                    <a:pt x="104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5" name="Freeform 912"/>
            <p:cNvSpPr/>
            <p:nvPr/>
          </p:nvSpPr>
          <p:spPr bwMode="auto">
            <a:xfrm>
              <a:off x="1235075" y="2357438"/>
              <a:ext cx="23813" cy="17462"/>
            </a:xfrm>
            <a:custGeom>
              <a:avLst/>
              <a:gdLst>
                <a:gd name="T0" fmla="*/ 6 w 52"/>
                <a:gd name="T1" fmla="*/ 0 h 41"/>
                <a:gd name="T2" fmla="*/ 0 w 52"/>
                <a:gd name="T3" fmla="*/ 0 h 41"/>
                <a:gd name="T4" fmla="*/ 1 w 52"/>
                <a:gd name="T5" fmla="*/ 3 h 41"/>
                <a:gd name="T6" fmla="*/ 4 w 52"/>
                <a:gd name="T7" fmla="*/ 4 h 41"/>
                <a:gd name="T8" fmla="*/ 6 w 52"/>
                <a:gd name="T9" fmla="*/ 0 h 4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1"/>
                <a:gd name="T17" fmla="*/ 52 w 52"/>
                <a:gd name="T18" fmla="*/ 41 h 4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1">
                  <a:moveTo>
                    <a:pt x="52" y="0"/>
                  </a:moveTo>
                  <a:lnTo>
                    <a:pt x="0" y="0"/>
                  </a:lnTo>
                  <a:lnTo>
                    <a:pt x="6" y="35"/>
                  </a:lnTo>
                  <a:lnTo>
                    <a:pt x="35" y="41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6" name="Freeform 913"/>
            <p:cNvSpPr/>
            <p:nvPr/>
          </p:nvSpPr>
          <p:spPr bwMode="auto">
            <a:xfrm>
              <a:off x="1150938" y="2349500"/>
              <a:ext cx="87312" cy="63500"/>
            </a:xfrm>
            <a:custGeom>
              <a:avLst/>
              <a:gdLst>
                <a:gd name="T0" fmla="*/ 20 w 192"/>
                <a:gd name="T1" fmla="*/ 2 h 162"/>
                <a:gd name="T2" fmla="*/ 11 w 192"/>
                <a:gd name="T3" fmla="*/ 0 h 162"/>
                <a:gd name="T4" fmla="*/ 5 w 192"/>
                <a:gd name="T5" fmla="*/ 3 h 162"/>
                <a:gd name="T6" fmla="*/ 0 w 192"/>
                <a:gd name="T7" fmla="*/ 7 h 162"/>
                <a:gd name="T8" fmla="*/ 3 w 192"/>
                <a:gd name="T9" fmla="*/ 13 h 162"/>
                <a:gd name="T10" fmla="*/ 8 w 192"/>
                <a:gd name="T11" fmla="*/ 15 h 162"/>
                <a:gd name="T12" fmla="*/ 13 w 192"/>
                <a:gd name="T13" fmla="*/ 13 h 162"/>
                <a:gd name="T14" fmla="*/ 13 w 192"/>
                <a:gd name="T15" fmla="*/ 9 h 162"/>
                <a:gd name="T16" fmla="*/ 15 w 192"/>
                <a:gd name="T17" fmla="*/ 9 h 162"/>
                <a:gd name="T18" fmla="*/ 18 w 192"/>
                <a:gd name="T19" fmla="*/ 8 h 162"/>
                <a:gd name="T20" fmla="*/ 20 w 192"/>
                <a:gd name="T21" fmla="*/ 7 h 162"/>
                <a:gd name="T22" fmla="*/ 21 w 192"/>
                <a:gd name="T23" fmla="*/ 5 h 162"/>
                <a:gd name="T24" fmla="*/ 20 w 192"/>
                <a:gd name="T25" fmla="*/ 2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2"/>
                <a:gd name="T40" fmla="*/ 0 h 162"/>
                <a:gd name="T41" fmla="*/ 192 w 192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2" h="162">
                  <a:moveTo>
                    <a:pt x="181" y="23"/>
                  </a:moveTo>
                  <a:lnTo>
                    <a:pt x="99" y="0"/>
                  </a:lnTo>
                  <a:lnTo>
                    <a:pt x="47" y="29"/>
                  </a:lnTo>
                  <a:lnTo>
                    <a:pt x="0" y="75"/>
                  </a:lnTo>
                  <a:lnTo>
                    <a:pt x="24" y="145"/>
                  </a:lnTo>
                  <a:lnTo>
                    <a:pt x="70" y="162"/>
                  </a:lnTo>
                  <a:lnTo>
                    <a:pt x="117" y="145"/>
                  </a:lnTo>
                  <a:lnTo>
                    <a:pt x="122" y="99"/>
                  </a:lnTo>
                  <a:lnTo>
                    <a:pt x="140" y="99"/>
                  </a:lnTo>
                  <a:lnTo>
                    <a:pt x="164" y="87"/>
                  </a:lnTo>
                  <a:lnTo>
                    <a:pt x="181" y="75"/>
                  </a:lnTo>
                  <a:lnTo>
                    <a:pt x="192" y="52"/>
                  </a:lnTo>
                  <a:lnTo>
                    <a:pt x="181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7" name="Freeform 914"/>
            <p:cNvSpPr/>
            <p:nvPr/>
          </p:nvSpPr>
          <p:spPr bwMode="auto">
            <a:xfrm>
              <a:off x="1141413" y="2374900"/>
              <a:ext cx="311150" cy="255588"/>
            </a:xfrm>
            <a:custGeom>
              <a:avLst/>
              <a:gdLst>
                <a:gd name="T0" fmla="*/ 6 w 680"/>
                <a:gd name="T1" fmla="*/ 9 h 656"/>
                <a:gd name="T2" fmla="*/ 4 w 680"/>
                <a:gd name="T3" fmla="*/ 12 h 656"/>
                <a:gd name="T4" fmla="*/ 2 w 680"/>
                <a:gd name="T5" fmla="*/ 13 h 656"/>
                <a:gd name="T6" fmla="*/ 1 w 680"/>
                <a:gd name="T7" fmla="*/ 16 h 656"/>
                <a:gd name="T8" fmla="*/ 0 w 680"/>
                <a:gd name="T9" fmla="*/ 19 h 656"/>
                <a:gd name="T10" fmla="*/ 0 w 680"/>
                <a:gd name="T11" fmla="*/ 24 h 656"/>
                <a:gd name="T12" fmla="*/ 3 w 680"/>
                <a:gd name="T13" fmla="*/ 22 h 656"/>
                <a:gd name="T14" fmla="*/ 7 w 680"/>
                <a:gd name="T15" fmla="*/ 20 h 656"/>
                <a:gd name="T16" fmla="*/ 13 w 680"/>
                <a:gd name="T17" fmla="*/ 19 h 656"/>
                <a:gd name="T18" fmla="*/ 20 w 680"/>
                <a:gd name="T19" fmla="*/ 17 h 656"/>
                <a:gd name="T20" fmla="*/ 30 w 680"/>
                <a:gd name="T21" fmla="*/ 19 h 656"/>
                <a:gd name="T22" fmla="*/ 32 w 680"/>
                <a:gd name="T23" fmla="*/ 23 h 656"/>
                <a:gd name="T24" fmla="*/ 32 w 680"/>
                <a:gd name="T25" fmla="*/ 27 h 656"/>
                <a:gd name="T26" fmla="*/ 47 w 680"/>
                <a:gd name="T27" fmla="*/ 40 h 656"/>
                <a:gd name="T28" fmla="*/ 54 w 680"/>
                <a:gd name="T29" fmla="*/ 41 h 656"/>
                <a:gd name="T30" fmla="*/ 61 w 680"/>
                <a:gd name="T31" fmla="*/ 46 h 656"/>
                <a:gd name="T32" fmla="*/ 64 w 680"/>
                <a:gd name="T33" fmla="*/ 52 h 656"/>
                <a:gd name="T34" fmla="*/ 61 w 680"/>
                <a:gd name="T35" fmla="*/ 57 h 656"/>
                <a:gd name="T36" fmla="*/ 61 w 680"/>
                <a:gd name="T37" fmla="*/ 61 h 656"/>
                <a:gd name="T38" fmla="*/ 68 w 680"/>
                <a:gd name="T39" fmla="*/ 53 h 656"/>
                <a:gd name="T40" fmla="*/ 66 w 680"/>
                <a:gd name="T41" fmla="*/ 48 h 656"/>
                <a:gd name="T42" fmla="*/ 66 w 680"/>
                <a:gd name="T43" fmla="*/ 42 h 656"/>
                <a:gd name="T44" fmla="*/ 71 w 680"/>
                <a:gd name="T45" fmla="*/ 46 h 656"/>
                <a:gd name="T46" fmla="*/ 74 w 680"/>
                <a:gd name="T47" fmla="*/ 49 h 656"/>
                <a:gd name="T48" fmla="*/ 74 w 680"/>
                <a:gd name="T49" fmla="*/ 44 h 656"/>
                <a:gd name="T50" fmla="*/ 66 w 680"/>
                <a:gd name="T51" fmla="*/ 38 h 656"/>
                <a:gd name="T52" fmla="*/ 64 w 680"/>
                <a:gd name="T53" fmla="*/ 38 h 656"/>
                <a:gd name="T54" fmla="*/ 61 w 680"/>
                <a:gd name="T55" fmla="*/ 33 h 656"/>
                <a:gd name="T56" fmla="*/ 57 w 680"/>
                <a:gd name="T57" fmla="*/ 32 h 656"/>
                <a:gd name="T58" fmla="*/ 52 w 680"/>
                <a:gd name="T59" fmla="*/ 29 h 656"/>
                <a:gd name="T60" fmla="*/ 46 w 680"/>
                <a:gd name="T61" fmla="*/ 26 h 656"/>
                <a:gd name="T62" fmla="*/ 42 w 680"/>
                <a:gd name="T63" fmla="*/ 21 h 656"/>
                <a:gd name="T64" fmla="*/ 39 w 680"/>
                <a:gd name="T65" fmla="*/ 17 h 656"/>
                <a:gd name="T66" fmla="*/ 39 w 680"/>
                <a:gd name="T67" fmla="*/ 15 h 656"/>
                <a:gd name="T68" fmla="*/ 39 w 680"/>
                <a:gd name="T69" fmla="*/ 10 h 656"/>
                <a:gd name="T70" fmla="*/ 42 w 680"/>
                <a:gd name="T71" fmla="*/ 10 h 656"/>
                <a:gd name="T72" fmla="*/ 44 w 680"/>
                <a:gd name="T73" fmla="*/ 7 h 656"/>
                <a:gd name="T74" fmla="*/ 47 w 680"/>
                <a:gd name="T75" fmla="*/ 4 h 656"/>
                <a:gd name="T76" fmla="*/ 47 w 680"/>
                <a:gd name="T77" fmla="*/ 2 h 656"/>
                <a:gd name="T78" fmla="*/ 37 w 680"/>
                <a:gd name="T79" fmla="*/ 0 h 656"/>
                <a:gd name="T80" fmla="*/ 34 w 680"/>
                <a:gd name="T81" fmla="*/ 4 h 656"/>
                <a:gd name="T82" fmla="*/ 27 w 680"/>
                <a:gd name="T83" fmla="*/ 2 h 656"/>
                <a:gd name="T84" fmla="*/ 25 w 680"/>
                <a:gd name="T85" fmla="*/ 0 h 656"/>
                <a:gd name="T86" fmla="*/ 20 w 680"/>
                <a:gd name="T87" fmla="*/ 4 h 656"/>
                <a:gd name="T88" fmla="*/ 15 w 680"/>
                <a:gd name="T89" fmla="*/ 4 h 656"/>
                <a:gd name="T90" fmla="*/ 15 w 680"/>
                <a:gd name="T91" fmla="*/ 8 h 656"/>
                <a:gd name="T92" fmla="*/ 11 w 680"/>
                <a:gd name="T93" fmla="*/ 10 h 656"/>
                <a:gd name="T94" fmla="*/ 8 w 680"/>
                <a:gd name="T95" fmla="*/ 10 h 656"/>
                <a:gd name="T96" fmla="*/ 6 w 680"/>
                <a:gd name="T97" fmla="*/ 9 h 65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80"/>
                <a:gd name="T148" fmla="*/ 0 h 656"/>
                <a:gd name="T149" fmla="*/ 680 w 680"/>
                <a:gd name="T150" fmla="*/ 656 h 65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80" h="656">
                  <a:moveTo>
                    <a:pt x="53" y="93"/>
                  </a:moveTo>
                  <a:lnTo>
                    <a:pt x="41" y="128"/>
                  </a:lnTo>
                  <a:lnTo>
                    <a:pt x="18" y="140"/>
                  </a:lnTo>
                  <a:lnTo>
                    <a:pt x="6" y="175"/>
                  </a:lnTo>
                  <a:lnTo>
                    <a:pt x="0" y="203"/>
                  </a:lnTo>
                  <a:lnTo>
                    <a:pt x="0" y="255"/>
                  </a:lnTo>
                  <a:lnTo>
                    <a:pt x="30" y="238"/>
                  </a:lnTo>
                  <a:lnTo>
                    <a:pt x="65" y="220"/>
                  </a:lnTo>
                  <a:lnTo>
                    <a:pt x="122" y="203"/>
                  </a:lnTo>
                  <a:lnTo>
                    <a:pt x="180" y="180"/>
                  </a:lnTo>
                  <a:lnTo>
                    <a:pt x="274" y="203"/>
                  </a:lnTo>
                  <a:lnTo>
                    <a:pt x="297" y="250"/>
                  </a:lnTo>
                  <a:lnTo>
                    <a:pt x="297" y="290"/>
                  </a:lnTo>
                  <a:lnTo>
                    <a:pt x="431" y="429"/>
                  </a:lnTo>
                  <a:lnTo>
                    <a:pt x="494" y="441"/>
                  </a:lnTo>
                  <a:lnTo>
                    <a:pt x="564" y="499"/>
                  </a:lnTo>
                  <a:lnTo>
                    <a:pt x="588" y="563"/>
                  </a:lnTo>
                  <a:lnTo>
                    <a:pt x="558" y="610"/>
                  </a:lnTo>
                  <a:lnTo>
                    <a:pt x="564" y="656"/>
                  </a:lnTo>
                  <a:lnTo>
                    <a:pt x="628" y="575"/>
                  </a:lnTo>
                  <a:lnTo>
                    <a:pt x="605" y="511"/>
                  </a:lnTo>
                  <a:lnTo>
                    <a:pt x="611" y="453"/>
                  </a:lnTo>
                  <a:lnTo>
                    <a:pt x="651" y="499"/>
                  </a:lnTo>
                  <a:lnTo>
                    <a:pt x="680" y="523"/>
                  </a:lnTo>
                  <a:lnTo>
                    <a:pt x="680" y="476"/>
                  </a:lnTo>
                  <a:lnTo>
                    <a:pt x="611" y="407"/>
                  </a:lnTo>
                  <a:lnTo>
                    <a:pt x="588" y="407"/>
                  </a:lnTo>
                  <a:lnTo>
                    <a:pt x="564" y="360"/>
                  </a:lnTo>
                  <a:lnTo>
                    <a:pt x="524" y="342"/>
                  </a:lnTo>
                  <a:lnTo>
                    <a:pt x="477" y="314"/>
                  </a:lnTo>
                  <a:lnTo>
                    <a:pt x="424" y="279"/>
                  </a:lnTo>
                  <a:lnTo>
                    <a:pt x="384" y="227"/>
                  </a:lnTo>
                  <a:lnTo>
                    <a:pt x="361" y="180"/>
                  </a:lnTo>
                  <a:lnTo>
                    <a:pt x="361" y="157"/>
                  </a:lnTo>
                  <a:lnTo>
                    <a:pt x="361" y="110"/>
                  </a:lnTo>
                  <a:lnTo>
                    <a:pt x="384" y="110"/>
                  </a:lnTo>
                  <a:lnTo>
                    <a:pt x="407" y="70"/>
                  </a:lnTo>
                  <a:lnTo>
                    <a:pt x="431" y="47"/>
                  </a:lnTo>
                  <a:lnTo>
                    <a:pt x="431" y="23"/>
                  </a:lnTo>
                  <a:lnTo>
                    <a:pt x="337" y="0"/>
                  </a:lnTo>
                  <a:lnTo>
                    <a:pt x="314" y="47"/>
                  </a:lnTo>
                  <a:lnTo>
                    <a:pt x="250" y="23"/>
                  </a:lnTo>
                  <a:lnTo>
                    <a:pt x="227" y="0"/>
                  </a:lnTo>
                  <a:lnTo>
                    <a:pt x="180" y="41"/>
                  </a:lnTo>
                  <a:lnTo>
                    <a:pt x="140" y="47"/>
                  </a:lnTo>
                  <a:lnTo>
                    <a:pt x="134" y="87"/>
                  </a:lnTo>
                  <a:lnTo>
                    <a:pt x="100" y="110"/>
                  </a:lnTo>
                  <a:lnTo>
                    <a:pt x="70" y="110"/>
                  </a:lnTo>
                  <a:lnTo>
                    <a:pt x="53" y="9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8" name="Freeform 915"/>
            <p:cNvSpPr/>
            <p:nvPr/>
          </p:nvSpPr>
          <p:spPr bwMode="auto">
            <a:xfrm>
              <a:off x="1306513" y="2622550"/>
              <a:ext cx="74612" cy="38100"/>
            </a:xfrm>
            <a:custGeom>
              <a:avLst/>
              <a:gdLst>
                <a:gd name="T0" fmla="*/ 18 w 163"/>
                <a:gd name="T1" fmla="*/ 2 h 105"/>
                <a:gd name="T2" fmla="*/ 15 w 163"/>
                <a:gd name="T3" fmla="*/ 4 h 105"/>
                <a:gd name="T4" fmla="*/ 16 w 163"/>
                <a:gd name="T5" fmla="*/ 9 h 105"/>
                <a:gd name="T6" fmla="*/ 8 w 163"/>
                <a:gd name="T7" fmla="*/ 8 h 105"/>
                <a:gd name="T8" fmla="*/ 0 w 163"/>
                <a:gd name="T9" fmla="*/ 8 h 105"/>
                <a:gd name="T10" fmla="*/ 0 w 163"/>
                <a:gd name="T11" fmla="*/ 6 h 105"/>
                <a:gd name="T12" fmla="*/ 3 w 163"/>
                <a:gd name="T13" fmla="*/ 2 h 105"/>
                <a:gd name="T14" fmla="*/ 8 w 163"/>
                <a:gd name="T15" fmla="*/ 2 h 105"/>
                <a:gd name="T16" fmla="*/ 13 w 163"/>
                <a:gd name="T17" fmla="*/ 0 h 105"/>
                <a:gd name="T18" fmla="*/ 15 w 163"/>
                <a:gd name="T19" fmla="*/ 0 h 105"/>
                <a:gd name="T20" fmla="*/ 18 w 163"/>
                <a:gd name="T21" fmla="*/ 2 h 10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3"/>
                <a:gd name="T34" fmla="*/ 0 h 105"/>
                <a:gd name="T35" fmla="*/ 163 w 163"/>
                <a:gd name="T36" fmla="*/ 105 h 10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3" h="105">
                  <a:moveTo>
                    <a:pt x="163" y="23"/>
                  </a:moveTo>
                  <a:lnTo>
                    <a:pt x="133" y="47"/>
                  </a:lnTo>
                  <a:lnTo>
                    <a:pt x="145" y="105"/>
                  </a:lnTo>
                  <a:lnTo>
                    <a:pt x="70" y="93"/>
                  </a:lnTo>
                  <a:lnTo>
                    <a:pt x="0" y="93"/>
                  </a:lnTo>
                  <a:lnTo>
                    <a:pt x="0" y="65"/>
                  </a:lnTo>
                  <a:lnTo>
                    <a:pt x="23" y="23"/>
                  </a:lnTo>
                  <a:lnTo>
                    <a:pt x="70" y="23"/>
                  </a:lnTo>
                  <a:lnTo>
                    <a:pt x="116" y="0"/>
                  </a:lnTo>
                  <a:lnTo>
                    <a:pt x="133" y="0"/>
                  </a:lnTo>
                  <a:lnTo>
                    <a:pt x="163" y="23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49" name="Freeform 916"/>
            <p:cNvSpPr/>
            <p:nvPr/>
          </p:nvSpPr>
          <p:spPr bwMode="auto">
            <a:xfrm>
              <a:off x="893763" y="2252663"/>
              <a:ext cx="303212" cy="268287"/>
            </a:xfrm>
            <a:custGeom>
              <a:avLst/>
              <a:gdLst>
                <a:gd name="T0" fmla="*/ 59 w 657"/>
                <a:gd name="T1" fmla="*/ 51 h 680"/>
                <a:gd name="T2" fmla="*/ 52 w 657"/>
                <a:gd name="T3" fmla="*/ 51 h 680"/>
                <a:gd name="T4" fmla="*/ 52 w 657"/>
                <a:gd name="T5" fmla="*/ 56 h 680"/>
                <a:gd name="T6" fmla="*/ 47 w 657"/>
                <a:gd name="T7" fmla="*/ 56 h 680"/>
                <a:gd name="T8" fmla="*/ 44 w 657"/>
                <a:gd name="T9" fmla="*/ 57 h 680"/>
                <a:gd name="T10" fmla="*/ 42 w 657"/>
                <a:gd name="T11" fmla="*/ 64 h 680"/>
                <a:gd name="T12" fmla="*/ 30 w 657"/>
                <a:gd name="T13" fmla="*/ 56 h 680"/>
                <a:gd name="T14" fmla="*/ 27 w 657"/>
                <a:gd name="T15" fmla="*/ 53 h 680"/>
                <a:gd name="T16" fmla="*/ 13 w 657"/>
                <a:gd name="T17" fmla="*/ 51 h 680"/>
                <a:gd name="T18" fmla="*/ 8 w 657"/>
                <a:gd name="T19" fmla="*/ 47 h 680"/>
                <a:gd name="T20" fmla="*/ 13 w 657"/>
                <a:gd name="T21" fmla="*/ 43 h 680"/>
                <a:gd name="T22" fmla="*/ 15 w 657"/>
                <a:gd name="T23" fmla="*/ 30 h 680"/>
                <a:gd name="T24" fmla="*/ 13 w 657"/>
                <a:gd name="T25" fmla="*/ 26 h 680"/>
                <a:gd name="T26" fmla="*/ 8 w 657"/>
                <a:gd name="T27" fmla="*/ 22 h 680"/>
                <a:gd name="T28" fmla="*/ 0 w 657"/>
                <a:gd name="T29" fmla="*/ 18 h 680"/>
                <a:gd name="T30" fmla="*/ 0 w 657"/>
                <a:gd name="T31" fmla="*/ 15 h 680"/>
                <a:gd name="T32" fmla="*/ 5 w 657"/>
                <a:gd name="T33" fmla="*/ 13 h 680"/>
                <a:gd name="T34" fmla="*/ 10 w 657"/>
                <a:gd name="T35" fmla="*/ 11 h 680"/>
                <a:gd name="T36" fmla="*/ 22 w 657"/>
                <a:gd name="T37" fmla="*/ 7 h 680"/>
                <a:gd name="T38" fmla="*/ 30 w 657"/>
                <a:gd name="T39" fmla="*/ 7 h 680"/>
                <a:gd name="T40" fmla="*/ 39 w 657"/>
                <a:gd name="T41" fmla="*/ 0 h 680"/>
                <a:gd name="T42" fmla="*/ 46 w 657"/>
                <a:gd name="T43" fmla="*/ 4 h 680"/>
                <a:gd name="T44" fmla="*/ 59 w 657"/>
                <a:gd name="T45" fmla="*/ 11 h 680"/>
                <a:gd name="T46" fmla="*/ 64 w 657"/>
                <a:gd name="T47" fmla="*/ 13 h 680"/>
                <a:gd name="T48" fmla="*/ 68 w 657"/>
                <a:gd name="T49" fmla="*/ 13 h 680"/>
                <a:gd name="T50" fmla="*/ 71 w 657"/>
                <a:gd name="T51" fmla="*/ 15 h 680"/>
                <a:gd name="T52" fmla="*/ 71 w 657"/>
                <a:gd name="T53" fmla="*/ 19 h 680"/>
                <a:gd name="T54" fmla="*/ 72 w 657"/>
                <a:gd name="T55" fmla="*/ 23 h 680"/>
                <a:gd name="T56" fmla="*/ 64 w 657"/>
                <a:gd name="T57" fmla="*/ 28 h 680"/>
                <a:gd name="T58" fmla="*/ 62 w 657"/>
                <a:gd name="T59" fmla="*/ 30 h 680"/>
                <a:gd name="T60" fmla="*/ 64 w 657"/>
                <a:gd name="T61" fmla="*/ 38 h 680"/>
                <a:gd name="T62" fmla="*/ 64 w 657"/>
                <a:gd name="T63" fmla="*/ 40 h 680"/>
                <a:gd name="T64" fmla="*/ 62 w 657"/>
                <a:gd name="T65" fmla="*/ 40 h 680"/>
                <a:gd name="T66" fmla="*/ 59 w 657"/>
                <a:gd name="T67" fmla="*/ 47 h 680"/>
                <a:gd name="T68" fmla="*/ 59 w 657"/>
                <a:gd name="T69" fmla="*/ 51 h 6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57"/>
                <a:gd name="T106" fmla="*/ 0 h 680"/>
                <a:gd name="T107" fmla="*/ 657 w 657"/>
                <a:gd name="T108" fmla="*/ 680 h 6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57" h="680">
                  <a:moveTo>
                    <a:pt x="540" y="546"/>
                  </a:moveTo>
                  <a:lnTo>
                    <a:pt x="471" y="546"/>
                  </a:lnTo>
                  <a:lnTo>
                    <a:pt x="471" y="593"/>
                  </a:lnTo>
                  <a:lnTo>
                    <a:pt x="430" y="593"/>
                  </a:lnTo>
                  <a:lnTo>
                    <a:pt x="406" y="610"/>
                  </a:lnTo>
                  <a:lnTo>
                    <a:pt x="383" y="680"/>
                  </a:lnTo>
                  <a:lnTo>
                    <a:pt x="273" y="593"/>
                  </a:lnTo>
                  <a:lnTo>
                    <a:pt x="250" y="563"/>
                  </a:lnTo>
                  <a:lnTo>
                    <a:pt x="116" y="546"/>
                  </a:lnTo>
                  <a:lnTo>
                    <a:pt x="69" y="499"/>
                  </a:lnTo>
                  <a:lnTo>
                    <a:pt x="116" y="453"/>
                  </a:lnTo>
                  <a:lnTo>
                    <a:pt x="134" y="319"/>
                  </a:lnTo>
                  <a:lnTo>
                    <a:pt x="116" y="273"/>
                  </a:lnTo>
                  <a:lnTo>
                    <a:pt x="69" y="232"/>
                  </a:lnTo>
                  <a:lnTo>
                    <a:pt x="0" y="186"/>
                  </a:lnTo>
                  <a:lnTo>
                    <a:pt x="0" y="162"/>
                  </a:lnTo>
                  <a:lnTo>
                    <a:pt x="47" y="139"/>
                  </a:lnTo>
                  <a:lnTo>
                    <a:pt x="93" y="116"/>
                  </a:lnTo>
                  <a:lnTo>
                    <a:pt x="204" y="70"/>
                  </a:lnTo>
                  <a:lnTo>
                    <a:pt x="273" y="70"/>
                  </a:lnTo>
                  <a:lnTo>
                    <a:pt x="360" y="0"/>
                  </a:lnTo>
                  <a:lnTo>
                    <a:pt x="424" y="47"/>
                  </a:lnTo>
                  <a:lnTo>
                    <a:pt x="540" y="116"/>
                  </a:lnTo>
                  <a:lnTo>
                    <a:pt x="581" y="139"/>
                  </a:lnTo>
                  <a:lnTo>
                    <a:pt x="616" y="134"/>
                  </a:lnTo>
                  <a:lnTo>
                    <a:pt x="650" y="162"/>
                  </a:lnTo>
                  <a:lnTo>
                    <a:pt x="650" y="197"/>
                  </a:lnTo>
                  <a:lnTo>
                    <a:pt x="657" y="244"/>
                  </a:lnTo>
                  <a:lnTo>
                    <a:pt x="587" y="296"/>
                  </a:lnTo>
                  <a:lnTo>
                    <a:pt x="563" y="319"/>
                  </a:lnTo>
                  <a:lnTo>
                    <a:pt x="587" y="406"/>
                  </a:lnTo>
                  <a:lnTo>
                    <a:pt x="587" y="429"/>
                  </a:lnTo>
                  <a:lnTo>
                    <a:pt x="563" y="429"/>
                  </a:lnTo>
                  <a:lnTo>
                    <a:pt x="540" y="499"/>
                  </a:lnTo>
                  <a:lnTo>
                    <a:pt x="540" y="546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0" name="Freeform 917"/>
            <p:cNvSpPr/>
            <p:nvPr/>
          </p:nvSpPr>
          <p:spPr bwMode="auto">
            <a:xfrm>
              <a:off x="773113" y="2436813"/>
              <a:ext cx="296862" cy="265112"/>
            </a:xfrm>
            <a:custGeom>
              <a:avLst/>
              <a:gdLst>
                <a:gd name="T0" fmla="*/ 37 w 656"/>
                <a:gd name="T1" fmla="*/ 3 h 673"/>
                <a:gd name="T2" fmla="*/ 32 w 656"/>
                <a:gd name="T3" fmla="*/ 3 h 673"/>
                <a:gd name="T4" fmla="*/ 27 w 656"/>
                <a:gd name="T5" fmla="*/ 2 h 673"/>
                <a:gd name="T6" fmla="*/ 20 w 656"/>
                <a:gd name="T7" fmla="*/ 0 h 673"/>
                <a:gd name="T8" fmla="*/ 13 w 656"/>
                <a:gd name="T9" fmla="*/ 0 h 673"/>
                <a:gd name="T10" fmla="*/ 8 w 656"/>
                <a:gd name="T11" fmla="*/ 0 h 673"/>
                <a:gd name="T12" fmla="*/ 0 w 656"/>
                <a:gd name="T13" fmla="*/ 5 h 673"/>
                <a:gd name="T14" fmla="*/ 0 w 656"/>
                <a:gd name="T15" fmla="*/ 11 h 673"/>
                <a:gd name="T16" fmla="*/ 6 w 656"/>
                <a:gd name="T17" fmla="*/ 13 h 673"/>
                <a:gd name="T18" fmla="*/ 13 w 656"/>
                <a:gd name="T19" fmla="*/ 13 h 673"/>
                <a:gd name="T20" fmla="*/ 17 w 656"/>
                <a:gd name="T21" fmla="*/ 17 h 673"/>
                <a:gd name="T22" fmla="*/ 13 w 656"/>
                <a:gd name="T23" fmla="*/ 24 h 673"/>
                <a:gd name="T24" fmla="*/ 13 w 656"/>
                <a:gd name="T25" fmla="*/ 33 h 673"/>
                <a:gd name="T26" fmla="*/ 8 w 656"/>
                <a:gd name="T27" fmla="*/ 43 h 673"/>
                <a:gd name="T28" fmla="*/ 13 w 656"/>
                <a:gd name="T29" fmla="*/ 47 h 673"/>
                <a:gd name="T30" fmla="*/ 13 w 656"/>
                <a:gd name="T31" fmla="*/ 52 h 673"/>
                <a:gd name="T32" fmla="*/ 17 w 656"/>
                <a:gd name="T33" fmla="*/ 63 h 673"/>
                <a:gd name="T34" fmla="*/ 26 w 656"/>
                <a:gd name="T35" fmla="*/ 59 h 673"/>
                <a:gd name="T36" fmla="*/ 36 w 656"/>
                <a:gd name="T37" fmla="*/ 59 h 673"/>
                <a:gd name="T38" fmla="*/ 44 w 656"/>
                <a:gd name="T39" fmla="*/ 56 h 673"/>
                <a:gd name="T40" fmla="*/ 48 w 656"/>
                <a:gd name="T41" fmla="*/ 53 h 673"/>
                <a:gd name="T42" fmla="*/ 52 w 656"/>
                <a:gd name="T43" fmla="*/ 43 h 673"/>
                <a:gd name="T44" fmla="*/ 61 w 656"/>
                <a:gd name="T45" fmla="*/ 28 h 673"/>
                <a:gd name="T46" fmla="*/ 71 w 656"/>
                <a:gd name="T47" fmla="*/ 20 h 673"/>
                <a:gd name="T48" fmla="*/ 56 w 656"/>
                <a:gd name="T49" fmla="*/ 9 h 673"/>
                <a:gd name="T50" fmla="*/ 50 w 656"/>
                <a:gd name="T51" fmla="*/ 8 h 673"/>
                <a:gd name="T52" fmla="*/ 41 w 656"/>
                <a:gd name="T53" fmla="*/ 5 h 673"/>
                <a:gd name="T54" fmla="*/ 37 w 656"/>
                <a:gd name="T55" fmla="*/ 3 h 67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56"/>
                <a:gd name="T85" fmla="*/ 0 h 673"/>
                <a:gd name="T86" fmla="*/ 656 w 656"/>
                <a:gd name="T87" fmla="*/ 673 h 67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56" h="673">
                  <a:moveTo>
                    <a:pt x="342" y="28"/>
                  </a:moveTo>
                  <a:lnTo>
                    <a:pt x="297" y="28"/>
                  </a:lnTo>
                  <a:lnTo>
                    <a:pt x="250" y="17"/>
                  </a:lnTo>
                  <a:lnTo>
                    <a:pt x="185" y="0"/>
                  </a:lnTo>
                  <a:lnTo>
                    <a:pt x="116" y="5"/>
                  </a:lnTo>
                  <a:lnTo>
                    <a:pt x="70" y="5"/>
                  </a:lnTo>
                  <a:lnTo>
                    <a:pt x="0" y="52"/>
                  </a:lnTo>
                  <a:lnTo>
                    <a:pt x="0" y="122"/>
                  </a:lnTo>
                  <a:lnTo>
                    <a:pt x="58" y="144"/>
                  </a:lnTo>
                  <a:lnTo>
                    <a:pt x="122" y="144"/>
                  </a:lnTo>
                  <a:lnTo>
                    <a:pt x="157" y="185"/>
                  </a:lnTo>
                  <a:lnTo>
                    <a:pt x="116" y="261"/>
                  </a:lnTo>
                  <a:lnTo>
                    <a:pt x="116" y="348"/>
                  </a:lnTo>
                  <a:lnTo>
                    <a:pt x="75" y="458"/>
                  </a:lnTo>
                  <a:lnTo>
                    <a:pt x="116" y="505"/>
                  </a:lnTo>
                  <a:lnTo>
                    <a:pt x="116" y="551"/>
                  </a:lnTo>
                  <a:lnTo>
                    <a:pt x="157" y="673"/>
                  </a:lnTo>
                  <a:lnTo>
                    <a:pt x="238" y="627"/>
                  </a:lnTo>
                  <a:lnTo>
                    <a:pt x="337" y="633"/>
                  </a:lnTo>
                  <a:lnTo>
                    <a:pt x="407" y="598"/>
                  </a:lnTo>
                  <a:lnTo>
                    <a:pt x="447" y="568"/>
                  </a:lnTo>
                  <a:lnTo>
                    <a:pt x="482" y="458"/>
                  </a:lnTo>
                  <a:lnTo>
                    <a:pt x="564" y="301"/>
                  </a:lnTo>
                  <a:lnTo>
                    <a:pt x="656" y="209"/>
                  </a:lnTo>
                  <a:lnTo>
                    <a:pt x="517" y="98"/>
                  </a:lnTo>
                  <a:lnTo>
                    <a:pt x="465" y="87"/>
                  </a:lnTo>
                  <a:lnTo>
                    <a:pt x="377" y="57"/>
                  </a:lnTo>
                  <a:lnTo>
                    <a:pt x="342" y="28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1" name="Freeform 918"/>
            <p:cNvSpPr/>
            <p:nvPr/>
          </p:nvSpPr>
          <p:spPr bwMode="auto">
            <a:xfrm>
              <a:off x="755650" y="2487613"/>
              <a:ext cx="88900" cy="173037"/>
            </a:xfrm>
            <a:custGeom>
              <a:avLst/>
              <a:gdLst>
                <a:gd name="T0" fmla="*/ 4 w 198"/>
                <a:gd name="T1" fmla="*/ 0 h 441"/>
                <a:gd name="T2" fmla="*/ 6 w 198"/>
                <a:gd name="T3" fmla="*/ 10 h 441"/>
                <a:gd name="T4" fmla="*/ 3 w 198"/>
                <a:gd name="T5" fmla="*/ 19 h 441"/>
                <a:gd name="T6" fmla="*/ 0 w 198"/>
                <a:gd name="T7" fmla="*/ 25 h 441"/>
                <a:gd name="T8" fmla="*/ 3 w 198"/>
                <a:gd name="T9" fmla="*/ 31 h 441"/>
                <a:gd name="T10" fmla="*/ 0 w 198"/>
                <a:gd name="T11" fmla="*/ 40 h 441"/>
                <a:gd name="T12" fmla="*/ 11 w 198"/>
                <a:gd name="T13" fmla="*/ 41 h 441"/>
                <a:gd name="T14" fmla="*/ 17 w 198"/>
                <a:gd name="T15" fmla="*/ 40 h 441"/>
                <a:gd name="T16" fmla="*/ 17 w 198"/>
                <a:gd name="T17" fmla="*/ 36 h 441"/>
                <a:gd name="T18" fmla="*/ 12 w 198"/>
                <a:gd name="T19" fmla="*/ 32 h 441"/>
                <a:gd name="T20" fmla="*/ 17 w 198"/>
                <a:gd name="T21" fmla="*/ 20 h 441"/>
                <a:gd name="T22" fmla="*/ 17 w 198"/>
                <a:gd name="T23" fmla="*/ 15 h 441"/>
                <a:gd name="T24" fmla="*/ 19 w 198"/>
                <a:gd name="T25" fmla="*/ 10 h 441"/>
                <a:gd name="T26" fmla="*/ 21 w 198"/>
                <a:gd name="T27" fmla="*/ 6 h 441"/>
                <a:gd name="T28" fmla="*/ 17 w 198"/>
                <a:gd name="T29" fmla="*/ 2 h 441"/>
                <a:gd name="T30" fmla="*/ 12 w 198"/>
                <a:gd name="T31" fmla="*/ 2 h 441"/>
                <a:gd name="T32" fmla="*/ 4 w 198"/>
                <a:gd name="T33" fmla="*/ 0 h 44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98"/>
                <a:gd name="T52" fmla="*/ 0 h 441"/>
                <a:gd name="T53" fmla="*/ 198 w 198"/>
                <a:gd name="T54" fmla="*/ 441 h 44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98" h="441">
                  <a:moveTo>
                    <a:pt x="41" y="0"/>
                  </a:moveTo>
                  <a:lnTo>
                    <a:pt x="59" y="110"/>
                  </a:lnTo>
                  <a:lnTo>
                    <a:pt x="24" y="202"/>
                  </a:lnTo>
                  <a:lnTo>
                    <a:pt x="0" y="266"/>
                  </a:lnTo>
                  <a:lnTo>
                    <a:pt x="24" y="336"/>
                  </a:lnTo>
                  <a:lnTo>
                    <a:pt x="0" y="429"/>
                  </a:lnTo>
                  <a:lnTo>
                    <a:pt x="104" y="441"/>
                  </a:lnTo>
                  <a:lnTo>
                    <a:pt x="157" y="429"/>
                  </a:lnTo>
                  <a:lnTo>
                    <a:pt x="157" y="383"/>
                  </a:lnTo>
                  <a:lnTo>
                    <a:pt x="116" y="342"/>
                  </a:lnTo>
                  <a:lnTo>
                    <a:pt x="157" y="220"/>
                  </a:lnTo>
                  <a:lnTo>
                    <a:pt x="157" y="156"/>
                  </a:lnTo>
                  <a:lnTo>
                    <a:pt x="181" y="110"/>
                  </a:lnTo>
                  <a:lnTo>
                    <a:pt x="198" y="63"/>
                  </a:lnTo>
                  <a:lnTo>
                    <a:pt x="157" y="17"/>
                  </a:lnTo>
                  <a:lnTo>
                    <a:pt x="111" y="17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2" name="Freeform 919"/>
            <p:cNvSpPr/>
            <p:nvPr/>
          </p:nvSpPr>
          <p:spPr bwMode="auto">
            <a:xfrm>
              <a:off x="1028700" y="2566988"/>
              <a:ext cx="20638" cy="25400"/>
            </a:xfrm>
            <a:custGeom>
              <a:avLst/>
              <a:gdLst>
                <a:gd name="T0" fmla="*/ 5 w 46"/>
                <a:gd name="T1" fmla="*/ 0 h 64"/>
                <a:gd name="T2" fmla="*/ 0 w 46"/>
                <a:gd name="T3" fmla="*/ 4 h 64"/>
                <a:gd name="T4" fmla="*/ 5 w 46"/>
                <a:gd name="T5" fmla="*/ 6 h 64"/>
                <a:gd name="T6" fmla="*/ 5 w 46"/>
                <a:gd name="T7" fmla="*/ 2 h 64"/>
                <a:gd name="T8" fmla="*/ 5 w 46"/>
                <a:gd name="T9" fmla="*/ 0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"/>
                <a:gd name="T16" fmla="*/ 0 h 64"/>
                <a:gd name="T17" fmla="*/ 46 w 46"/>
                <a:gd name="T18" fmla="*/ 64 h 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" h="64">
                  <a:moveTo>
                    <a:pt x="46" y="0"/>
                  </a:moveTo>
                  <a:lnTo>
                    <a:pt x="0" y="42"/>
                  </a:lnTo>
                  <a:lnTo>
                    <a:pt x="46" y="64"/>
                  </a:lnTo>
                  <a:lnTo>
                    <a:pt x="46" y="24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3" name="Freeform 920"/>
            <p:cNvSpPr/>
            <p:nvPr/>
          </p:nvSpPr>
          <p:spPr bwMode="auto">
            <a:xfrm>
              <a:off x="1192213" y="2495550"/>
              <a:ext cx="42862" cy="34925"/>
            </a:xfrm>
            <a:custGeom>
              <a:avLst/>
              <a:gdLst>
                <a:gd name="T0" fmla="*/ 7 w 94"/>
                <a:gd name="T1" fmla="*/ 0 h 93"/>
                <a:gd name="T2" fmla="*/ 0 w 94"/>
                <a:gd name="T3" fmla="*/ 4 h 93"/>
                <a:gd name="T4" fmla="*/ 5 w 94"/>
                <a:gd name="T5" fmla="*/ 6 h 93"/>
                <a:gd name="T6" fmla="*/ 5 w 94"/>
                <a:gd name="T7" fmla="*/ 8 h 93"/>
                <a:gd name="T8" fmla="*/ 10 w 94"/>
                <a:gd name="T9" fmla="*/ 8 h 93"/>
                <a:gd name="T10" fmla="*/ 10 w 94"/>
                <a:gd name="T11" fmla="*/ 2 h 93"/>
                <a:gd name="T12" fmla="*/ 10 w 94"/>
                <a:gd name="T13" fmla="*/ 0 h 93"/>
                <a:gd name="T14" fmla="*/ 7 w 94"/>
                <a:gd name="T15" fmla="*/ 0 h 9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4"/>
                <a:gd name="T25" fmla="*/ 0 h 93"/>
                <a:gd name="T26" fmla="*/ 94 w 94"/>
                <a:gd name="T27" fmla="*/ 93 h 9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4" h="93">
                  <a:moveTo>
                    <a:pt x="70" y="0"/>
                  </a:moveTo>
                  <a:lnTo>
                    <a:pt x="0" y="46"/>
                  </a:lnTo>
                  <a:lnTo>
                    <a:pt x="47" y="70"/>
                  </a:lnTo>
                  <a:lnTo>
                    <a:pt x="47" y="93"/>
                  </a:lnTo>
                  <a:lnTo>
                    <a:pt x="94" y="93"/>
                  </a:lnTo>
                  <a:lnTo>
                    <a:pt x="94" y="28"/>
                  </a:lnTo>
                  <a:lnTo>
                    <a:pt x="94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4" name="Freeform 921"/>
            <p:cNvSpPr/>
            <p:nvPr/>
          </p:nvSpPr>
          <p:spPr bwMode="auto">
            <a:xfrm>
              <a:off x="1171575" y="2538413"/>
              <a:ext cx="63500" cy="71437"/>
            </a:xfrm>
            <a:custGeom>
              <a:avLst/>
              <a:gdLst>
                <a:gd name="T0" fmla="*/ 10 w 134"/>
                <a:gd name="T1" fmla="*/ 3 h 181"/>
                <a:gd name="T2" fmla="*/ 5 w 134"/>
                <a:gd name="T3" fmla="*/ 3 h 181"/>
                <a:gd name="T4" fmla="*/ 0 w 134"/>
                <a:gd name="T5" fmla="*/ 11 h 181"/>
                <a:gd name="T6" fmla="*/ 0 w 134"/>
                <a:gd name="T7" fmla="*/ 15 h 181"/>
                <a:gd name="T8" fmla="*/ 3 w 134"/>
                <a:gd name="T9" fmla="*/ 15 h 181"/>
                <a:gd name="T10" fmla="*/ 9 w 134"/>
                <a:gd name="T11" fmla="*/ 17 h 181"/>
                <a:gd name="T12" fmla="*/ 12 w 134"/>
                <a:gd name="T13" fmla="*/ 11 h 181"/>
                <a:gd name="T14" fmla="*/ 10 w 134"/>
                <a:gd name="T15" fmla="*/ 11 h 181"/>
                <a:gd name="T16" fmla="*/ 15 w 134"/>
                <a:gd name="T17" fmla="*/ 2 h 181"/>
                <a:gd name="T18" fmla="*/ 15 w 134"/>
                <a:gd name="T19" fmla="*/ 0 h 181"/>
                <a:gd name="T20" fmla="*/ 10 w 134"/>
                <a:gd name="T21" fmla="*/ 3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4"/>
                <a:gd name="T34" fmla="*/ 0 h 181"/>
                <a:gd name="T35" fmla="*/ 134 w 134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4" h="181">
                  <a:moveTo>
                    <a:pt x="93" y="35"/>
                  </a:moveTo>
                  <a:lnTo>
                    <a:pt x="47" y="35"/>
                  </a:lnTo>
                  <a:lnTo>
                    <a:pt x="0" y="112"/>
                  </a:lnTo>
                  <a:lnTo>
                    <a:pt x="0" y="157"/>
                  </a:lnTo>
                  <a:lnTo>
                    <a:pt x="23" y="157"/>
                  </a:lnTo>
                  <a:lnTo>
                    <a:pt x="82" y="181"/>
                  </a:lnTo>
                  <a:lnTo>
                    <a:pt x="110" y="112"/>
                  </a:lnTo>
                  <a:lnTo>
                    <a:pt x="87" y="112"/>
                  </a:lnTo>
                  <a:lnTo>
                    <a:pt x="134" y="24"/>
                  </a:lnTo>
                  <a:lnTo>
                    <a:pt x="134" y="0"/>
                  </a:lnTo>
                  <a:lnTo>
                    <a:pt x="93" y="35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5" name="Freeform 922"/>
            <p:cNvSpPr/>
            <p:nvPr/>
          </p:nvSpPr>
          <p:spPr bwMode="auto">
            <a:xfrm>
              <a:off x="1141413" y="2286000"/>
              <a:ext cx="30162" cy="25400"/>
            </a:xfrm>
            <a:custGeom>
              <a:avLst/>
              <a:gdLst>
                <a:gd name="T0" fmla="*/ 5 w 70"/>
                <a:gd name="T1" fmla="*/ 0 h 64"/>
                <a:gd name="T2" fmla="*/ 2 w 70"/>
                <a:gd name="T3" fmla="*/ 2 h 64"/>
                <a:gd name="T4" fmla="*/ 0 w 70"/>
                <a:gd name="T5" fmla="*/ 3 h 64"/>
                <a:gd name="T6" fmla="*/ 5 w 70"/>
                <a:gd name="T7" fmla="*/ 6 h 64"/>
                <a:gd name="T8" fmla="*/ 7 w 70"/>
                <a:gd name="T9" fmla="*/ 6 h 64"/>
                <a:gd name="T10" fmla="*/ 7 w 70"/>
                <a:gd name="T11" fmla="*/ 2 h 64"/>
                <a:gd name="T12" fmla="*/ 5 w 70"/>
                <a:gd name="T13" fmla="*/ 0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64"/>
                <a:gd name="T23" fmla="*/ 70 w 70"/>
                <a:gd name="T24" fmla="*/ 64 h 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64">
                  <a:moveTo>
                    <a:pt x="53" y="0"/>
                  </a:moveTo>
                  <a:lnTo>
                    <a:pt x="23" y="17"/>
                  </a:lnTo>
                  <a:lnTo>
                    <a:pt x="0" y="35"/>
                  </a:lnTo>
                  <a:lnTo>
                    <a:pt x="47" y="64"/>
                  </a:lnTo>
                  <a:lnTo>
                    <a:pt x="70" y="59"/>
                  </a:lnTo>
                  <a:lnTo>
                    <a:pt x="70" y="17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6" name="Freeform 923"/>
            <p:cNvSpPr/>
            <p:nvPr/>
          </p:nvSpPr>
          <p:spPr bwMode="auto">
            <a:xfrm>
              <a:off x="1163638" y="2152650"/>
              <a:ext cx="217487" cy="209550"/>
            </a:xfrm>
            <a:custGeom>
              <a:avLst/>
              <a:gdLst>
                <a:gd name="T0" fmla="*/ 0 w 477"/>
                <a:gd name="T1" fmla="*/ 25 h 534"/>
                <a:gd name="T2" fmla="*/ 0 w 477"/>
                <a:gd name="T3" fmla="*/ 29 h 534"/>
                <a:gd name="T4" fmla="*/ 3 w 477"/>
                <a:gd name="T5" fmla="*/ 34 h 534"/>
                <a:gd name="T6" fmla="*/ 3 w 477"/>
                <a:gd name="T7" fmla="*/ 36 h 534"/>
                <a:gd name="T8" fmla="*/ 7 w 477"/>
                <a:gd name="T9" fmla="*/ 40 h 534"/>
                <a:gd name="T10" fmla="*/ 7 w 477"/>
                <a:gd name="T11" fmla="*/ 47 h 534"/>
                <a:gd name="T12" fmla="*/ 9 w 477"/>
                <a:gd name="T13" fmla="*/ 48 h 534"/>
                <a:gd name="T14" fmla="*/ 15 w 477"/>
                <a:gd name="T15" fmla="*/ 50 h 534"/>
                <a:gd name="T16" fmla="*/ 21 w 477"/>
                <a:gd name="T17" fmla="*/ 49 h 534"/>
                <a:gd name="T18" fmla="*/ 27 w 477"/>
                <a:gd name="T19" fmla="*/ 48 h 534"/>
                <a:gd name="T20" fmla="*/ 32 w 477"/>
                <a:gd name="T21" fmla="*/ 48 h 534"/>
                <a:gd name="T22" fmla="*/ 39 w 477"/>
                <a:gd name="T23" fmla="*/ 48 h 534"/>
                <a:gd name="T24" fmla="*/ 41 w 477"/>
                <a:gd name="T25" fmla="*/ 45 h 534"/>
                <a:gd name="T26" fmla="*/ 44 w 477"/>
                <a:gd name="T27" fmla="*/ 43 h 534"/>
                <a:gd name="T28" fmla="*/ 44 w 477"/>
                <a:gd name="T29" fmla="*/ 38 h 534"/>
                <a:gd name="T30" fmla="*/ 39 w 477"/>
                <a:gd name="T31" fmla="*/ 34 h 534"/>
                <a:gd name="T32" fmla="*/ 42 w 477"/>
                <a:gd name="T33" fmla="*/ 32 h 534"/>
                <a:gd name="T34" fmla="*/ 49 w 477"/>
                <a:gd name="T35" fmla="*/ 26 h 534"/>
                <a:gd name="T36" fmla="*/ 52 w 477"/>
                <a:gd name="T37" fmla="*/ 24 h 534"/>
                <a:gd name="T38" fmla="*/ 52 w 477"/>
                <a:gd name="T39" fmla="*/ 17 h 534"/>
                <a:gd name="T40" fmla="*/ 47 w 477"/>
                <a:gd name="T41" fmla="*/ 15 h 534"/>
                <a:gd name="T42" fmla="*/ 49 w 477"/>
                <a:gd name="T43" fmla="*/ 8 h 534"/>
                <a:gd name="T44" fmla="*/ 49 w 477"/>
                <a:gd name="T45" fmla="*/ 4 h 534"/>
                <a:gd name="T46" fmla="*/ 39 w 477"/>
                <a:gd name="T47" fmla="*/ 2 h 534"/>
                <a:gd name="T48" fmla="*/ 29 w 477"/>
                <a:gd name="T49" fmla="*/ 2 h 534"/>
                <a:gd name="T50" fmla="*/ 23 w 477"/>
                <a:gd name="T51" fmla="*/ 0 h 534"/>
                <a:gd name="T52" fmla="*/ 17 w 477"/>
                <a:gd name="T53" fmla="*/ 0 h 534"/>
                <a:gd name="T54" fmla="*/ 17 w 477"/>
                <a:gd name="T55" fmla="*/ 4 h 534"/>
                <a:gd name="T56" fmla="*/ 12 w 477"/>
                <a:gd name="T57" fmla="*/ 6 h 534"/>
                <a:gd name="T58" fmla="*/ 7 w 477"/>
                <a:gd name="T59" fmla="*/ 8 h 534"/>
                <a:gd name="T60" fmla="*/ 10 w 477"/>
                <a:gd name="T61" fmla="*/ 12 h 534"/>
                <a:gd name="T62" fmla="*/ 5 w 477"/>
                <a:gd name="T63" fmla="*/ 17 h 534"/>
                <a:gd name="T64" fmla="*/ 7 w 477"/>
                <a:gd name="T65" fmla="*/ 21 h 534"/>
                <a:gd name="T66" fmla="*/ 7 w 477"/>
                <a:gd name="T67" fmla="*/ 23 h 534"/>
                <a:gd name="T68" fmla="*/ 5 w 477"/>
                <a:gd name="T69" fmla="*/ 23 h 534"/>
                <a:gd name="T70" fmla="*/ 0 w 477"/>
                <a:gd name="T71" fmla="*/ 25 h 53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77"/>
                <a:gd name="T109" fmla="*/ 0 h 534"/>
                <a:gd name="T110" fmla="*/ 477 w 477"/>
                <a:gd name="T111" fmla="*/ 534 h 53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77" h="534">
                  <a:moveTo>
                    <a:pt x="0" y="267"/>
                  </a:moveTo>
                  <a:lnTo>
                    <a:pt x="0" y="314"/>
                  </a:lnTo>
                  <a:lnTo>
                    <a:pt x="23" y="359"/>
                  </a:lnTo>
                  <a:lnTo>
                    <a:pt x="23" y="383"/>
                  </a:lnTo>
                  <a:lnTo>
                    <a:pt x="63" y="429"/>
                  </a:lnTo>
                  <a:lnTo>
                    <a:pt x="63" y="499"/>
                  </a:lnTo>
                  <a:lnTo>
                    <a:pt x="87" y="516"/>
                  </a:lnTo>
                  <a:lnTo>
                    <a:pt x="140" y="534"/>
                  </a:lnTo>
                  <a:lnTo>
                    <a:pt x="197" y="528"/>
                  </a:lnTo>
                  <a:lnTo>
                    <a:pt x="250" y="516"/>
                  </a:lnTo>
                  <a:lnTo>
                    <a:pt x="297" y="516"/>
                  </a:lnTo>
                  <a:lnTo>
                    <a:pt x="360" y="516"/>
                  </a:lnTo>
                  <a:lnTo>
                    <a:pt x="372" y="476"/>
                  </a:lnTo>
                  <a:lnTo>
                    <a:pt x="407" y="459"/>
                  </a:lnTo>
                  <a:lnTo>
                    <a:pt x="407" y="406"/>
                  </a:lnTo>
                  <a:lnTo>
                    <a:pt x="360" y="359"/>
                  </a:lnTo>
                  <a:lnTo>
                    <a:pt x="384" y="337"/>
                  </a:lnTo>
                  <a:lnTo>
                    <a:pt x="454" y="279"/>
                  </a:lnTo>
                  <a:lnTo>
                    <a:pt x="477" y="261"/>
                  </a:lnTo>
                  <a:lnTo>
                    <a:pt x="477" y="180"/>
                  </a:lnTo>
                  <a:lnTo>
                    <a:pt x="430" y="157"/>
                  </a:lnTo>
                  <a:lnTo>
                    <a:pt x="447" y="87"/>
                  </a:lnTo>
                  <a:lnTo>
                    <a:pt x="447" y="46"/>
                  </a:lnTo>
                  <a:lnTo>
                    <a:pt x="360" y="23"/>
                  </a:lnTo>
                  <a:lnTo>
                    <a:pt x="267" y="23"/>
                  </a:lnTo>
                  <a:lnTo>
                    <a:pt x="209" y="0"/>
                  </a:lnTo>
                  <a:lnTo>
                    <a:pt x="157" y="0"/>
                  </a:lnTo>
                  <a:lnTo>
                    <a:pt x="157" y="46"/>
                  </a:lnTo>
                  <a:lnTo>
                    <a:pt x="110" y="63"/>
                  </a:lnTo>
                  <a:lnTo>
                    <a:pt x="63" y="87"/>
                  </a:lnTo>
                  <a:lnTo>
                    <a:pt x="93" y="133"/>
                  </a:lnTo>
                  <a:lnTo>
                    <a:pt x="46" y="180"/>
                  </a:lnTo>
                  <a:lnTo>
                    <a:pt x="63" y="220"/>
                  </a:lnTo>
                  <a:lnTo>
                    <a:pt x="63" y="249"/>
                  </a:lnTo>
                  <a:lnTo>
                    <a:pt x="46" y="249"/>
                  </a:lnTo>
                  <a:lnTo>
                    <a:pt x="0" y="26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7" name="Freeform 924"/>
            <p:cNvSpPr/>
            <p:nvPr/>
          </p:nvSpPr>
          <p:spPr bwMode="auto">
            <a:xfrm>
              <a:off x="1057275" y="2239963"/>
              <a:ext cx="106363" cy="58737"/>
            </a:xfrm>
            <a:custGeom>
              <a:avLst/>
              <a:gdLst>
                <a:gd name="T0" fmla="*/ 15 w 233"/>
                <a:gd name="T1" fmla="*/ 0 h 157"/>
                <a:gd name="T2" fmla="*/ 24 w 233"/>
                <a:gd name="T3" fmla="*/ 7 h 157"/>
                <a:gd name="T4" fmla="*/ 24 w 233"/>
                <a:gd name="T5" fmla="*/ 8 h 157"/>
                <a:gd name="T6" fmla="*/ 25 w 233"/>
                <a:gd name="T7" fmla="*/ 10 h 157"/>
                <a:gd name="T8" fmla="*/ 22 w 233"/>
                <a:gd name="T9" fmla="*/ 12 h 157"/>
                <a:gd name="T10" fmla="*/ 18 w 233"/>
                <a:gd name="T11" fmla="*/ 14 h 157"/>
                <a:gd name="T12" fmla="*/ 2 w 233"/>
                <a:gd name="T13" fmla="*/ 7 h 157"/>
                <a:gd name="T14" fmla="*/ 0 w 233"/>
                <a:gd name="T15" fmla="*/ 4 h 157"/>
                <a:gd name="T16" fmla="*/ 5 w 233"/>
                <a:gd name="T17" fmla="*/ 3 h 157"/>
                <a:gd name="T18" fmla="*/ 8 w 233"/>
                <a:gd name="T19" fmla="*/ 3 h 157"/>
                <a:gd name="T20" fmla="*/ 10 w 233"/>
                <a:gd name="T21" fmla="*/ 0 h 157"/>
                <a:gd name="T22" fmla="*/ 15 w 233"/>
                <a:gd name="T23" fmla="*/ 0 h 1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3"/>
                <a:gd name="T37" fmla="*/ 0 h 157"/>
                <a:gd name="T38" fmla="*/ 233 w 233"/>
                <a:gd name="T39" fmla="*/ 157 h 1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3" h="157">
                  <a:moveTo>
                    <a:pt x="140" y="0"/>
                  </a:moveTo>
                  <a:lnTo>
                    <a:pt x="227" y="76"/>
                  </a:lnTo>
                  <a:lnTo>
                    <a:pt x="227" y="94"/>
                  </a:lnTo>
                  <a:lnTo>
                    <a:pt x="233" y="117"/>
                  </a:lnTo>
                  <a:lnTo>
                    <a:pt x="203" y="139"/>
                  </a:lnTo>
                  <a:lnTo>
                    <a:pt x="168" y="157"/>
                  </a:lnTo>
                  <a:lnTo>
                    <a:pt x="23" y="76"/>
                  </a:lnTo>
                  <a:lnTo>
                    <a:pt x="0" y="47"/>
                  </a:lnTo>
                  <a:lnTo>
                    <a:pt x="46" y="29"/>
                  </a:lnTo>
                  <a:lnTo>
                    <a:pt x="70" y="29"/>
                  </a:lnTo>
                  <a:lnTo>
                    <a:pt x="93" y="0"/>
                  </a:lnTo>
                  <a:lnTo>
                    <a:pt x="14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8" name="Freeform 925"/>
            <p:cNvSpPr/>
            <p:nvPr/>
          </p:nvSpPr>
          <p:spPr bwMode="auto">
            <a:xfrm>
              <a:off x="1112838" y="2181225"/>
              <a:ext cx="92075" cy="88900"/>
            </a:xfrm>
            <a:custGeom>
              <a:avLst/>
              <a:gdLst>
                <a:gd name="T0" fmla="*/ 0 w 209"/>
                <a:gd name="T1" fmla="*/ 14 h 226"/>
                <a:gd name="T2" fmla="*/ 5 w 209"/>
                <a:gd name="T3" fmla="*/ 17 h 226"/>
                <a:gd name="T4" fmla="*/ 12 w 209"/>
                <a:gd name="T5" fmla="*/ 21 h 226"/>
                <a:gd name="T6" fmla="*/ 13 w 209"/>
                <a:gd name="T7" fmla="*/ 18 h 226"/>
                <a:gd name="T8" fmla="*/ 17 w 209"/>
                <a:gd name="T9" fmla="*/ 17 h 226"/>
                <a:gd name="T10" fmla="*/ 19 w 209"/>
                <a:gd name="T11" fmla="*/ 17 h 226"/>
                <a:gd name="T12" fmla="*/ 20 w 209"/>
                <a:gd name="T13" fmla="*/ 14 h 226"/>
                <a:gd name="T14" fmla="*/ 17 w 209"/>
                <a:gd name="T15" fmla="*/ 10 h 226"/>
                <a:gd name="T16" fmla="*/ 22 w 209"/>
                <a:gd name="T17" fmla="*/ 6 h 226"/>
                <a:gd name="T18" fmla="*/ 22 w 209"/>
                <a:gd name="T19" fmla="*/ 4 h 226"/>
                <a:gd name="T20" fmla="*/ 20 w 209"/>
                <a:gd name="T21" fmla="*/ 2 h 226"/>
                <a:gd name="T22" fmla="*/ 22 w 209"/>
                <a:gd name="T23" fmla="*/ 0 h 226"/>
                <a:gd name="T24" fmla="*/ 10 w 209"/>
                <a:gd name="T25" fmla="*/ 4 h 226"/>
                <a:gd name="T26" fmla="*/ 10 w 209"/>
                <a:gd name="T27" fmla="*/ 8 h 226"/>
                <a:gd name="T28" fmla="*/ 5 w 209"/>
                <a:gd name="T29" fmla="*/ 10 h 226"/>
                <a:gd name="T30" fmla="*/ 1 w 209"/>
                <a:gd name="T31" fmla="*/ 11 h 226"/>
                <a:gd name="T32" fmla="*/ 0 w 209"/>
                <a:gd name="T33" fmla="*/ 14 h 2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9"/>
                <a:gd name="T52" fmla="*/ 0 h 226"/>
                <a:gd name="T53" fmla="*/ 209 w 209"/>
                <a:gd name="T54" fmla="*/ 226 h 2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9" h="226">
                  <a:moveTo>
                    <a:pt x="0" y="150"/>
                  </a:moveTo>
                  <a:lnTo>
                    <a:pt x="46" y="179"/>
                  </a:lnTo>
                  <a:lnTo>
                    <a:pt x="116" y="226"/>
                  </a:lnTo>
                  <a:lnTo>
                    <a:pt x="122" y="197"/>
                  </a:lnTo>
                  <a:lnTo>
                    <a:pt x="157" y="185"/>
                  </a:lnTo>
                  <a:lnTo>
                    <a:pt x="179" y="179"/>
                  </a:lnTo>
                  <a:lnTo>
                    <a:pt x="186" y="150"/>
                  </a:lnTo>
                  <a:lnTo>
                    <a:pt x="162" y="110"/>
                  </a:lnTo>
                  <a:lnTo>
                    <a:pt x="209" y="63"/>
                  </a:lnTo>
                  <a:lnTo>
                    <a:pt x="209" y="40"/>
                  </a:lnTo>
                  <a:lnTo>
                    <a:pt x="191" y="23"/>
                  </a:lnTo>
                  <a:lnTo>
                    <a:pt x="209" y="0"/>
                  </a:lnTo>
                  <a:lnTo>
                    <a:pt x="92" y="40"/>
                  </a:lnTo>
                  <a:lnTo>
                    <a:pt x="92" y="87"/>
                  </a:lnTo>
                  <a:lnTo>
                    <a:pt x="46" y="110"/>
                  </a:lnTo>
                  <a:lnTo>
                    <a:pt x="5" y="115"/>
                  </a:lnTo>
                  <a:lnTo>
                    <a:pt x="0" y="15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9" name="Freeform 926"/>
            <p:cNvSpPr/>
            <p:nvPr/>
          </p:nvSpPr>
          <p:spPr bwMode="auto">
            <a:xfrm>
              <a:off x="1235075" y="2047875"/>
              <a:ext cx="49213" cy="107950"/>
            </a:xfrm>
            <a:custGeom>
              <a:avLst/>
              <a:gdLst>
                <a:gd name="T0" fmla="*/ 0 w 110"/>
                <a:gd name="T1" fmla="*/ 26 h 279"/>
                <a:gd name="T2" fmla="*/ 0 w 110"/>
                <a:gd name="T3" fmla="*/ 19 h 279"/>
                <a:gd name="T4" fmla="*/ 3 w 110"/>
                <a:gd name="T5" fmla="*/ 11 h 279"/>
                <a:gd name="T6" fmla="*/ 0 w 110"/>
                <a:gd name="T7" fmla="*/ 7 h 279"/>
                <a:gd name="T8" fmla="*/ 5 w 110"/>
                <a:gd name="T9" fmla="*/ 0 h 279"/>
                <a:gd name="T10" fmla="*/ 10 w 110"/>
                <a:gd name="T11" fmla="*/ 7 h 279"/>
                <a:gd name="T12" fmla="*/ 12 w 110"/>
                <a:gd name="T13" fmla="*/ 11 h 279"/>
                <a:gd name="T14" fmla="*/ 8 w 110"/>
                <a:gd name="T15" fmla="*/ 17 h 279"/>
                <a:gd name="T16" fmla="*/ 8 w 110"/>
                <a:gd name="T17" fmla="*/ 23 h 279"/>
                <a:gd name="T18" fmla="*/ 10 w 110"/>
                <a:gd name="T19" fmla="*/ 26 h 279"/>
                <a:gd name="T20" fmla="*/ 4 w 110"/>
                <a:gd name="T21" fmla="*/ 26 h 279"/>
                <a:gd name="T22" fmla="*/ 0 w 110"/>
                <a:gd name="T23" fmla="*/ 26 h 27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0"/>
                <a:gd name="T37" fmla="*/ 0 h 279"/>
                <a:gd name="T38" fmla="*/ 110 w 110"/>
                <a:gd name="T39" fmla="*/ 279 h 27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0" h="279">
                  <a:moveTo>
                    <a:pt x="0" y="274"/>
                  </a:moveTo>
                  <a:lnTo>
                    <a:pt x="0" y="204"/>
                  </a:lnTo>
                  <a:lnTo>
                    <a:pt x="23" y="117"/>
                  </a:lnTo>
                  <a:lnTo>
                    <a:pt x="0" y="70"/>
                  </a:lnTo>
                  <a:lnTo>
                    <a:pt x="46" y="0"/>
                  </a:lnTo>
                  <a:lnTo>
                    <a:pt x="93" y="70"/>
                  </a:lnTo>
                  <a:lnTo>
                    <a:pt x="110" y="117"/>
                  </a:lnTo>
                  <a:lnTo>
                    <a:pt x="70" y="187"/>
                  </a:lnTo>
                  <a:lnTo>
                    <a:pt x="70" y="250"/>
                  </a:lnTo>
                  <a:lnTo>
                    <a:pt x="93" y="279"/>
                  </a:lnTo>
                  <a:lnTo>
                    <a:pt x="40" y="274"/>
                  </a:lnTo>
                  <a:lnTo>
                    <a:pt x="0" y="274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0" name="Freeform 927"/>
            <p:cNvSpPr/>
            <p:nvPr/>
          </p:nvSpPr>
          <p:spPr bwMode="auto">
            <a:xfrm>
              <a:off x="1695450" y="1139825"/>
              <a:ext cx="3548063" cy="1592263"/>
            </a:xfrm>
            <a:custGeom>
              <a:avLst/>
              <a:gdLst>
                <a:gd name="T0" fmla="*/ 5 w 7782"/>
                <a:gd name="T1" fmla="*/ 190 h 4078"/>
                <a:gd name="T2" fmla="*/ 0 w 7782"/>
                <a:gd name="T3" fmla="*/ 203 h 4078"/>
                <a:gd name="T4" fmla="*/ 16 w 7782"/>
                <a:gd name="T5" fmla="*/ 231 h 4078"/>
                <a:gd name="T6" fmla="*/ 33 w 7782"/>
                <a:gd name="T7" fmla="*/ 245 h 4078"/>
                <a:gd name="T8" fmla="*/ 49 w 7782"/>
                <a:gd name="T9" fmla="*/ 264 h 4078"/>
                <a:gd name="T10" fmla="*/ 66 w 7782"/>
                <a:gd name="T11" fmla="*/ 281 h 4078"/>
                <a:gd name="T12" fmla="*/ 59 w 7782"/>
                <a:gd name="T13" fmla="*/ 293 h 4078"/>
                <a:gd name="T14" fmla="*/ 68 w 7782"/>
                <a:gd name="T15" fmla="*/ 314 h 4078"/>
                <a:gd name="T16" fmla="*/ 90 w 7782"/>
                <a:gd name="T17" fmla="*/ 333 h 4078"/>
                <a:gd name="T18" fmla="*/ 112 w 7782"/>
                <a:gd name="T19" fmla="*/ 349 h 4078"/>
                <a:gd name="T20" fmla="*/ 142 w 7782"/>
                <a:gd name="T21" fmla="*/ 344 h 4078"/>
                <a:gd name="T22" fmla="*/ 124 w 7782"/>
                <a:gd name="T23" fmla="*/ 302 h 4078"/>
                <a:gd name="T24" fmla="*/ 159 w 7782"/>
                <a:gd name="T25" fmla="*/ 302 h 4078"/>
                <a:gd name="T26" fmla="*/ 146 w 7782"/>
                <a:gd name="T27" fmla="*/ 323 h 4078"/>
                <a:gd name="T28" fmla="*/ 169 w 7782"/>
                <a:gd name="T29" fmla="*/ 352 h 4078"/>
                <a:gd name="T30" fmla="*/ 203 w 7782"/>
                <a:gd name="T31" fmla="*/ 363 h 4078"/>
                <a:gd name="T32" fmla="*/ 230 w 7782"/>
                <a:gd name="T33" fmla="*/ 375 h 4078"/>
                <a:gd name="T34" fmla="*/ 271 w 7782"/>
                <a:gd name="T35" fmla="*/ 361 h 4078"/>
                <a:gd name="T36" fmla="*/ 303 w 7782"/>
                <a:gd name="T37" fmla="*/ 342 h 4078"/>
                <a:gd name="T38" fmla="*/ 335 w 7782"/>
                <a:gd name="T39" fmla="*/ 309 h 4078"/>
                <a:gd name="T40" fmla="*/ 357 w 7782"/>
                <a:gd name="T41" fmla="*/ 280 h 4078"/>
                <a:gd name="T42" fmla="*/ 405 w 7782"/>
                <a:gd name="T43" fmla="*/ 272 h 4078"/>
                <a:gd name="T44" fmla="*/ 438 w 7782"/>
                <a:gd name="T45" fmla="*/ 261 h 4078"/>
                <a:gd name="T46" fmla="*/ 477 w 7782"/>
                <a:gd name="T47" fmla="*/ 270 h 4078"/>
                <a:gd name="T48" fmla="*/ 529 w 7782"/>
                <a:gd name="T49" fmla="*/ 264 h 4078"/>
                <a:gd name="T50" fmla="*/ 538 w 7782"/>
                <a:gd name="T51" fmla="*/ 236 h 4078"/>
                <a:gd name="T52" fmla="*/ 576 w 7782"/>
                <a:gd name="T53" fmla="*/ 247 h 4078"/>
                <a:gd name="T54" fmla="*/ 610 w 7782"/>
                <a:gd name="T55" fmla="*/ 270 h 4078"/>
                <a:gd name="T56" fmla="*/ 632 w 7782"/>
                <a:gd name="T57" fmla="*/ 295 h 4078"/>
                <a:gd name="T58" fmla="*/ 636 w 7782"/>
                <a:gd name="T59" fmla="*/ 316 h 4078"/>
                <a:gd name="T60" fmla="*/ 660 w 7782"/>
                <a:gd name="T61" fmla="*/ 228 h 4078"/>
                <a:gd name="T62" fmla="*/ 630 w 7782"/>
                <a:gd name="T63" fmla="*/ 207 h 4078"/>
                <a:gd name="T64" fmla="*/ 640 w 7782"/>
                <a:gd name="T65" fmla="*/ 156 h 4078"/>
                <a:gd name="T66" fmla="*/ 685 w 7782"/>
                <a:gd name="T67" fmla="*/ 152 h 4078"/>
                <a:gd name="T68" fmla="*/ 704 w 7782"/>
                <a:gd name="T69" fmla="*/ 116 h 4078"/>
                <a:gd name="T70" fmla="*/ 729 w 7782"/>
                <a:gd name="T71" fmla="*/ 99 h 4078"/>
                <a:gd name="T72" fmla="*/ 734 w 7782"/>
                <a:gd name="T73" fmla="*/ 129 h 4078"/>
                <a:gd name="T74" fmla="*/ 737 w 7782"/>
                <a:gd name="T75" fmla="*/ 209 h 4078"/>
                <a:gd name="T76" fmla="*/ 761 w 7782"/>
                <a:gd name="T77" fmla="*/ 205 h 4078"/>
                <a:gd name="T78" fmla="*/ 759 w 7782"/>
                <a:gd name="T79" fmla="*/ 175 h 4078"/>
                <a:gd name="T80" fmla="*/ 748 w 7782"/>
                <a:gd name="T81" fmla="*/ 133 h 4078"/>
                <a:gd name="T82" fmla="*/ 783 w 7782"/>
                <a:gd name="T83" fmla="*/ 126 h 4078"/>
                <a:gd name="T84" fmla="*/ 801 w 7782"/>
                <a:gd name="T85" fmla="*/ 67 h 4078"/>
                <a:gd name="T86" fmla="*/ 776 w 7782"/>
                <a:gd name="T87" fmla="*/ 51 h 4078"/>
                <a:gd name="T88" fmla="*/ 783 w 7782"/>
                <a:gd name="T89" fmla="*/ 31 h 4078"/>
                <a:gd name="T90" fmla="*/ 835 w 7782"/>
                <a:gd name="T91" fmla="*/ 42 h 4078"/>
                <a:gd name="T92" fmla="*/ 818 w 7782"/>
                <a:gd name="T93" fmla="*/ 11 h 4078"/>
                <a:gd name="T94" fmla="*/ 774 w 7782"/>
                <a:gd name="T95" fmla="*/ 4 h 407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82"/>
                <a:gd name="T145" fmla="*/ 0 h 4078"/>
                <a:gd name="T146" fmla="*/ 7782 w 7782"/>
                <a:gd name="T147" fmla="*/ 4078 h 407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82" h="4078">
                  <a:moveTo>
                    <a:pt x="146" y="1887"/>
                  </a:moveTo>
                  <a:lnTo>
                    <a:pt x="116" y="1981"/>
                  </a:lnTo>
                  <a:lnTo>
                    <a:pt x="29" y="2004"/>
                  </a:lnTo>
                  <a:lnTo>
                    <a:pt x="46" y="2044"/>
                  </a:lnTo>
                  <a:lnTo>
                    <a:pt x="87" y="2114"/>
                  </a:lnTo>
                  <a:lnTo>
                    <a:pt x="58" y="2138"/>
                  </a:lnTo>
                  <a:lnTo>
                    <a:pt x="41" y="2155"/>
                  </a:lnTo>
                  <a:lnTo>
                    <a:pt x="0" y="2183"/>
                  </a:lnTo>
                  <a:lnTo>
                    <a:pt x="46" y="2288"/>
                  </a:lnTo>
                  <a:lnTo>
                    <a:pt x="0" y="2410"/>
                  </a:lnTo>
                  <a:lnTo>
                    <a:pt x="34" y="2434"/>
                  </a:lnTo>
                  <a:lnTo>
                    <a:pt x="146" y="2486"/>
                  </a:lnTo>
                  <a:lnTo>
                    <a:pt x="215" y="2497"/>
                  </a:lnTo>
                  <a:lnTo>
                    <a:pt x="238" y="2544"/>
                  </a:lnTo>
                  <a:lnTo>
                    <a:pt x="285" y="2562"/>
                  </a:lnTo>
                  <a:lnTo>
                    <a:pt x="308" y="2631"/>
                  </a:lnTo>
                  <a:lnTo>
                    <a:pt x="273" y="2724"/>
                  </a:lnTo>
                  <a:lnTo>
                    <a:pt x="285" y="2771"/>
                  </a:lnTo>
                  <a:lnTo>
                    <a:pt x="407" y="2776"/>
                  </a:lnTo>
                  <a:lnTo>
                    <a:pt x="448" y="2840"/>
                  </a:lnTo>
                  <a:lnTo>
                    <a:pt x="494" y="2881"/>
                  </a:lnTo>
                  <a:lnTo>
                    <a:pt x="558" y="2881"/>
                  </a:lnTo>
                  <a:lnTo>
                    <a:pt x="605" y="2974"/>
                  </a:lnTo>
                  <a:lnTo>
                    <a:pt x="610" y="3027"/>
                  </a:lnTo>
                  <a:lnTo>
                    <a:pt x="622" y="3090"/>
                  </a:lnTo>
                  <a:lnTo>
                    <a:pt x="570" y="3107"/>
                  </a:lnTo>
                  <a:lnTo>
                    <a:pt x="587" y="3125"/>
                  </a:lnTo>
                  <a:lnTo>
                    <a:pt x="547" y="3149"/>
                  </a:lnTo>
                  <a:lnTo>
                    <a:pt x="622" y="3177"/>
                  </a:lnTo>
                  <a:lnTo>
                    <a:pt x="622" y="3224"/>
                  </a:lnTo>
                  <a:lnTo>
                    <a:pt x="605" y="3311"/>
                  </a:lnTo>
                  <a:lnTo>
                    <a:pt x="622" y="3381"/>
                  </a:lnTo>
                  <a:lnTo>
                    <a:pt x="692" y="3427"/>
                  </a:lnTo>
                  <a:lnTo>
                    <a:pt x="784" y="3473"/>
                  </a:lnTo>
                  <a:lnTo>
                    <a:pt x="831" y="3561"/>
                  </a:lnTo>
                  <a:lnTo>
                    <a:pt x="831" y="3583"/>
                  </a:lnTo>
                  <a:lnTo>
                    <a:pt x="918" y="3607"/>
                  </a:lnTo>
                  <a:lnTo>
                    <a:pt x="976" y="3729"/>
                  </a:lnTo>
                  <a:lnTo>
                    <a:pt x="1006" y="3752"/>
                  </a:lnTo>
                  <a:lnTo>
                    <a:pt x="1035" y="3752"/>
                  </a:lnTo>
                  <a:lnTo>
                    <a:pt x="1087" y="3845"/>
                  </a:lnTo>
                  <a:lnTo>
                    <a:pt x="1220" y="3787"/>
                  </a:lnTo>
                  <a:lnTo>
                    <a:pt x="1244" y="3810"/>
                  </a:lnTo>
                  <a:lnTo>
                    <a:pt x="1308" y="3700"/>
                  </a:lnTo>
                  <a:lnTo>
                    <a:pt x="1238" y="3653"/>
                  </a:lnTo>
                  <a:lnTo>
                    <a:pt x="1105" y="3404"/>
                  </a:lnTo>
                  <a:lnTo>
                    <a:pt x="1105" y="3381"/>
                  </a:lnTo>
                  <a:lnTo>
                    <a:pt x="1145" y="3247"/>
                  </a:lnTo>
                  <a:lnTo>
                    <a:pt x="1215" y="3247"/>
                  </a:lnTo>
                  <a:lnTo>
                    <a:pt x="1285" y="3247"/>
                  </a:lnTo>
                  <a:lnTo>
                    <a:pt x="1395" y="3177"/>
                  </a:lnTo>
                  <a:lnTo>
                    <a:pt x="1465" y="3247"/>
                  </a:lnTo>
                  <a:lnTo>
                    <a:pt x="1442" y="3311"/>
                  </a:lnTo>
                  <a:lnTo>
                    <a:pt x="1372" y="3311"/>
                  </a:lnTo>
                  <a:lnTo>
                    <a:pt x="1349" y="3381"/>
                  </a:lnTo>
                  <a:lnTo>
                    <a:pt x="1349" y="3473"/>
                  </a:lnTo>
                  <a:lnTo>
                    <a:pt x="1581" y="3630"/>
                  </a:lnTo>
                  <a:lnTo>
                    <a:pt x="1557" y="3677"/>
                  </a:lnTo>
                  <a:lnTo>
                    <a:pt x="1487" y="3677"/>
                  </a:lnTo>
                  <a:lnTo>
                    <a:pt x="1557" y="3787"/>
                  </a:lnTo>
                  <a:lnTo>
                    <a:pt x="1552" y="3904"/>
                  </a:lnTo>
                  <a:lnTo>
                    <a:pt x="1616" y="3874"/>
                  </a:lnTo>
                  <a:lnTo>
                    <a:pt x="1761" y="3880"/>
                  </a:lnTo>
                  <a:lnTo>
                    <a:pt x="1871" y="3904"/>
                  </a:lnTo>
                  <a:lnTo>
                    <a:pt x="1935" y="3962"/>
                  </a:lnTo>
                  <a:lnTo>
                    <a:pt x="1970" y="4043"/>
                  </a:lnTo>
                  <a:lnTo>
                    <a:pt x="2028" y="4078"/>
                  </a:lnTo>
                  <a:lnTo>
                    <a:pt x="2115" y="4031"/>
                  </a:lnTo>
                  <a:lnTo>
                    <a:pt x="2174" y="3974"/>
                  </a:lnTo>
                  <a:lnTo>
                    <a:pt x="2284" y="3904"/>
                  </a:lnTo>
                  <a:lnTo>
                    <a:pt x="2394" y="3927"/>
                  </a:lnTo>
                  <a:lnTo>
                    <a:pt x="2499" y="3880"/>
                  </a:lnTo>
                  <a:lnTo>
                    <a:pt x="2540" y="3921"/>
                  </a:lnTo>
                  <a:lnTo>
                    <a:pt x="2720" y="3880"/>
                  </a:lnTo>
                  <a:lnTo>
                    <a:pt x="2668" y="3764"/>
                  </a:lnTo>
                  <a:lnTo>
                    <a:pt x="2790" y="3677"/>
                  </a:lnTo>
                  <a:lnTo>
                    <a:pt x="2865" y="3677"/>
                  </a:lnTo>
                  <a:lnTo>
                    <a:pt x="3017" y="3508"/>
                  </a:lnTo>
                  <a:lnTo>
                    <a:pt x="2987" y="3357"/>
                  </a:lnTo>
                  <a:lnTo>
                    <a:pt x="3086" y="3329"/>
                  </a:lnTo>
                  <a:lnTo>
                    <a:pt x="3057" y="3264"/>
                  </a:lnTo>
                  <a:lnTo>
                    <a:pt x="3115" y="3184"/>
                  </a:lnTo>
                  <a:lnTo>
                    <a:pt x="3266" y="3114"/>
                  </a:lnTo>
                  <a:lnTo>
                    <a:pt x="3289" y="3015"/>
                  </a:lnTo>
                  <a:lnTo>
                    <a:pt x="3366" y="2968"/>
                  </a:lnTo>
                  <a:lnTo>
                    <a:pt x="3545" y="2852"/>
                  </a:lnTo>
                  <a:lnTo>
                    <a:pt x="3610" y="2846"/>
                  </a:lnTo>
                  <a:lnTo>
                    <a:pt x="3732" y="2922"/>
                  </a:lnTo>
                  <a:lnTo>
                    <a:pt x="3824" y="2893"/>
                  </a:lnTo>
                  <a:lnTo>
                    <a:pt x="3912" y="2748"/>
                  </a:lnTo>
                  <a:lnTo>
                    <a:pt x="3987" y="2741"/>
                  </a:lnTo>
                  <a:lnTo>
                    <a:pt x="4034" y="2806"/>
                  </a:lnTo>
                  <a:lnTo>
                    <a:pt x="4091" y="2881"/>
                  </a:lnTo>
                  <a:lnTo>
                    <a:pt x="4156" y="2875"/>
                  </a:lnTo>
                  <a:lnTo>
                    <a:pt x="4278" y="2823"/>
                  </a:lnTo>
                  <a:lnTo>
                    <a:pt x="4393" y="2905"/>
                  </a:lnTo>
                  <a:lnTo>
                    <a:pt x="4620" y="2881"/>
                  </a:lnTo>
                  <a:lnTo>
                    <a:pt x="4690" y="2794"/>
                  </a:lnTo>
                  <a:lnTo>
                    <a:pt x="4784" y="2840"/>
                  </a:lnTo>
                  <a:lnTo>
                    <a:pt x="4871" y="2840"/>
                  </a:lnTo>
                  <a:lnTo>
                    <a:pt x="4986" y="2765"/>
                  </a:lnTo>
                  <a:lnTo>
                    <a:pt x="4986" y="2631"/>
                  </a:lnTo>
                  <a:lnTo>
                    <a:pt x="5010" y="2562"/>
                  </a:lnTo>
                  <a:lnTo>
                    <a:pt x="4951" y="2544"/>
                  </a:lnTo>
                  <a:lnTo>
                    <a:pt x="5045" y="2497"/>
                  </a:lnTo>
                  <a:lnTo>
                    <a:pt x="5190" y="2457"/>
                  </a:lnTo>
                  <a:lnTo>
                    <a:pt x="5283" y="2515"/>
                  </a:lnTo>
                  <a:lnTo>
                    <a:pt x="5307" y="2654"/>
                  </a:lnTo>
                  <a:lnTo>
                    <a:pt x="5440" y="2811"/>
                  </a:lnTo>
                  <a:lnTo>
                    <a:pt x="5568" y="2818"/>
                  </a:lnTo>
                  <a:lnTo>
                    <a:pt x="5603" y="2846"/>
                  </a:lnTo>
                  <a:lnTo>
                    <a:pt x="5621" y="2905"/>
                  </a:lnTo>
                  <a:lnTo>
                    <a:pt x="5736" y="2945"/>
                  </a:lnTo>
                  <a:lnTo>
                    <a:pt x="5853" y="2881"/>
                  </a:lnTo>
                  <a:lnTo>
                    <a:pt x="5888" y="2985"/>
                  </a:lnTo>
                  <a:lnTo>
                    <a:pt x="5823" y="3172"/>
                  </a:lnTo>
                  <a:lnTo>
                    <a:pt x="5754" y="3154"/>
                  </a:lnTo>
                  <a:lnTo>
                    <a:pt x="5731" y="3247"/>
                  </a:lnTo>
                  <a:lnTo>
                    <a:pt x="5829" y="3334"/>
                  </a:lnTo>
                  <a:lnTo>
                    <a:pt x="5853" y="3404"/>
                  </a:lnTo>
                  <a:lnTo>
                    <a:pt x="5916" y="3357"/>
                  </a:lnTo>
                  <a:lnTo>
                    <a:pt x="6097" y="3107"/>
                  </a:lnTo>
                  <a:lnTo>
                    <a:pt x="6143" y="2474"/>
                  </a:lnTo>
                  <a:lnTo>
                    <a:pt x="6080" y="2451"/>
                  </a:lnTo>
                  <a:lnTo>
                    <a:pt x="6080" y="2312"/>
                  </a:lnTo>
                  <a:lnTo>
                    <a:pt x="5986" y="2271"/>
                  </a:lnTo>
                  <a:lnTo>
                    <a:pt x="5829" y="2340"/>
                  </a:lnTo>
                  <a:lnTo>
                    <a:pt x="5806" y="2225"/>
                  </a:lnTo>
                  <a:lnTo>
                    <a:pt x="5713" y="2201"/>
                  </a:lnTo>
                  <a:lnTo>
                    <a:pt x="5829" y="1929"/>
                  </a:lnTo>
                  <a:lnTo>
                    <a:pt x="5829" y="1749"/>
                  </a:lnTo>
                  <a:lnTo>
                    <a:pt x="5893" y="1679"/>
                  </a:lnTo>
                  <a:lnTo>
                    <a:pt x="6097" y="1632"/>
                  </a:lnTo>
                  <a:lnTo>
                    <a:pt x="6190" y="1562"/>
                  </a:lnTo>
                  <a:lnTo>
                    <a:pt x="6329" y="1545"/>
                  </a:lnTo>
                  <a:lnTo>
                    <a:pt x="6306" y="1632"/>
                  </a:lnTo>
                  <a:lnTo>
                    <a:pt x="6416" y="1592"/>
                  </a:lnTo>
                  <a:lnTo>
                    <a:pt x="6486" y="1516"/>
                  </a:lnTo>
                  <a:lnTo>
                    <a:pt x="6439" y="1475"/>
                  </a:lnTo>
                  <a:lnTo>
                    <a:pt x="6486" y="1249"/>
                  </a:lnTo>
                  <a:lnTo>
                    <a:pt x="6579" y="1202"/>
                  </a:lnTo>
                  <a:lnTo>
                    <a:pt x="6620" y="1266"/>
                  </a:lnTo>
                  <a:lnTo>
                    <a:pt x="6643" y="1266"/>
                  </a:lnTo>
                  <a:lnTo>
                    <a:pt x="6713" y="1062"/>
                  </a:lnTo>
                  <a:lnTo>
                    <a:pt x="6736" y="1062"/>
                  </a:lnTo>
                  <a:lnTo>
                    <a:pt x="6783" y="1226"/>
                  </a:lnTo>
                  <a:lnTo>
                    <a:pt x="6806" y="1266"/>
                  </a:lnTo>
                  <a:lnTo>
                    <a:pt x="6760" y="1383"/>
                  </a:lnTo>
                  <a:lnTo>
                    <a:pt x="6713" y="1609"/>
                  </a:lnTo>
                  <a:lnTo>
                    <a:pt x="6666" y="1725"/>
                  </a:lnTo>
                  <a:lnTo>
                    <a:pt x="6666" y="1929"/>
                  </a:lnTo>
                  <a:lnTo>
                    <a:pt x="6783" y="2248"/>
                  </a:lnTo>
                  <a:lnTo>
                    <a:pt x="6870" y="2312"/>
                  </a:lnTo>
                  <a:lnTo>
                    <a:pt x="6940" y="2474"/>
                  </a:lnTo>
                  <a:lnTo>
                    <a:pt x="7009" y="2312"/>
                  </a:lnTo>
                  <a:lnTo>
                    <a:pt x="7009" y="2201"/>
                  </a:lnTo>
                  <a:lnTo>
                    <a:pt x="7056" y="2178"/>
                  </a:lnTo>
                  <a:lnTo>
                    <a:pt x="7032" y="2091"/>
                  </a:lnTo>
                  <a:lnTo>
                    <a:pt x="7056" y="2021"/>
                  </a:lnTo>
                  <a:lnTo>
                    <a:pt x="6986" y="1887"/>
                  </a:lnTo>
                  <a:lnTo>
                    <a:pt x="7009" y="1795"/>
                  </a:lnTo>
                  <a:lnTo>
                    <a:pt x="6986" y="1632"/>
                  </a:lnTo>
                  <a:lnTo>
                    <a:pt x="6917" y="1679"/>
                  </a:lnTo>
                  <a:lnTo>
                    <a:pt x="6893" y="1428"/>
                  </a:lnTo>
                  <a:lnTo>
                    <a:pt x="6893" y="1383"/>
                  </a:lnTo>
                  <a:lnTo>
                    <a:pt x="7009" y="1289"/>
                  </a:lnTo>
                  <a:lnTo>
                    <a:pt x="7125" y="1249"/>
                  </a:lnTo>
                  <a:lnTo>
                    <a:pt x="7212" y="1359"/>
                  </a:lnTo>
                  <a:lnTo>
                    <a:pt x="7282" y="952"/>
                  </a:lnTo>
                  <a:lnTo>
                    <a:pt x="7439" y="860"/>
                  </a:lnTo>
                  <a:lnTo>
                    <a:pt x="7346" y="790"/>
                  </a:lnTo>
                  <a:lnTo>
                    <a:pt x="7376" y="726"/>
                  </a:lnTo>
                  <a:lnTo>
                    <a:pt x="7259" y="726"/>
                  </a:lnTo>
                  <a:lnTo>
                    <a:pt x="7189" y="656"/>
                  </a:lnTo>
                  <a:lnTo>
                    <a:pt x="7079" y="563"/>
                  </a:lnTo>
                  <a:lnTo>
                    <a:pt x="7142" y="546"/>
                  </a:lnTo>
                  <a:lnTo>
                    <a:pt x="7189" y="563"/>
                  </a:lnTo>
                  <a:lnTo>
                    <a:pt x="7299" y="499"/>
                  </a:lnTo>
                  <a:lnTo>
                    <a:pt x="7236" y="452"/>
                  </a:lnTo>
                  <a:lnTo>
                    <a:pt x="7212" y="337"/>
                  </a:lnTo>
                  <a:lnTo>
                    <a:pt x="7282" y="384"/>
                  </a:lnTo>
                  <a:lnTo>
                    <a:pt x="7463" y="406"/>
                  </a:lnTo>
                  <a:lnTo>
                    <a:pt x="7533" y="476"/>
                  </a:lnTo>
                  <a:lnTo>
                    <a:pt x="7690" y="452"/>
                  </a:lnTo>
                  <a:lnTo>
                    <a:pt x="7782" y="360"/>
                  </a:lnTo>
                  <a:lnTo>
                    <a:pt x="7596" y="337"/>
                  </a:lnTo>
                  <a:lnTo>
                    <a:pt x="7666" y="203"/>
                  </a:lnTo>
                  <a:lnTo>
                    <a:pt x="7533" y="116"/>
                  </a:lnTo>
                  <a:lnTo>
                    <a:pt x="7393" y="180"/>
                  </a:lnTo>
                  <a:lnTo>
                    <a:pt x="7259" y="70"/>
                  </a:lnTo>
                  <a:lnTo>
                    <a:pt x="7166" y="23"/>
                  </a:lnTo>
                  <a:lnTo>
                    <a:pt x="7125" y="46"/>
                  </a:lnTo>
                  <a:lnTo>
                    <a:pt x="7056" y="0"/>
                  </a:lnTo>
                  <a:lnTo>
                    <a:pt x="1308" y="2724"/>
                  </a:lnTo>
                  <a:lnTo>
                    <a:pt x="146" y="188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1" name="Freeform 928"/>
            <p:cNvSpPr/>
            <p:nvPr/>
          </p:nvSpPr>
          <p:spPr bwMode="auto">
            <a:xfrm>
              <a:off x="1646238" y="981075"/>
              <a:ext cx="3262312" cy="1220788"/>
            </a:xfrm>
            <a:custGeom>
              <a:avLst/>
              <a:gdLst>
                <a:gd name="T0" fmla="*/ 735 w 7160"/>
                <a:gd name="T1" fmla="*/ 27 h 3125"/>
                <a:gd name="T2" fmla="*/ 700 w 7160"/>
                <a:gd name="T3" fmla="*/ 36 h 3125"/>
                <a:gd name="T4" fmla="*/ 708 w 7160"/>
                <a:gd name="T5" fmla="*/ 49 h 3125"/>
                <a:gd name="T6" fmla="*/ 666 w 7160"/>
                <a:gd name="T7" fmla="*/ 55 h 3125"/>
                <a:gd name="T8" fmla="*/ 636 w 7160"/>
                <a:gd name="T9" fmla="*/ 36 h 3125"/>
                <a:gd name="T10" fmla="*/ 592 w 7160"/>
                <a:gd name="T11" fmla="*/ 38 h 3125"/>
                <a:gd name="T12" fmla="*/ 572 w 7160"/>
                <a:gd name="T13" fmla="*/ 29 h 3125"/>
                <a:gd name="T14" fmla="*/ 538 w 7160"/>
                <a:gd name="T15" fmla="*/ 34 h 3125"/>
                <a:gd name="T16" fmla="*/ 533 w 7160"/>
                <a:gd name="T17" fmla="*/ 50 h 3125"/>
                <a:gd name="T18" fmla="*/ 516 w 7160"/>
                <a:gd name="T19" fmla="*/ 53 h 3125"/>
                <a:gd name="T20" fmla="*/ 493 w 7160"/>
                <a:gd name="T21" fmla="*/ 63 h 3125"/>
                <a:gd name="T22" fmla="*/ 481 w 7160"/>
                <a:gd name="T23" fmla="*/ 53 h 3125"/>
                <a:gd name="T24" fmla="*/ 447 w 7160"/>
                <a:gd name="T25" fmla="*/ 42 h 3125"/>
                <a:gd name="T26" fmla="*/ 424 w 7160"/>
                <a:gd name="T27" fmla="*/ 50 h 3125"/>
                <a:gd name="T28" fmla="*/ 382 w 7160"/>
                <a:gd name="T29" fmla="*/ 50 h 3125"/>
                <a:gd name="T30" fmla="*/ 368 w 7160"/>
                <a:gd name="T31" fmla="*/ 69 h 3125"/>
                <a:gd name="T32" fmla="*/ 377 w 7160"/>
                <a:gd name="T33" fmla="*/ 44 h 3125"/>
                <a:gd name="T34" fmla="*/ 375 w 7160"/>
                <a:gd name="T35" fmla="*/ 21 h 3125"/>
                <a:gd name="T36" fmla="*/ 346 w 7160"/>
                <a:gd name="T37" fmla="*/ 8 h 3125"/>
                <a:gd name="T38" fmla="*/ 335 w 7160"/>
                <a:gd name="T39" fmla="*/ 17 h 3125"/>
                <a:gd name="T40" fmla="*/ 316 w 7160"/>
                <a:gd name="T41" fmla="*/ 0 h 3125"/>
                <a:gd name="T42" fmla="*/ 306 w 7160"/>
                <a:gd name="T43" fmla="*/ 15 h 3125"/>
                <a:gd name="T44" fmla="*/ 318 w 7160"/>
                <a:gd name="T45" fmla="*/ 25 h 3125"/>
                <a:gd name="T46" fmla="*/ 291 w 7160"/>
                <a:gd name="T47" fmla="*/ 36 h 3125"/>
                <a:gd name="T48" fmla="*/ 281 w 7160"/>
                <a:gd name="T49" fmla="*/ 40 h 3125"/>
                <a:gd name="T50" fmla="*/ 271 w 7160"/>
                <a:gd name="T51" fmla="*/ 74 h 3125"/>
                <a:gd name="T52" fmla="*/ 244 w 7160"/>
                <a:gd name="T53" fmla="*/ 80 h 3125"/>
                <a:gd name="T54" fmla="*/ 266 w 7160"/>
                <a:gd name="T55" fmla="*/ 101 h 3125"/>
                <a:gd name="T56" fmla="*/ 269 w 7160"/>
                <a:gd name="T57" fmla="*/ 118 h 3125"/>
                <a:gd name="T58" fmla="*/ 239 w 7160"/>
                <a:gd name="T59" fmla="*/ 95 h 3125"/>
                <a:gd name="T60" fmla="*/ 230 w 7160"/>
                <a:gd name="T61" fmla="*/ 108 h 3125"/>
                <a:gd name="T62" fmla="*/ 230 w 7160"/>
                <a:gd name="T63" fmla="*/ 111 h 3125"/>
                <a:gd name="T64" fmla="*/ 227 w 7160"/>
                <a:gd name="T65" fmla="*/ 127 h 3125"/>
                <a:gd name="T66" fmla="*/ 247 w 7160"/>
                <a:gd name="T67" fmla="*/ 135 h 3125"/>
                <a:gd name="T68" fmla="*/ 244 w 7160"/>
                <a:gd name="T69" fmla="*/ 139 h 3125"/>
                <a:gd name="T70" fmla="*/ 237 w 7160"/>
                <a:gd name="T71" fmla="*/ 156 h 3125"/>
                <a:gd name="T72" fmla="*/ 210 w 7160"/>
                <a:gd name="T73" fmla="*/ 169 h 3125"/>
                <a:gd name="T74" fmla="*/ 225 w 7160"/>
                <a:gd name="T75" fmla="*/ 139 h 3125"/>
                <a:gd name="T76" fmla="*/ 192 w 7160"/>
                <a:gd name="T77" fmla="*/ 95 h 3125"/>
                <a:gd name="T78" fmla="*/ 200 w 7160"/>
                <a:gd name="T79" fmla="*/ 141 h 3125"/>
                <a:gd name="T80" fmla="*/ 180 w 7160"/>
                <a:gd name="T81" fmla="*/ 133 h 3125"/>
                <a:gd name="T82" fmla="*/ 163 w 7160"/>
                <a:gd name="T83" fmla="*/ 150 h 3125"/>
                <a:gd name="T84" fmla="*/ 136 w 7160"/>
                <a:gd name="T85" fmla="*/ 154 h 3125"/>
                <a:gd name="T86" fmla="*/ 111 w 7160"/>
                <a:gd name="T87" fmla="*/ 156 h 3125"/>
                <a:gd name="T88" fmla="*/ 94 w 7160"/>
                <a:gd name="T89" fmla="*/ 169 h 3125"/>
                <a:gd name="T90" fmla="*/ 84 w 7160"/>
                <a:gd name="T91" fmla="*/ 156 h 3125"/>
                <a:gd name="T92" fmla="*/ 79 w 7160"/>
                <a:gd name="T93" fmla="*/ 177 h 3125"/>
                <a:gd name="T94" fmla="*/ 67 w 7160"/>
                <a:gd name="T95" fmla="*/ 192 h 3125"/>
                <a:gd name="T96" fmla="*/ 50 w 7160"/>
                <a:gd name="T97" fmla="*/ 196 h 3125"/>
                <a:gd name="T98" fmla="*/ 40 w 7160"/>
                <a:gd name="T99" fmla="*/ 182 h 3125"/>
                <a:gd name="T100" fmla="*/ 40 w 7160"/>
                <a:gd name="T101" fmla="*/ 175 h 3125"/>
                <a:gd name="T102" fmla="*/ 67 w 7160"/>
                <a:gd name="T103" fmla="*/ 169 h 3125"/>
                <a:gd name="T104" fmla="*/ 25 w 7160"/>
                <a:gd name="T105" fmla="*/ 148 h 3125"/>
                <a:gd name="T106" fmla="*/ 8 w 7160"/>
                <a:gd name="T107" fmla="*/ 137 h 3125"/>
                <a:gd name="T108" fmla="*/ 4 w 7160"/>
                <a:gd name="T109" fmla="*/ 153 h 3125"/>
                <a:gd name="T110" fmla="*/ 12 w 7160"/>
                <a:gd name="T111" fmla="*/ 179 h 3125"/>
                <a:gd name="T112" fmla="*/ 28 w 7160"/>
                <a:gd name="T113" fmla="*/ 211 h 3125"/>
                <a:gd name="T114" fmla="*/ 777 w 7160"/>
                <a:gd name="T115" fmla="*/ 38 h 312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160"/>
                <a:gd name="T175" fmla="*/ 0 h 3125"/>
                <a:gd name="T176" fmla="*/ 7160 w 7160"/>
                <a:gd name="T177" fmla="*/ 3125 h 312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160" h="3125">
                  <a:moveTo>
                    <a:pt x="7160" y="407"/>
                  </a:moveTo>
                  <a:lnTo>
                    <a:pt x="7021" y="383"/>
                  </a:lnTo>
                  <a:lnTo>
                    <a:pt x="6770" y="291"/>
                  </a:lnTo>
                  <a:lnTo>
                    <a:pt x="6590" y="291"/>
                  </a:lnTo>
                  <a:lnTo>
                    <a:pt x="6451" y="360"/>
                  </a:lnTo>
                  <a:lnTo>
                    <a:pt x="6451" y="383"/>
                  </a:lnTo>
                  <a:lnTo>
                    <a:pt x="6567" y="453"/>
                  </a:lnTo>
                  <a:lnTo>
                    <a:pt x="6567" y="523"/>
                  </a:lnTo>
                  <a:lnTo>
                    <a:pt x="6520" y="523"/>
                  </a:lnTo>
                  <a:lnTo>
                    <a:pt x="6410" y="430"/>
                  </a:lnTo>
                  <a:lnTo>
                    <a:pt x="6184" y="477"/>
                  </a:lnTo>
                  <a:lnTo>
                    <a:pt x="6137" y="587"/>
                  </a:lnTo>
                  <a:lnTo>
                    <a:pt x="6044" y="540"/>
                  </a:lnTo>
                  <a:lnTo>
                    <a:pt x="5957" y="540"/>
                  </a:lnTo>
                  <a:lnTo>
                    <a:pt x="5863" y="383"/>
                  </a:lnTo>
                  <a:lnTo>
                    <a:pt x="5638" y="383"/>
                  </a:lnTo>
                  <a:lnTo>
                    <a:pt x="5573" y="477"/>
                  </a:lnTo>
                  <a:lnTo>
                    <a:pt x="5457" y="407"/>
                  </a:lnTo>
                  <a:lnTo>
                    <a:pt x="5341" y="430"/>
                  </a:lnTo>
                  <a:lnTo>
                    <a:pt x="5364" y="313"/>
                  </a:lnTo>
                  <a:lnTo>
                    <a:pt x="5271" y="313"/>
                  </a:lnTo>
                  <a:lnTo>
                    <a:pt x="5114" y="477"/>
                  </a:lnTo>
                  <a:lnTo>
                    <a:pt x="5090" y="360"/>
                  </a:lnTo>
                  <a:lnTo>
                    <a:pt x="4957" y="360"/>
                  </a:lnTo>
                  <a:lnTo>
                    <a:pt x="4864" y="407"/>
                  </a:lnTo>
                  <a:lnTo>
                    <a:pt x="4957" y="540"/>
                  </a:lnTo>
                  <a:lnTo>
                    <a:pt x="4910" y="540"/>
                  </a:lnTo>
                  <a:lnTo>
                    <a:pt x="4910" y="587"/>
                  </a:lnTo>
                  <a:lnTo>
                    <a:pt x="4818" y="587"/>
                  </a:lnTo>
                  <a:lnTo>
                    <a:pt x="4754" y="564"/>
                  </a:lnTo>
                  <a:lnTo>
                    <a:pt x="4637" y="657"/>
                  </a:lnTo>
                  <a:lnTo>
                    <a:pt x="4661" y="744"/>
                  </a:lnTo>
                  <a:lnTo>
                    <a:pt x="4544" y="679"/>
                  </a:lnTo>
                  <a:lnTo>
                    <a:pt x="4497" y="610"/>
                  </a:lnTo>
                  <a:lnTo>
                    <a:pt x="4434" y="610"/>
                  </a:lnTo>
                  <a:lnTo>
                    <a:pt x="4434" y="564"/>
                  </a:lnTo>
                  <a:lnTo>
                    <a:pt x="4318" y="430"/>
                  </a:lnTo>
                  <a:lnTo>
                    <a:pt x="4161" y="430"/>
                  </a:lnTo>
                  <a:lnTo>
                    <a:pt x="4115" y="453"/>
                  </a:lnTo>
                  <a:lnTo>
                    <a:pt x="4138" y="523"/>
                  </a:lnTo>
                  <a:lnTo>
                    <a:pt x="3934" y="564"/>
                  </a:lnTo>
                  <a:lnTo>
                    <a:pt x="3911" y="540"/>
                  </a:lnTo>
                  <a:lnTo>
                    <a:pt x="3888" y="523"/>
                  </a:lnTo>
                  <a:lnTo>
                    <a:pt x="3731" y="564"/>
                  </a:lnTo>
                  <a:lnTo>
                    <a:pt x="3522" y="540"/>
                  </a:lnTo>
                  <a:lnTo>
                    <a:pt x="3522" y="610"/>
                  </a:lnTo>
                  <a:lnTo>
                    <a:pt x="3458" y="657"/>
                  </a:lnTo>
                  <a:lnTo>
                    <a:pt x="3388" y="744"/>
                  </a:lnTo>
                  <a:lnTo>
                    <a:pt x="3365" y="721"/>
                  </a:lnTo>
                  <a:lnTo>
                    <a:pt x="3435" y="540"/>
                  </a:lnTo>
                  <a:lnTo>
                    <a:pt x="3475" y="477"/>
                  </a:lnTo>
                  <a:lnTo>
                    <a:pt x="3475" y="407"/>
                  </a:lnTo>
                  <a:lnTo>
                    <a:pt x="3498" y="313"/>
                  </a:lnTo>
                  <a:lnTo>
                    <a:pt x="3458" y="226"/>
                  </a:lnTo>
                  <a:lnTo>
                    <a:pt x="3458" y="157"/>
                  </a:lnTo>
                  <a:lnTo>
                    <a:pt x="3301" y="111"/>
                  </a:lnTo>
                  <a:lnTo>
                    <a:pt x="3184" y="87"/>
                  </a:lnTo>
                  <a:lnTo>
                    <a:pt x="3138" y="111"/>
                  </a:lnTo>
                  <a:lnTo>
                    <a:pt x="3138" y="180"/>
                  </a:lnTo>
                  <a:lnTo>
                    <a:pt x="3091" y="180"/>
                  </a:lnTo>
                  <a:lnTo>
                    <a:pt x="3044" y="111"/>
                  </a:lnTo>
                  <a:lnTo>
                    <a:pt x="2957" y="64"/>
                  </a:lnTo>
                  <a:lnTo>
                    <a:pt x="2911" y="0"/>
                  </a:lnTo>
                  <a:lnTo>
                    <a:pt x="2865" y="17"/>
                  </a:lnTo>
                  <a:lnTo>
                    <a:pt x="2819" y="111"/>
                  </a:lnTo>
                  <a:lnTo>
                    <a:pt x="2819" y="157"/>
                  </a:lnTo>
                  <a:lnTo>
                    <a:pt x="2911" y="203"/>
                  </a:lnTo>
                  <a:lnTo>
                    <a:pt x="2889" y="226"/>
                  </a:lnTo>
                  <a:lnTo>
                    <a:pt x="2929" y="268"/>
                  </a:lnTo>
                  <a:lnTo>
                    <a:pt x="2889" y="268"/>
                  </a:lnTo>
                  <a:lnTo>
                    <a:pt x="2819" y="360"/>
                  </a:lnTo>
                  <a:lnTo>
                    <a:pt x="2679" y="383"/>
                  </a:lnTo>
                  <a:lnTo>
                    <a:pt x="2638" y="360"/>
                  </a:lnTo>
                  <a:lnTo>
                    <a:pt x="2568" y="383"/>
                  </a:lnTo>
                  <a:lnTo>
                    <a:pt x="2592" y="430"/>
                  </a:lnTo>
                  <a:lnTo>
                    <a:pt x="2453" y="540"/>
                  </a:lnTo>
                  <a:lnTo>
                    <a:pt x="2435" y="679"/>
                  </a:lnTo>
                  <a:lnTo>
                    <a:pt x="2498" y="791"/>
                  </a:lnTo>
                  <a:lnTo>
                    <a:pt x="2435" y="767"/>
                  </a:lnTo>
                  <a:lnTo>
                    <a:pt x="2296" y="836"/>
                  </a:lnTo>
                  <a:lnTo>
                    <a:pt x="2249" y="859"/>
                  </a:lnTo>
                  <a:lnTo>
                    <a:pt x="2272" y="999"/>
                  </a:lnTo>
                  <a:lnTo>
                    <a:pt x="2411" y="1016"/>
                  </a:lnTo>
                  <a:lnTo>
                    <a:pt x="2453" y="1086"/>
                  </a:lnTo>
                  <a:lnTo>
                    <a:pt x="2545" y="1220"/>
                  </a:lnTo>
                  <a:lnTo>
                    <a:pt x="2592" y="1359"/>
                  </a:lnTo>
                  <a:lnTo>
                    <a:pt x="2475" y="1267"/>
                  </a:lnTo>
                  <a:lnTo>
                    <a:pt x="2411" y="1086"/>
                  </a:lnTo>
                  <a:lnTo>
                    <a:pt x="2249" y="1016"/>
                  </a:lnTo>
                  <a:lnTo>
                    <a:pt x="2202" y="1016"/>
                  </a:lnTo>
                  <a:lnTo>
                    <a:pt x="2184" y="1063"/>
                  </a:lnTo>
                  <a:lnTo>
                    <a:pt x="2092" y="1133"/>
                  </a:lnTo>
                  <a:lnTo>
                    <a:pt x="2115" y="1156"/>
                  </a:lnTo>
                  <a:lnTo>
                    <a:pt x="2202" y="1156"/>
                  </a:lnTo>
                  <a:lnTo>
                    <a:pt x="2226" y="1220"/>
                  </a:lnTo>
                  <a:lnTo>
                    <a:pt x="2115" y="1197"/>
                  </a:lnTo>
                  <a:lnTo>
                    <a:pt x="1999" y="1110"/>
                  </a:lnTo>
                  <a:lnTo>
                    <a:pt x="1999" y="1197"/>
                  </a:lnTo>
                  <a:lnTo>
                    <a:pt x="2092" y="1359"/>
                  </a:lnTo>
                  <a:lnTo>
                    <a:pt x="2092" y="1406"/>
                  </a:lnTo>
                  <a:lnTo>
                    <a:pt x="2162" y="1446"/>
                  </a:lnTo>
                  <a:lnTo>
                    <a:pt x="2272" y="1446"/>
                  </a:lnTo>
                  <a:lnTo>
                    <a:pt x="2365" y="1586"/>
                  </a:lnTo>
                  <a:lnTo>
                    <a:pt x="2411" y="1609"/>
                  </a:lnTo>
                  <a:lnTo>
                    <a:pt x="2249" y="1493"/>
                  </a:lnTo>
                  <a:lnTo>
                    <a:pt x="2202" y="1493"/>
                  </a:lnTo>
                  <a:lnTo>
                    <a:pt x="2139" y="1563"/>
                  </a:lnTo>
                  <a:lnTo>
                    <a:pt x="2184" y="1673"/>
                  </a:lnTo>
                  <a:lnTo>
                    <a:pt x="2139" y="1813"/>
                  </a:lnTo>
                  <a:lnTo>
                    <a:pt x="2045" y="1835"/>
                  </a:lnTo>
                  <a:lnTo>
                    <a:pt x="1935" y="1813"/>
                  </a:lnTo>
                  <a:lnTo>
                    <a:pt x="2022" y="1766"/>
                  </a:lnTo>
                  <a:lnTo>
                    <a:pt x="2069" y="1609"/>
                  </a:lnTo>
                  <a:lnTo>
                    <a:pt x="2069" y="1493"/>
                  </a:lnTo>
                  <a:lnTo>
                    <a:pt x="1912" y="1220"/>
                  </a:lnTo>
                  <a:lnTo>
                    <a:pt x="1842" y="1040"/>
                  </a:lnTo>
                  <a:lnTo>
                    <a:pt x="1772" y="1016"/>
                  </a:lnTo>
                  <a:lnTo>
                    <a:pt x="1726" y="1243"/>
                  </a:lnTo>
                  <a:lnTo>
                    <a:pt x="1748" y="1406"/>
                  </a:lnTo>
                  <a:lnTo>
                    <a:pt x="1842" y="1516"/>
                  </a:lnTo>
                  <a:lnTo>
                    <a:pt x="1842" y="1539"/>
                  </a:lnTo>
                  <a:lnTo>
                    <a:pt x="1748" y="1493"/>
                  </a:lnTo>
                  <a:lnTo>
                    <a:pt x="1661" y="1429"/>
                  </a:lnTo>
                  <a:lnTo>
                    <a:pt x="1476" y="1446"/>
                  </a:lnTo>
                  <a:lnTo>
                    <a:pt x="1499" y="1539"/>
                  </a:lnTo>
                  <a:lnTo>
                    <a:pt x="1499" y="1609"/>
                  </a:lnTo>
                  <a:lnTo>
                    <a:pt x="1453" y="1609"/>
                  </a:lnTo>
                  <a:lnTo>
                    <a:pt x="1436" y="1539"/>
                  </a:lnTo>
                  <a:lnTo>
                    <a:pt x="1249" y="1656"/>
                  </a:lnTo>
                  <a:lnTo>
                    <a:pt x="1209" y="1633"/>
                  </a:lnTo>
                  <a:lnTo>
                    <a:pt x="1185" y="1586"/>
                  </a:lnTo>
                  <a:lnTo>
                    <a:pt x="1022" y="1673"/>
                  </a:lnTo>
                  <a:lnTo>
                    <a:pt x="1000" y="1743"/>
                  </a:lnTo>
                  <a:lnTo>
                    <a:pt x="935" y="1743"/>
                  </a:lnTo>
                  <a:lnTo>
                    <a:pt x="866" y="1813"/>
                  </a:lnTo>
                  <a:lnTo>
                    <a:pt x="843" y="1766"/>
                  </a:lnTo>
                  <a:lnTo>
                    <a:pt x="843" y="1656"/>
                  </a:lnTo>
                  <a:lnTo>
                    <a:pt x="773" y="1673"/>
                  </a:lnTo>
                  <a:lnTo>
                    <a:pt x="749" y="1743"/>
                  </a:lnTo>
                  <a:lnTo>
                    <a:pt x="773" y="1859"/>
                  </a:lnTo>
                  <a:lnTo>
                    <a:pt x="726" y="1905"/>
                  </a:lnTo>
                  <a:lnTo>
                    <a:pt x="662" y="1923"/>
                  </a:lnTo>
                  <a:lnTo>
                    <a:pt x="592" y="2016"/>
                  </a:lnTo>
                  <a:lnTo>
                    <a:pt x="616" y="2062"/>
                  </a:lnTo>
                  <a:lnTo>
                    <a:pt x="592" y="2109"/>
                  </a:lnTo>
                  <a:lnTo>
                    <a:pt x="482" y="2039"/>
                  </a:lnTo>
                  <a:lnTo>
                    <a:pt x="459" y="2109"/>
                  </a:lnTo>
                  <a:lnTo>
                    <a:pt x="459" y="2156"/>
                  </a:lnTo>
                  <a:lnTo>
                    <a:pt x="342" y="2062"/>
                  </a:lnTo>
                  <a:lnTo>
                    <a:pt x="365" y="1952"/>
                  </a:lnTo>
                  <a:lnTo>
                    <a:pt x="273" y="1882"/>
                  </a:lnTo>
                  <a:lnTo>
                    <a:pt x="232" y="1835"/>
                  </a:lnTo>
                  <a:lnTo>
                    <a:pt x="365" y="1882"/>
                  </a:lnTo>
                  <a:lnTo>
                    <a:pt x="459" y="1905"/>
                  </a:lnTo>
                  <a:lnTo>
                    <a:pt x="546" y="1882"/>
                  </a:lnTo>
                  <a:lnTo>
                    <a:pt x="616" y="1813"/>
                  </a:lnTo>
                  <a:lnTo>
                    <a:pt x="459" y="1633"/>
                  </a:lnTo>
                  <a:lnTo>
                    <a:pt x="365" y="1586"/>
                  </a:lnTo>
                  <a:lnTo>
                    <a:pt x="232" y="1586"/>
                  </a:lnTo>
                  <a:lnTo>
                    <a:pt x="162" y="1539"/>
                  </a:lnTo>
                  <a:lnTo>
                    <a:pt x="98" y="1469"/>
                  </a:lnTo>
                  <a:lnTo>
                    <a:pt x="75" y="1469"/>
                  </a:lnTo>
                  <a:lnTo>
                    <a:pt x="23" y="1481"/>
                  </a:lnTo>
                  <a:lnTo>
                    <a:pt x="0" y="1551"/>
                  </a:lnTo>
                  <a:lnTo>
                    <a:pt x="40" y="1644"/>
                  </a:lnTo>
                  <a:lnTo>
                    <a:pt x="46" y="1743"/>
                  </a:lnTo>
                  <a:lnTo>
                    <a:pt x="104" y="1847"/>
                  </a:lnTo>
                  <a:lnTo>
                    <a:pt x="110" y="1923"/>
                  </a:lnTo>
                  <a:lnTo>
                    <a:pt x="150" y="1999"/>
                  </a:lnTo>
                  <a:lnTo>
                    <a:pt x="150" y="2086"/>
                  </a:lnTo>
                  <a:lnTo>
                    <a:pt x="255" y="2266"/>
                  </a:lnTo>
                  <a:lnTo>
                    <a:pt x="255" y="2301"/>
                  </a:lnTo>
                  <a:lnTo>
                    <a:pt x="1418" y="3125"/>
                  </a:lnTo>
                  <a:lnTo>
                    <a:pt x="7160" y="40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2" name="Freeform 930"/>
            <p:cNvSpPr/>
            <p:nvPr/>
          </p:nvSpPr>
          <p:spPr bwMode="auto">
            <a:xfrm>
              <a:off x="1495425" y="2508250"/>
              <a:ext cx="66675" cy="55563"/>
            </a:xfrm>
            <a:custGeom>
              <a:avLst/>
              <a:gdLst>
                <a:gd name="T0" fmla="*/ 0 w 152"/>
                <a:gd name="T1" fmla="*/ 1 h 128"/>
                <a:gd name="T2" fmla="*/ 4 w 152"/>
                <a:gd name="T3" fmla="*/ 0 h 128"/>
                <a:gd name="T4" fmla="*/ 9 w 152"/>
                <a:gd name="T5" fmla="*/ 2 h 128"/>
                <a:gd name="T6" fmla="*/ 16 w 152"/>
                <a:gd name="T7" fmla="*/ 9 h 128"/>
                <a:gd name="T8" fmla="*/ 12 w 152"/>
                <a:gd name="T9" fmla="*/ 12 h 128"/>
                <a:gd name="T10" fmla="*/ 9 w 152"/>
                <a:gd name="T11" fmla="*/ 13 h 128"/>
                <a:gd name="T12" fmla="*/ 2 w 152"/>
                <a:gd name="T13" fmla="*/ 11 h 128"/>
                <a:gd name="T14" fmla="*/ 2 w 152"/>
                <a:gd name="T15" fmla="*/ 6 h 128"/>
                <a:gd name="T16" fmla="*/ 0 w 152"/>
                <a:gd name="T17" fmla="*/ 1 h 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2"/>
                <a:gd name="T28" fmla="*/ 0 h 128"/>
                <a:gd name="T29" fmla="*/ 152 w 152"/>
                <a:gd name="T30" fmla="*/ 128 h 1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2" h="128">
                  <a:moveTo>
                    <a:pt x="0" y="12"/>
                  </a:moveTo>
                  <a:lnTo>
                    <a:pt x="35" y="0"/>
                  </a:lnTo>
                  <a:lnTo>
                    <a:pt x="87" y="17"/>
                  </a:lnTo>
                  <a:lnTo>
                    <a:pt x="152" y="93"/>
                  </a:lnTo>
                  <a:lnTo>
                    <a:pt x="111" y="122"/>
                  </a:lnTo>
                  <a:lnTo>
                    <a:pt x="82" y="128"/>
                  </a:lnTo>
                  <a:lnTo>
                    <a:pt x="18" y="111"/>
                  </a:lnTo>
                  <a:lnTo>
                    <a:pt x="18" y="59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3" name="Freeform 931"/>
            <p:cNvSpPr/>
            <p:nvPr/>
          </p:nvSpPr>
          <p:spPr bwMode="auto">
            <a:xfrm>
              <a:off x="3648075" y="3465513"/>
              <a:ext cx="104775" cy="139700"/>
            </a:xfrm>
            <a:custGeom>
              <a:avLst/>
              <a:gdLst>
                <a:gd name="T0" fmla="*/ 0 w 232"/>
                <a:gd name="T1" fmla="*/ 0 h 354"/>
                <a:gd name="T2" fmla="*/ 2 w 232"/>
                <a:gd name="T3" fmla="*/ 10 h 354"/>
                <a:gd name="T4" fmla="*/ 8 w 232"/>
                <a:gd name="T5" fmla="*/ 23 h 354"/>
                <a:gd name="T6" fmla="*/ 25 w 232"/>
                <a:gd name="T7" fmla="*/ 33 h 354"/>
                <a:gd name="T8" fmla="*/ 25 w 232"/>
                <a:gd name="T9" fmla="*/ 24 h 354"/>
                <a:gd name="T10" fmla="*/ 20 w 232"/>
                <a:gd name="T11" fmla="*/ 21 h 354"/>
                <a:gd name="T12" fmla="*/ 20 w 232"/>
                <a:gd name="T13" fmla="*/ 8 h 354"/>
                <a:gd name="T14" fmla="*/ 16 w 232"/>
                <a:gd name="T15" fmla="*/ 1 h 354"/>
                <a:gd name="T16" fmla="*/ 8 w 232"/>
                <a:gd name="T17" fmla="*/ 1 h 354"/>
                <a:gd name="T18" fmla="*/ 1 w 232"/>
                <a:gd name="T19" fmla="*/ 1 h 354"/>
                <a:gd name="T20" fmla="*/ 0 w 232"/>
                <a:gd name="T21" fmla="*/ 0 h 3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2"/>
                <a:gd name="T34" fmla="*/ 0 h 354"/>
                <a:gd name="T35" fmla="*/ 232 w 232"/>
                <a:gd name="T36" fmla="*/ 354 h 35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2" h="354">
                  <a:moveTo>
                    <a:pt x="0" y="0"/>
                  </a:moveTo>
                  <a:lnTo>
                    <a:pt x="23" y="110"/>
                  </a:lnTo>
                  <a:lnTo>
                    <a:pt x="70" y="244"/>
                  </a:lnTo>
                  <a:lnTo>
                    <a:pt x="232" y="354"/>
                  </a:lnTo>
                  <a:lnTo>
                    <a:pt x="232" y="255"/>
                  </a:lnTo>
                  <a:lnTo>
                    <a:pt x="187" y="220"/>
                  </a:lnTo>
                  <a:lnTo>
                    <a:pt x="187" y="87"/>
                  </a:lnTo>
                  <a:lnTo>
                    <a:pt x="145" y="12"/>
                  </a:lnTo>
                  <a:lnTo>
                    <a:pt x="70" y="12"/>
                  </a:lnTo>
                  <a:lnTo>
                    <a:pt x="1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4" name="Freeform 932"/>
            <p:cNvSpPr/>
            <p:nvPr/>
          </p:nvSpPr>
          <p:spPr bwMode="auto">
            <a:xfrm>
              <a:off x="3992563" y="3978275"/>
              <a:ext cx="977900" cy="809625"/>
            </a:xfrm>
            <a:custGeom>
              <a:avLst/>
              <a:gdLst>
                <a:gd name="T0" fmla="*/ 142 w 2343"/>
                <a:gd name="T1" fmla="*/ 8 h 2074"/>
                <a:gd name="T2" fmla="*/ 124 w 2343"/>
                <a:gd name="T3" fmla="*/ 10 h 2074"/>
                <a:gd name="T4" fmla="*/ 120 w 2343"/>
                <a:gd name="T5" fmla="*/ 18 h 2074"/>
                <a:gd name="T6" fmla="*/ 108 w 2343"/>
                <a:gd name="T7" fmla="*/ 16 h 2074"/>
                <a:gd name="T8" fmla="*/ 91 w 2343"/>
                <a:gd name="T9" fmla="*/ 16 h 2074"/>
                <a:gd name="T10" fmla="*/ 72 w 2343"/>
                <a:gd name="T11" fmla="*/ 24 h 2074"/>
                <a:gd name="T12" fmla="*/ 68 w 2343"/>
                <a:gd name="T13" fmla="*/ 33 h 2074"/>
                <a:gd name="T14" fmla="*/ 54 w 2343"/>
                <a:gd name="T15" fmla="*/ 42 h 2074"/>
                <a:gd name="T16" fmla="*/ 28 w 2343"/>
                <a:gd name="T17" fmla="*/ 46 h 2074"/>
                <a:gd name="T18" fmla="*/ 10 w 2343"/>
                <a:gd name="T19" fmla="*/ 47 h 2074"/>
                <a:gd name="T20" fmla="*/ 10 w 2343"/>
                <a:gd name="T21" fmla="*/ 77 h 2074"/>
                <a:gd name="T22" fmla="*/ 1 w 2343"/>
                <a:gd name="T23" fmla="*/ 84 h 2074"/>
                <a:gd name="T24" fmla="*/ 6 w 2343"/>
                <a:gd name="T25" fmla="*/ 119 h 2074"/>
                <a:gd name="T26" fmla="*/ 5 w 2343"/>
                <a:gd name="T27" fmla="*/ 133 h 2074"/>
                <a:gd name="T28" fmla="*/ 12 w 2343"/>
                <a:gd name="T29" fmla="*/ 137 h 2074"/>
                <a:gd name="T30" fmla="*/ 32 w 2343"/>
                <a:gd name="T31" fmla="*/ 132 h 2074"/>
                <a:gd name="T32" fmla="*/ 50 w 2343"/>
                <a:gd name="T33" fmla="*/ 135 h 2074"/>
                <a:gd name="T34" fmla="*/ 62 w 2343"/>
                <a:gd name="T35" fmla="*/ 127 h 2074"/>
                <a:gd name="T36" fmla="*/ 84 w 2343"/>
                <a:gd name="T37" fmla="*/ 124 h 2074"/>
                <a:gd name="T38" fmla="*/ 118 w 2343"/>
                <a:gd name="T39" fmla="*/ 133 h 2074"/>
                <a:gd name="T40" fmla="*/ 128 w 2343"/>
                <a:gd name="T41" fmla="*/ 146 h 2074"/>
                <a:gd name="T42" fmla="*/ 142 w 2343"/>
                <a:gd name="T43" fmla="*/ 144 h 2074"/>
                <a:gd name="T44" fmla="*/ 147 w 2343"/>
                <a:gd name="T45" fmla="*/ 145 h 2074"/>
                <a:gd name="T46" fmla="*/ 136 w 2343"/>
                <a:gd name="T47" fmla="*/ 155 h 2074"/>
                <a:gd name="T48" fmla="*/ 156 w 2343"/>
                <a:gd name="T49" fmla="*/ 148 h 2074"/>
                <a:gd name="T50" fmla="*/ 143 w 2343"/>
                <a:gd name="T51" fmla="*/ 161 h 2074"/>
                <a:gd name="T52" fmla="*/ 156 w 2343"/>
                <a:gd name="T53" fmla="*/ 158 h 2074"/>
                <a:gd name="T54" fmla="*/ 150 w 2343"/>
                <a:gd name="T55" fmla="*/ 171 h 2074"/>
                <a:gd name="T56" fmla="*/ 165 w 2343"/>
                <a:gd name="T57" fmla="*/ 185 h 2074"/>
                <a:gd name="T58" fmla="*/ 178 w 2343"/>
                <a:gd name="T59" fmla="*/ 187 h 2074"/>
                <a:gd name="T60" fmla="*/ 184 w 2343"/>
                <a:gd name="T61" fmla="*/ 190 h 2074"/>
                <a:gd name="T62" fmla="*/ 202 w 2343"/>
                <a:gd name="T63" fmla="*/ 190 h 2074"/>
                <a:gd name="T64" fmla="*/ 217 w 2343"/>
                <a:gd name="T65" fmla="*/ 187 h 2074"/>
                <a:gd name="T66" fmla="*/ 233 w 2343"/>
                <a:gd name="T67" fmla="*/ 165 h 2074"/>
                <a:gd name="T68" fmla="*/ 245 w 2343"/>
                <a:gd name="T69" fmla="*/ 146 h 2074"/>
                <a:gd name="T70" fmla="*/ 254 w 2343"/>
                <a:gd name="T71" fmla="*/ 116 h 2074"/>
                <a:gd name="T72" fmla="*/ 245 w 2343"/>
                <a:gd name="T73" fmla="*/ 79 h 2074"/>
                <a:gd name="T74" fmla="*/ 231 w 2343"/>
                <a:gd name="T75" fmla="*/ 64 h 2074"/>
                <a:gd name="T76" fmla="*/ 222 w 2343"/>
                <a:gd name="T77" fmla="*/ 55 h 2074"/>
                <a:gd name="T78" fmla="*/ 220 w 2343"/>
                <a:gd name="T79" fmla="*/ 36 h 2074"/>
                <a:gd name="T80" fmla="*/ 212 w 2343"/>
                <a:gd name="T81" fmla="*/ 22 h 2074"/>
                <a:gd name="T82" fmla="*/ 205 w 2343"/>
                <a:gd name="T83" fmla="*/ 17 h 2074"/>
                <a:gd name="T84" fmla="*/ 199 w 2343"/>
                <a:gd name="T85" fmla="*/ 40 h 2074"/>
                <a:gd name="T86" fmla="*/ 189 w 2343"/>
                <a:gd name="T87" fmla="*/ 43 h 2074"/>
                <a:gd name="T88" fmla="*/ 171 w 2343"/>
                <a:gd name="T89" fmla="*/ 32 h 2074"/>
                <a:gd name="T90" fmla="*/ 165 w 2343"/>
                <a:gd name="T91" fmla="*/ 23 h 2074"/>
                <a:gd name="T92" fmla="*/ 171 w 2343"/>
                <a:gd name="T93" fmla="*/ 11 h 2074"/>
                <a:gd name="T94" fmla="*/ 168 w 2343"/>
                <a:gd name="T95" fmla="*/ 10 h 2074"/>
                <a:gd name="T96" fmla="*/ 149 w 2343"/>
                <a:gd name="T97" fmla="*/ 0 h 20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343"/>
                <a:gd name="T148" fmla="*/ 0 h 2074"/>
                <a:gd name="T149" fmla="*/ 2343 w 2343"/>
                <a:gd name="T150" fmla="*/ 2074 h 20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343" h="2074">
                  <a:moveTo>
                    <a:pt x="1337" y="0"/>
                  </a:moveTo>
                  <a:lnTo>
                    <a:pt x="1314" y="81"/>
                  </a:lnTo>
                  <a:lnTo>
                    <a:pt x="1250" y="58"/>
                  </a:lnTo>
                  <a:lnTo>
                    <a:pt x="1145" y="110"/>
                  </a:lnTo>
                  <a:lnTo>
                    <a:pt x="1145" y="191"/>
                  </a:lnTo>
                  <a:lnTo>
                    <a:pt x="1105" y="191"/>
                  </a:lnTo>
                  <a:lnTo>
                    <a:pt x="1029" y="168"/>
                  </a:lnTo>
                  <a:lnTo>
                    <a:pt x="994" y="168"/>
                  </a:lnTo>
                  <a:lnTo>
                    <a:pt x="948" y="127"/>
                  </a:lnTo>
                  <a:lnTo>
                    <a:pt x="843" y="168"/>
                  </a:lnTo>
                  <a:lnTo>
                    <a:pt x="785" y="249"/>
                  </a:lnTo>
                  <a:lnTo>
                    <a:pt x="663" y="261"/>
                  </a:lnTo>
                  <a:lnTo>
                    <a:pt x="628" y="290"/>
                  </a:lnTo>
                  <a:lnTo>
                    <a:pt x="623" y="354"/>
                  </a:lnTo>
                  <a:lnTo>
                    <a:pt x="536" y="447"/>
                  </a:lnTo>
                  <a:lnTo>
                    <a:pt x="494" y="447"/>
                  </a:lnTo>
                  <a:lnTo>
                    <a:pt x="466" y="493"/>
                  </a:lnTo>
                  <a:lnTo>
                    <a:pt x="257" y="493"/>
                  </a:lnTo>
                  <a:lnTo>
                    <a:pt x="134" y="465"/>
                  </a:lnTo>
                  <a:lnTo>
                    <a:pt x="88" y="505"/>
                  </a:lnTo>
                  <a:lnTo>
                    <a:pt x="70" y="667"/>
                  </a:lnTo>
                  <a:lnTo>
                    <a:pt x="93" y="831"/>
                  </a:lnTo>
                  <a:lnTo>
                    <a:pt x="6" y="789"/>
                  </a:lnTo>
                  <a:lnTo>
                    <a:pt x="6" y="901"/>
                  </a:lnTo>
                  <a:lnTo>
                    <a:pt x="53" y="1202"/>
                  </a:lnTo>
                  <a:lnTo>
                    <a:pt x="53" y="1278"/>
                  </a:lnTo>
                  <a:lnTo>
                    <a:pt x="0" y="1382"/>
                  </a:lnTo>
                  <a:lnTo>
                    <a:pt x="47" y="1424"/>
                  </a:lnTo>
                  <a:lnTo>
                    <a:pt x="76" y="1429"/>
                  </a:lnTo>
                  <a:lnTo>
                    <a:pt x="110" y="1476"/>
                  </a:lnTo>
                  <a:lnTo>
                    <a:pt x="180" y="1476"/>
                  </a:lnTo>
                  <a:lnTo>
                    <a:pt x="291" y="1417"/>
                  </a:lnTo>
                  <a:lnTo>
                    <a:pt x="367" y="1424"/>
                  </a:lnTo>
                  <a:lnTo>
                    <a:pt x="459" y="1452"/>
                  </a:lnTo>
                  <a:lnTo>
                    <a:pt x="518" y="1446"/>
                  </a:lnTo>
                  <a:lnTo>
                    <a:pt x="576" y="1365"/>
                  </a:lnTo>
                  <a:lnTo>
                    <a:pt x="663" y="1365"/>
                  </a:lnTo>
                  <a:lnTo>
                    <a:pt x="773" y="1336"/>
                  </a:lnTo>
                  <a:lnTo>
                    <a:pt x="965" y="1342"/>
                  </a:lnTo>
                  <a:lnTo>
                    <a:pt x="1087" y="1429"/>
                  </a:lnTo>
                  <a:lnTo>
                    <a:pt x="1162" y="1534"/>
                  </a:lnTo>
                  <a:lnTo>
                    <a:pt x="1180" y="1568"/>
                  </a:lnTo>
                  <a:lnTo>
                    <a:pt x="1209" y="1579"/>
                  </a:lnTo>
                  <a:lnTo>
                    <a:pt x="1314" y="1544"/>
                  </a:lnTo>
                  <a:lnTo>
                    <a:pt x="1424" y="1464"/>
                  </a:lnTo>
                  <a:lnTo>
                    <a:pt x="1354" y="1556"/>
                  </a:lnTo>
                  <a:lnTo>
                    <a:pt x="1314" y="1632"/>
                  </a:lnTo>
                  <a:lnTo>
                    <a:pt x="1250" y="1666"/>
                  </a:lnTo>
                  <a:lnTo>
                    <a:pt x="1354" y="1638"/>
                  </a:lnTo>
                  <a:lnTo>
                    <a:pt x="1441" y="1591"/>
                  </a:lnTo>
                  <a:lnTo>
                    <a:pt x="1378" y="1696"/>
                  </a:lnTo>
                  <a:lnTo>
                    <a:pt x="1319" y="1731"/>
                  </a:lnTo>
                  <a:lnTo>
                    <a:pt x="1413" y="1708"/>
                  </a:lnTo>
                  <a:lnTo>
                    <a:pt x="1436" y="1701"/>
                  </a:lnTo>
                  <a:lnTo>
                    <a:pt x="1418" y="1766"/>
                  </a:lnTo>
                  <a:lnTo>
                    <a:pt x="1384" y="1835"/>
                  </a:lnTo>
                  <a:lnTo>
                    <a:pt x="1406" y="1900"/>
                  </a:lnTo>
                  <a:lnTo>
                    <a:pt x="1518" y="1987"/>
                  </a:lnTo>
                  <a:lnTo>
                    <a:pt x="1546" y="2004"/>
                  </a:lnTo>
                  <a:lnTo>
                    <a:pt x="1640" y="2010"/>
                  </a:lnTo>
                  <a:lnTo>
                    <a:pt x="1720" y="1987"/>
                  </a:lnTo>
                  <a:lnTo>
                    <a:pt x="1698" y="2045"/>
                  </a:lnTo>
                  <a:lnTo>
                    <a:pt x="1738" y="2074"/>
                  </a:lnTo>
                  <a:lnTo>
                    <a:pt x="1866" y="2045"/>
                  </a:lnTo>
                  <a:lnTo>
                    <a:pt x="1930" y="2039"/>
                  </a:lnTo>
                  <a:lnTo>
                    <a:pt x="2006" y="2010"/>
                  </a:lnTo>
                  <a:lnTo>
                    <a:pt x="2081" y="1905"/>
                  </a:lnTo>
                  <a:lnTo>
                    <a:pt x="2145" y="1778"/>
                  </a:lnTo>
                  <a:lnTo>
                    <a:pt x="2198" y="1719"/>
                  </a:lnTo>
                  <a:lnTo>
                    <a:pt x="2256" y="1568"/>
                  </a:lnTo>
                  <a:lnTo>
                    <a:pt x="2343" y="1429"/>
                  </a:lnTo>
                  <a:lnTo>
                    <a:pt x="2343" y="1243"/>
                  </a:lnTo>
                  <a:lnTo>
                    <a:pt x="2313" y="1033"/>
                  </a:lnTo>
                  <a:lnTo>
                    <a:pt x="2256" y="848"/>
                  </a:lnTo>
                  <a:lnTo>
                    <a:pt x="2191" y="755"/>
                  </a:lnTo>
                  <a:lnTo>
                    <a:pt x="2134" y="691"/>
                  </a:lnTo>
                  <a:lnTo>
                    <a:pt x="2069" y="615"/>
                  </a:lnTo>
                  <a:lnTo>
                    <a:pt x="2052" y="587"/>
                  </a:lnTo>
                  <a:lnTo>
                    <a:pt x="2041" y="458"/>
                  </a:lnTo>
                  <a:lnTo>
                    <a:pt x="2029" y="383"/>
                  </a:lnTo>
                  <a:lnTo>
                    <a:pt x="1977" y="343"/>
                  </a:lnTo>
                  <a:lnTo>
                    <a:pt x="1959" y="232"/>
                  </a:lnTo>
                  <a:lnTo>
                    <a:pt x="1930" y="139"/>
                  </a:lnTo>
                  <a:lnTo>
                    <a:pt x="1895" y="179"/>
                  </a:lnTo>
                  <a:lnTo>
                    <a:pt x="1872" y="266"/>
                  </a:lnTo>
                  <a:lnTo>
                    <a:pt x="1832" y="430"/>
                  </a:lnTo>
                  <a:lnTo>
                    <a:pt x="1785" y="458"/>
                  </a:lnTo>
                  <a:lnTo>
                    <a:pt x="1744" y="458"/>
                  </a:lnTo>
                  <a:lnTo>
                    <a:pt x="1651" y="383"/>
                  </a:lnTo>
                  <a:lnTo>
                    <a:pt x="1581" y="343"/>
                  </a:lnTo>
                  <a:lnTo>
                    <a:pt x="1541" y="301"/>
                  </a:lnTo>
                  <a:lnTo>
                    <a:pt x="1523" y="249"/>
                  </a:lnTo>
                  <a:lnTo>
                    <a:pt x="1570" y="179"/>
                  </a:lnTo>
                  <a:lnTo>
                    <a:pt x="1581" y="122"/>
                  </a:lnTo>
                  <a:lnTo>
                    <a:pt x="1593" y="99"/>
                  </a:lnTo>
                  <a:lnTo>
                    <a:pt x="1546" y="110"/>
                  </a:lnTo>
                  <a:lnTo>
                    <a:pt x="1424" y="41"/>
                  </a:lnTo>
                  <a:lnTo>
                    <a:pt x="1378" y="0"/>
                  </a:lnTo>
                  <a:lnTo>
                    <a:pt x="1337" y="0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65" name="Freeform 861"/>
            <p:cNvSpPr/>
            <p:nvPr/>
          </p:nvSpPr>
          <p:spPr bwMode="auto">
            <a:xfrm>
              <a:off x="4067175" y="3065463"/>
              <a:ext cx="38100" cy="76200"/>
            </a:xfrm>
            <a:custGeom>
              <a:avLst/>
              <a:gdLst>
                <a:gd name="T0" fmla="*/ 9 w 88"/>
                <a:gd name="T1" fmla="*/ 4 h 204"/>
                <a:gd name="T2" fmla="*/ 4 w 88"/>
                <a:gd name="T3" fmla="*/ 0 h 204"/>
                <a:gd name="T4" fmla="*/ 0 w 88"/>
                <a:gd name="T5" fmla="*/ 4 h 204"/>
                <a:gd name="T6" fmla="*/ 0 w 88"/>
                <a:gd name="T7" fmla="*/ 14 h 204"/>
                <a:gd name="T8" fmla="*/ 4 w 88"/>
                <a:gd name="T9" fmla="*/ 18 h 204"/>
                <a:gd name="T10" fmla="*/ 7 w 88"/>
                <a:gd name="T11" fmla="*/ 14 h 204"/>
                <a:gd name="T12" fmla="*/ 7 w 88"/>
                <a:gd name="T13" fmla="*/ 8 h 204"/>
                <a:gd name="T14" fmla="*/ 9 w 88"/>
                <a:gd name="T15" fmla="*/ 4 h 2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204"/>
                <a:gd name="T26" fmla="*/ 88 w 88"/>
                <a:gd name="T27" fmla="*/ 204 h 2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204">
                  <a:moveTo>
                    <a:pt x="88" y="47"/>
                  </a:moveTo>
                  <a:lnTo>
                    <a:pt x="41" y="0"/>
                  </a:lnTo>
                  <a:lnTo>
                    <a:pt x="0" y="47"/>
                  </a:lnTo>
                  <a:lnTo>
                    <a:pt x="0" y="157"/>
                  </a:lnTo>
                  <a:lnTo>
                    <a:pt x="41" y="204"/>
                  </a:lnTo>
                  <a:lnTo>
                    <a:pt x="70" y="157"/>
                  </a:lnTo>
                  <a:lnTo>
                    <a:pt x="70" y="94"/>
                  </a:lnTo>
                  <a:lnTo>
                    <a:pt x="88" y="47"/>
                  </a:lnTo>
                  <a:close/>
                </a:path>
              </a:pathLst>
            </a:custGeom>
            <a:grpFill/>
            <a:ln w="9525">
              <a:solidFill>
                <a:schemeClr val="accent5">
                  <a:lumMod val="20000"/>
                  <a:lumOff val="8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 sz="1600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5124" name="Freeform 4"/>
          <p:cNvSpPr>
            <a:spLocks noChangeAspect="1" noChangeArrowheads="1"/>
          </p:cNvSpPr>
          <p:nvPr/>
        </p:nvSpPr>
        <p:spPr bwMode="auto">
          <a:xfrm rot="8587169" flipH="1">
            <a:off x="5634567" y="2859618"/>
            <a:ext cx="6091767" cy="1511300"/>
          </a:xfrm>
          <a:custGeom>
            <a:avLst/>
            <a:gdLst>
              <a:gd name="T0" fmla="*/ 2147483647 w 2706"/>
              <a:gd name="T1" fmla="*/ 2147483647 h 1093"/>
              <a:gd name="T2" fmla="*/ 2147483647 w 2706"/>
              <a:gd name="T3" fmla="*/ 2147483647 h 1093"/>
              <a:gd name="T4" fmla="*/ 2147483647 w 2706"/>
              <a:gd name="T5" fmla="*/ 2147483647 h 1093"/>
              <a:gd name="T6" fmla="*/ 2147483647 w 2706"/>
              <a:gd name="T7" fmla="*/ 2147483647 h 1093"/>
              <a:gd name="T8" fmla="*/ 2147483647 w 2706"/>
              <a:gd name="T9" fmla="*/ 2147483647 h 1093"/>
              <a:gd name="T10" fmla="*/ 2147483647 w 2706"/>
              <a:gd name="T11" fmla="*/ 2147483647 h 1093"/>
              <a:gd name="T12" fmla="*/ 2147483647 w 2706"/>
              <a:gd name="T13" fmla="*/ 2147483647 h 1093"/>
              <a:gd name="T14" fmla="*/ 2147483647 w 2706"/>
              <a:gd name="T15" fmla="*/ 2147483647 h 1093"/>
              <a:gd name="T16" fmla="*/ 2147483647 w 2706"/>
              <a:gd name="T17" fmla="*/ 2147483647 h 1093"/>
              <a:gd name="T18" fmla="*/ 2147483647 w 2706"/>
              <a:gd name="T19" fmla="*/ 2147483647 h 1093"/>
              <a:gd name="T20" fmla="*/ 2147483647 w 2706"/>
              <a:gd name="T21" fmla="*/ 2147483647 h 1093"/>
              <a:gd name="T22" fmla="*/ 2147483647 w 2706"/>
              <a:gd name="T23" fmla="*/ 2147483647 h 1093"/>
              <a:gd name="T24" fmla="*/ 2147483647 w 2706"/>
              <a:gd name="T25" fmla="*/ 2147483647 h 1093"/>
              <a:gd name="T26" fmla="*/ 2147483647 w 2706"/>
              <a:gd name="T27" fmla="*/ 2147483647 h 1093"/>
              <a:gd name="T28" fmla="*/ 2147483647 w 2706"/>
              <a:gd name="T29" fmla="*/ 2147483647 h 1093"/>
              <a:gd name="T30" fmla="*/ 2147483647 w 2706"/>
              <a:gd name="T31" fmla="*/ 2147483647 h 1093"/>
              <a:gd name="T32" fmla="*/ 2147483647 w 2706"/>
              <a:gd name="T33" fmla="*/ 2147483647 h 1093"/>
              <a:gd name="T34" fmla="*/ 2147483647 w 2706"/>
              <a:gd name="T35" fmla="*/ 2147483647 h 1093"/>
              <a:gd name="T36" fmla="*/ 2147483647 w 2706"/>
              <a:gd name="T37" fmla="*/ 2147483647 h 1093"/>
              <a:gd name="T38" fmla="*/ 2147483647 w 2706"/>
              <a:gd name="T39" fmla="*/ 2147483647 h 1093"/>
              <a:gd name="T40" fmla="*/ 2147483647 w 2706"/>
              <a:gd name="T41" fmla="*/ 2147483647 h 1093"/>
              <a:gd name="T42" fmla="*/ 2147483647 w 2706"/>
              <a:gd name="T43" fmla="*/ 2147483647 h 1093"/>
              <a:gd name="T44" fmla="*/ 2147483647 w 2706"/>
              <a:gd name="T45" fmla="*/ 2147483647 h 1093"/>
              <a:gd name="T46" fmla="*/ 2147483647 w 2706"/>
              <a:gd name="T47" fmla="*/ 2147483647 h 1093"/>
              <a:gd name="T48" fmla="*/ 2147483647 w 2706"/>
              <a:gd name="T49" fmla="*/ 2147483647 h 1093"/>
              <a:gd name="T50" fmla="*/ 2147483647 w 2706"/>
              <a:gd name="T51" fmla="*/ 2147483647 h 1093"/>
              <a:gd name="T52" fmla="*/ 2147483647 w 2706"/>
              <a:gd name="T53" fmla="*/ 2147483647 h 1093"/>
              <a:gd name="T54" fmla="*/ 2147483647 w 2706"/>
              <a:gd name="T55" fmla="*/ 2147483647 h 1093"/>
              <a:gd name="T56" fmla="*/ 2147483647 w 2706"/>
              <a:gd name="T57" fmla="*/ 2147483647 h 1093"/>
              <a:gd name="T58" fmla="*/ 2147483647 w 2706"/>
              <a:gd name="T59" fmla="*/ 2147483647 h 1093"/>
              <a:gd name="T60" fmla="*/ 2147483647 w 2706"/>
              <a:gd name="T61" fmla="*/ 2147483647 h 1093"/>
              <a:gd name="T62" fmla="*/ 2147483647 w 2706"/>
              <a:gd name="T63" fmla="*/ 2147483647 h 109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706" h="1093">
                <a:moveTo>
                  <a:pt x="0" y="1093"/>
                </a:moveTo>
                <a:lnTo>
                  <a:pt x="247" y="884"/>
                </a:lnTo>
                <a:lnTo>
                  <a:pt x="350" y="793"/>
                </a:lnTo>
                <a:lnTo>
                  <a:pt x="451" y="708"/>
                </a:lnTo>
                <a:lnTo>
                  <a:pt x="553" y="631"/>
                </a:lnTo>
                <a:lnTo>
                  <a:pt x="655" y="562"/>
                </a:lnTo>
                <a:lnTo>
                  <a:pt x="756" y="497"/>
                </a:lnTo>
                <a:lnTo>
                  <a:pt x="856" y="439"/>
                </a:lnTo>
                <a:lnTo>
                  <a:pt x="955" y="388"/>
                </a:lnTo>
                <a:lnTo>
                  <a:pt x="1053" y="342"/>
                </a:lnTo>
                <a:lnTo>
                  <a:pt x="1148" y="300"/>
                </a:lnTo>
                <a:lnTo>
                  <a:pt x="1242" y="264"/>
                </a:lnTo>
                <a:lnTo>
                  <a:pt x="1331" y="232"/>
                </a:lnTo>
                <a:lnTo>
                  <a:pt x="1419" y="204"/>
                </a:lnTo>
                <a:lnTo>
                  <a:pt x="1504" y="182"/>
                </a:lnTo>
                <a:lnTo>
                  <a:pt x="1586" y="160"/>
                </a:lnTo>
                <a:lnTo>
                  <a:pt x="1664" y="144"/>
                </a:lnTo>
                <a:lnTo>
                  <a:pt x="1737" y="131"/>
                </a:lnTo>
                <a:lnTo>
                  <a:pt x="1807" y="121"/>
                </a:lnTo>
                <a:lnTo>
                  <a:pt x="1871" y="112"/>
                </a:lnTo>
                <a:lnTo>
                  <a:pt x="1932" y="107"/>
                </a:lnTo>
                <a:lnTo>
                  <a:pt x="1988" y="103"/>
                </a:lnTo>
                <a:lnTo>
                  <a:pt x="2038" y="100"/>
                </a:lnTo>
                <a:lnTo>
                  <a:pt x="2082" y="99"/>
                </a:lnTo>
                <a:lnTo>
                  <a:pt x="2121" y="100"/>
                </a:lnTo>
                <a:lnTo>
                  <a:pt x="2152" y="99"/>
                </a:lnTo>
                <a:lnTo>
                  <a:pt x="2178" y="101"/>
                </a:lnTo>
                <a:lnTo>
                  <a:pt x="2195" y="102"/>
                </a:lnTo>
                <a:lnTo>
                  <a:pt x="2206" y="102"/>
                </a:lnTo>
                <a:lnTo>
                  <a:pt x="2210" y="102"/>
                </a:lnTo>
                <a:lnTo>
                  <a:pt x="2146" y="0"/>
                </a:lnTo>
                <a:lnTo>
                  <a:pt x="2706" y="330"/>
                </a:lnTo>
                <a:lnTo>
                  <a:pt x="2270" y="473"/>
                </a:lnTo>
                <a:lnTo>
                  <a:pt x="2336" y="358"/>
                </a:lnTo>
                <a:lnTo>
                  <a:pt x="2335" y="357"/>
                </a:lnTo>
                <a:lnTo>
                  <a:pt x="2326" y="354"/>
                </a:lnTo>
                <a:lnTo>
                  <a:pt x="2313" y="350"/>
                </a:lnTo>
                <a:lnTo>
                  <a:pt x="2293" y="345"/>
                </a:lnTo>
                <a:lnTo>
                  <a:pt x="2270" y="337"/>
                </a:lnTo>
                <a:lnTo>
                  <a:pt x="2241" y="330"/>
                </a:lnTo>
                <a:lnTo>
                  <a:pt x="2207" y="323"/>
                </a:lnTo>
                <a:lnTo>
                  <a:pt x="2168" y="317"/>
                </a:lnTo>
                <a:lnTo>
                  <a:pt x="2124" y="311"/>
                </a:lnTo>
                <a:lnTo>
                  <a:pt x="2075" y="306"/>
                </a:lnTo>
                <a:lnTo>
                  <a:pt x="2024" y="301"/>
                </a:lnTo>
                <a:lnTo>
                  <a:pt x="1966" y="298"/>
                </a:lnTo>
                <a:lnTo>
                  <a:pt x="1905" y="295"/>
                </a:lnTo>
                <a:lnTo>
                  <a:pt x="1838" y="298"/>
                </a:lnTo>
                <a:lnTo>
                  <a:pt x="1767" y="301"/>
                </a:lnTo>
                <a:lnTo>
                  <a:pt x="1692" y="309"/>
                </a:lnTo>
                <a:lnTo>
                  <a:pt x="1613" y="317"/>
                </a:lnTo>
                <a:lnTo>
                  <a:pt x="1533" y="330"/>
                </a:lnTo>
                <a:lnTo>
                  <a:pt x="1445" y="349"/>
                </a:lnTo>
                <a:lnTo>
                  <a:pt x="1354" y="371"/>
                </a:lnTo>
                <a:lnTo>
                  <a:pt x="1262" y="397"/>
                </a:lnTo>
                <a:lnTo>
                  <a:pt x="1164" y="428"/>
                </a:lnTo>
                <a:lnTo>
                  <a:pt x="1065" y="464"/>
                </a:lnTo>
                <a:lnTo>
                  <a:pt x="960" y="505"/>
                </a:lnTo>
                <a:lnTo>
                  <a:pt x="853" y="553"/>
                </a:lnTo>
                <a:lnTo>
                  <a:pt x="742" y="608"/>
                </a:lnTo>
                <a:lnTo>
                  <a:pt x="629" y="669"/>
                </a:lnTo>
                <a:lnTo>
                  <a:pt x="512" y="736"/>
                </a:lnTo>
                <a:lnTo>
                  <a:pt x="393" y="809"/>
                </a:lnTo>
                <a:lnTo>
                  <a:pt x="271" y="892"/>
                </a:lnTo>
                <a:lnTo>
                  <a:pt x="0" y="1093"/>
                </a:lnTo>
                <a:close/>
              </a:path>
            </a:pathLst>
          </a:custGeom>
          <a:gradFill rotWithShape="0">
            <a:gsLst>
              <a:gs pos="0">
                <a:srgbClr val="0070C0"/>
              </a:gs>
              <a:gs pos="50000">
                <a:srgbClr val="C3CAE6"/>
              </a:gs>
              <a:gs pos="100000">
                <a:srgbClr val="E2E5F2"/>
              </a:gs>
            </a:gsLst>
            <a:lin ang="5400000"/>
          </a:gradFill>
          <a:ln w="9525">
            <a:solidFill>
              <a:srgbClr val="0070C0"/>
            </a:solidFill>
            <a:rou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21917" tIns="60958" rIns="121917" bIns="60958"/>
          <a:lstStyle/>
          <a:p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125" name="Text Box 42"/>
          <p:cNvSpPr txBox="1">
            <a:spLocks noChangeArrowheads="1"/>
          </p:cNvSpPr>
          <p:nvPr/>
        </p:nvSpPr>
        <p:spPr bwMode="auto">
          <a:xfrm>
            <a:off x="381001" y="3611033"/>
            <a:ext cx="935567" cy="49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扬州农药厂成立</a:t>
            </a:r>
          </a:p>
        </p:txBody>
      </p:sp>
      <p:sp>
        <p:nvSpPr>
          <p:cNvPr id="5126" name="Text Box 43"/>
          <p:cNvSpPr txBox="1">
            <a:spLocks noChangeArrowheads="1"/>
          </p:cNvSpPr>
          <p:nvPr/>
        </p:nvSpPr>
        <p:spPr bwMode="auto">
          <a:xfrm>
            <a:off x="4004734" y="3208867"/>
            <a:ext cx="931333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500">
                <a:solidFill>
                  <a:srgbClr val="000000"/>
                </a:solidFill>
                <a:ea typeface="微软雅黑" panose="020B0503020204020204" charset="-122"/>
              </a:rPr>
              <a:t>改制为国有独资公司</a:t>
            </a:r>
          </a:p>
        </p:txBody>
      </p:sp>
      <p:sp>
        <p:nvSpPr>
          <p:cNvPr id="5127" name="Text Box 42"/>
          <p:cNvSpPr txBox="1">
            <a:spLocks noChangeArrowheads="1"/>
          </p:cNvSpPr>
          <p:nvPr/>
        </p:nvSpPr>
        <p:spPr bwMode="auto">
          <a:xfrm>
            <a:off x="2861734" y="3490385"/>
            <a:ext cx="6413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500">
                <a:solidFill>
                  <a:srgbClr val="000000"/>
                </a:solidFill>
                <a:ea typeface="微软雅黑" panose="020B0503020204020204" charset="-122"/>
              </a:rPr>
              <a:t>三项制度改革</a:t>
            </a:r>
          </a:p>
        </p:txBody>
      </p:sp>
      <p:sp>
        <p:nvSpPr>
          <p:cNvPr id="5128" name="Text Box 44"/>
          <p:cNvSpPr txBox="1">
            <a:spLocks noChangeArrowheads="1"/>
          </p:cNvSpPr>
          <p:nvPr/>
        </p:nvSpPr>
        <p:spPr bwMode="auto">
          <a:xfrm>
            <a:off x="8481485" y="2775713"/>
            <a:ext cx="933449" cy="493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与中化</a:t>
            </a:r>
            <a:endParaRPr lang="en-US" altLang="zh-CN" sz="1600" dirty="0">
              <a:solidFill>
                <a:srgbClr val="000000"/>
              </a:solidFill>
              <a:ea typeface="微软雅黑" panose="020B0503020204020204" charset="-122"/>
            </a:endParaRPr>
          </a:p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战略合作</a:t>
            </a:r>
          </a:p>
        </p:txBody>
      </p:sp>
      <p:sp>
        <p:nvSpPr>
          <p:cNvPr id="5129" name="Text Box 44"/>
          <p:cNvSpPr txBox="1">
            <a:spLocks noChangeArrowheads="1"/>
          </p:cNvSpPr>
          <p:nvPr/>
        </p:nvSpPr>
        <p:spPr bwMode="auto">
          <a:xfrm>
            <a:off x="5435599" y="3494244"/>
            <a:ext cx="897467" cy="493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扬农股份成功上市</a:t>
            </a:r>
          </a:p>
        </p:txBody>
      </p:sp>
      <p:sp>
        <p:nvSpPr>
          <p:cNvPr id="5130" name="Text Box 53"/>
          <p:cNvSpPr txBox="1">
            <a:spLocks noChangeArrowheads="1"/>
          </p:cNvSpPr>
          <p:nvPr/>
        </p:nvSpPr>
        <p:spPr bwMode="auto">
          <a:xfrm>
            <a:off x="8655051" y="4159252"/>
            <a:ext cx="666749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11</a:t>
            </a:r>
          </a:p>
        </p:txBody>
      </p:sp>
      <p:sp>
        <p:nvSpPr>
          <p:cNvPr id="5131" name="Text Box 49"/>
          <p:cNvSpPr txBox="1">
            <a:spLocks noChangeArrowheads="1"/>
          </p:cNvSpPr>
          <p:nvPr/>
        </p:nvSpPr>
        <p:spPr bwMode="auto">
          <a:xfrm>
            <a:off x="4176185" y="4159252"/>
            <a:ext cx="622300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1997</a:t>
            </a:r>
          </a:p>
        </p:txBody>
      </p:sp>
      <p:sp>
        <p:nvSpPr>
          <p:cNvPr id="5132" name="Text Box 49"/>
          <p:cNvSpPr txBox="1">
            <a:spLocks noChangeArrowheads="1"/>
          </p:cNvSpPr>
          <p:nvPr/>
        </p:nvSpPr>
        <p:spPr bwMode="auto">
          <a:xfrm>
            <a:off x="2819401" y="4159252"/>
            <a:ext cx="664633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1992</a:t>
            </a:r>
          </a:p>
        </p:txBody>
      </p:sp>
      <p:sp>
        <p:nvSpPr>
          <p:cNvPr id="5133" name="Text Box 51"/>
          <p:cNvSpPr txBox="1">
            <a:spLocks noChangeArrowheads="1"/>
          </p:cNvSpPr>
          <p:nvPr/>
        </p:nvSpPr>
        <p:spPr bwMode="auto">
          <a:xfrm>
            <a:off x="5513918" y="4159252"/>
            <a:ext cx="679449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02</a:t>
            </a:r>
          </a:p>
        </p:txBody>
      </p:sp>
      <p:sp>
        <p:nvSpPr>
          <p:cNvPr id="5134" name="Text Box 47"/>
          <p:cNvSpPr txBox="1">
            <a:spLocks noChangeArrowheads="1"/>
          </p:cNvSpPr>
          <p:nvPr/>
        </p:nvSpPr>
        <p:spPr bwMode="auto">
          <a:xfrm>
            <a:off x="1538818" y="4159252"/>
            <a:ext cx="673100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1984</a:t>
            </a:r>
          </a:p>
        </p:txBody>
      </p:sp>
      <p:sp>
        <p:nvSpPr>
          <p:cNvPr id="5135" name="Text Box 42"/>
          <p:cNvSpPr txBox="1">
            <a:spLocks noChangeArrowheads="1"/>
          </p:cNvSpPr>
          <p:nvPr/>
        </p:nvSpPr>
        <p:spPr bwMode="auto">
          <a:xfrm>
            <a:off x="1498600" y="3683000"/>
            <a:ext cx="8233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500">
                <a:solidFill>
                  <a:srgbClr val="000000"/>
                </a:solidFill>
                <a:ea typeface="微软雅黑" panose="020B0503020204020204" charset="-122"/>
              </a:rPr>
              <a:t>实行厂长负责制</a:t>
            </a:r>
          </a:p>
        </p:txBody>
      </p:sp>
      <p:sp>
        <p:nvSpPr>
          <p:cNvPr id="5136" name="Text Box 47"/>
          <p:cNvSpPr txBox="1">
            <a:spLocks noChangeArrowheads="1"/>
          </p:cNvSpPr>
          <p:nvPr/>
        </p:nvSpPr>
        <p:spPr bwMode="auto">
          <a:xfrm>
            <a:off x="495300" y="4159251"/>
            <a:ext cx="654051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1958</a:t>
            </a:r>
          </a:p>
        </p:txBody>
      </p:sp>
      <p:grpSp>
        <p:nvGrpSpPr>
          <p:cNvPr id="5137" name="组合 1"/>
          <p:cNvGrpSpPr/>
          <p:nvPr/>
        </p:nvGrpSpPr>
        <p:grpSpPr bwMode="auto">
          <a:xfrm>
            <a:off x="8595784" y="2299464"/>
            <a:ext cx="770467" cy="378883"/>
            <a:chOff x="6943812" y="2044020"/>
            <a:chExt cx="771481" cy="377825"/>
          </a:xfrm>
        </p:grpSpPr>
        <p:pic>
          <p:nvPicPr>
            <p:cNvPr id="5193" name="图片 30" descr="sinochem.jpg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3812" y="2044020"/>
              <a:ext cx="374650" cy="37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94" name="图片 31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3818" y="2044020"/>
              <a:ext cx="371475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82" name="直接箭头连接符 481"/>
          <p:cNvCxnSpPr/>
          <p:nvPr/>
        </p:nvCxnSpPr>
        <p:spPr>
          <a:xfrm flipV="1">
            <a:off x="806058" y="4793234"/>
            <a:ext cx="10814441" cy="97935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  <a:effectLst>
            <a:glow rad="1397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39" name="组合 176"/>
          <p:cNvGrpSpPr/>
          <p:nvPr/>
        </p:nvGrpSpPr>
        <p:grpSpPr bwMode="auto">
          <a:xfrm>
            <a:off x="1788585" y="4519084"/>
            <a:ext cx="215900" cy="431800"/>
            <a:chOff x="1868993" y="4293144"/>
            <a:chExt cx="215976" cy="432000"/>
          </a:xfrm>
        </p:grpSpPr>
        <p:sp>
          <p:nvSpPr>
            <p:cNvPr id="5190" name="椭圆 483"/>
            <p:cNvSpPr>
              <a:spLocks noChangeAspect="1" noChangeArrowheads="1"/>
            </p:cNvSpPr>
            <p:nvPr/>
          </p:nvSpPr>
          <p:spPr bwMode="auto">
            <a:xfrm>
              <a:off x="1868993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485" name="直接连接符 484"/>
            <p:cNvCxnSpPr>
              <a:stCxn id="5190" idx="0"/>
            </p:cNvCxnSpPr>
            <p:nvPr/>
          </p:nvCxnSpPr>
          <p:spPr>
            <a:xfrm flipV="1">
              <a:off x="1976980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2" name="椭圆 485"/>
            <p:cNvSpPr>
              <a:spLocks noChangeAspect="1" noChangeArrowheads="1"/>
            </p:cNvSpPr>
            <p:nvPr/>
          </p:nvSpPr>
          <p:spPr bwMode="auto">
            <a:xfrm>
              <a:off x="1911341" y="4549379"/>
              <a:ext cx="133396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grpSp>
        <p:nvGrpSpPr>
          <p:cNvPr id="5140" name="组合 180"/>
          <p:cNvGrpSpPr/>
          <p:nvPr/>
        </p:nvGrpSpPr>
        <p:grpSpPr bwMode="auto">
          <a:xfrm>
            <a:off x="3035301" y="4519084"/>
            <a:ext cx="215900" cy="431800"/>
            <a:chOff x="2843856" y="4293144"/>
            <a:chExt cx="215976" cy="432000"/>
          </a:xfrm>
        </p:grpSpPr>
        <p:sp>
          <p:nvSpPr>
            <p:cNvPr id="5187" name="椭圆 487"/>
            <p:cNvSpPr>
              <a:spLocks noChangeAspect="1" noChangeArrowheads="1"/>
            </p:cNvSpPr>
            <p:nvPr/>
          </p:nvSpPr>
          <p:spPr bwMode="auto">
            <a:xfrm>
              <a:off x="2843856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489" name="直接连接符 488"/>
            <p:cNvCxnSpPr>
              <a:stCxn id="5187" idx="0"/>
            </p:cNvCxnSpPr>
            <p:nvPr/>
          </p:nvCxnSpPr>
          <p:spPr>
            <a:xfrm flipV="1">
              <a:off x="2951845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89" name="椭圆 489"/>
            <p:cNvSpPr>
              <a:spLocks noChangeAspect="1" noChangeArrowheads="1"/>
            </p:cNvSpPr>
            <p:nvPr/>
          </p:nvSpPr>
          <p:spPr bwMode="auto">
            <a:xfrm>
              <a:off x="2886204" y="4549379"/>
              <a:ext cx="133398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grpSp>
        <p:nvGrpSpPr>
          <p:cNvPr id="5141" name="组合 184"/>
          <p:cNvGrpSpPr/>
          <p:nvPr/>
        </p:nvGrpSpPr>
        <p:grpSpPr bwMode="auto">
          <a:xfrm>
            <a:off x="4409018" y="4519084"/>
            <a:ext cx="215900" cy="431800"/>
            <a:chOff x="3851968" y="4293144"/>
            <a:chExt cx="215976" cy="432000"/>
          </a:xfrm>
        </p:grpSpPr>
        <p:sp>
          <p:nvSpPr>
            <p:cNvPr id="5184" name="椭圆 491"/>
            <p:cNvSpPr>
              <a:spLocks noChangeAspect="1" noChangeArrowheads="1"/>
            </p:cNvSpPr>
            <p:nvPr/>
          </p:nvSpPr>
          <p:spPr bwMode="auto">
            <a:xfrm>
              <a:off x="3851968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493" name="直接连接符 492"/>
            <p:cNvCxnSpPr>
              <a:stCxn id="5184" idx="0"/>
            </p:cNvCxnSpPr>
            <p:nvPr/>
          </p:nvCxnSpPr>
          <p:spPr>
            <a:xfrm flipV="1">
              <a:off x="3959955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86" name="椭圆 493"/>
            <p:cNvSpPr>
              <a:spLocks noChangeAspect="1" noChangeArrowheads="1"/>
            </p:cNvSpPr>
            <p:nvPr/>
          </p:nvSpPr>
          <p:spPr bwMode="auto">
            <a:xfrm>
              <a:off x="3894316" y="4549379"/>
              <a:ext cx="133396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pic>
        <p:nvPicPr>
          <p:cNvPr id="5142" name="组合 200"/>
          <p:cNvPicPr>
            <a:picLocks noGrp="1"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1" y="4495800"/>
            <a:ext cx="372533" cy="567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43" name="组合 176"/>
          <p:cNvGrpSpPr/>
          <p:nvPr/>
        </p:nvGrpSpPr>
        <p:grpSpPr bwMode="auto">
          <a:xfrm>
            <a:off x="745067" y="4519084"/>
            <a:ext cx="215900" cy="431800"/>
            <a:chOff x="1868993" y="4293144"/>
            <a:chExt cx="215976" cy="432000"/>
          </a:xfrm>
        </p:grpSpPr>
        <p:sp>
          <p:nvSpPr>
            <p:cNvPr id="5181" name="椭圆 503"/>
            <p:cNvSpPr>
              <a:spLocks noChangeAspect="1" noChangeArrowheads="1"/>
            </p:cNvSpPr>
            <p:nvPr/>
          </p:nvSpPr>
          <p:spPr bwMode="auto">
            <a:xfrm>
              <a:off x="1868993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505" name="直接连接符 504"/>
            <p:cNvCxnSpPr>
              <a:stCxn id="5181" idx="0"/>
            </p:cNvCxnSpPr>
            <p:nvPr/>
          </p:nvCxnSpPr>
          <p:spPr>
            <a:xfrm flipV="1">
              <a:off x="1976982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83" name="椭圆 505"/>
            <p:cNvSpPr>
              <a:spLocks noChangeAspect="1" noChangeArrowheads="1"/>
            </p:cNvSpPr>
            <p:nvPr/>
          </p:nvSpPr>
          <p:spPr bwMode="auto">
            <a:xfrm>
              <a:off x="1911341" y="4549379"/>
              <a:ext cx="133398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sp>
        <p:nvSpPr>
          <p:cNvPr id="5144" name="Text Box 49"/>
          <p:cNvSpPr txBox="1">
            <a:spLocks noChangeArrowheads="1"/>
          </p:cNvSpPr>
          <p:nvPr/>
        </p:nvSpPr>
        <p:spPr bwMode="auto">
          <a:xfrm>
            <a:off x="7281334" y="4159252"/>
            <a:ext cx="622300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08</a:t>
            </a:r>
          </a:p>
        </p:txBody>
      </p:sp>
      <p:grpSp>
        <p:nvGrpSpPr>
          <p:cNvPr id="5145" name="组合 184"/>
          <p:cNvGrpSpPr/>
          <p:nvPr/>
        </p:nvGrpSpPr>
        <p:grpSpPr bwMode="auto">
          <a:xfrm>
            <a:off x="7514167" y="4519084"/>
            <a:ext cx="215900" cy="431800"/>
            <a:chOff x="3851968" y="4293144"/>
            <a:chExt cx="215976" cy="432000"/>
          </a:xfrm>
        </p:grpSpPr>
        <p:sp>
          <p:nvSpPr>
            <p:cNvPr id="5178" name="椭圆 508"/>
            <p:cNvSpPr>
              <a:spLocks noChangeAspect="1" noChangeArrowheads="1"/>
            </p:cNvSpPr>
            <p:nvPr/>
          </p:nvSpPr>
          <p:spPr bwMode="auto">
            <a:xfrm>
              <a:off x="3851968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510" name="直接连接符 509"/>
            <p:cNvCxnSpPr>
              <a:stCxn id="5178" idx="0"/>
            </p:cNvCxnSpPr>
            <p:nvPr/>
          </p:nvCxnSpPr>
          <p:spPr>
            <a:xfrm flipV="1">
              <a:off x="3959957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80" name="椭圆 510"/>
            <p:cNvSpPr>
              <a:spLocks noChangeAspect="1" noChangeArrowheads="1"/>
            </p:cNvSpPr>
            <p:nvPr/>
          </p:nvSpPr>
          <p:spPr bwMode="auto">
            <a:xfrm>
              <a:off x="3894316" y="4549379"/>
              <a:ext cx="133398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sp>
        <p:nvSpPr>
          <p:cNvPr id="5146" name="Text Box 44"/>
          <p:cNvSpPr txBox="1">
            <a:spLocks noChangeArrowheads="1"/>
          </p:cNvSpPr>
          <p:nvPr/>
        </p:nvSpPr>
        <p:spPr bwMode="auto">
          <a:xfrm>
            <a:off x="7008284" y="3114770"/>
            <a:ext cx="895349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500" dirty="0">
                <a:solidFill>
                  <a:srgbClr val="000000"/>
                </a:solidFill>
                <a:ea typeface="微软雅黑" panose="020B0503020204020204" charset="-122"/>
              </a:rPr>
              <a:t>与韩国锦湖成立合资公司</a:t>
            </a:r>
          </a:p>
        </p:txBody>
      </p:sp>
      <p:sp>
        <p:nvSpPr>
          <p:cNvPr id="5147" name="Text Box 51"/>
          <p:cNvSpPr txBox="1">
            <a:spLocks noChangeArrowheads="1"/>
          </p:cNvSpPr>
          <p:nvPr/>
        </p:nvSpPr>
        <p:spPr bwMode="auto">
          <a:xfrm>
            <a:off x="5954184" y="5128685"/>
            <a:ext cx="677333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03</a:t>
            </a:r>
          </a:p>
        </p:txBody>
      </p:sp>
      <p:sp>
        <p:nvSpPr>
          <p:cNvPr id="5148" name="Text Box 51"/>
          <p:cNvSpPr txBox="1">
            <a:spLocks noChangeArrowheads="1"/>
          </p:cNvSpPr>
          <p:nvPr/>
        </p:nvSpPr>
        <p:spPr bwMode="auto">
          <a:xfrm>
            <a:off x="7929033" y="5128685"/>
            <a:ext cx="679451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10</a:t>
            </a:r>
          </a:p>
        </p:txBody>
      </p:sp>
      <p:sp>
        <p:nvSpPr>
          <p:cNvPr id="5149" name="Text Box 51"/>
          <p:cNvSpPr txBox="1">
            <a:spLocks noChangeArrowheads="1"/>
          </p:cNvSpPr>
          <p:nvPr/>
        </p:nvSpPr>
        <p:spPr bwMode="auto">
          <a:xfrm>
            <a:off x="9376833" y="5128685"/>
            <a:ext cx="679451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13</a:t>
            </a:r>
          </a:p>
        </p:txBody>
      </p:sp>
      <p:sp>
        <p:nvSpPr>
          <p:cNvPr id="5150" name="Text Box 42"/>
          <p:cNvSpPr txBox="1">
            <a:spLocks noChangeArrowheads="1"/>
          </p:cNvSpPr>
          <p:nvPr/>
        </p:nvSpPr>
        <p:spPr bwMode="auto">
          <a:xfrm>
            <a:off x="5839885" y="5503333"/>
            <a:ext cx="899583" cy="49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建立仪征沿江基地</a:t>
            </a:r>
          </a:p>
        </p:txBody>
      </p:sp>
      <p:sp>
        <p:nvSpPr>
          <p:cNvPr id="5151" name="Text Box 42"/>
          <p:cNvSpPr txBox="1">
            <a:spLocks noChangeArrowheads="1"/>
          </p:cNvSpPr>
          <p:nvPr/>
        </p:nvSpPr>
        <p:spPr bwMode="auto">
          <a:xfrm>
            <a:off x="7821085" y="5503333"/>
            <a:ext cx="884767" cy="49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>
                <a:solidFill>
                  <a:srgbClr val="000000"/>
                </a:solidFill>
                <a:ea typeface="微软雅黑" panose="020B0503020204020204" charset="-122"/>
              </a:rPr>
              <a:t>建立中卫西部基地</a:t>
            </a:r>
          </a:p>
        </p:txBody>
      </p:sp>
      <p:sp>
        <p:nvSpPr>
          <p:cNvPr id="5152" name="Text Box 42"/>
          <p:cNvSpPr txBox="1">
            <a:spLocks noChangeArrowheads="1"/>
          </p:cNvSpPr>
          <p:nvPr/>
        </p:nvSpPr>
        <p:spPr bwMode="auto">
          <a:xfrm>
            <a:off x="9319684" y="5503333"/>
            <a:ext cx="895349" cy="49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 dirty="0">
                <a:solidFill>
                  <a:srgbClr val="000000"/>
                </a:solidFill>
                <a:ea typeface="微软雅黑" panose="020B0503020204020204" charset="-122"/>
              </a:rPr>
              <a:t>建立如东沿海基地</a:t>
            </a:r>
          </a:p>
        </p:txBody>
      </p:sp>
      <p:grpSp>
        <p:nvGrpSpPr>
          <p:cNvPr id="5153" name="组合 188"/>
          <p:cNvGrpSpPr/>
          <p:nvPr/>
        </p:nvGrpSpPr>
        <p:grpSpPr bwMode="auto">
          <a:xfrm>
            <a:off x="6189134" y="4720167"/>
            <a:ext cx="215900" cy="433917"/>
            <a:chOff x="5203038" y="4509120"/>
            <a:chExt cx="215976" cy="432000"/>
          </a:xfrm>
        </p:grpSpPr>
        <p:sp>
          <p:nvSpPr>
            <p:cNvPr id="5175" name="椭圆 519"/>
            <p:cNvSpPr>
              <a:spLocks noChangeAspect="1" noChangeArrowheads="1"/>
            </p:cNvSpPr>
            <p:nvPr/>
          </p:nvSpPr>
          <p:spPr bwMode="auto">
            <a:xfrm rot="10800000">
              <a:off x="5203038" y="4509120"/>
              <a:ext cx="215976" cy="214946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521" name="直接连接符 520"/>
            <p:cNvCxnSpPr>
              <a:stCxn id="5175" idx="0"/>
            </p:cNvCxnSpPr>
            <p:nvPr/>
          </p:nvCxnSpPr>
          <p:spPr>
            <a:xfrm rot="10800000" flipV="1">
              <a:off x="5311027" y="4724066"/>
              <a:ext cx="0" cy="217054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77" name="椭圆 521"/>
            <p:cNvSpPr>
              <a:spLocks noChangeAspect="1" noChangeArrowheads="1"/>
            </p:cNvSpPr>
            <p:nvPr/>
          </p:nvSpPr>
          <p:spPr bwMode="auto">
            <a:xfrm rot="10800000">
              <a:off x="5245386" y="4551266"/>
              <a:ext cx="133398" cy="13276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grpSp>
        <p:nvGrpSpPr>
          <p:cNvPr id="5154" name="组合 204"/>
          <p:cNvGrpSpPr/>
          <p:nvPr/>
        </p:nvGrpSpPr>
        <p:grpSpPr bwMode="auto">
          <a:xfrm>
            <a:off x="9603318" y="4720167"/>
            <a:ext cx="215900" cy="433917"/>
            <a:chOff x="7689380" y="4509120"/>
            <a:chExt cx="215976" cy="432000"/>
          </a:xfrm>
        </p:grpSpPr>
        <p:sp>
          <p:nvSpPr>
            <p:cNvPr id="5172" name="椭圆 523"/>
            <p:cNvSpPr>
              <a:spLocks noChangeAspect="1" noChangeArrowheads="1"/>
            </p:cNvSpPr>
            <p:nvPr/>
          </p:nvSpPr>
          <p:spPr bwMode="auto">
            <a:xfrm rot="10800000">
              <a:off x="7689380" y="4509120"/>
              <a:ext cx="215976" cy="214946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525" name="直接连接符 524"/>
            <p:cNvCxnSpPr>
              <a:stCxn id="5172" idx="0"/>
            </p:cNvCxnSpPr>
            <p:nvPr/>
          </p:nvCxnSpPr>
          <p:spPr>
            <a:xfrm rot="10800000" flipV="1">
              <a:off x="7797367" y="4724066"/>
              <a:ext cx="0" cy="217054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74" name="椭圆 525"/>
            <p:cNvSpPr>
              <a:spLocks noChangeAspect="1" noChangeArrowheads="1"/>
            </p:cNvSpPr>
            <p:nvPr/>
          </p:nvSpPr>
          <p:spPr bwMode="auto">
            <a:xfrm rot="10800000">
              <a:off x="7731728" y="4551266"/>
              <a:ext cx="133396" cy="13276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grpSp>
        <p:nvGrpSpPr>
          <p:cNvPr id="5155" name="组合 188"/>
          <p:cNvGrpSpPr/>
          <p:nvPr/>
        </p:nvGrpSpPr>
        <p:grpSpPr bwMode="auto">
          <a:xfrm>
            <a:off x="8174567" y="4720167"/>
            <a:ext cx="215900" cy="433917"/>
            <a:chOff x="5203038" y="4509120"/>
            <a:chExt cx="215976" cy="432000"/>
          </a:xfrm>
        </p:grpSpPr>
        <p:sp>
          <p:nvSpPr>
            <p:cNvPr id="5169" name="椭圆 527"/>
            <p:cNvSpPr>
              <a:spLocks noChangeAspect="1" noChangeArrowheads="1"/>
            </p:cNvSpPr>
            <p:nvPr/>
          </p:nvSpPr>
          <p:spPr bwMode="auto">
            <a:xfrm rot="10800000">
              <a:off x="5203038" y="4509120"/>
              <a:ext cx="215976" cy="214946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529" name="直接连接符 528"/>
            <p:cNvCxnSpPr>
              <a:stCxn id="5169" idx="0"/>
            </p:cNvCxnSpPr>
            <p:nvPr/>
          </p:nvCxnSpPr>
          <p:spPr>
            <a:xfrm rot="10800000" flipV="1">
              <a:off x="5311027" y="4724066"/>
              <a:ext cx="0" cy="217054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71" name="椭圆 529"/>
            <p:cNvSpPr>
              <a:spLocks noChangeAspect="1" noChangeArrowheads="1"/>
            </p:cNvSpPr>
            <p:nvPr/>
          </p:nvSpPr>
          <p:spPr bwMode="auto">
            <a:xfrm rot="10800000">
              <a:off x="5245386" y="4551266"/>
              <a:ext cx="133398" cy="13276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sp>
        <p:nvSpPr>
          <p:cNvPr id="5156" name="Text Box 51"/>
          <p:cNvSpPr txBox="1">
            <a:spLocks noChangeArrowheads="1"/>
          </p:cNvSpPr>
          <p:nvPr/>
        </p:nvSpPr>
        <p:spPr bwMode="auto">
          <a:xfrm>
            <a:off x="10701867" y="5128685"/>
            <a:ext cx="679451" cy="31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3" tIns="40992" rIns="81983" bIns="40992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500">
                <a:solidFill>
                  <a:srgbClr val="000000"/>
                </a:solidFill>
                <a:ea typeface="微软雅黑" panose="020B0503020204020204" charset="-122"/>
              </a:rPr>
              <a:t>2017</a:t>
            </a:r>
          </a:p>
        </p:txBody>
      </p:sp>
      <p:sp>
        <p:nvSpPr>
          <p:cNvPr id="5157" name="Text Box 42"/>
          <p:cNvSpPr txBox="1">
            <a:spLocks noChangeArrowheads="1"/>
          </p:cNvSpPr>
          <p:nvPr/>
        </p:nvSpPr>
        <p:spPr bwMode="auto">
          <a:xfrm>
            <a:off x="10496551" y="5503333"/>
            <a:ext cx="1092200" cy="493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2625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2625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2625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2625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2625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ctr"/>
            <a:r>
              <a:rPr lang="zh-CN" altLang="en-US" sz="1600">
                <a:solidFill>
                  <a:srgbClr val="000000"/>
                </a:solidFill>
                <a:ea typeface="微软雅黑" panose="020B0503020204020204" charset="-122"/>
              </a:rPr>
              <a:t>入驻连云港徐圩新区</a:t>
            </a:r>
          </a:p>
        </p:txBody>
      </p:sp>
      <p:grpSp>
        <p:nvGrpSpPr>
          <p:cNvPr id="5158" name="组合 204"/>
          <p:cNvGrpSpPr/>
          <p:nvPr/>
        </p:nvGrpSpPr>
        <p:grpSpPr bwMode="auto">
          <a:xfrm>
            <a:off x="10934701" y="4720167"/>
            <a:ext cx="215900" cy="433917"/>
            <a:chOff x="7689380" y="4509120"/>
            <a:chExt cx="215976" cy="432000"/>
          </a:xfrm>
        </p:grpSpPr>
        <p:sp>
          <p:nvSpPr>
            <p:cNvPr id="5166" name="椭圆 268"/>
            <p:cNvSpPr>
              <a:spLocks noChangeAspect="1" noChangeArrowheads="1"/>
            </p:cNvSpPr>
            <p:nvPr/>
          </p:nvSpPr>
          <p:spPr bwMode="auto">
            <a:xfrm rot="10800000">
              <a:off x="7689380" y="4509120"/>
              <a:ext cx="215976" cy="214946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270" name="直接连接符 269"/>
            <p:cNvCxnSpPr>
              <a:stCxn id="5166" idx="0"/>
            </p:cNvCxnSpPr>
            <p:nvPr/>
          </p:nvCxnSpPr>
          <p:spPr>
            <a:xfrm rot="10800000" flipV="1">
              <a:off x="7797369" y="4724066"/>
              <a:ext cx="0" cy="217054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68" name="椭圆 270"/>
            <p:cNvSpPr>
              <a:spLocks noChangeAspect="1" noChangeArrowheads="1"/>
            </p:cNvSpPr>
            <p:nvPr/>
          </p:nvSpPr>
          <p:spPr bwMode="auto">
            <a:xfrm rot="10800000">
              <a:off x="7731728" y="4551266"/>
              <a:ext cx="133398" cy="13276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pic>
        <p:nvPicPr>
          <p:cNvPr id="5159" name="组合 196"/>
          <p:cNvPicPr>
            <a:picLocks noGrp="1"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800" y="4442884"/>
            <a:ext cx="372533" cy="567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60" name="组合 184"/>
          <p:cNvGrpSpPr/>
          <p:nvPr/>
        </p:nvGrpSpPr>
        <p:grpSpPr bwMode="auto">
          <a:xfrm>
            <a:off x="5740401" y="4536017"/>
            <a:ext cx="215900" cy="431800"/>
            <a:chOff x="3851968" y="4293144"/>
            <a:chExt cx="215976" cy="432000"/>
          </a:xfrm>
        </p:grpSpPr>
        <p:sp>
          <p:nvSpPr>
            <p:cNvPr id="5163" name="椭圆 467"/>
            <p:cNvSpPr>
              <a:spLocks noChangeAspect="1" noChangeArrowheads="1"/>
            </p:cNvSpPr>
            <p:nvPr/>
          </p:nvSpPr>
          <p:spPr bwMode="auto">
            <a:xfrm>
              <a:off x="3851968" y="4509144"/>
              <a:ext cx="215976" cy="216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A6A6A6"/>
              </a:solidFill>
              <a:round/>
            </a:ln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  <p:cxnSp>
          <p:nvCxnSpPr>
            <p:cNvPr id="469" name="直接连接符 468"/>
            <p:cNvCxnSpPr>
              <a:stCxn id="5163" idx="0"/>
            </p:cNvCxnSpPr>
            <p:nvPr/>
          </p:nvCxnSpPr>
          <p:spPr>
            <a:xfrm flipV="1">
              <a:off x="3959957" y="4293144"/>
              <a:ext cx="0" cy="216000"/>
            </a:xfrm>
            <a:prstGeom prst="line">
              <a:avLst/>
            </a:prstGeom>
            <a:ln w="317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65" name="椭圆 469"/>
            <p:cNvSpPr>
              <a:spLocks noChangeAspect="1" noChangeArrowheads="1"/>
            </p:cNvSpPr>
            <p:nvPr/>
          </p:nvSpPr>
          <p:spPr bwMode="auto">
            <a:xfrm>
              <a:off x="3894316" y="4549379"/>
              <a:ext cx="133398" cy="135529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rot="10800000" anchor="ctr"/>
            <a:lstStyle/>
            <a:p>
              <a:pPr algn="ctr">
                <a:spcBef>
                  <a:spcPct val="20000"/>
                </a:spcBef>
                <a:buClr>
                  <a:srgbClr val="E1B40C"/>
                </a:buClr>
                <a:buSzPct val="80000"/>
                <a:buFont typeface="Wingdings" panose="05000000000000000000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</a:endParaRPr>
            </a:p>
          </p:txBody>
        </p:sp>
      </p:grpSp>
      <p:sp>
        <p:nvSpPr>
          <p:cNvPr id="5161" name="标题 3"/>
          <p:cNvSpPr txBox="1">
            <a:spLocks noChangeArrowheads="1"/>
          </p:cNvSpPr>
          <p:nvPr/>
        </p:nvSpPr>
        <p:spPr bwMode="auto">
          <a:xfrm>
            <a:off x="999544" y="922900"/>
            <a:ext cx="8788400" cy="611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 anchor="ctr"/>
          <a:lstStyle>
            <a:lvl1pPr defTabSz="685800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5800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5800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5800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5800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>
              <a:lnSpc>
                <a:spcPct val="90000"/>
              </a:lnSpc>
            </a:pPr>
            <a:endParaRPr lang="zh-CN" altLang="en-US" sz="2100">
              <a:ea typeface="微软雅黑" panose="020B0503020204020204" charset="-122"/>
            </a:endParaRPr>
          </a:p>
        </p:txBody>
      </p:sp>
      <p:sp>
        <p:nvSpPr>
          <p:cNvPr id="5162" name="TextBox 33"/>
          <p:cNvSpPr txBox="1">
            <a:spLocks noChangeArrowheads="1"/>
          </p:cNvSpPr>
          <p:nvPr/>
        </p:nvSpPr>
        <p:spPr bwMode="auto">
          <a:xfrm>
            <a:off x="579625" y="1037168"/>
            <a:ext cx="10903294" cy="77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43" tIns="46775" rIns="93543" bIns="46775"/>
          <a:lstStyle>
            <a:lvl1pPr defTabSz="685800">
              <a:defRPr sz="32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1pPr>
            <a:lvl2pPr defTabSz="685800">
              <a:defRPr sz="28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2pPr>
            <a:lvl3pPr defTabSz="685800">
              <a:defRPr sz="24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3pPr>
            <a:lvl4pPr defTabSz="685800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4pPr>
            <a:lvl5pPr defTabSz="685800"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5pPr>
            <a:lvl6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6pPr>
            <a:lvl7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7pPr>
            <a:lvl8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8pPr>
            <a:lvl9pPr defTabSz="6858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charset="-122"/>
                <a:cs typeface="Calibri" panose="020F0502020204030204" charset="0"/>
              </a:defRPr>
            </a:lvl9pPr>
          </a:lstStyle>
          <a:p>
            <a:pPr algn="just">
              <a:lnSpc>
                <a:spcPct val="125000"/>
              </a:lnSpc>
              <a:spcBef>
                <a:spcPct val="20000"/>
              </a:spcBef>
            </a:pPr>
            <a:r>
              <a:rPr lang="zh-CN" altLang="en-US" sz="2000" dirty="0">
                <a:ea typeface="微软雅黑" panose="020B0503020204020204" charset="-122"/>
              </a:rPr>
              <a:t>       扬农</a:t>
            </a:r>
            <a:r>
              <a:rPr lang="zh-CN" altLang="en-US" sz="2000" dirty="0" smtClean="0">
                <a:ea typeface="微软雅黑" panose="020B0503020204020204" charset="-122"/>
              </a:rPr>
              <a:t>集团六十多年</a:t>
            </a:r>
            <a:r>
              <a:rPr lang="zh-CN" altLang="en-US" sz="2000" dirty="0">
                <a:ea typeface="微软雅黑" panose="020B0503020204020204" charset="-122"/>
              </a:rPr>
              <a:t>的创业发展，尤其是近十多年来的体制改革、机制创新和产业优化，推动了企业快速成长，先后建立四个产业基地，并与中化实现全面战略合作。</a:t>
            </a:r>
          </a:p>
        </p:txBody>
      </p:sp>
      <p:sp>
        <p:nvSpPr>
          <p:cNvPr id="3" name="矩形 100"/>
          <p:cNvSpPr/>
          <p:nvPr>
            <p:custDataLst>
              <p:tags r:id="rId1"/>
            </p:custDataLst>
          </p:nvPr>
        </p:nvSpPr>
        <p:spPr>
          <a:xfrm>
            <a:off x="787400" y="299720"/>
            <a:ext cx="3893820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扬农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我们的母公司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7" name="组合 2"/>
          <p:cNvGrpSpPr/>
          <p:nvPr/>
        </p:nvGrpSpPr>
        <p:grpSpPr>
          <a:xfrm>
            <a:off x="367983" y="1725614"/>
            <a:ext cx="11455400" cy="4143374"/>
            <a:chOff x="293300" y="1222370"/>
            <a:chExt cx="11455487" cy="5057572"/>
          </a:xfrm>
        </p:grpSpPr>
        <p:grpSp>
          <p:nvGrpSpPr>
            <p:cNvPr id="24578" name="组合 3"/>
            <p:cNvGrpSpPr/>
            <p:nvPr/>
          </p:nvGrpSpPr>
          <p:grpSpPr>
            <a:xfrm>
              <a:off x="3191774" y="1906439"/>
              <a:ext cx="4103711" cy="3450565"/>
              <a:chOff x="613692" y="606549"/>
              <a:chExt cx="6946028" cy="5709424"/>
            </a:xfrm>
          </p:grpSpPr>
          <p:sp>
            <p:nvSpPr>
              <p:cNvPr id="22" name="江西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5428552" y="4408447"/>
                <a:ext cx="670923" cy="894564"/>
              </a:xfrm>
              <a:custGeom>
                <a:avLst/>
                <a:gdLst>
                  <a:gd name="T0" fmla="*/ 1131 w 1831"/>
                  <a:gd name="T1" fmla="*/ 123 h 2473"/>
                  <a:gd name="T2" fmla="*/ 1175 w 1831"/>
                  <a:gd name="T3" fmla="*/ 214 h 2473"/>
                  <a:gd name="T4" fmla="*/ 1267 w 1831"/>
                  <a:gd name="T5" fmla="*/ 107 h 2473"/>
                  <a:gd name="T6" fmla="*/ 1330 w 1831"/>
                  <a:gd name="T7" fmla="*/ 82 h 2473"/>
                  <a:gd name="T8" fmla="*/ 1477 w 1831"/>
                  <a:gd name="T9" fmla="*/ 183 h 2473"/>
                  <a:gd name="T10" fmla="*/ 1597 w 1831"/>
                  <a:gd name="T11" fmla="*/ 186 h 2473"/>
                  <a:gd name="T12" fmla="*/ 1697 w 1831"/>
                  <a:gd name="T13" fmla="*/ 261 h 2473"/>
                  <a:gd name="T14" fmla="*/ 1637 w 1831"/>
                  <a:gd name="T15" fmla="*/ 341 h 2473"/>
                  <a:gd name="T16" fmla="*/ 1714 w 1831"/>
                  <a:gd name="T17" fmla="*/ 445 h 2473"/>
                  <a:gd name="T18" fmla="*/ 1786 w 1831"/>
                  <a:gd name="T19" fmla="*/ 527 h 2473"/>
                  <a:gd name="T20" fmla="*/ 1828 w 1831"/>
                  <a:gd name="T21" fmla="*/ 689 h 2473"/>
                  <a:gd name="T22" fmla="*/ 1799 w 1831"/>
                  <a:gd name="T23" fmla="*/ 789 h 2473"/>
                  <a:gd name="T24" fmla="*/ 1703 w 1831"/>
                  <a:gd name="T25" fmla="*/ 874 h 2473"/>
                  <a:gd name="T26" fmla="*/ 1591 w 1831"/>
                  <a:gd name="T27" fmla="*/ 940 h 2473"/>
                  <a:gd name="T28" fmla="*/ 1483 w 1831"/>
                  <a:gd name="T29" fmla="*/ 899 h 2473"/>
                  <a:gd name="T30" fmla="*/ 1354 w 1831"/>
                  <a:gd name="T31" fmla="*/ 1025 h 2473"/>
                  <a:gd name="T32" fmla="*/ 1310 w 1831"/>
                  <a:gd name="T33" fmla="*/ 1081 h 2473"/>
                  <a:gd name="T34" fmla="*/ 1370 w 1831"/>
                  <a:gd name="T35" fmla="*/ 1202 h 2473"/>
                  <a:gd name="T36" fmla="*/ 1231 w 1831"/>
                  <a:gd name="T37" fmla="*/ 1332 h 2473"/>
                  <a:gd name="T38" fmla="*/ 1144 w 1831"/>
                  <a:gd name="T39" fmla="*/ 1483 h 2473"/>
                  <a:gd name="T40" fmla="*/ 1174 w 1831"/>
                  <a:gd name="T41" fmla="*/ 1604 h 2473"/>
                  <a:gd name="T42" fmla="*/ 1111 w 1831"/>
                  <a:gd name="T43" fmla="*/ 1693 h 2473"/>
                  <a:gd name="T44" fmla="*/ 1074 w 1831"/>
                  <a:gd name="T45" fmla="*/ 1811 h 2473"/>
                  <a:gd name="T46" fmla="*/ 1012 w 1831"/>
                  <a:gd name="T47" fmla="*/ 1899 h 2473"/>
                  <a:gd name="T48" fmla="*/ 978 w 1831"/>
                  <a:gd name="T49" fmla="*/ 2081 h 2473"/>
                  <a:gd name="T50" fmla="*/ 948 w 1831"/>
                  <a:gd name="T51" fmla="*/ 2209 h 2473"/>
                  <a:gd name="T52" fmla="*/ 924 w 1831"/>
                  <a:gd name="T53" fmla="*/ 2272 h 2473"/>
                  <a:gd name="T54" fmla="*/ 926 w 1831"/>
                  <a:gd name="T55" fmla="*/ 2401 h 2473"/>
                  <a:gd name="T56" fmla="*/ 817 w 1831"/>
                  <a:gd name="T57" fmla="*/ 2366 h 2473"/>
                  <a:gd name="T58" fmla="*/ 678 w 1831"/>
                  <a:gd name="T59" fmla="*/ 2378 h 2473"/>
                  <a:gd name="T60" fmla="*/ 557 w 1831"/>
                  <a:gd name="T61" fmla="*/ 2430 h 2473"/>
                  <a:gd name="T62" fmla="*/ 464 w 1831"/>
                  <a:gd name="T63" fmla="*/ 2441 h 2473"/>
                  <a:gd name="T64" fmla="*/ 340 w 1831"/>
                  <a:gd name="T65" fmla="*/ 2433 h 2473"/>
                  <a:gd name="T66" fmla="*/ 346 w 1831"/>
                  <a:gd name="T67" fmla="*/ 2365 h 2473"/>
                  <a:gd name="T68" fmla="*/ 485 w 1831"/>
                  <a:gd name="T69" fmla="*/ 2195 h 2473"/>
                  <a:gd name="T70" fmla="*/ 489 w 1831"/>
                  <a:gd name="T71" fmla="*/ 2120 h 2473"/>
                  <a:gd name="T72" fmla="*/ 342 w 1831"/>
                  <a:gd name="T73" fmla="*/ 2122 h 2473"/>
                  <a:gd name="T74" fmla="*/ 217 w 1831"/>
                  <a:gd name="T75" fmla="*/ 2094 h 2473"/>
                  <a:gd name="T76" fmla="*/ 170 w 1831"/>
                  <a:gd name="T77" fmla="*/ 1966 h 2473"/>
                  <a:gd name="T78" fmla="*/ 256 w 1831"/>
                  <a:gd name="T79" fmla="*/ 1772 h 2473"/>
                  <a:gd name="T80" fmla="*/ 180 w 1831"/>
                  <a:gd name="T81" fmla="*/ 1733 h 2473"/>
                  <a:gd name="T82" fmla="*/ 220 w 1831"/>
                  <a:gd name="T83" fmla="*/ 1589 h 2473"/>
                  <a:gd name="T84" fmla="*/ 123 w 1831"/>
                  <a:gd name="T85" fmla="*/ 1470 h 2473"/>
                  <a:gd name="T86" fmla="*/ 108 w 1831"/>
                  <a:gd name="T87" fmla="*/ 1296 h 2473"/>
                  <a:gd name="T88" fmla="*/ 35 w 1831"/>
                  <a:gd name="T89" fmla="*/ 1249 h 2473"/>
                  <a:gd name="T90" fmla="*/ 8 w 1831"/>
                  <a:gd name="T91" fmla="*/ 1201 h 2473"/>
                  <a:gd name="T92" fmla="*/ 23 w 1831"/>
                  <a:gd name="T93" fmla="*/ 1103 h 2473"/>
                  <a:gd name="T94" fmla="*/ 145 w 1831"/>
                  <a:gd name="T95" fmla="*/ 949 h 2473"/>
                  <a:gd name="T96" fmla="*/ 189 w 1831"/>
                  <a:gd name="T97" fmla="*/ 871 h 2473"/>
                  <a:gd name="T98" fmla="*/ 218 w 1831"/>
                  <a:gd name="T99" fmla="*/ 758 h 2473"/>
                  <a:gd name="T100" fmla="*/ 193 w 1831"/>
                  <a:gd name="T101" fmla="*/ 671 h 2473"/>
                  <a:gd name="T102" fmla="*/ 139 w 1831"/>
                  <a:gd name="T103" fmla="*/ 551 h 2473"/>
                  <a:gd name="T104" fmla="*/ 189 w 1831"/>
                  <a:gd name="T105" fmla="*/ 429 h 2473"/>
                  <a:gd name="T106" fmla="*/ 313 w 1831"/>
                  <a:gd name="T107" fmla="*/ 376 h 2473"/>
                  <a:gd name="T108" fmla="*/ 473 w 1831"/>
                  <a:gd name="T109" fmla="*/ 318 h 2473"/>
                  <a:gd name="T110" fmla="*/ 486 w 1831"/>
                  <a:gd name="T111" fmla="*/ 284 h 2473"/>
                  <a:gd name="T112" fmla="*/ 556 w 1831"/>
                  <a:gd name="T113" fmla="*/ 260 h 2473"/>
                  <a:gd name="T114" fmla="*/ 611 w 1831"/>
                  <a:gd name="T115" fmla="*/ 219 h 2473"/>
                  <a:gd name="T116" fmla="*/ 759 w 1831"/>
                  <a:gd name="T117" fmla="*/ 124 h 2473"/>
                  <a:gd name="T118" fmla="*/ 914 w 1831"/>
                  <a:gd name="T119" fmla="*/ 123 h 2473"/>
                  <a:gd name="T120" fmla="*/ 1065 w 1831"/>
                  <a:gd name="T121" fmla="*/ 39 h 2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31" h="2473">
                    <a:moveTo>
                      <a:pt x="1143" y="19"/>
                    </a:moveTo>
                    <a:lnTo>
                      <a:pt x="1149" y="27"/>
                    </a:lnTo>
                    <a:lnTo>
                      <a:pt x="1157" y="34"/>
                    </a:lnTo>
                    <a:lnTo>
                      <a:pt x="1162" y="36"/>
                    </a:lnTo>
                    <a:lnTo>
                      <a:pt x="1168" y="39"/>
                    </a:lnTo>
                    <a:lnTo>
                      <a:pt x="1174" y="39"/>
                    </a:lnTo>
                    <a:lnTo>
                      <a:pt x="1179" y="39"/>
                    </a:lnTo>
                    <a:lnTo>
                      <a:pt x="1182" y="40"/>
                    </a:lnTo>
                    <a:lnTo>
                      <a:pt x="1186" y="41"/>
                    </a:lnTo>
                    <a:lnTo>
                      <a:pt x="1188" y="44"/>
                    </a:lnTo>
                    <a:lnTo>
                      <a:pt x="1190" y="47"/>
                    </a:lnTo>
                    <a:lnTo>
                      <a:pt x="1191" y="57"/>
                    </a:lnTo>
                    <a:lnTo>
                      <a:pt x="1190" y="66"/>
                    </a:lnTo>
                    <a:lnTo>
                      <a:pt x="1186" y="76"/>
                    </a:lnTo>
                    <a:lnTo>
                      <a:pt x="1181" y="84"/>
                    </a:lnTo>
                    <a:lnTo>
                      <a:pt x="1174" y="92"/>
                    </a:lnTo>
                    <a:lnTo>
                      <a:pt x="1167" y="101"/>
                    </a:lnTo>
                    <a:lnTo>
                      <a:pt x="1159" y="108"/>
                    </a:lnTo>
                    <a:lnTo>
                      <a:pt x="1150" y="114"/>
                    </a:lnTo>
                    <a:lnTo>
                      <a:pt x="1141" y="118"/>
                    </a:lnTo>
                    <a:lnTo>
                      <a:pt x="1131" y="123"/>
                    </a:lnTo>
                    <a:lnTo>
                      <a:pt x="1128" y="127"/>
                    </a:lnTo>
                    <a:lnTo>
                      <a:pt x="1123" y="130"/>
                    </a:lnTo>
                    <a:lnTo>
                      <a:pt x="1121" y="135"/>
                    </a:lnTo>
                    <a:lnTo>
                      <a:pt x="1117" y="140"/>
                    </a:lnTo>
                    <a:lnTo>
                      <a:pt x="1113" y="152"/>
                    </a:lnTo>
                    <a:lnTo>
                      <a:pt x="1109" y="165"/>
                    </a:lnTo>
                    <a:lnTo>
                      <a:pt x="1105" y="177"/>
                    </a:lnTo>
                    <a:lnTo>
                      <a:pt x="1103" y="185"/>
                    </a:lnTo>
                    <a:lnTo>
                      <a:pt x="1103" y="187"/>
                    </a:lnTo>
                    <a:lnTo>
                      <a:pt x="1103" y="190"/>
                    </a:lnTo>
                    <a:lnTo>
                      <a:pt x="1104" y="193"/>
                    </a:lnTo>
                    <a:lnTo>
                      <a:pt x="1105" y="196"/>
                    </a:lnTo>
                    <a:lnTo>
                      <a:pt x="1111" y="202"/>
                    </a:lnTo>
                    <a:lnTo>
                      <a:pt x="1119" y="208"/>
                    </a:lnTo>
                    <a:lnTo>
                      <a:pt x="1124" y="211"/>
                    </a:lnTo>
                    <a:lnTo>
                      <a:pt x="1130" y="212"/>
                    </a:lnTo>
                    <a:lnTo>
                      <a:pt x="1137" y="214"/>
                    </a:lnTo>
                    <a:lnTo>
                      <a:pt x="1144" y="215"/>
                    </a:lnTo>
                    <a:lnTo>
                      <a:pt x="1157" y="216"/>
                    </a:lnTo>
                    <a:lnTo>
                      <a:pt x="1168" y="215"/>
                    </a:lnTo>
                    <a:lnTo>
                      <a:pt x="1175" y="214"/>
                    </a:lnTo>
                    <a:lnTo>
                      <a:pt x="1185" y="210"/>
                    </a:lnTo>
                    <a:lnTo>
                      <a:pt x="1192" y="205"/>
                    </a:lnTo>
                    <a:lnTo>
                      <a:pt x="1200" y="197"/>
                    </a:lnTo>
                    <a:lnTo>
                      <a:pt x="1209" y="186"/>
                    </a:lnTo>
                    <a:lnTo>
                      <a:pt x="1220" y="175"/>
                    </a:lnTo>
                    <a:lnTo>
                      <a:pt x="1226" y="170"/>
                    </a:lnTo>
                    <a:lnTo>
                      <a:pt x="1234" y="166"/>
                    </a:lnTo>
                    <a:lnTo>
                      <a:pt x="1239" y="162"/>
                    </a:lnTo>
                    <a:lnTo>
                      <a:pt x="1245" y="160"/>
                    </a:lnTo>
                    <a:lnTo>
                      <a:pt x="1255" y="158"/>
                    </a:lnTo>
                    <a:lnTo>
                      <a:pt x="1262" y="154"/>
                    </a:lnTo>
                    <a:lnTo>
                      <a:pt x="1266" y="152"/>
                    </a:lnTo>
                    <a:lnTo>
                      <a:pt x="1268" y="148"/>
                    </a:lnTo>
                    <a:lnTo>
                      <a:pt x="1270" y="145"/>
                    </a:lnTo>
                    <a:lnTo>
                      <a:pt x="1273" y="140"/>
                    </a:lnTo>
                    <a:lnTo>
                      <a:pt x="1274" y="130"/>
                    </a:lnTo>
                    <a:lnTo>
                      <a:pt x="1274" y="120"/>
                    </a:lnTo>
                    <a:lnTo>
                      <a:pt x="1274" y="116"/>
                    </a:lnTo>
                    <a:lnTo>
                      <a:pt x="1272" y="113"/>
                    </a:lnTo>
                    <a:lnTo>
                      <a:pt x="1269" y="109"/>
                    </a:lnTo>
                    <a:lnTo>
                      <a:pt x="1267" y="107"/>
                    </a:lnTo>
                    <a:lnTo>
                      <a:pt x="1263" y="105"/>
                    </a:lnTo>
                    <a:lnTo>
                      <a:pt x="1261" y="102"/>
                    </a:lnTo>
                    <a:lnTo>
                      <a:pt x="1260" y="99"/>
                    </a:lnTo>
                    <a:lnTo>
                      <a:pt x="1259" y="96"/>
                    </a:lnTo>
                    <a:lnTo>
                      <a:pt x="1259" y="92"/>
                    </a:lnTo>
                    <a:lnTo>
                      <a:pt x="1259" y="89"/>
                    </a:lnTo>
                    <a:lnTo>
                      <a:pt x="1261" y="85"/>
                    </a:lnTo>
                    <a:lnTo>
                      <a:pt x="1262" y="83"/>
                    </a:lnTo>
                    <a:lnTo>
                      <a:pt x="1275" y="66"/>
                    </a:lnTo>
                    <a:lnTo>
                      <a:pt x="1288" y="53"/>
                    </a:lnTo>
                    <a:lnTo>
                      <a:pt x="1292" y="51"/>
                    </a:lnTo>
                    <a:lnTo>
                      <a:pt x="1295" y="50"/>
                    </a:lnTo>
                    <a:lnTo>
                      <a:pt x="1300" y="50"/>
                    </a:lnTo>
                    <a:lnTo>
                      <a:pt x="1304" y="50"/>
                    </a:lnTo>
                    <a:lnTo>
                      <a:pt x="1308" y="51"/>
                    </a:lnTo>
                    <a:lnTo>
                      <a:pt x="1312" y="52"/>
                    </a:lnTo>
                    <a:lnTo>
                      <a:pt x="1316" y="55"/>
                    </a:lnTo>
                    <a:lnTo>
                      <a:pt x="1319" y="60"/>
                    </a:lnTo>
                    <a:lnTo>
                      <a:pt x="1324" y="70"/>
                    </a:lnTo>
                    <a:lnTo>
                      <a:pt x="1327" y="78"/>
                    </a:lnTo>
                    <a:lnTo>
                      <a:pt x="1330" y="82"/>
                    </a:lnTo>
                    <a:lnTo>
                      <a:pt x="1332" y="85"/>
                    </a:lnTo>
                    <a:lnTo>
                      <a:pt x="1337" y="86"/>
                    </a:lnTo>
                    <a:lnTo>
                      <a:pt x="1342" y="88"/>
                    </a:lnTo>
                    <a:lnTo>
                      <a:pt x="1355" y="88"/>
                    </a:lnTo>
                    <a:lnTo>
                      <a:pt x="1365" y="88"/>
                    </a:lnTo>
                    <a:lnTo>
                      <a:pt x="1371" y="89"/>
                    </a:lnTo>
                    <a:lnTo>
                      <a:pt x="1376" y="91"/>
                    </a:lnTo>
                    <a:lnTo>
                      <a:pt x="1381" y="95"/>
                    </a:lnTo>
                    <a:lnTo>
                      <a:pt x="1386" y="101"/>
                    </a:lnTo>
                    <a:lnTo>
                      <a:pt x="1396" y="115"/>
                    </a:lnTo>
                    <a:lnTo>
                      <a:pt x="1408" y="134"/>
                    </a:lnTo>
                    <a:lnTo>
                      <a:pt x="1420" y="153"/>
                    </a:lnTo>
                    <a:lnTo>
                      <a:pt x="1428" y="168"/>
                    </a:lnTo>
                    <a:lnTo>
                      <a:pt x="1434" y="180"/>
                    </a:lnTo>
                    <a:lnTo>
                      <a:pt x="1442" y="187"/>
                    </a:lnTo>
                    <a:lnTo>
                      <a:pt x="1444" y="190"/>
                    </a:lnTo>
                    <a:lnTo>
                      <a:pt x="1449" y="190"/>
                    </a:lnTo>
                    <a:lnTo>
                      <a:pt x="1453" y="190"/>
                    </a:lnTo>
                    <a:lnTo>
                      <a:pt x="1458" y="189"/>
                    </a:lnTo>
                    <a:lnTo>
                      <a:pt x="1469" y="184"/>
                    </a:lnTo>
                    <a:lnTo>
                      <a:pt x="1477" y="183"/>
                    </a:lnTo>
                    <a:lnTo>
                      <a:pt x="1480" y="183"/>
                    </a:lnTo>
                    <a:lnTo>
                      <a:pt x="1483" y="184"/>
                    </a:lnTo>
                    <a:lnTo>
                      <a:pt x="1486" y="186"/>
                    </a:lnTo>
                    <a:lnTo>
                      <a:pt x="1488" y="190"/>
                    </a:lnTo>
                    <a:lnTo>
                      <a:pt x="1491" y="195"/>
                    </a:lnTo>
                    <a:lnTo>
                      <a:pt x="1494" y="197"/>
                    </a:lnTo>
                    <a:lnTo>
                      <a:pt x="1497" y="199"/>
                    </a:lnTo>
                    <a:lnTo>
                      <a:pt x="1501" y="199"/>
                    </a:lnTo>
                    <a:lnTo>
                      <a:pt x="1508" y="199"/>
                    </a:lnTo>
                    <a:lnTo>
                      <a:pt x="1515" y="197"/>
                    </a:lnTo>
                    <a:lnTo>
                      <a:pt x="1524" y="195"/>
                    </a:lnTo>
                    <a:lnTo>
                      <a:pt x="1533" y="193"/>
                    </a:lnTo>
                    <a:lnTo>
                      <a:pt x="1543" y="193"/>
                    </a:lnTo>
                    <a:lnTo>
                      <a:pt x="1552" y="196"/>
                    </a:lnTo>
                    <a:lnTo>
                      <a:pt x="1557" y="197"/>
                    </a:lnTo>
                    <a:lnTo>
                      <a:pt x="1562" y="197"/>
                    </a:lnTo>
                    <a:lnTo>
                      <a:pt x="1566" y="197"/>
                    </a:lnTo>
                    <a:lnTo>
                      <a:pt x="1571" y="197"/>
                    </a:lnTo>
                    <a:lnTo>
                      <a:pt x="1579" y="195"/>
                    </a:lnTo>
                    <a:lnTo>
                      <a:pt x="1588" y="190"/>
                    </a:lnTo>
                    <a:lnTo>
                      <a:pt x="1597" y="186"/>
                    </a:lnTo>
                    <a:lnTo>
                      <a:pt x="1608" y="183"/>
                    </a:lnTo>
                    <a:lnTo>
                      <a:pt x="1614" y="183"/>
                    </a:lnTo>
                    <a:lnTo>
                      <a:pt x="1621" y="183"/>
                    </a:lnTo>
                    <a:lnTo>
                      <a:pt x="1629" y="184"/>
                    </a:lnTo>
                    <a:lnTo>
                      <a:pt x="1637" y="186"/>
                    </a:lnTo>
                    <a:lnTo>
                      <a:pt x="1651" y="192"/>
                    </a:lnTo>
                    <a:lnTo>
                      <a:pt x="1661" y="197"/>
                    </a:lnTo>
                    <a:lnTo>
                      <a:pt x="1665" y="199"/>
                    </a:lnTo>
                    <a:lnTo>
                      <a:pt x="1667" y="203"/>
                    </a:lnTo>
                    <a:lnTo>
                      <a:pt x="1670" y="206"/>
                    </a:lnTo>
                    <a:lnTo>
                      <a:pt x="1670" y="212"/>
                    </a:lnTo>
                    <a:lnTo>
                      <a:pt x="1671" y="223"/>
                    </a:lnTo>
                    <a:lnTo>
                      <a:pt x="1672" y="231"/>
                    </a:lnTo>
                    <a:lnTo>
                      <a:pt x="1673" y="235"/>
                    </a:lnTo>
                    <a:lnTo>
                      <a:pt x="1676" y="238"/>
                    </a:lnTo>
                    <a:lnTo>
                      <a:pt x="1679" y="241"/>
                    </a:lnTo>
                    <a:lnTo>
                      <a:pt x="1684" y="243"/>
                    </a:lnTo>
                    <a:lnTo>
                      <a:pt x="1694" y="244"/>
                    </a:lnTo>
                    <a:lnTo>
                      <a:pt x="1698" y="246"/>
                    </a:lnTo>
                    <a:lnTo>
                      <a:pt x="1700" y="250"/>
                    </a:lnTo>
                    <a:lnTo>
                      <a:pt x="1697" y="261"/>
                    </a:lnTo>
                    <a:lnTo>
                      <a:pt x="1696" y="271"/>
                    </a:lnTo>
                    <a:lnTo>
                      <a:pt x="1692" y="280"/>
                    </a:lnTo>
                    <a:lnTo>
                      <a:pt x="1690" y="287"/>
                    </a:lnTo>
                    <a:lnTo>
                      <a:pt x="1686" y="292"/>
                    </a:lnTo>
                    <a:lnTo>
                      <a:pt x="1683" y="296"/>
                    </a:lnTo>
                    <a:lnTo>
                      <a:pt x="1679" y="298"/>
                    </a:lnTo>
                    <a:lnTo>
                      <a:pt x="1671" y="301"/>
                    </a:lnTo>
                    <a:lnTo>
                      <a:pt x="1661" y="303"/>
                    </a:lnTo>
                    <a:lnTo>
                      <a:pt x="1657" y="304"/>
                    </a:lnTo>
                    <a:lnTo>
                      <a:pt x="1653" y="305"/>
                    </a:lnTo>
                    <a:lnTo>
                      <a:pt x="1650" y="307"/>
                    </a:lnTo>
                    <a:lnTo>
                      <a:pt x="1647" y="310"/>
                    </a:lnTo>
                    <a:lnTo>
                      <a:pt x="1646" y="312"/>
                    </a:lnTo>
                    <a:lnTo>
                      <a:pt x="1645" y="316"/>
                    </a:lnTo>
                    <a:lnTo>
                      <a:pt x="1645" y="318"/>
                    </a:lnTo>
                    <a:lnTo>
                      <a:pt x="1645" y="322"/>
                    </a:lnTo>
                    <a:lnTo>
                      <a:pt x="1646" y="326"/>
                    </a:lnTo>
                    <a:lnTo>
                      <a:pt x="1646" y="330"/>
                    </a:lnTo>
                    <a:lnTo>
                      <a:pt x="1644" y="334"/>
                    </a:lnTo>
                    <a:lnTo>
                      <a:pt x="1639" y="337"/>
                    </a:lnTo>
                    <a:lnTo>
                      <a:pt x="1637" y="341"/>
                    </a:lnTo>
                    <a:lnTo>
                      <a:pt x="1635" y="347"/>
                    </a:lnTo>
                    <a:lnTo>
                      <a:pt x="1634" y="354"/>
                    </a:lnTo>
                    <a:lnTo>
                      <a:pt x="1634" y="362"/>
                    </a:lnTo>
                    <a:lnTo>
                      <a:pt x="1635" y="372"/>
                    </a:lnTo>
                    <a:lnTo>
                      <a:pt x="1639" y="381"/>
                    </a:lnTo>
                    <a:lnTo>
                      <a:pt x="1642" y="391"/>
                    </a:lnTo>
                    <a:lnTo>
                      <a:pt x="1647" y="400"/>
                    </a:lnTo>
                    <a:lnTo>
                      <a:pt x="1653" y="408"/>
                    </a:lnTo>
                    <a:lnTo>
                      <a:pt x="1659" y="416"/>
                    </a:lnTo>
                    <a:lnTo>
                      <a:pt x="1665" y="420"/>
                    </a:lnTo>
                    <a:lnTo>
                      <a:pt x="1671" y="425"/>
                    </a:lnTo>
                    <a:lnTo>
                      <a:pt x="1677" y="427"/>
                    </a:lnTo>
                    <a:lnTo>
                      <a:pt x="1683" y="430"/>
                    </a:lnTo>
                    <a:lnTo>
                      <a:pt x="1688" y="431"/>
                    </a:lnTo>
                    <a:lnTo>
                      <a:pt x="1694" y="431"/>
                    </a:lnTo>
                    <a:lnTo>
                      <a:pt x="1702" y="433"/>
                    </a:lnTo>
                    <a:lnTo>
                      <a:pt x="1708" y="436"/>
                    </a:lnTo>
                    <a:lnTo>
                      <a:pt x="1710" y="437"/>
                    </a:lnTo>
                    <a:lnTo>
                      <a:pt x="1713" y="439"/>
                    </a:lnTo>
                    <a:lnTo>
                      <a:pt x="1714" y="442"/>
                    </a:lnTo>
                    <a:lnTo>
                      <a:pt x="1714" y="445"/>
                    </a:lnTo>
                    <a:lnTo>
                      <a:pt x="1714" y="451"/>
                    </a:lnTo>
                    <a:lnTo>
                      <a:pt x="1714" y="456"/>
                    </a:lnTo>
                    <a:lnTo>
                      <a:pt x="1714" y="458"/>
                    </a:lnTo>
                    <a:lnTo>
                      <a:pt x="1715" y="460"/>
                    </a:lnTo>
                    <a:lnTo>
                      <a:pt x="1716" y="460"/>
                    </a:lnTo>
                    <a:lnTo>
                      <a:pt x="1719" y="460"/>
                    </a:lnTo>
                    <a:lnTo>
                      <a:pt x="1723" y="457"/>
                    </a:lnTo>
                    <a:lnTo>
                      <a:pt x="1727" y="456"/>
                    </a:lnTo>
                    <a:lnTo>
                      <a:pt x="1729" y="457"/>
                    </a:lnTo>
                    <a:lnTo>
                      <a:pt x="1732" y="457"/>
                    </a:lnTo>
                    <a:lnTo>
                      <a:pt x="1734" y="460"/>
                    </a:lnTo>
                    <a:lnTo>
                      <a:pt x="1736" y="462"/>
                    </a:lnTo>
                    <a:lnTo>
                      <a:pt x="1741" y="469"/>
                    </a:lnTo>
                    <a:lnTo>
                      <a:pt x="1746" y="477"/>
                    </a:lnTo>
                    <a:lnTo>
                      <a:pt x="1753" y="486"/>
                    </a:lnTo>
                    <a:lnTo>
                      <a:pt x="1763" y="493"/>
                    </a:lnTo>
                    <a:lnTo>
                      <a:pt x="1767" y="496"/>
                    </a:lnTo>
                    <a:lnTo>
                      <a:pt x="1772" y="501"/>
                    </a:lnTo>
                    <a:lnTo>
                      <a:pt x="1776" y="507"/>
                    </a:lnTo>
                    <a:lnTo>
                      <a:pt x="1780" y="513"/>
                    </a:lnTo>
                    <a:lnTo>
                      <a:pt x="1786" y="527"/>
                    </a:lnTo>
                    <a:lnTo>
                      <a:pt x="1791" y="542"/>
                    </a:lnTo>
                    <a:lnTo>
                      <a:pt x="1792" y="548"/>
                    </a:lnTo>
                    <a:lnTo>
                      <a:pt x="1795" y="552"/>
                    </a:lnTo>
                    <a:lnTo>
                      <a:pt x="1797" y="557"/>
                    </a:lnTo>
                    <a:lnTo>
                      <a:pt x="1799" y="559"/>
                    </a:lnTo>
                    <a:lnTo>
                      <a:pt x="1805" y="567"/>
                    </a:lnTo>
                    <a:lnTo>
                      <a:pt x="1815" y="575"/>
                    </a:lnTo>
                    <a:lnTo>
                      <a:pt x="1818" y="581"/>
                    </a:lnTo>
                    <a:lnTo>
                      <a:pt x="1821" y="587"/>
                    </a:lnTo>
                    <a:lnTo>
                      <a:pt x="1822" y="592"/>
                    </a:lnTo>
                    <a:lnTo>
                      <a:pt x="1822" y="597"/>
                    </a:lnTo>
                    <a:lnTo>
                      <a:pt x="1821" y="608"/>
                    </a:lnTo>
                    <a:lnTo>
                      <a:pt x="1817" y="619"/>
                    </a:lnTo>
                    <a:lnTo>
                      <a:pt x="1816" y="625"/>
                    </a:lnTo>
                    <a:lnTo>
                      <a:pt x="1817" y="632"/>
                    </a:lnTo>
                    <a:lnTo>
                      <a:pt x="1817" y="638"/>
                    </a:lnTo>
                    <a:lnTo>
                      <a:pt x="1818" y="645"/>
                    </a:lnTo>
                    <a:lnTo>
                      <a:pt x="1822" y="658"/>
                    </a:lnTo>
                    <a:lnTo>
                      <a:pt x="1823" y="670"/>
                    </a:lnTo>
                    <a:lnTo>
                      <a:pt x="1826" y="679"/>
                    </a:lnTo>
                    <a:lnTo>
                      <a:pt x="1828" y="689"/>
                    </a:lnTo>
                    <a:lnTo>
                      <a:pt x="1830" y="694"/>
                    </a:lnTo>
                    <a:lnTo>
                      <a:pt x="1830" y="697"/>
                    </a:lnTo>
                    <a:lnTo>
                      <a:pt x="1831" y="703"/>
                    </a:lnTo>
                    <a:lnTo>
                      <a:pt x="1830" y="708"/>
                    </a:lnTo>
                    <a:lnTo>
                      <a:pt x="1829" y="715"/>
                    </a:lnTo>
                    <a:lnTo>
                      <a:pt x="1827" y="720"/>
                    </a:lnTo>
                    <a:lnTo>
                      <a:pt x="1823" y="725"/>
                    </a:lnTo>
                    <a:lnTo>
                      <a:pt x="1820" y="728"/>
                    </a:lnTo>
                    <a:lnTo>
                      <a:pt x="1810" y="734"/>
                    </a:lnTo>
                    <a:lnTo>
                      <a:pt x="1801" y="739"/>
                    </a:lnTo>
                    <a:lnTo>
                      <a:pt x="1797" y="741"/>
                    </a:lnTo>
                    <a:lnTo>
                      <a:pt x="1793" y="745"/>
                    </a:lnTo>
                    <a:lnTo>
                      <a:pt x="1791" y="747"/>
                    </a:lnTo>
                    <a:lnTo>
                      <a:pt x="1789" y="751"/>
                    </a:lnTo>
                    <a:lnTo>
                      <a:pt x="1787" y="756"/>
                    </a:lnTo>
                    <a:lnTo>
                      <a:pt x="1787" y="759"/>
                    </a:lnTo>
                    <a:lnTo>
                      <a:pt x="1789" y="764"/>
                    </a:lnTo>
                    <a:lnTo>
                      <a:pt x="1792" y="770"/>
                    </a:lnTo>
                    <a:lnTo>
                      <a:pt x="1796" y="776"/>
                    </a:lnTo>
                    <a:lnTo>
                      <a:pt x="1798" y="782"/>
                    </a:lnTo>
                    <a:lnTo>
                      <a:pt x="1799" y="789"/>
                    </a:lnTo>
                    <a:lnTo>
                      <a:pt x="1801" y="796"/>
                    </a:lnTo>
                    <a:lnTo>
                      <a:pt x="1801" y="802"/>
                    </a:lnTo>
                    <a:lnTo>
                      <a:pt x="1801" y="808"/>
                    </a:lnTo>
                    <a:lnTo>
                      <a:pt x="1798" y="814"/>
                    </a:lnTo>
                    <a:lnTo>
                      <a:pt x="1796" y="817"/>
                    </a:lnTo>
                    <a:lnTo>
                      <a:pt x="1791" y="821"/>
                    </a:lnTo>
                    <a:lnTo>
                      <a:pt x="1786" y="823"/>
                    </a:lnTo>
                    <a:lnTo>
                      <a:pt x="1779" y="826"/>
                    </a:lnTo>
                    <a:lnTo>
                      <a:pt x="1772" y="828"/>
                    </a:lnTo>
                    <a:lnTo>
                      <a:pt x="1755" y="833"/>
                    </a:lnTo>
                    <a:lnTo>
                      <a:pt x="1740" y="836"/>
                    </a:lnTo>
                    <a:lnTo>
                      <a:pt x="1733" y="839"/>
                    </a:lnTo>
                    <a:lnTo>
                      <a:pt x="1726" y="841"/>
                    </a:lnTo>
                    <a:lnTo>
                      <a:pt x="1721" y="845"/>
                    </a:lnTo>
                    <a:lnTo>
                      <a:pt x="1716" y="848"/>
                    </a:lnTo>
                    <a:lnTo>
                      <a:pt x="1713" y="852"/>
                    </a:lnTo>
                    <a:lnTo>
                      <a:pt x="1709" y="857"/>
                    </a:lnTo>
                    <a:lnTo>
                      <a:pt x="1707" y="863"/>
                    </a:lnTo>
                    <a:lnTo>
                      <a:pt x="1705" y="867"/>
                    </a:lnTo>
                    <a:lnTo>
                      <a:pt x="1704" y="872"/>
                    </a:lnTo>
                    <a:lnTo>
                      <a:pt x="1703" y="874"/>
                    </a:lnTo>
                    <a:lnTo>
                      <a:pt x="1701" y="877"/>
                    </a:lnTo>
                    <a:lnTo>
                      <a:pt x="1697" y="877"/>
                    </a:lnTo>
                    <a:lnTo>
                      <a:pt x="1690" y="877"/>
                    </a:lnTo>
                    <a:lnTo>
                      <a:pt x="1682" y="873"/>
                    </a:lnTo>
                    <a:lnTo>
                      <a:pt x="1676" y="873"/>
                    </a:lnTo>
                    <a:lnTo>
                      <a:pt x="1670" y="873"/>
                    </a:lnTo>
                    <a:lnTo>
                      <a:pt x="1663" y="874"/>
                    </a:lnTo>
                    <a:lnTo>
                      <a:pt x="1656" y="877"/>
                    </a:lnTo>
                    <a:lnTo>
                      <a:pt x="1647" y="879"/>
                    </a:lnTo>
                    <a:lnTo>
                      <a:pt x="1639" y="883"/>
                    </a:lnTo>
                    <a:lnTo>
                      <a:pt x="1632" y="887"/>
                    </a:lnTo>
                    <a:lnTo>
                      <a:pt x="1625" y="892"/>
                    </a:lnTo>
                    <a:lnTo>
                      <a:pt x="1618" y="897"/>
                    </a:lnTo>
                    <a:lnTo>
                      <a:pt x="1612" y="903"/>
                    </a:lnTo>
                    <a:lnTo>
                      <a:pt x="1606" y="909"/>
                    </a:lnTo>
                    <a:lnTo>
                      <a:pt x="1601" y="915"/>
                    </a:lnTo>
                    <a:lnTo>
                      <a:pt x="1597" y="921"/>
                    </a:lnTo>
                    <a:lnTo>
                      <a:pt x="1595" y="927"/>
                    </a:lnTo>
                    <a:lnTo>
                      <a:pt x="1593" y="931"/>
                    </a:lnTo>
                    <a:lnTo>
                      <a:pt x="1593" y="936"/>
                    </a:lnTo>
                    <a:lnTo>
                      <a:pt x="1591" y="940"/>
                    </a:lnTo>
                    <a:lnTo>
                      <a:pt x="1589" y="945"/>
                    </a:lnTo>
                    <a:lnTo>
                      <a:pt x="1585" y="948"/>
                    </a:lnTo>
                    <a:lnTo>
                      <a:pt x="1582" y="952"/>
                    </a:lnTo>
                    <a:lnTo>
                      <a:pt x="1577" y="954"/>
                    </a:lnTo>
                    <a:lnTo>
                      <a:pt x="1571" y="955"/>
                    </a:lnTo>
                    <a:lnTo>
                      <a:pt x="1565" y="956"/>
                    </a:lnTo>
                    <a:lnTo>
                      <a:pt x="1559" y="955"/>
                    </a:lnTo>
                    <a:lnTo>
                      <a:pt x="1552" y="953"/>
                    </a:lnTo>
                    <a:lnTo>
                      <a:pt x="1546" y="948"/>
                    </a:lnTo>
                    <a:lnTo>
                      <a:pt x="1540" y="943"/>
                    </a:lnTo>
                    <a:lnTo>
                      <a:pt x="1535" y="939"/>
                    </a:lnTo>
                    <a:lnTo>
                      <a:pt x="1526" y="925"/>
                    </a:lnTo>
                    <a:lnTo>
                      <a:pt x="1519" y="914"/>
                    </a:lnTo>
                    <a:lnTo>
                      <a:pt x="1514" y="908"/>
                    </a:lnTo>
                    <a:lnTo>
                      <a:pt x="1511" y="903"/>
                    </a:lnTo>
                    <a:lnTo>
                      <a:pt x="1506" y="901"/>
                    </a:lnTo>
                    <a:lnTo>
                      <a:pt x="1501" y="898"/>
                    </a:lnTo>
                    <a:lnTo>
                      <a:pt x="1497" y="897"/>
                    </a:lnTo>
                    <a:lnTo>
                      <a:pt x="1493" y="897"/>
                    </a:lnTo>
                    <a:lnTo>
                      <a:pt x="1488" y="898"/>
                    </a:lnTo>
                    <a:lnTo>
                      <a:pt x="1483" y="899"/>
                    </a:lnTo>
                    <a:lnTo>
                      <a:pt x="1474" y="906"/>
                    </a:lnTo>
                    <a:lnTo>
                      <a:pt x="1463" y="915"/>
                    </a:lnTo>
                    <a:lnTo>
                      <a:pt x="1452" y="924"/>
                    </a:lnTo>
                    <a:lnTo>
                      <a:pt x="1444" y="933"/>
                    </a:lnTo>
                    <a:lnTo>
                      <a:pt x="1437" y="937"/>
                    </a:lnTo>
                    <a:lnTo>
                      <a:pt x="1430" y="941"/>
                    </a:lnTo>
                    <a:lnTo>
                      <a:pt x="1421" y="942"/>
                    </a:lnTo>
                    <a:lnTo>
                      <a:pt x="1414" y="943"/>
                    </a:lnTo>
                    <a:lnTo>
                      <a:pt x="1411" y="943"/>
                    </a:lnTo>
                    <a:lnTo>
                      <a:pt x="1408" y="947"/>
                    </a:lnTo>
                    <a:lnTo>
                      <a:pt x="1406" y="952"/>
                    </a:lnTo>
                    <a:lnTo>
                      <a:pt x="1405" y="958"/>
                    </a:lnTo>
                    <a:lnTo>
                      <a:pt x="1404" y="972"/>
                    </a:lnTo>
                    <a:lnTo>
                      <a:pt x="1402" y="985"/>
                    </a:lnTo>
                    <a:lnTo>
                      <a:pt x="1400" y="992"/>
                    </a:lnTo>
                    <a:lnTo>
                      <a:pt x="1396" y="998"/>
                    </a:lnTo>
                    <a:lnTo>
                      <a:pt x="1390" y="1004"/>
                    </a:lnTo>
                    <a:lnTo>
                      <a:pt x="1385" y="1009"/>
                    </a:lnTo>
                    <a:lnTo>
                      <a:pt x="1371" y="1017"/>
                    </a:lnTo>
                    <a:lnTo>
                      <a:pt x="1362" y="1022"/>
                    </a:lnTo>
                    <a:lnTo>
                      <a:pt x="1354" y="1025"/>
                    </a:lnTo>
                    <a:lnTo>
                      <a:pt x="1346" y="1028"/>
                    </a:lnTo>
                    <a:lnTo>
                      <a:pt x="1344" y="1030"/>
                    </a:lnTo>
                    <a:lnTo>
                      <a:pt x="1342" y="1034"/>
                    </a:lnTo>
                    <a:lnTo>
                      <a:pt x="1341" y="1036"/>
                    </a:lnTo>
                    <a:lnTo>
                      <a:pt x="1339" y="1041"/>
                    </a:lnTo>
                    <a:lnTo>
                      <a:pt x="1339" y="1044"/>
                    </a:lnTo>
                    <a:lnTo>
                      <a:pt x="1338" y="1047"/>
                    </a:lnTo>
                    <a:lnTo>
                      <a:pt x="1337" y="1049"/>
                    </a:lnTo>
                    <a:lnTo>
                      <a:pt x="1335" y="1050"/>
                    </a:lnTo>
                    <a:lnTo>
                      <a:pt x="1329" y="1050"/>
                    </a:lnTo>
                    <a:lnTo>
                      <a:pt x="1323" y="1049"/>
                    </a:lnTo>
                    <a:lnTo>
                      <a:pt x="1316" y="1047"/>
                    </a:lnTo>
                    <a:lnTo>
                      <a:pt x="1311" y="1046"/>
                    </a:lnTo>
                    <a:lnTo>
                      <a:pt x="1308" y="1047"/>
                    </a:lnTo>
                    <a:lnTo>
                      <a:pt x="1307" y="1049"/>
                    </a:lnTo>
                    <a:lnTo>
                      <a:pt x="1306" y="1053"/>
                    </a:lnTo>
                    <a:lnTo>
                      <a:pt x="1305" y="1059"/>
                    </a:lnTo>
                    <a:lnTo>
                      <a:pt x="1305" y="1065"/>
                    </a:lnTo>
                    <a:lnTo>
                      <a:pt x="1306" y="1071"/>
                    </a:lnTo>
                    <a:lnTo>
                      <a:pt x="1307" y="1076"/>
                    </a:lnTo>
                    <a:lnTo>
                      <a:pt x="1310" y="1081"/>
                    </a:lnTo>
                    <a:lnTo>
                      <a:pt x="1312" y="1086"/>
                    </a:lnTo>
                    <a:lnTo>
                      <a:pt x="1316" y="1088"/>
                    </a:lnTo>
                    <a:lnTo>
                      <a:pt x="1319" y="1091"/>
                    </a:lnTo>
                    <a:lnTo>
                      <a:pt x="1324" y="1091"/>
                    </a:lnTo>
                    <a:lnTo>
                      <a:pt x="1329" y="1091"/>
                    </a:lnTo>
                    <a:lnTo>
                      <a:pt x="1332" y="1092"/>
                    </a:lnTo>
                    <a:lnTo>
                      <a:pt x="1335" y="1094"/>
                    </a:lnTo>
                    <a:lnTo>
                      <a:pt x="1337" y="1098"/>
                    </a:lnTo>
                    <a:lnTo>
                      <a:pt x="1339" y="1105"/>
                    </a:lnTo>
                    <a:lnTo>
                      <a:pt x="1344" y="1113"/>
                    </a:lnTo>
                    <a:lnTo>
                      <a:pt x="1348" y="1120"/>
                    </a:lnTo>
                    <a:lnTo>
                      <a:pt x="1350" y="1128"/>
                    </a:lnTo>
                    <a:lnTo>
                      <a:pt x="1351" y="1137"/>
                    </a:lnTo>
                    <a:lnTo>
                      <a:pt x="1350" y="1149"/>
                    </a:lnTo>
                    <a:lnTo>
                      <a:pt x="1351" y="1156"/>
                    </a:lnTo>
                    <a:lnTo>
                      <a:pt x="1352" y="1163"/>
                    </a:lnTo>
                    <a:lnTo>
                      <a:pt x="1355" y="1169"/>
                    </a:lnTo>
                    <a:lnTo>
                      <a:pt x="1358" y="1175"/>
                    </a:lnTo>
                    <a:lnTo>
                      <a:pt x="1364" y="1186"/>
                    </a:lnTo>
                    <a:lnTo>
                      <a:pt x="1369" y="1196"/>
                    </a:lnTo>
                    <a:lnTo>
                      <a:pt x="1370" y="1202"/>
                    </a:lnTo>
                    <a:lnTo>
                      <a:pt x="1369" y="1207"/>
                    </a:lnTo>
                    <a:lnTo>
                      <a:pt x="1367" y="1212"/>
                    </a:lnTo>
                    <a:lnTo>
                      <a:pt x="1364" y="1217"/>
                    </a:lnTo>
                    <a:lnTo>
                      <a:pt x="1357" y="1227"/>
                    </a:lnTo>
                    <a:lnTo>
                      <a:pt x="1349" y="1238"/>
                    </a:lnTo>
                    <a:lnTo>
                      <a:pt x="1342" y="1251"/>
                    </a:lnTo>
                    <a:lnTo>
                      <a:pt x="1336" y="1267"/>
                    </a:lnTo>
                    <a:lnTo>
                      <a:pt x="1330" y="1280"/>
                    </a:lnTo>
                    <a:lnTo>
                      <a:pt x="1324" y="1290"/>
                    </a:lnTo>
                    <a:lnTo>
                      <a:pt x="1317" y="1299"/>
                    </a:lnTo>
                    <a:lnTo>
                      <a:pt x="1307" y="1307"/>
                    </a:lnTo>
                    <a:lnTo>
                      <a:pt x="1302" y="1311"/>
                    </a:lnTo>
                    <a:lnTo>
                      <a:pt x="1298" y="1314"/>
                    </a:lnTo>
                    <a:lnTo>
                      <a:pt x="1294" y="1315"/>
                    </a:lnTo>
                    <a:lnTo>
                      <a:pt x="1289" y="1317"/>
                    </a:lnTo>
                    <a:lnTo>
                      <a:pt x="1281" y="1317"/>
                    </a:lnTo>
                    <a:lnTo>
                      <a:pt x="1274" y="1318"/>
                    </a:lnTo>
                    <a:lnTo>
                      <a:pt x="1266" y="1320"/>
                    </a:lnTo>
                    <a:lnTo>
                      <a:pt x="1255" y="1324"/>
                    </a:lnTo>
                    <a:lnTo>
                      <a:pt x="1243" y="1328"/>
                    </a:lnTo>
                    <a:lnTo>
                      <a:pt x="1231" y="1332"/>
                    </a:lnTo>
                    <a:lnTo>
                      <a:pt x="1217" y="1337"/>
                    </a:lnTo>
                    <a:lnTo>
                      <a:pt x="1201" y="1342"/>
                    </a:lnTo>
                    <a:lnTo>
                      <a:pt x="1193" y="1346"/>
                    </a:lnTo>
                    <a:lnTo>
                      <a:pt x="1185" y="1352"/>
                    </a:lnTo>
                    <a:lnTo>
                      <a:pt x="1176" y="1361"/>
                    </a:lnTo>
                    <a:lnTo>
                      <a:pt x="1169" y="1369"/>
                    </a:lnTo>
                    <a:lnTo>
                      <a:pt x="1157" y="1387"/>
                    </a:lnTo>
                    <a:lnTo>
                      <a:pt x="1150" y="1399"/>
                    </a:lnTo>
                    <a:lnTo>
                      <a:pt x="1149" y="1404"/>
                    </a:lnTo>
                    <a:lnTo>
                      <a:pt x="1148" y="1410"/>
                    </a:lnTo>
                    <a:lnTo>
                      <a:pt x="1147" y="1418"/>
                    </a:lnTo>
                    <a:lnTo>
                      <a:pt x="1147" y="1425"/>
                    </a:lnTo>
                    <a:lnTo>
                      <a:pt x="1146" y="1439"/>
                    </a:lnTo>
                    <a:lnTo>
                      <a:pt x="1143" y="1450"/>
                    </a:lnTo>
                    <a:lnTo>
                      <a:pt x="1142" y="1454"/>
                    </a:lnTo>
                    <a:lnTo>
                      <a:pt x="1141" y="1459"/>
                    </a:lnTo>
                    <a:lnTo>
                      <a:pt x="1140" y="1464"/>
                    </a:lnTo>
                    <a:lnTo>
                      <a:pt x="1141" y="1469"/>
                    </a:lnTo>
                    <a:lnTo>
                      <a:pt x="1141" y="1475"/>
                    </a:lnTo>
                    <a:lnTo>
                      <a:pt x="1143" y="1478"/>
                    </a:lnTo>
                    <a:lnTo>
                      <a:pt x="1144" y="1483"/>
                    </a:lnTo>
                    <a:lnTo>
                      <a:pt x="1148" y="1485"/>
                    </a:lnTo>
                    <a:lnTo>
                      <a:pt x="1153" y="1491"/>
                    </a:lnTo>
                    <a:lnTo>
                      <a:pt x="1155" y="1498"/>
                    </a:lnTo>
                    <a:lnTo>
                      <a:pt x="1157" y="1508"/>
                    </a:lnTo>
                    <a:lnTo>
                      <a:pt x="1159" y="1520"/>
                    </a:lnTo>
                    <a:lnTo>
                      <a:pt x="1160" y="1526"/>
                    </a:lnTo>
                    <a:lnTo>
                      <a:pt x="1162" y="1532"/>
                    </a:lnTo>
                    <a:lnTo>
                      <a:pt x="1166" y="1536"/>
                    </a:lnTo>
                    <a:lnTo>
                      <a:pt x="1169" y="1541"/>
                    </a:lnTo>
                    <a:lnTo>
                      <a:pt x="1178" y="1551"/>
                    </a:lnTo>
                    <a:lnTo>
                      <a:pt x="1185" y="1558"/>
                    </a:lnTo>
                    <a:lnTo>
                      <a:pt x="1187" y="1561"/>
                    </a:lnTo>
                    <a:lnTo>
                      <a:pt x="1188" y="1566"/>
                    </a:lnTo>
                    <a:lnTo>
                      <a:pt x="1190" y="1571"/>
                    </a:lnTo>
                    <a:lnTo>
                      <a:pt x="1188" y="1576"/>
                    </a:lnTo>
                    <a:lnTo>
                      <a:pt x="1185" y="1585"/>
                    </a:lnTo>
                    <a:lnTo>
                      <a:pt x="1181" y="1595"/>
                    </a:lnTo>
                    <a:lnTo>
                      <a:pt x="1180" y="1598"/>
                    </a:lnTo>
                    <a:lnTo>
                      <a:pt x="1178" y="1602"/>
                    </a:lnTo>
                    <a:lnTo>
                      <a:pt x="1176" y="1604"/>
                    </a:lnTo>
                    <a:lnTo>
                      <a:pt x="1174" y="1604"/>
                    </a:lnTo>
                    <a:lnTo>
                      <a:pt x="1172" y="1604"/>
                    </a:lnTo>
                    <a:lnTo>
                      <a:pt x="1169" y="1603"/>
                    </a:lnTo>
                    <a:lnTo>
                      <a:pt x="1167" y="1601"/>
                    </a:lnTo>
                    <a:lnTo>
                      <a:pt x="1165" y="1597"/>
                    </a:lnTo>
                    <a:lnTo>
                      <a:pt x="1161" y="1595"/>
                    </a:lnTo>
                    <a:lnTo>
                      <a:pt x="1157" y="1592"/>
                    </a:lnTo>
                    <a:lnTo>
                      <a:pt x="1154" y="1592"/>
                    </a:lnTo>
                    <a:lnTo>
                      <a:pt x="1150" y="1592"/>
                    </a:lnTo>
                    <a:lnTo>
                      <a:pt x="1147" y="1595"/>
                    </a:lnTo>
                    <a:lnTo>
                      <a:pt x="1143" y="1598"/>
                    </a:lnTo>
                    <a:lnTo>
                      <a:pt x="1140" y="1602"/>
                    </a:lnTo>
                    <a:lnTo>
                      <a:pt x="1137" y="1608"/>
                    </a:lnTo>
                    <a:lnTo>
                      <a:pt x="1130" y="1622"/>
                    </a:lnTo>
                    <a:lnTo>
                      <a:pt x="1122" y="1640"/>
                    </a:lnTo>
                    <a:lnTo>
                      <a:pt x="1118" y="1651"/>
                    </a:lnTo>
                    <a:lnTo>
                      <a:pt x="1115" y="1660"/>
                    </a:lnTo>
                    <a:lnTo>
                      <a:pt x="1112" y="1670"/>
                    </a:lnTo>
                    <a:lnTo>
                      <a:pt x="1111" y="1678"/>
                    </a:lnTo>
                    <a:lnTo>
                      <a:pt x="1110" y="1685"/>
                    </a:lnTo>
                    <a:lnTo>
                      <a:pt x="1111" y="1690"/>
                    </a:lnTo>
                    <a:lnTo>
                      <a:pt x="1111" y="1693"/>
                    </a:lnTo>
                    <a:lnTo>
                      <a:pt x="1113" y="1696"/>
                    </a:lnTo>
                    <a:lnTo>
                      <a:pt x="1115" y="1698"/>
                    </a:lnTo>
                    <a:lnTo>
                      <a:pt x="1118" y="1699"/>
                    </a:lnTo>
                    <a:lnTo>
                      <a:pt x="1122" y="1699"/>
                    </a:lnTo>
                    <a:lnTo>
                      <a:pt x="1125" y="1699"/>
                    </a:lnTo>
                    <a:lnTo>
                      <a:pt x="1134" y="1700"/>
                    </a:lnTo>
                    <a:lnTo>
                      <a:pt x="1140" y="1703"/>
                    </a:lnTo>
                    <a:lnTo>
                      <a:pt x="1142" y="1705"/>
                    </a:lnTo>
                    <a:lnTo>
                      <a:pt x="1143" y="1708"/>
                    </a:lnTo>
                    <a:lnTo>
                      <a:pt x="1143" y="1711"/>
                    </a:lnTo>
                    <a:lnTo>
                      <a:pt x="1142" y="1716"/>
                    </a:lnTo>
                    <a:lnTo>
                      <a:pt x="1138" y="1725"/>
                    </a:lnTo>
                    <a:lnTo>
                      <a:pt x="1132" y="1733"/>
                    </a:lnTo>
                    <a:lnTo>
                      <a:pt x="1127" y="1741"/>
                    </a:lnTo>
                    <a:lnTo>
                      <a:pt x="1118" y="1749"/>
                    </a:lnTo>
                    <a:lnTo>
                      <a:pt x="1111" y="1761"/>
                    </a:lnTo>
                    <a:lnTo>
                      <a:pt x="1104" y="1774"/>
                    </a:lnTo>
                    <a:lnTo>
                      <a:pt x="1098" y="1788"/>
                    </a:lnTo>
                    <a:lnTo>
                      <a:pt x="1090" y="1799"/>
                    </a:lnTo>
                    <a:lnTo>
                      <a:pt x="1083" y="1806"/>
                    </a:lnTo>
                    <a:lnTo>
                      <a:pt x="1074" y="1811"/>
                    </a:lnTo>
                    <a:lnTo>
                      <a:pt x="1065" y="1815"/>
                    </a:lnTo>
                    <a:lnTo>
                      <a:pt x="1050" y="1818"/>
                    </a:lnTo>
                    <a:lnTo>
                      <a:pt x="1043" y="1821"/>
                    </a:lnTo>
                    <a:lnTo>
                      <a:pt x="1036" y="1824"/>
                    </a:lnTo>
                    <a:lnTo>
                      <a:pt x="1030" y="1826"/>
                    </a:lnTo>
                    <a:lnTo>
                      <a:pt x="1026" y="1830"/>
                    </a:lnTo>
                    <a:lnTo>
                      <a:pt x="1022" y="1834"/>
                    </a:lnTo>
                    <a:lnTo>
                      <a:pt x="1020" y="1837"/>
                    </a:lnTo>
                    <a:lnTo>
                      <a:pt x="1018" y="1841"/>
                    </a:lnTo>
                    <a:lnTo>
                      <a:pt x="1017" y="1844"/>
                    </a:lnTo>
                    <a:lnTo>
                      <a:pt x="1028" y="1859"/>
                    </a:lnTo>
                    <a:lnTo>
                      <a:pt x="1042" y="1878"/>
                    </a:lnTo>
                    <a:lnTo>
                      <a:pt x="1042" y="1880"/>
                    </a:lnTo>
                    <a:lnTo>
                      <a:pt x="1042" y="1882"/>
                    </a:lnTo>
                    <a:lnTo>
                      <a:pt x="1041" y="1883"/>
                    </a:lnTo>
                    <a:lnTo>
                      <a:pt x="1040" y="1886"/>
                    </a:lnTo>
                    <a:lnTo>
                      <a:pt x="1035" y="1888"/>
                    </a:lnTo>
                    <a:lnTo>
                      <a:pt x="1030" y="1891"/>
                    </a:lnTo>
                    <a:lnTo>
                      <a:pt x="1024" y="1893"/>
                    </a:lnTo>
                    <a:lnTo>
                      <a:pt x="1018" y="1895"/>
                    </a:lnTo>
                    <a:lnTo>
                      <a:pt x="1012" y="1899"/>
                    </a:lnTo>
                    <a:lnTo>
                      <a:pt x="1009" y="1905"/>
                    </a:lnTo>
                    <a:lnTo>
                      <a:pt x="1003" y="1919"/>
                    </a:lnTo>
                    <a:lnTo>
                      <a:pt x="998" y="1937"/>
                    </a:lnTo>
                    <a:lnTo>
                      <a:pt x="997" y="1945"/>
                    </a:lnTo>
                    <a:lnTo>
                      <a:pt x="996" y="1954"/>
                    </a:lnTo>
                    <a:lnTo>
                      <a:pt x="996" y="1962"/>
                    </a:lnTo>
                    <a:lnTo>
                      <a:pt x="997" y="1968"/>
                    </a:lnTo>
                    <a:lnTo>
                      <a:pt x="998" y="1974"/>
                    </a:lnTo>
                    <a:lnTo>
                      <a:pt x="998" y="1979"/>
                    </a:lnTo>
                    <a:lnTo>
                      <a:pt x="998" y="1983"/>
                    </a:lnTo>
                    <a:lnTo>
                      <a:pt x="997" y="1987"/>
                    </a:lnTo>
                    <a:lnTo>
                      <a:pt x="993" y="1994"/>
                    </a:lnTo>
                    <a:lnTo>
                      <a:pt x="989" y="2001"/>
                    </a:lnTo>
                    <a:lnTo>
                      <a:pt x="986" y="2012"/>
                    </a:lnTo>
                    <a:lnTo>
                      <a:pt x="985" y="2024"/>
                    </a:lnTo>
                    <a:lnTo>
                      <a:pt x="985" y="2036"/>
                    </a:lnTo>
                    <a:lnTo>
                      <a:pt x="982" y="2046"/>
                    </a:lnTo>
                    <a:lnTo>
                      <a:pt x="979" y="2057"/>
                    </a:lnTo>
                    <a:lnTo>
                      <a:pt x="979" y="2069"/>
                    </a:lnTo>
                    <a:lnTo>
                      <a:pt x="979" y="2075"/>
                    </a:lnTo>
                    <a:lnTo>
                      <a:pt x="978" y="2081"/>
                    </a:lnTo>
                    <a:lnTo>
                      <a:pt x="978" y="2087"/>
                    </a:lnTo>
                    <a:lnTo>
                      <a:pt x="976" y="2092"/>
                    </a:lnTo>
                    <a:lnTo>
                      <a:pt x="968" y="2101"/>
                    </a:lnTo>
                    <a:lnTo>
                      <a:pt x="959" y="2111"/>
                    </a:lnTo>
                    <a:lnTo>
                      <a:pt x="948" y="2120"/>
                    </a:lnTo>
                    <a:lnTo>
                      <a:pt x="936" y="2130"/>
                    </a:lnTo>
                    <a:lnTo>
                      <a:pt x="932" y="2135"/>
                    </a:lnTo>
                    <a:lnTo>
                      <a:pt x="929" y="2141"/>
                    </a:lnTo>
                    <a:lnTo>
                      <a:pt x="929" y="2149"/>
                    </a:lnTo>
                    <a:lnTo>
                      <a:pt x="929" y="2156"/>
                    </a:lnTo>
                    <a:lnTo>
                      <a:pt x="932" y="2163"/>
                    </a:lnTo>
                    <a:lnTo>
                      <a:pt x="935" y="2170"/>
                    </a:lnTo>
                    <a:lnTo>
                      <a:pt x="940" y="2176"/>
                    </a:lnTo>
                    <a:lnTo>
                      <a:pt x="946" y="2181"/>
                    </a:lnTo>
                    <a:lnTo>
                      <a:pt x="951" y="2185"/>
                    </a:lnTo>
                    <a:lnTo>
                      <a:pt x="954" y="2189"/>
                    </a:lnTo>
                    <a:lnTo>
                      <a:pt x="957" y="2194"/>
                    </a:lnTo>
                    <a:lnTo>
                      <a:pt x="957" y="2197"/>
                    </a:lnTo>
                    <a:lnTo>
                      <a:pt x="955" y="2201"/>
                    </a:lnTo>
                    <a:lnTo>
                      <a:pt x="952" y="2204"/>
                    </a:lnTo>
                    <a:lnTo>
                      <a:pt x="948" y="2209"/>
                    </a:lnTo>
                    <a:lnTo>
                      <a:pt x="943" y="2214"/>
                    </a:lnTo>
                    <a:lnTo>
                      <a:pt x="940" y="2217"/>
                    </a:lnTo>
                    <a:lnTo>
                      <a:pt x="939" y="2222"/>
                    </a:lnTo>
                    <a:lnTo>
                      <a:pt x="939" y="2227"/>
                    </a:lnTo>
                    <a:lnTo>
                      <a:pt x="939" y="2232"/>
                    </a:lnTo>
                    <a:lnTo>
                      <a:pt x="942" y="2242"/>
                    </a:lnTo>
                    <a:lnTo>
                      <a:pt x="945" y="2248"/>
                    </a:lnTo>
                    <a:lnTo>
                      <a:pt x="946" y="2254"/>
                    </a:lnTo>
                    <a:lnTo>
                      <a:pt x="947" y="2266"/>
                    </a:lnTo>
                    <a:lnTo>
                      <a:pt x="947" y="2271"/>
                    </a:lnTo>
                    <a:lnTo>
                      <a:pt x="946" y="2273"/>
                    </a:lnTo>
                    <a:lnTo>
                      <a:pt x="946" y="2276"/>
                    </a:lnTo>
                    <a:lnTo>
                      <a:pt x="943" y="2277"/>
                    </a:lnTo>
                    <a:lnTo>
                      <a:pt x="942" y="2277"/>
                    </a:lnTo>
                    <a:lnTo>
                      <a:pt x="940" y="2277"/>
                    </a:lnTo>
                    <a:lnTo>
                      <a:pt x="939" y="2276"/>
                    </a:lnTo>
                    <a:lnTo>
                      <a:pt x="936" y="2273"/>
                    </a:lnTo>
                    <a:lnTo>
                      <a:pt x="934" y="2271"/>
                    </a:lnTo>
                    <a:lnTo>
                      <a:pt x="932" y="2271"/>
                    </a:lnTo>
                    <a:lnTo>
                      <a:pt x="928" y="2271"/>
                    </a:lnTo>
                    <a:lnTo>
                      <a:pt x="924" y="2272"/>
                    </a:lnTo>
                    <a:lnTo>
                      <a:pt x="921" y="2275"/>
                    </a:lnTo>
                    <a:lnTo>
                      <a:pt x="917" y="2278"/>
                    </a:lnTo>
                    <a:lnTo>
                      <a:pt x="914" y="2283"/>
                    </a:lnTo>
                    <a:lnTo>
                      <a:pt x="910" y="2289"/>
                    </a:lnTo>
                    <a:lnTo>
                      <a:pt x="904" y="2304"/>
                    </a:lnTo>
                    <a:lnTo>
                      <a:pt x="899" y="2321"/>
                    </a:lnTo>
                    <a:lnTo>
                      <a:pt x="896" y="2335"/>
                    </a:lnTo>
                    <a:lnTo>
                      <a:pt x="894" y="2343"/>
                    </a:lnTo>
                    <a:lnTo>
                      <a:pt x="901" y="2354"/>
                    </a:lnTo>
                    <a:lnTo>
                      <a:pt x="904" y="2364"/>
                    </a:lnTo>
                    <a:lnTo>
                      <a:pt x="901" y="2370"/>
                    </a:lnTo>
                    <a:lnTo>
                      <a:pt x="899" y="2376"/>
                    </a:lnTo>
                    <a:lnTo>
                      <a:pt x="899" y="2378"/>
                    </a:lnTo>
                    <a:lnTo>
                      <a:pt x="901" y="2380"/>
                    </a:lnTo>
                    <a:lnTo>
                      <a:pt x="903" y="2383"/>
                    </a:lnTo>
                    <a:lnTo>
                      <a:pt x="908" y="2385"/>
                    </a:lnTo>
                    <a:lnTo>
                      <a:pt x="913" y="2387"/>
                    </a:lnTo>
                    <a:lnTo>
                      <a:pt x="917" y="2391"/>
                    </a:lnTo>
                    <a:lnTo>
                      <a:pt x="921" y="2393"/>
                    </a:lnTo>
                    <a:lnTo>
                      <a:pt x="923" y="2397"/>
                    </a:lnTo>
                    <a:lnTo>
                      <a:pt x="926" y="2401"/>
                    </a:lnTo>
                    <a:lnTo>
                      <a:pt x="927" y="2404"/>
                    </a:lnTo>
                    <a:lnTo>
                      <a:pt x="928" y="2408"/>
                    </a:lnTo>
                    <a:lnTo>
                      <a:pt x="928" y="2411"/>
                    </a:lnTo>
                    <a:lnTo>
                      <a:pt x="927" y="2414"/>
                    </a:lnTo>
                    <a:lnTo>
                      <a:pt x="926" y="2416"/>
                    </a:lnTo>
                    <a:lnTo>
                      <a:pt x="923" y="2418"/>
                    </a:lnTo>
                    <a:lnTo>
                      <a:pt x="921" y="2420"/>
                    </a:lnTo>
                    <a:lnTo>
                      <a:pt x="914" y="2422"/>
                    </a:lnTo>
                    <a:lnTo>
                      <a:pt x="905" y="2422"/>
                    </a:lnTo>
                    <a:lnTo>
                      <a:pt x="897" y="2422"/>
                    </a:lnTo>
                    <a:lnTo>
                      <a:pt x="890" y="2421"/>
                    </a:lnTo>
                    <a:lnTo>
                      <a:pt x="883" y="2417"/>
                    </a:lnTo>
                    <a:lnTo>
                      <a:pt x="877" y="2412"/>
                    </a:lnTo>
                    <a:lnTo>
                      <a:pt x="870" y="2406"/>
                    </a:lnTo>
                    <a:lnTo>
                      <a:pt x="860" y="2401"/>
                    </a:lnTo>
                    <a:lnTo>
                      <a:pt x="852" y="2396"/>
                    </a:lnTo>
                    <a:lnTo>
                      <a:pt x="845" y="2393"/>
                    </a:lnTo>
                    <a:lnTo>
                      <a:pt x="839" y="2391"/>
                    </a:lnTo>
                    <a:lnTo>
                      <a:pt x="832" y="2384"/>
                    </a:lnTo>
                    <a:lnTo>
                      <a:pt x="825" y="2376"/>
                    </a:lnTo>
                    <a:lnTo>
                      <a:pt x="817" y="2366"/>
                    </a:lnTo>
                    <a:lnTo>
                      <a:pt x="810" y="2357"/>
                    </a:lnTo>
                    <a:lnTo>
                      <a:pt x="802" y="2347"/>
                    </a:lnTo>
                    <a:lnTo>
                      <a:pt x="794" y="2339"/>
                    </a:lnTo>
                    <a:lnTo>
                      <a:pt x="785" y="2334"/>
                    </a:lnTo>
                    <a:lnTo>
                      <a:pt x="777" y="2332"/>
                    </a:lnTo>
                    <a:lnTo>
                      <a:pt x="766" y="2330"/>
                    </a:lnTo>
                    <a:lnTo>
                      <a:pt x="762" y="2332"/>
                    </a:lnTo>
                    <a:lnTo>
                      <a:pt x="757" y="2333"/>
                    </a:lnTo>
                    <a:lnTo>
                      <a:pt x="752" y="2334"/>
                    </a:lnTo>
                    <a:lnTo>
                      <a:pt x="749" y="2338"/>
                    </a:lnTo>
                    <a:lnTo>
                      <a:pt x="743" y="2343"/>
                    </a:lnTo>
                    <a:lnTo>
                      <a:pt x="738" y="2347"/>
                    </a:lnTo>
                    <a:lnTo>
                      <a:pt x="733" y="2349"/>
                    </a:lnTo>
                    <a:lnTo>
                      <a:pt x="726" y="2349"/>
                    </a:lnTo>
                    <a:lnTo>
                      <a:pt x="719" y="2349"/>
                    </a:lnTo>
                    <a:lnTo>
                      <a:pt x="712" y="2349"/>
                    </a:lnTo>
                    <a:lnTo>
                      <a:pt x="706" y="2352"/>
                    </a:lnTo>
                    <a:lnTo>
                      <a:pt x="700" y="2358"/>
                    </a:lnTo>
                    <a:lnTo>
                      <a:pt x="691" y="2366"/>
                    </a:lnTo>
                    <a:lnTo>
                      <a:pt x="683" y="2374"/>
                    </a:lnTo>
                    <a:lnTo>
                      <a:pt x="678" y="2378"/>
                    </a:lnTo>
                    <a:lnTo>
                      <a:pt x="674" y="2380"/>
                    </a:lnTo>
                    <a:lnTo>
                      <a:pt x="668" y="2382"/>
                    </a:lnTo>
                    <a:lnTo>
                      <a:pt x="661" y="2383"/>
                    </a:lnTo>
                    <a:lnTo>
                      <a:pt x="647" y="2383"/>
                    </a:lnTo>
                    <a:lnTo>
                      <a:pt x="633" y="2383"/>
                    </a:lnTo>
                    <a:lnTo>
                      <a:pt x="620" y="2383"/>
                    </a:lnTo>
                    <a:lnTo>
                      <a:pt x="608" y="2383"/>
                    </a:lnTo>
                    <a:lnTo>
                      <a:pt x="602" y="2384"/>
                    </a:lnTo>
                    <a:lnTo>
                      <a:pt x="596" y="2385"/>
                    </a:lnTo>
                    <a:lnTo>
                      <a:pt x="592" y="2387"/>
                    </a:lnTo>
                    <a:lnTo>
                      <a:pt x="587" y="2390"/>
                    </a:lnTo>
                    <a:lnTo>
                      <a:pt x="583" y="2393"/>
                    </a:lnTo>
                    <a:lnTo>
                      <a:pt x="580" y="2397"/>
                    </a:lnTo>
                    <a:lnTo>
                      <a:pt x="576" y="2402"/>
                    </a:lnTo>
                    <a:lnTo>
                      <a:pt x="574" y="2406"/>
                    </a:lnTo>
                    <a:lnTo>
                      <a:pt x="570" y="2415"/>
                    </a:lnTo>
                    <a:lnTo>
                      <a:pt x="568" y="2422"/>
                    </a:lnTo>
                    <a:lnTo>
                      <a:pt x="567" y="2427"/>
                    </a:lnTo>
                    <a:lnTo>
                      <a:pt x="563" y="2430"/>
                    </a:lnTo>
                    <a:lnTo>
                      <a:pt x="561" y="2431"/>
                    </a:lnTo>
                    <a:lnTo>
                      <a:pt x="557" y="2430"/>
                    </a:lnTo>
                    <a:lnTo>
                      <a:pt x="554" y="2429"/>
                    </a:lnTo>
                    <a:lnTo>
                      <a:pt x="550" y="2428"/>
                    </a:lnTo>
                    <a:lnTo>
                      <a:pt x="542" y="2423"/>
                    </a:lnTo>
                    <a:lnTo>
                      <a:pt x="533" y="2420"/>
                    </a:lnTo>
                    <a:lnTo>
                      <a:pt x="525" y="2417"/>
                    </a:lnTo>
                    <a:lnTo>
                      <a:pt x="518" y="2417"/>
                    </a:lnTo>
                    <a:lnTo>
                      <a:pt x="516" y="2418"/>
                    </a:lnTo>
                    <a:lnTo>
                      <a:pt x="512" y="2420"/>
                    </a:lnTo>
                    <a:lnTo>
                      <a:pt x="511" y="2422"/>
                    </a:lnTo>
                    <a:lnTo>
                      <a:pt x="508" y="2425"/>
                    </a:lnTo>
                    <a:lnTo>
                      <a:pt x="505" y="2437"/>
                    </a:lnTo>
                    <a:lnTo>
                      <a:pt x="501" y="2445"/>
                    </a:lnTo>
                    <a:lnTo>
                      <a:pt x="498" y="2447"/>
                    </a:lnTo>
                    <a:lnTo>
                      <a:pt x="493" y="2447"/>
                    </a:lnTo>
                    <a:lnTo>
                      <a:pt x="489" y="2446"/>
                    </a:lnTo>
                    <a:lnTo>
                      <a:pt x="485" y="2441"/>
                    </a:lnTo>
                    <a:lnTo>
                      <a:pt x="482" y="2439"/>
                    </a:lnTo>
                    <a:lnTo>
                      <a:pt x="480" y="2437"/>
                    </a:lnTo>
                    <a:lnTo>
                      <a:pt x="476" y="2437"/>
                    </a:lnTo>
                    <a:lnTo>
                      <a:pt x="473" y="2439"/>
                    </a:lnTo>
                    <a:lnTo>
                      <a:pt x="464" y="2441"/>
                    </a:lnTo>
                    <a:lnTo>
                      <a:pt x="456" y="2446"/>
                    </a:lnTo>
                    <a:lnTo>
                      <a:pt x="445" y="2450"/>
                    </a:lnTo>
                    <a:lnTo>
                      <a:pt x="432" y="2456"/>
                    </a:lnTo>
                    <a:lnTo>
                      <a:pt x="419" y="2462"/>
                    </a:lnTo>
                    <a:lnTo>
                      <a:pt x="407" y="2468"/>
                    </a:lnTo>
                    <a:lnTo>
                      <a:pt x="401" y="2471"/>
                    </a:lnTo>
                    <a:lnTo>
                      <a:pt x="397" y="2473"/>
                    </a:lnTo>
                    <a:lnTo>
                      <a:pt x="392" y="2473"/>
                    </a:lnTo>
                    <a:lnTo>
                      <a:pt x="387" y="2473"/>
                    </a:lnTo>
                    <a:lnTo>
                      <a:pt x="384" y="2472"/>
                    </a:lnTo>
                    <a:lnTo>
                      <a:pt x="380" y="2471"/>
                    </a:lnTo>
                    <a:lnTo>
                      <a:pt x="378" y="2468"/>
                    </a:lnTo>
                    <a:lnTo>
                      <a:pt x="376" y="2465"/>
                    </a:lnTo>
                    <a:lnTo>
                      <a:pt x="374" y="2458"/>
                    </a:lnTo>
                    <a:lnTo>
                      <a:pt x="369" y="2448"/>
                    </a:lnTo>
                    <a:lnTo>
                      <a:pt x="367" y="2443"/>
                    </a:lnTo>
                    <a:lnTo>
                      <a:pt x="363" y="2440"/>
                    </a:lnTo>
                    <a:lnTo>
                      <a:pt x="360" y="2437"/>
                    </a:lnTo>
                    <a:lnTo>
                      <a:pt x="356" y="2435"/>
                    </a:lnTo>
                    <a:lnTo>
                      <a:pt x="347" y="2434"/>
                    </a:lnTo>
                    <a:lnTo>
                      <a:pt x="340" y="2433"/>
                    </a:lnTo>
                    <a:lnTo>
                      <a:pt x="336" y="2433"/>
                    </a:lnTo>
                    <a:lnTo>
                      <a:pt x="332" y="2431"/>
                    </a:lnTo>
                    <a:lnTo>
                      <a:pt x="330" y="2429"/>
                    </a:lnTo>
                    <a:lnTo>
                      <a:pt x="328" y="2425"/>
                    </a:lnTo>
                    <a:lnTo>
                      <a:pt x="324" y="2420"/>
                    </a:lnTo>
                    <a:lnTo>
                      <a:pt x="319" y="2415"/>
                    </a:lnTo>
                    <a:lnTo>
                      <a:pt x="315" y="2412"/>
                    </a:lnTo>
                    <a:lnTo>
                      <a:pt x="308" y="2410"/>
                    </a:lnTo>
                    <a:lnTo>
                      <a:pt x="302" y="2409"/>
                    </a:lnTo>
                    <a:lnTo>
                      <a:pt x="297" y="2406"/>
                    </a:lnTo>
                    <a:lnTo>
                      <a:pt x="294" y="2404"/>
                    </a:lnTo>
                    <a:lnTo>
                      <a:pt x="294" y="2402"/>
                    </a:lnTo>
                    <a:lnTo>
                      <a:pt x="294" y="2399"/>
                    </a:lnTo>
                    <a:lnTo>
                      <a:pt x="296" y="2396"/>
                    </a:lnTo>
                    <a:lnTo>
                      <a:pt x="298" y="2392"/>
                    </a:lnTo>
                    <a:lnTo>
                      <a:pt x="303" y="2390"/>
                    </a:lnTo>
                    <a:lnTo>
                      <a:pt x="308" y="2387"/>
                    </a:lnTo>
                    <a:lnTo>
                      <a:pt x="313" y="2385"/>
                    </a:lnTo>
                    <a:lnTo>
                      <a:pt x="327" y="2380"/>
                    </a:lnTo>
                    <a:lnTo>
                      <a:pt x="337" y="2374"/>
                    </a:lnTo>
                    <a:lnTo>
                      <a:pt x="346" y="2365"/>
                    </a:lnTo>
                    <a:lnTo>
                      <a:pt x="355" y="2353"/>
                    </a:lnTo>
                    <a:lnTo>
                      <a:pt x="362" y="2341"/>
                    </a:lnTo>
                    <a:lnTo>
                      <a:pt x="367" y="2332"/>
                    </a:lnTo>
                    <a:lnTo>
                      <a:pt x="368" y="2322"/>
                    </a:lnTo>
                    <a:lnTo>
                      <a:pt x="369" y="2314"/>
                    </a:lnTo>
                    <a:lnTo>
                      <a:pt x="368" y="2304"/>
                    </a:lnTo>
                    <a:lnTo>
                      <a:pt x="368" y="2296"/>
                    </a:lnTo>
                    <a:lnTo>
                      <a:pt x="367" y="2289"/>
                    </a:lnTo>
                    <a:lnTo>
                      <a:pt x="368" y="2282"/>
                    </a:lnTo>
                    <a:lnTo>
                      <a:pt x="371" y="2277"/>
                    </a:lnTo>
                    <a:lnTo>
                      <a:pt x="373" y="2272"/>
                    </a:lnTo>
                    <a:lnTo>
                      <a:pt x="378" y="2267"/>
                    </a:lnTo>
                    <a:lnTo>
                      <a:pt x="385" y="2260"/>
                    </a:lnTo>
                    <a:lnTo>
                      <a:pt x="398" y="2247"/>
                    </a:lnTo>
                    <a:lnTo>
                      <a:pt x="411" y="2238"/>
                    </a:lnTo>
                    <a:lnTo>
                      <a:pt x="423" y="2229"/>
                    </a:lnTo>
                    <a:lnTo>
                      <a:pt x="436" y="2223"/>
                    </a:lnTo>
                    <a:lnTo>
                      <a:pt x="450" y="2217"/>
                    </a:lnTo>
                    <a:lnTo>
                      <a:pt x="462" y="2212"/>
                    </a:lnTo>
                    <a:lnTo>
                      <a:pt x="474" y="2204"/>
                    </a:lnTo>
                    <a:lnTo>
                      <a:pt x="485" y="2195"/>
                    </a:lnTo>
                    <a:lnTo>
                      <a:pt x="488" y="2190"/>
                    </a:lnTo>
                    <a:lnTo>
                      <a:pt x="491" y="2187"/>
                    </a:lnTo>
                    <a:lnTo>
                      <a:pt x="492" y="2183"/>
                    </a:lnTo>
                    <a:lnTo>
                      <a:pt x="492" y="2179"/>
                    </a:lnTo>
                    <a:lnTo>
                      <a:pt x="491" y="2177"/>
                    </a:lnTo>
                    <a:lnTo>
                      <a:pt x="488" y="2175"/>
                    </a:lnTo>
                    <a:lnTo>
                      <a:pt x="486" y="2174"/>
                    </a:lnTo>
                    <a:lnTo>
                      <a:pt x="483" y="2172"/>
                    </a:lnTo>
                    <a:lnTo>
                      <a:pt x="481" y="2171"/>
                    </a:lnTo>
                    <a:lnTo>
                      <a:pt x="480" y="2170"/>
                    </a:lnTo>
                    <a:lnTo>
                      <a:pt x="479" y="2168"/>
                    </a:lnTo>
                    <a:lnTo>
                      <a:pt x="480" y="2165"/>
                    </a:lnTo>
                    <a:lnTo>
                      <a:pt x="482" y="2159"/>
                    </a:lnTo>
                    <a:lnTo>
                      <a:pt x="487" y="2151"/>
                    </a:lnTo>
                    <a:lnTo>
                      <a:pt x="489" y="2146"/>
                    </a:lnTo>
                    <a:lnTo>
                      <a:pt x="492" y="2141"/>
                    </a:lnTo>
                    <a:lnTo>
                      <a:pt x="493" y="2137"/>
                    </a:lnTo>
                    <a:lnTo>
                      <a:pt x="493" y="2132"/>
                    </a:lnTo>
                    <a:lnTo>
                      <a:pt x="493" y="2127"/>
                    </a:lnTo>
                    <a:lnTo>
                      <a:pt x="492" y="2124"/>
                    </a:lnTo>
                    <a:lnTo>
                      <a:pt x="489" y="2120"/>
                    </a:lnTo>
                    <a:lnTo>
                      <a:pt x="486" y="2116"/>
                    </a:lnTo>
                    <a:lnTo>
                      <a:pt x="475" y="2111"/>
                    </a:lnTo>
                    <a:lnTo>
                      <a:pt x="464" y="2103"/>
                    </a:lnTo>
                    <a:lnTo>
                      <a:pt x="453" y="2096"/>
                    </a:lnTo>
                    <a:lnTo>
                      <a:pt x="443" y="2088"/>
                    </a:lnTo>
                    <a:lnTo>
                      <a:pt x="434" y="2081"/>
                    </a:lnTo>
                    <a:lnTo>
                      <a:pt x="425" y="2075"/>
                    </a:lnTo>
                    <a:lnTo>
                      <a:pt x="420" y="2072"/>
                    </a:lnTo>
                    <a:lnTo>
                      <a:pt x="416" y="2071"/>
                    </a:lnTo>
                    <a:lnTo>
                      <a:pt x="412" y="2070"/>
                    </a:lnTo>
                    <a:lnTo>
                      <a:pt x="407" y="2070"/>
                    </a:lnTo>
                    <a:lnTo>
                      <a:pt x="403" y="2070"/>
                    </a:lnTo>
                    <a:lnTo>
                      <a:pt x="398" y="2072"/>
                    </a:lnTo>
                    <a:lnTo>
                      <a:pt x="394" y="2075"/>
                    </a:lnTo>
                    <a:lnTo>
                      <a:pt x="390" y="2078"/>
                    </a:lnTo>
                    <a:lnTo>
                      <a:pt x="381" y="2087"/>
                    </a:lnTo>
                    <a:lnTo>
                      <a:pt x="375" y="2095"/>
                    </a:lnTo>
                    <a:lnTo>
                      <a:pt x="368" y="2103"/>
                    </a:lnTo>
                    <a:lnTo>
                      <a:pt x="361" y="2112"/>
                    </a:lnTo>
                    <a:lnTo>
                      <a:pt x="351" y="2118"/>
                    </a:lnTo>
                    <a:lnTo>
                      <a:pt x="342" y="2122"/>
                    </a:lnTo>
                    <a:lnTo>
                      <a:pt x="332" y="2125"/>
                    </a:lnTo>
                    <a:lnTo>
                      <a:pt x="322" y="2126"/>
                    </a:lnTo>
                    <a:lnTo>
                      <a:pt x="310" y="2126"/>
                    </a:lnTo>
                    <a:lnTo>
                      <a:pt x="299" y="2124"/>
                    </a:lnTo>
                    <a:lnTo>
                      <a:pt x="288" y="2122"/>
                    </a:lnTo>
                    <a:lnTo>
                      <a:pt x="279" y="2120"/>
                    </a:lnTo>
                    <a:lnTo>
                      <a:pt x="274" y="2120"/>
                    </a:lnTo>
                    <a:lnTo>
                      <a:pt x="268" y="2121"/>
                    </a:lnTo>
                    <a:lnTo>
                      <a:pt x="262" y="2122"/>
                    </a:lnTo>
                    <a:lnTo>
                      <a:pt x="256" y="2125"/>
                    </a:lnTo>
                    <a:lnTo>
                      <a:pt x="246" y="2132"/>
                    </a:lnTo>
                    <a:lnTo>
                      <a:pt x="237" y="2137"/>
                    </a:lnTo>
                    <a:lnTo>
                      <a:pt x="231" y="2140"/>
                    </a:lnTo>
                    <a:lnTo>
                      <a:pt x="225" y="2141"/>
                    </a:lnTo>
                    <a:lnTo>
                      <a:pt x="223" y="2140"/>
                    </a:lnTo>
                    <a:lnTo>
                      <a:pt x="222" y="2137"/>
                    </a:lnTo>
                    <a:lnTo>
                      <a:pt x="222" y="2132"/>
                    </a:lnTo>
                    <a:lnTo>
                      <a:pt x="222" y="2127"/>
                    </a:lnTo>
                    <a:lnTo>
                      <a:pt x="223" y="2114"/>
                    </a:lnTo>
                    <a:lnTo>
                      <a:pt x="222" y="2103"/>
                    </a:lnTo>
                    <a:lnTo>
                      <a:pt x="217" y="2094"/>
                    </a:lnTo>
                    <a:lnTo>
                      <a:pt x="210" y="2084"/>
                    </a:lnTo>
                    <a:lnTo>
                      <a:pt x="203" y="2076"/>
                    </a:lnTo>
                    <a:lnTo>
                      <a:pt x="197" y="2070"/>
                    </a:lnTo>
                    <a:lnTo>
                      <a:pt x="192" y="2067"/>
                    </a:lnTo>
                    <a:lnTo>
                      <a:pt x="186" y="2063"/>
                    </a:lnTo>
                    <a:lnTo>
                      <a:pt x="185" y="2061"/>
                    </a:lnTo>
                    <a:lnTo>
                      <a:pt x="184" y="2058"/>
                    </a:lnTo>
                    <a:lnTo>
                      <a:pt x="183" y="2055"/>
                    </a:lnTo>
                    <a:lnTo>
                      <a:pt x="184" y="2051"/>
                    </a:lnTo>
                    <a:lnTo>
                      <a:pt x="187" y="2042"/>
                    </a:lnTo>
                    <a:lnTo>
                      <a:pt x="190" y="2029"/>
                    </a:lnTo>
                    <a:lnTo>
                      <a:pt x="191" y="2021"/>
                    </a:lnTo>
                    <a:lnTo>
                      <a:pt x="191" y="2014"/>
                    </a:lnTo>
                    <a:lnTo>
                      <a:pt x="191" y="2007"/>
                    </a:lnTo>
                    <a:lnTo>
                      <a:pt x="190" y="1999"/>
                    </a:lnTo>
                    <a:lnTo>
                      <a:pt x="187" y="1993"/>
                    </a:lnTo>
                    <a:lnTo>
                      <a:pt x="184" y="1987"/>
                    </a:lnTo>
                    <a:lnTo>
                      <a:pt x="180" y="1982"/>
                    </a:lnTo>
                    <a:lnTo>
                      <a:pt x="177" y="1977"/>
                    </a:lnTo>
                    <a:lnTo>
                      <a:pt x="172" y="1971"/>
                    </a:lnTo>
                    <a:lnTo>
                      <a:pt x="170" y="1966"/>
                    </a:lnTo>
                    <a:lnTo>
                      <a:pt x="166" y="1957"/>
                    </a:lnTo>
                    <a:lnTo>
                      <a:pt x="165" y="1948"/>
                    </a:lnTo>
                    <a:lnTo>
                      <a:pt x="165" y="1942"/>
                    </a:lnTo>
                    <a:lnTo>
                      <a:pt x="165" y="1937"/>
                    </a:lnTo>
                    <a:lnTo>
                      <a:pt x="166" y="1932"/>
                    </a:lnTo>
                    <a:lnTo>
                      <a:pt x="168" y="1929"/>
                    </a:lnTo>
                    <a:lnTo>
                      <a:pt x="172" y="1920"/>
                    </a:lnTo>
                    <a:lnTo>
                      <a:pt x="178" y="1912"/>
                    </a:lnTo>
                    <a:lnTo>
                      <a:pt x="183" y="1904"/>
                    </a:lnTo>
                    <a:lnTo>
                      <a:pt x="189" y="1895"/>
                    </a:lnTo>
                    <a:lnTo>
                      <a:pt x="192" y="1886"/>
                    </a:lnTo>
                    <a:lnTo>
                      <a:pt x="195" y="1874"/>
                    </a:lnTo>
                    <a:lnTo>
                      <a:pt x="197" y="1851"/>
                    </a:lnTo>
                    <a:lnTo>
                      <a:pt x="201" y="1830"/>
                    </a:lnTo>
                    <a:lnTo>
                      <a:pt x="202" y="1822"/>
                    </a:lnTo>
                    <a:lnTo>
                      <a:pt x="205" y="1813"/>
                    </a:lnTo>
                    <a:lnTo>
                      <a:pt x="209" y="1806"/>
                    </a:lnTo>
                    <a:lnTo>
                      <a:pt x="212" y="1800"/>
                    </a:lnTo>
                    <a:lnTo>
                      <a:pt x="228" y="1790"/>
                    </a:lnTo>
                    <a:lnTo>
                      <a:pt x="247" y="1778"/>
                    </a:lnTo>
                    <a:lnTo>
                      <a:pt x="256" y="1772"/>
                    </a:lnTo>
                    <a:lnTo>
                      <a:pt x="265" y="1766"/>
                    </a:lnTo>
                    <a:lnTo>
                      <a:pt x="271" y="1761"/>
                    </a:lnTo>
                    <a:lnTo>
                      <a:pt x="274" y="1755"/>
                    </a:lnTo>
                    <a:lnTo>
                      <a:pt x="275" y="1749"/>
                    </a:lnTo>
                    <a:lnTo>
                      <a:pt x="275" y="1744"/>
                    </a:lnTo>
                    <a:lnTo>
                      <a:pt x="273" y="1741"/>
                    </a:lnTo>
                    <a:lnTo>
                      <a:pt x="271" y="1737"/>
                    </a:lnTo>
                    <a:lnTo>
                      <a:pt x="266" y="1736"/>
                    </a:lnTo>
                    <a:lnTo>
                      <a:pt x="261" y="1735"/>
                    </a:lnTo>
                    <a:lnTo>
                      <a:pt x="255" y="1735"/>
                    </a:lnTo>
                    <a:lnTo>
                      <a:pt x="248" y="1736"/>
                    </a:lnTo>
                    <a:lnTo>
                      <a:pt x="234" y="1741"/>
                    </a:lnTo>
                    <a:lnTo>
                      <a:pt x="222" y="1746"/>
                    </a:lnTo>
                    <a:lnTo>
                      <a:pt x="210" y="1750"/>
                    </a:lnTo>
                    <a:lnTo>
                      <a:pt x="197" y="1753"/>
                    </a:lnTo>
                    <a:lnTo>
                      <a:pt x="190" y="1753"/>
                    </a:lnTo>
                    <a:lnTo>
                      <a:pt x="185" y="1750"/>
                    </a:lnTo>
                    <a:lnTo>
                      <a:pt x="181" y="1747"/>
                    </a:lnTo>
                    <a:lnTo>
                      <a:pt x="179" y="1743"/>
                    </a:lnTo>
                    <a:lnTo>
                      <a:pt x="179" y="1738"/>
                    </a:lnTo>
                    <a:lnTo>
                      <a:pt x="180" y="1733"/>
                    </a:lnTo>
                    <a:lnTo>
                      <a:pt x="183" y="1728"/>
                    </a:lnTo>
                    <a:lnTo>
                      <a:pt x="187" y="1722"/>
                    </a:lnTo>
                    <a:lnTo>
                      <a:pt x="197" y="1712"/>
                    </a:lnTo>
                    <a:lnTo>
                      <a:pt x="203" y="1704"/>
                    </a:lnTo>
                    <a:lnTo>
                      <a:pt x="204" y="1699"/>
                    </a:lnTo>
                    <a:lnTo>
                      <a:pt x="205" y="1695"/>
                    </a:lnTo>
                    <a:lnTo>
                      <a:pt x="205" y="1690"/>
                    </a:lnTo>
                    <a:lnTo>
                      <a:pt x="204" y="1685"/>
                    </a:lnTo>
                    <a:lnTo>
                      <a:pt x="202" y="1675"/>
                    </a:lnTo>
                    <a:lnTo>
                      <a:pt x="203" y="1666"/>
                    </a:lnTo>
                    <a:lnTo>
                      <a:pt x="204" y="1661"/>
                    </a:lnTo>
                    <a:lnTo>
                      <a:pt x="205" y="1656"/>
                    </a:lnTo>
                    <a:lnTo>
                      <a:pt x="208" y="1653"/>
                    </a:lnTo>
                    <a:lnTo>
                      <a:pt x="212" y="1648"/>
                    </a:lnTo>
                    <a:lnTo>
                      <a:pt x="215" y="1642"/>
                    </a:lnTo>
                    <a:lnTo>
                      <a:pt x="218" y="1636"/>
                    </a:lnTo>
                    <a:lnTo>
                      <a:pt x="220" y="1629"/>
                    </a:lnTo>
                    <a:lnTo>
                      <a:pt x="221" y="1621"/>
                    </a:lnTo>
                    <a:lnTo>
                      <a:pt x="222" y="1605"/>
                    </a:lnTo>
                    <a:lnTo>
                      <a:pt x="221" y="1593"/>
                    </a:lnTo>
                    <a:lnTo>
                      <a:pt x="220" y="1589"/>
                    </a:lnTo>
                    <a:lnTo>
                      <a:pt x="216" y="1584"/>
                    </a:lnTo>
                    <a:lnTo>
                      <a:pt x="212" y="1580"/>
                    </a:lnTo>
                    <a:lnTo>
                      <a:pt x="208" y="1577"/>
                    </a:lnTo>
                    <a:lnTo>
                      <a:pt x="202" y="1573"/>
                    </a:lnTo>
                    <a:lnTo>
                      <a:pt x="195" y="1570"/>
                    </a:lnTo>
                    <a:lnTo>
                      <a:pt x="187" y="1567"/>
                    </a:lnTo>
                    <a:lnTo>
                      <a:pt x="178" y="1566"/>
                    </a:lnTo>
                    <a:lnTo>
                      <a:pt x="159" y="1564"/>
                    </a:lnTo>
                    <a:lnTo>
                      <a:pt x="142" y="1559"/>
                    </a:lnTo>
                    <a:lnTo>
                      <a:pt x="135" y="1555"/>
                    </a:lnTo>
                    <a:lnTo>
                      <a:pt x="129" y="1552"/>
                    </a:lnTo>
                    <a:lnTo>
                      <a:pt x="124" y="1547"/>
                    </a:lnTo>
                    <a:lnTo>
                      <a:pt x="121" y="1541"/>
                    </a:lnTo>
                    <a:lnTo>
                      <a:pt x="118" y="1534"/>
                    </a:lnTo>
                    <a:lnTo>
                      <a:pt x="117" y="1527"/>
                    </a:lnTo>
                    <a:lnTo>
                      <a:pt x="115" y="1517"/>
                    </a:lnTo>
                    <a:lnTo>
                      <a:pt x="115" y="1508"/>
                    </a:lnTo>
                    <a:lnTo>
                      <a:pt x="115" y="1498"/>
                    </a:lnTo>
                    <a:lnTo>
                      <a:pt x="116" y="1489"/>
                    </a:lnTo>
                    <a:lnTo>
                      <a:pt x="120" y="1478"/>
                    </a:lnTo>
                    <a:lnTo>
                      <a:pt x="123" y="1470"/>
                    </a:lnTo>
                    <a:lnTo>
                      <a:pt x="133" y="1453"/>
                    </a:lnTo>
                    <a:lnTo>
                      <a:pt x="140" y="1439"/>
                    </a:lnTo>
                    <a:lnTo>
                      <a:pt x="142" y="1432"/>
                    </a:lnTo>
                    <a:lnTo>
                      <a:pt x="143" y="1426"/>
                    </a:lnTo>
                    <a:lnTo>
                      <a:pt x="145" y="1421"/>
                    </a:lnTo>
                    <a:lnTo>
                      <a:pt x="143" y="1415"/>
                    </a:lnTo>
                    <a:lnTo>
                      <a:pt x="141" y="1410"/>
                    </a:lnTo>
                    <a:lnTo>
                      <a:pt x="139" y="1406"/>
                    </a:lnTo>
                    <a:lnTo>
                      <a:pt x="134" y="1401"/>
                    </a:lnTo>
                    <a:lnTo>
                      <a:pt x="130" y="1395"/>
                    </a:lnTo>
                    <a:lnTo>
                      <a:pt x="121" y="1385"/>
                    </a:lnTo>
                    <a:lnTo>
                      <a:pt x="111" y="1377"/>
                    </a:lnTo>
                    <a:lnTo>
                      <a:pt x="103" y="1368"/>
                    </a:lnTo>
                    <a:lnTo>
                      <a:pt x="94" y="1357"/>
                    </a:lnTo>
                    <a:lnTo>
                      <a:pt x="91" y="1351"/>
                    </a:lnTo>
                    <a:lnTo>
                      <a:pt x="89" y="1346"/>
                    </a:lnTo>
                    <a:lnTo>
                      <a:pt x="88" y="1340"/>
                    </a:lnTo>
                    <a:lnTo>
                      <a:pt x="89" y="1333"/>
                    </a:lnTo>
                    <a:lnTo>
                      <a:pt x="94" y="1321"/>
                    </a:lnTo>
                    <a:lnTo>
                      <a:pt x="102" y="1308"/>
                    </a:lnTo>
                    <a:lnTo>
                      <a:pt x="108" y="1296"/>
                    </a:lnTo>
                    <a:lnTo>
                      <a:pt x="111" y="1287"/>
                    </a:lnTo>
                    <a:lnTo>
                      <a:pt x="113" y="1277"/>
                    </a:lnTo>
                    <a:lnTo>
                      <a:pt x="113" y="1265"/>
                    </a:lnTo>
                    <a:lnTo>
                      <a:pt x="113" y="1254"/>
                    </a:lnTo>
                    <a:lnTo>
                      <a:pt x="114" y="1243"/>
                    </a:lnTo>
                    <a:lnTo>
                      <a:pt x="114" y="1238"/>
                    </a:lnTo>
                    <a:lnTo>
                      <a:pt x="114" y="1235"/>
                    </a:lnTo>
                    <a:lnTo>
                      <a:pt x="113" y="1232"/>
                    </a:lnTo>
                    <a:lnTo>
                      <a:pt x="111" y="1230"/>
                    </a:lnTo>
                    <a:lnTo>
                      <a:pt x="109" y="1229"/>
                    </a:lnTo>
                    <a:lnTo>
                      <a:pt x="107" y="1229"/>
                    </a:lnTo>
                    <a:lnTo>
                      <a:pt x="103" y="1230"/>
                    </a:lnTo>
                    <a:lnTo>
                      <a:pt x="99" y="1231"/>
                    </a:lnTo>
                    <a:lnTo>
                      <a:pt x="89" y="1236"/>
                    </a:lnTo>
                    <a:lnTo>
                      <a:pt x="78" y="1242"/>
                    </a:lnTo>
                    <a:lnTo>
                      <a:pt x="66" y="1246"/>
                    </a:lnTo>
                    <a:lnTo>
                      <a:pt x="57" y="1251"/>
                    </a:lnTo>
                    <a:lnTo>
                      <a:pt x="51" y="1252"/>
                    </a:lnTo>
                    <a:lnTo>
                      <a:pt x="46" y="1252"/>
                    </a:lnTo>
                    <a:lnTo>
                      <a:pt x="40" y="1251"/>
                    </a:lnTo>
                    <a:lnTo>
                      <a:pt x="35" y="1249"/>
                    </a:lnTo>
                    <a:lnTo>
                      <a:pt x="29" y="1246"/>
                    </a:lnTo>
                    <a:lnTo>
                      <a:pt x="26" y="1244"/>
                    </a:lnTo>
                    <a:lnTo>
                      <a:pt x="22" y="1242"/>
                    </a:lnTo>
                    <a:lnTo>
                      <a:pt x="20" y="1238"/>
                    </a:lnTo>
                    <a:lnTo>
                      <a:pt x="20" y="1235"/>
                    </a:lnTo>
                    <a:lnTo>
                      <a:pt x="21" y="1232"/>
                    </a:lnTo>
                    <a:lnTo>
                      <a:pt x="23" y="1230"/>
                    </a:lnTo>
                    <a:lnTo>
                      <a:pt x="27" y="1226"/>
                    </a:lnTo>
                    <a:lnTo>
                      <a:pt x="29" y="1224"/>
                    </a:lnTo>
                    <a:lnTo>
                      <a:pt x="29" y="1220"/>
                    </a:lnTo>
                    <a:lnTo>
                      <a:pt x="29" y="1217"/>
                    </a:lnTo>
                    <a:lnTo>
                      <a:pt x="28" y="1214"/>
                    </a:lnTo>
                    <a:lnTo>
                      <a:pt x="27" y="1211"/>
                    </a:lnTo>
                    <a:lnTo>
                      <a:pt x="25" y="1208"/>
                    </a:lnTo>
                    <a:lnTo>
                      <a:pt x="22" y="1207"/>
                    </a:lnTo>
                    <a:lnTo>
                      <a:pt x="19" y="1207"/>
                    </a:lnTo>
                    <a:lnTo>
                      <a:pt x="15" y="1208"/>
                    </a:lnTo>
                    <a:lnTo>
                      <a:pt x="13" y="1207"/>
                    </a:lnTo>
                    <a:lnTo>
                      <a:pt x="10" y="1207"/>
                    </a:lnTo>
                    <a:lnTo>
                      <a:pt x="9" y="1205"/>
                    </a:lnTo>
                    <a:lnTo>
                      <a:pt x="8" y="1201"/>
                    </a:lnTo>
                    <a:lnTo>
                      <a:pt x="8" y="1196"/>
                    </a:lnTo>
                    <a:lnTo>
                      <a:pt x="12" y="1187"/>
                    </a:lnTo>
                    <a:lnTo>
                      <a:pt x="16" y="1179"/>
                    </a:lnTo>
                    <a:lnTo>
                      <a:pt x="17" y="1176"/>
                    </a:lnTo>
                    <a:lnTo>
                      <a:pt x="19" y="1175"/>
                    </a:lnTo>
                    <a:lnTo>
                      <a:pt x="17" y="1173"/>
                    </a:lnTo>
                    <a:lnTo>
                      <a:pt x="16" y="1172"/>
                    </a:lnTo>
                    <a:lnTo>
                      <a:pt x="14" y="1170"/>
                    </a:lnTo>
                    <a:lnTo>
                      <a:pt x="9" y="1169"/>
                    </a:lnTo>
                    <a:lnTo>
                      <a:pt x="7" y="1169"/>
                    </a:lnTo>
                    <a:lnTo>
                      <a:pt x="4" y="1167"/>
                    </a:lnTo>
                    <a:lnTo>
                      <a:pt x="2" y="1164"/>
                    </a:lnTo>
                    <a:lnTo>
                      <a:pt x="1" y="1161"/>
                    </a:lnTo>
                    <a:lnTo>
                      <a:pt x="0" y="1156"/>
                    </a:lnTo>
                    <a:lnTo>
                      <a:pt x="1" y="1150"/>
                    </a:lnTo>
                    <a:lnTo>
                      <a:pt x="1" y="1144"/>
                    </a:lnTo>
                    <a:lnTo>
                      <a:pt x="3" y="1137"/>
                    </a:lnTo>
                    <a:lnTo>
                      <a:pt x="7" y="1129"/>
                    </a:lnTo>
                    <a:lnTo>
                      <a:pt x="12" y="1119"/>
                    </a:lnTo>
                    <a:lnTo>
                      <a:pt x="17" y="1111"/>
                    </a:lnTo>
                    <a:lnTo>
                      <a:pt x="23" y="1103"/>
                    </a:lnTo>
                    <a:lnTo>
                      <a:pt x="36" y="1088"/>
                    </a:lnTo>
                    <a:lnTo>
                      <a:pt x="48" y="1078"/>
                    </a:lnTo>
                    <a:lnTo>
                      <a:pt x="52" y="1074"/>
                    </a:lnTo>
                    <a:lnTo>
                      <a:pt x="54" y="1067"/>
                    </a:lnTo>
                    <a:lnTo>
                      <a:pt x="57" y="1060"/>
                    </a:lnTo>
                    <a:lnTo>
                      <a:pt x="57" y="1051"/>
                    </a:lnTo>
                    <a:lnTo>
                      <a:pt x="57" y="1032"/>
                    </a:lnTo>
                    <a:lnTo>
                      <a:pt x="57" y="1016"/>
                    </a:lnTo>
                    <a:lnTo>
                      <a:pt x="55" y="1009"/>
                    </a:lnTo>
                    <a:lnTo>
                      <a:pt x="57" y="1002"/>
                    </a:lnTo>
                    <a:lnTo>
                      <a:pt x="58" y="994"/>
                    </a:lnTo>
                    <a:lnTo>
                      <a:pt x="59" y="988"/>
                    </a:lnTo>
                    <a:lnTo>
                      <a:pt x="61" y="984"/>
                    </a:lnTo>
                    <a:lnTo>
                      <a:pt x="65" y="979"/>
                    </a:lnTo>
                    <a:lnTo>
                      <a:pt x="70" y="975"/>
                    </a:lnTo>
                    <a:lnTo>
                      <a:pt x="76" y="971"/>
                    </a:lnTo>
                    <a:lnTo>
                      <a:pt x="89" y="965"/>
                    </a:lnTo>
                    <a:lnTo>
                      <a:pt x="102" y="961"/>
                    </a:lnTo>
                    <a:lnTo>
                      <a:pt x="116" y="956"/>
                    </a:lnTo>
                    <a:lnTo>
                      <a:pt x="130" y="953"/>
                    </a:lnTo>
                    <a:lnTo>
                      <a:pt x="145" y="949"/>
                    </a:lnTo>
                    <a:lnTo>
                      <a:pt x="158" y="945"/>
                    </a:lnTo>
                    <a:lnTo>
                      <a:pt x="162" y="942"/>
                    </a:lnTo>
                    <a:lnTo>
                      <a:pt x="166" y="939"/>
                    </a:lnTo>
                    <a:lnTo>
                      <a:pt x="170" y="936"/>
                    </a:lnTo>
                    <a:lnTo>
                      <a:pt x="172" y="934"/>
                    </a:lnTo>
                    <a:lnTo>
                      <a:pt x="172" y="930"/>
                    </a:lnTo>
                    <a:lnTo>
                      <a:pt x="171" y="927"/>
                    </a:lnTo>
                    <a:lnTo>
                      <a:pt x="170" y="922"/>
                    </a:lnTo>
                    <a:lnTo>
                      <a:pt x="167" y="917"/>
                    </a:lnTo>
                    <a:lnTo>
                      <a:pt x="162" y="908"/>
                    </a:lnTo>
                    <a:lnTo>
                      <a:pt x="158" y="901"/>
                    </a:lnTo>
                    <a:lnTo>
                      <a:pt x="154" y="893"/>
                    </a:lnTo>
                    <a:lnTo>
                      <a:pt x="153" y="887"/>
                    </a:lnTo>
                    <a:lnTo>
                      <a:pt x="153" y="884"/>
                    </a:lnTo>
                    <a:lnTo>
                      <a:pt x="155" y="882"/>
                    </a:lnTo>
                    <a:lnTo>
                      <a:pt x="158" y="880"/>
                    </a:lnTo>
                    <a:lnTo>
                      <a:pt x="162" y="880"/>
                    </a:lnTo>
                    <a:lnTo>
                      <a:pt x="172" y="879"/>
                    </a:lnTo>
                    <a:lnTo>
                      <a:pt x="180" y="877"/>
                    </a:lnTo>
                    <a:lnTo>
                      <a:pt x="185" y="874"/>
                    </a:lnTo>
                    <a:lnTo>
                      <a:pt x="189" y="871"/>
                    </a:lnTo>
                    <a:lnTo>
                      <a:pt x="192" y="867"/>
                    </a:lnTo>
                    <a:lnTo>
                      <a:pt x="197" y="864"/>
                    </a:lnTo>
                    <a:lnTo>
                      <a:pt x="205" y="852"/>
                    </a:lnTo>
                    <a:lnTo>
                      <a:pt x="217" y="840"/>
                    </a:lnTo>
                    <a:lnTo>
                      <a:pt x="229" y="829"/>
                    </a:lnTo>
                    <a:lnTo>
                      <a:pt x="239" y="819"/>
                    </a:lnTo>
                    <a:lnTo>
                      <a:pt x="246" y="809"/>
                    </a:lnTo>
                    <a:lnTo>
                      <a:pt x="249" y="802"/>
                    </a:lnTo>
                    <a:lnTo>
                      <a:pt x="250" y="795"/>
                    </a:lnTo>
                    <a:lnTo>
                      <a:pt x="249" y="788"/>
                    </a:lnTo>
                    <a:lnTo>
                      <a:pt x="248" y="784"/>
                    </a:lnTo>
                    <a:lnTo>
                      <a:pt x="246" y="782"/>
                    </a:lnTo>
                    <a:lnTo>
                      <a:pt x="242" y="778"/>
                    </a:lnTo>
                    <a:lnTo>
                      <a:pt x="239" y="776"/>
                    </a:lnTo>
                    <a:lnTo>
                      <a:pt x="231" y="772"/>
                    </a:lnTo>
                    <a:lnTo>
                      <a:pt x="224" y="770"/>
                    </a:lnTo>
                    <a:lnTo>
                      <a:pt x="221" y="767"/>
                    </a:lnTo>
                    <a:lnTo>
                      <a:pt x="220" y="766"/>
                    </a:lnTo>
                    <a:lnTo>
                      <a:pt x="218" y="763"/>
                    </a:lnTo>
                    <a:lnTo>
                      <a:pt x="217" y="760"/>
                    </a:lnTo>
                    <a:lnTo>
                      <a:pt x="218" y="758"/>
                    </a:lnTo>
                    <a:lnTo>
                      <a:pt x="220" y="756"/>
                    </a:lnTo>
                    <a:lnTo>
                      <a:pt x="221" y="753"/>
                    </a:lnTo>
                    <a:lnTo>
                      <a:pt x="223" y="752"/>
                    </a:lnTo>
                    <a:lnTo>
                      <a:pt x="227" y="751"/>
                    </a:lnTo>
                    <a:lnTo>
                      <a:pt x="229" y="748"/>
                    </a:lnTo>
                    <a:lnTo>
                      <a:pt x="231" y="746"/>
                    </a:lnTo>
                    <a:lnTo>
                      <a:pt x="233" y="742"/>
                    </a:lnTo>
                    <a:lnTo>
                      <a:pt x="233" y="740"/>
                    </a:lnTo>
                    <a:lnTo>
                      <a:pt x="233" y="737"/>
                    </a:lnTo>
                    <a:lnTo>
                      <a:pt x="230" y="734"/>
                    </a:lnTo>
                    <a:lnTo>
                      <a:pt x="228" y="732"/>
                    </a:lnTo>
                    <a:lnTo>
                      <a:pt x="220" y="727"/>
                    </a:lnTo>
                    <a:lnTo>
                      <a:pt x="210" y="723"/>
                    </a:lnTo>
                    <a:lnTo>
                      <a:pt x="202" y="719"/>
                    </a:lnTo>
                    <a:lnTo>
                      <a:pt x="193" y="713"/>
                    </a:lnTo>
                    <a:lnTo>
                      <a:pt x="191" y="709"/>
                    </a:lnTo>
                    <a:lnTo>
                      <a:pt x="190" y="704"/>
                    </a:lnTo>
                    <a:lnTo>
                      <a:pt x="189" y="700"/>
                    </a:lnTo>
                    <a:lnTo>
                      <a:pt x="189" y="694"/>
                    </a:lnTo>
                    <a:lnTo>
                      <a:pt x="190" y="682"/>
                    </a:lnTo>
                    <a:lnTo>
                      <a:pt x="193" y="671"/>
                    </a:lnTo>
                    <a:lnTo>
                      <a:pt x="196" y="657"/>
                    </a:lnTo>
                    <a:lnTo>
                      <a:pt x="198" y="640"/>
                    </a:lnTo>
                    <a:lnTo>
                      <a:pt x="199" y="624"/>
                    </a:lnTo>
                    <a:lnTo>
                      <a:pt x="199" y="612"/>
                    </a:lnTo>
                    <a:lnTo>
                      <a:pt x="198" y="607"/>
                    </a:lnTo>
                    <a:lnTo>
                      <a:pt x="198" y="603"/>
                    </a:lnTo>
                    <a:lnTo>
                      <a:pt x="196" y="600"/>
                    </a:lnTo>
                    <a:lnTo>
                      <a:pt x="193" y="596"/>
                    </a:lnTo>
                    <a:lnTo>
                      <a:pt x="191" y="594"/>
                    </a:lnTo>
                    <a:lnTo>
                      <a:pt x="187" y="592"/>
                    </a:lnTo>
                    <a:lnTo>
                      <a:pt x="184" y="590"/>
                    </a:lnTo>
                    <a:lnTo>
                      <a:pt x="179" y="590"/>
                    </a:lnTo>
                    <a:lnTo>
                      <a:pt x="176" y="590"/>
                    </a:lnTo>
                    <a:lnTo>
                      <a:pt x="172" y="589"/>
                    </a:lnTo>
                    <a:lnTo>
                      <a:pt x="170" y="588"/>
                    </a:lnTo>
                    <a:lnTo>
                      <a:pt x="167" y="586"/>
                    </a:lnTo>
                    <a:lnTo>
                      <a:pt x="164" y="580"/>
                    </a:lnTo>
                    <a:lnTo>
                      <a:pt x="160" y="574"/>
                    </a:lnTo>
                    <a:lnTo>
                      <a:pt x="155" y="567"/>
                    </a:lnTo>
                    <a:lnTo>
                      <a:pt x="147" y="558"/>
                    </a:lnTo>
                    <a:lnTo>
                      <a:pt x="139" y="551"/>
                    </a:lnTo>
                    <a:lnTo>
                      <a:pt x="132" y="546"/>
                    </a:lnTo>
                    <a:lnTo>
                      <a:pt x="128" y="545"/>
                    </a:lnTo>
                    <a:lnTo>
                      <a:pt x="126" y="543"/>
                    </a:lnTo>
                    <a:lnTo>
                      <a:pt x="123" y="540"/>
                    </a:lnTo>
                    <a:lnTo>
                      <a:pt x="122" y="537"/>
                    </a:lnTo>
                    <a:lnTo>
                      <a:pt x="120" y="530"/>
                    </a:lnTo>
                    <a:lnTo>
                      <a:pt x="118" y="521"/>
                    </a:lnTo>
                    <a:lnTo>
                      <a:pt x="117" y="513"/>
                    </a:lnTo>
                    <a:lnTo>
                      <a:pt x="117" y="502"/>
                    </a:lnTo>
                    <a:lnTo>
                      <a:pt x="118" y="498"/>
                    </a:lnTo>
                    <a:lnTo>
                      <a:pt x="120" y="492"/>
                    </a:lnTo>
                    <a:lnTo>
                      <a:pt x="122" y="486"/>
                    </a:lnTo>
                    <a:lnTo>
                      <a:pt x="126" y="480"/>
                    </a:lnTo>
                    <a:lnTo>
                      <a:pt x="145" y="461"/>
                    </a:lnTo>
                    <a:lnTo>
                      <a:pt x="160" y="445"/>
                    </a:lnTo>
                    <a:lnTo>
                      <a:pt x="162" y="442"/>
                    </a:lnTo>
                    <a:lnTo>
                      <a:pt x="166" y="438"/>
                    </a:lnTo>
                    <a:lnTo>
                      <a:pt x="168" y="436"/>
                    </a:lnTo>
                    <a:lnTo>
                      <a:pt x="172" y="433"/>
                    </a:lnTo>
                    <a:lnTo>
                      <a:pt x="180" y="431"/>
                    </a:lnTo>
                    <a:lnTo>
                      <a:pt x="189" y="429"/>
                    </a:lnTo>
                    <a:lnTo>
                      <a:pt x="199" y="427"/>
                    </a:lnTo>
                    <a:lnTo>
                      <a:pt x="209" y="426"/>
                    </a:lnTo>
                    <a:lnTo>
                      <a:pt x="214" y="425"/>
                    </a:lnTo>
                    <a:lnTo>
                      <a:pt x="218" y="423"/>
                    </a:lnTo>
                    <a:lnTo>
                      <a:pt x="222" y="419"/>
                    </a:lnTo>
                    <a:lnTo>
                      <a:pt x="224" y="413"/>
                    </a:lnTo>
                    <a:lnTo>
                      <a:pt x="228" y="401"/>
                    </a:lnTo>
                    <a:lnTo>
                      <a:pt x="229" y="389"/>
                    </a:lnTo>
                    <a:lnTo>
                      <a:pt x="230" y="384"/>
                    </a:lnTo>
                    <a:lnTo>
                      <a:pt x="231" y="379"/>
                    </a:lnTo>
                    <a:lnTo>
                      <a:pt x="234" y="375"/>
                    </a:lnTo>
                    <a:lnTo>
                      <a:pt x="236" y="373"/>
                    </a:lnTo>
                    <a:lnTo>
                      <a:pt x="241" y="370"/>
                    </a:lnTo>
                    <a:lnTo>
                      <a:pt x="246" y="370"/>
                    </a:lnTo>
                    <a:lnTo>
                      <a:pt x="250" y="370"/>
                    </a:lnTo>
                    <a:lnTo>
                      <a:pt x="256" y="370"/>
                    </a:lnTo>
                    <a:lnTo>
                      <a:pt x="267" y="372"/>
                    </a:lnTo>
                    <a:lnTo>
                      <a:pt x="277" y="375"/>
                    </a:lnTo>
                    <a:lnTo>
                      <a:pt x="288" y="376"/>
                    </a:lnTo>
                    <a:lnTo>
                      <a:pt x="305" y="378"/>
                    </a:lnTo>
                    <a:lnTo>
                      <a:pt x="313" y="376"/>
                    </a:lnTo>
                    <a:lnTo>
                      <a:pt x="323" y="375"/>
                    </a:lnTo>
                    <a:lnTo>
                      <a:pt x="331" y="373"/>
                    </a:lnTo>
                    <a:lnTo>
                      <a:pt x="338" y="370"/>
                    </a:lnTo>
                    <a:lnTo>
                      <a:pt x="350" y="362"/>
                    </a:lnTo>
                    <a:lnTo>
                      <a:pt x="361" y="353"/>
                    </a:lnTo>
                    <a:lnTo>
                      <a:pt x="368" y="348"/>
                    </a:lnTo>
                    <a:lnTo>
                      <a:pt x="374" y="344"/>
                    </a:lnTo>
                    <a:lnTo>
                      <a:pt x="382" y="343"/>
                    </a:lnTo>
                    <a:lnTo>
                      <a:pt x="391" y="344"/>
                    </a:lnTo>
                    <a:lnTo>
                      <a:pt x="399" y="345"/>
                    </a:lnTo>
                    <a:lnTo>
                      <a:pt x="407" y="347"/>
                    </a:lnTo>
                    <a:lnTo>
                      <a:pt x="416" y="347"/>
                    </a:lnTo>
                    <a:lnTo>
                      <a:pt x="424" y="345"/>
                    </a:lnTo>
                    <a:lnTo>
                      <a:pt x="438" y="342"/>
                    </a:lnTo>
                    <a:lnTo>
                      <a:pt x="453" y="337"/>
                    </a:lnTo>
                    <a:lnTo>
                      <a:pt x="458" y="334"/>
                    </a:lnTo>
                    <a:lnTo>
                      <a:pt x="464" y="330"/>
                    </a:lnTo>
                    <a:lnTo>
                      <a:pt x="469" y="326"/>
                    </a:lnTo>
                    <a:lnTo>
                      <a:pt x="472" y="324"/>
                    </a:lnTo>
                    <a:lnTo>
                      <a:pt x="473" y="321"/>
                    </a:lnTo>
                    <a:lnTo>
                      <a:pt x="473" y="318"/>
                    </a:lnTo>
                    <a:lnTo>
                      <a:pt x="469" y="316"/>
                    </a:lnTo>
                    <a:lnTo>
                      <a:pt x="464" y="315"/>
                    </a:lnTo>
                    <a:lnTo>
                      <a:pt x="458" y="313"/>
                    </a:lnTo>
                    <a:lnTo>
                      <a:pt x="454" y="311"/>
                    </a:lnTo>
                    <a:lnTo>
                      <a:pt x="451" y="309"/>
                    </a:lnTo>
                    <a:lnTo>
                      <a:pt x="450" y="306"/>
                    </a:lnTo>
                    <a:lnTo>
                      <a:pt x="450" y="303"/>
                    </a:lnTo>
                    <a:lnTo>
                      <a:pt x="450" y="300"/>
                    </a:lnTo>
                    <a:lnTo>
                      <a:pt x="451" y="297"/>
                    </a:lnTo>
                    <a:lnTo>
                      <a:pt x="454" y="294"/>
                    </a:lnTo>
                    <a:lnTo>
                      <a:pt x="457" y="290"/>
                    </a:lnTo>
                    <a:lnTo>
                      <a:pt x="462" y="287"/>
                    </a:lnTo>
                    <a:lnTo>
                      <a:pt x="468" y="287"/>
                    </a:lnTo>
                    <a:lnTo>
                      <a:pt x="475" y="290"/>
                    </a:lnTo>
                    <a:lnTo>
                      <a:pt x="479" y="291"/>
                    </a:lnTo>
                    <a:lnTo>
                      <a:pt x="482" y="292"/>
                    </a:lnTo>
                    <a:lnTo>
                      <a:pt x="485" y="292"/>
                    </a:lnTo>
                    <a:lnTo>
                      <a:pt x="486" y="291"/>
                    </a:lnTo>
                    <a:lnTo>
                      <a:pt x="487" y="288"/>
                    </a:lnTo>
                    <a:lnTo>
                      <a:pt x="487" y="286"/>
                    </a:lnTo>
                    <a:lnTo>
                      <a:pt x="486" y="284"/>
                    </a:lnTo>
                    <a:lnTo>
                      <a:pt x="485" y="280"/>
                    </a:lnTo>
                    <a:lnTo>
                      <a:pt x="483" y="277"/>
                    </a:lnTo>
                    <a:lnTo>
                      <a:pt x="483" y="273"/>
                    </a:lnTo>
                    <a:lnTo>
                      <a:pt x="485" y="269"/>
                    </a:lnTo>
                    <a:lnTo>
                      <a:pt x="487" y="267"/>
                    </a:lnTo>
                    <a:lnTo>
                      <a:pt x="492" y="262"/>
                    </a:lnTo>
                    <a:lnTo>
                      <a:pt x="499" y="259"/>
                    </a:lnTo>
                    <a:lnTo>
                      <a:pt x="506" y="258"/>
                    </a:lnTo>
                    <a:lnTo>
                      <a:pt x="516" y="259"/>
                    </a:lnTo>
                    <a:lnTo>
                      <a:pt x="519" y="260"/>
                    </a:lnTo>
                    <a:lnTo>
                      <a:pt x="524" y="262"/>
                    </a:lnTo>
                    <a:lnTo>
                      <a:pt x="529" y="265"/>
                    </a:lnTo>
                    <a:lnTo>
                      <a:pt x="533" y="268"/>
                    </a:lnTo>
                    <a:lnTo>
                      <a:pt x="537" y="272"/>
                    </a:lnTo>
                    <a:lnTo>
                      <a:pt x="542" y="273"/>
                    </a:lnTo>
                    <a:lnTo>
                      <a:pt x="545" y="274"/>
                    </a:lnTo>
                    <a:lnTo>
                      <a:pt x="549" y="273"/>
                    </a:lnTo>
                    <a:lnTo>
                      <a:pt x="552" y="272"/>
                    </a:lnTo>
                    <a:lnTo>
                      <a:pt x="555" y="268"/>
                    </a:lnTo>
                    <a:lnTo>
                      <a:pt x="555" y="265"/>
                    </a:lnTo>
                    <a:lnTo>
                      <a:pt x="556" y="260"/>
                    </a:lnTo>
                    <a:lnTo>
                      <a:pt x="554" y="248"/>
                    </a:lnTo>
                    <a:lnTo>
                      <a:pt x="552" y="235"/>
                    </a:lnTo>
                    <a:lnTo>
                      <a:pt x="550" y="229"/>
                    </a:lnTo>
                    <a:lnTo>
                      <a:pt x="549" y="223"/>
                    </a:lnTo>
                    <a:lnTo>
                      <a:pt x="546" y="218"/>
                    </a:lnTo>
                    <a:lnTo>
                      <a:pt x="544" y="216"/>
                    </a:lnTo>
                    <a:lnTo>
                      <a:pt x="542" y="212"/>
                    </a:lnTo>
                    <a:lnTo>
                      <a:pt x="540" y="210"/>
                    </a:lnTo>
                    <a:lnTo>
                      <a:pt x="539" y="208"/>
                    </a:lnTo>
                    <a:lnTo>
                      <a:pt x="540" y="206"/>
                    </a:lnTo>
                    <a:lnTo>
                      <a:pt x="542" y="204"/>
                    </a:lnTo>
                    <a:lnTo>
                      <a:pt x="544" y="203"/>
                    </a:lnTo>
                    <a:lnTo>
                      <a:pt x="548" y="203"/>
                    </a:lnTo>
                    <a:lnTo>
                      <a:pt x="552" y="203"/>
                    </a:lnTo>
                    <a:lnTo>
                      <a:pt x="564" y="205"/>
                    </a:lnTo>
                    <a:lnTo>
                      <a:pt x="576" y="209"/>
                    </a:lnTo>
                    <a:lnTo>
                      <a:pt x="588" y="212"/>
                    </a:lnTo>
                    <a:lnTo>
                      <a:pt x="595" y="217"/>
                    </a:lnTo>
                    <a:lnTo>
                      <a:pt x="600" y="218"/>
                    </a:lnTo>
                    <a:lnTo>
                      <a:pt x="605" y="219"/>
                    </a:lnTo>
                    <a:lnTo>
                      <a:pt x="611" y="219"/>
                    </a:lnTo>
                    <a:lnTo>
                      <a:pt x="617" y="219"/>
                    </a:lnTo>
                    <a:lnTo>
                      <a:pt x="624" y="218"/>
                    </a:lnTo>
                    <a:lnTo>
                      <a:pt x="630" y="216"/>
                    </a:lnTo>
                    <a:lnTo>
                      <a:pt x="634" y="214"/>
                    </a:lnTo>
                    <a:lnTo>
                      <a:pt x="639" y="210"/>
                    </a:lnTo>
                    <a:lnTo>
                      <a:pt x="645" y="203"/>
                    </a:lnTo>
                    <a:lnTo>
                      <a:pt x="652" y="192"/>
                    </a:lnTo>
                    <a:lnTo>
                      <a:pt x="656" y="185"/>
                    </a:lnTo>
                    <a:lnTo>
                      <a:pt x="659" y="175"/>
                    </a:lnTo>
                    <a:lnTo>
                      <a:pt x="663" y="165"/>
                    </a:lnTo>
                    <a:lnTo>
                      <a:pt x="665" y="152"/>
                    </a:lnTo>
                    <a:lnTo>
                      <a:pt x="669" y="141"/>
                    </a:lnTo>
                    <a:lnTo>
                      <a:pt x="671" y="135"/>
                    </a:lnTo>
                    <a:lnTo>
                      <a:pt x="675" y="132"/>
                    </a:lnTo>
                    <a:lnTo>
                      <a:pt x="678" y="129"/>
                    </a:lnTo>
                    <a:lnTo>
                      <a:pt x="691" y="129"/>
                    </a:lnTo>
                    <a:lnTo>
                      <a:pt x="712" y="128"/>
                    </a:lnTo>
                    <a:lnTo>
                      <a:pt x="732" y="124"/>
                    </a:lnTo>
                    <a:lnTo>
                      <a:pt x="745" y="122"/>
                    </a:lnTo>
                    <a:lnTo>
                      <a:pt x="753" y="123"/>
                    </a:lnTo>
                    <a:lnTo>
                      <a:pt x="759" y="124"/>
                    </a:lnTo>
                    <a:lnTo>
                      <a:pt x="766" y="130"/>
                    </a:lnTo>
                    <a:lnTo>
                      <a:pt x="773" y="137"/>
                    </a:lnTo>
                    <a:lnTo>
                      <a:pt x="778" y="145"/>
                    </a:lnTo>
                    <a:lnTo>
                      <a:pt x="784" y="151"/>
                    </a:lnTo>
                    <a:lnTo>
                      <a:pt x="790" y="156"/>
                    </a:lnTo>
                    <a:lnTo>
                      <a:pt x="798" y="162"/>
                    </a:lnTo>
                    <a:lnTo>
                      <a:pt x="804" y="165"/>
                    </a:lnTo>
                    <a:lnTo>
                      <a:pt x="813" y="167"/>
                    </a:lnTo>
                    <a:lnTo>
                      <a:pt x="822" y="168"/>
                    </a:lnTo>
                    <a:lnTo>
                      <a:pt x="833" y="168"/>
                    </a:lnTo>
                    <a:lnTo>
                      <a:pt x="839" y="167"/>
                    </a:lnTo>
                    <a:lnTo>
                      <a:pt x="845" y="166"/>
                    </a:lnTo>
                    <a:lnTo>
                      <a:pt x="851" y="164"/>
                    </a:lnTo>
                    <a:lnTo>
                      <a:pt x="856" y="160"/>
                    </a:lnTo>
                    <a:lnTo>
                      <a:pt x="865" y="152"/>
                    </a:lnTo>
                    <a:lnTo>
                      <a:pt x="876" y="143"/>
                    </a:lnTo>
                    <a:lnTo>
                      <a:pt x="885" y="135"/>
                    </a:lnTo>
                    <a:lnTo>
                      <a:pt x="896" y="128"/>
                    </a:lnTo>
                    <a:lnTo>
                      <a:pt x="902" y="126"/>
                    </a:lnTo>
                    <a:lnTo>
                      <a:pt x="908" y="123"/>
                    </a:lnTo>
                    <a:lnTo>
                      <a:pt x="914" y="123"/>
                    </a:lnTo>
                    <a:lnTo>
                      <a:pt x="921" y="123"/>
                    </a:lnTo>
                    <a:lnTo>
                      <a:pt x="945" y="126"/>
                    </a:lnTo>
                    <a:lnTo>
                      <a:pt x="960" y="127"/>
                    </a:lnTo>
                    <a:lnTo>
                      <a:pt x="967" y="124"/>
                    </a:lnTo>
                    <a:lnTo>
                      <a:pt x="973" y="122"/>
                    </a:lnTo>
                    <a:lnTo>
                      <a:pt x="979" y="117"/>
                    </a:lnTo>
                    <a:lnTo>
                      <a:pt x="985" y="110"/>
                    </a:lnTo>
                    <a:lnTo>
                      <a:pt x="992" y="103"/>
                    </a:lnTo>
                    <a:lnTo>
                      <a:pt x="1001" y="97"/>
                    </a:lnTo>
                    <a:lnTo>
                      <a:pt x="1008" y="93"/>
                    </a:lnTo>
                    <a:lnTo>
                      <a:pt x="1016" y="90"/>
                    </a:lnTo>
                    <a:lnTo>
                      <a:pt x="1024" y="86"/>
                    </a:lnTo>
                    <a:lnTo>
                      <a:pt x="1033" y="83"/>
                    </a:lnTo>
                    <a:lnTo>
                      <a:pt x="1041" y="79"/>
                    </a:lnTo>
                    <a:lnTo>
                      <a:pt x="1049" y="73"/>
                    </a:lnTo>
                    <a:lnTo>
                      <a:pt x="1053" y="70"/>
                    </a:lnTo>
                    <a:lnTo>
                      <a:pt x="1055" y="66"/>
                    </a:lnTo>
                    <a:lnTo>
                      <a:pt x="1058" y="63"/>
                    </a:lnTo>
                    <a:lnTo>
                      <a:pt x="1060" y="58"/>
                    </a:lnTo>
                    <a:lnTo>
                      <a:pt x="1062" y="48"/>
                    </a:lnTo>
                    <a:lnTo>
                      <a:pt x="1065" y="39"/>
                    </a:lnTo>
                    <a:lnTo>
                      <a:pt x="1067" y="29"/>
                    </a:lnTo>
                    <a:lnTo>
                      <a:pt x="1072" y="20"/>
                    </a:lnTo>
                    <a:lnTo>
                      <a:pt x="1074" y="16"/>
                    </a:lnTo>
                    <a:lnTo>
                      <a:pt x="1078" y="13"/>
                    </a:lnTo>
                    <a:lnTo>
                      <a:pt x="1081" y="9"/>
                    </a:lnTo>
                    <a:lnTo>
                      <a:pt x="1086" y="6"/>
                    </a:lnTo>
                    <a:lnTo>
                      <a:pt x="1093" y="3"/>
                    </a:lnTo>
                    <a:lnTo>
                      <a:pt x="1102" y="1"/>
                    </a:lnTo>
                    <a:lnTo>
                      <a:pt x="1109" y="0"/>
                    </a:lnTo>
                    <a:lnTo>
                      <a:pt x="1117" y="0"/>
                    </a:lnTo>
                    <a:lnTo>
                      <a:pt x="1124" y="2"/>
                    </a:lnTo>
                    <a:lnTo>
                      <a:pt x="1131" y="6"/>
                    </a:lnTo>
                    <a:lnTo>
                      <a:pt x="1137" y="11"/>
                    </a:lnTo>
                    <a:lnTo>
                      <a:pt x="1143" y="19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黑龙江"/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6046854" y="606549"/>
                <a:ext cx="1512866" cy="1460244"/>
              </a:xfrm>
              <a:custGeom>
                <a:avLst/>
                <a:gdLst>
                  <a:gd name="T0" fmla="*/ 385 w 4137"/>
                  <a:gd name="T1" fmla="*/ 68 h 3992"/>
                  <a:gd name="T2" fmla="*/ 616 w 4137"/>
                  <a:gd name="T3" fmla="*/ 2 h 3992"/>
                  <a:gd name="T4" fmla="*/ 893 w 4137"/>
                  <a:gd name="T5" fmla="*/ 105 h 3992"/>
                  <a:gd name="T6" fmla="*/ 1227 w 4137"/>
                  <a:gd name="T7" fmla="*/ 198 h 3992"/>
                  <a:gd name="T8" fmla="*/ 1337 w 4137"/>
                  <a:gd name="T9" fmla="*/ 327 h 3992"/>
                  <a:gd name="T10" fmla="*/ 1458 w 4137"/>
                  <a:gd name="T11" fmla="*/ 485 h 3992"/>
                  <a:gd name="T12" fmla="*/ 1574 w 4137"/>
                  <a:gd name="T13" fmla="*/ 700 h 3992"/>
                  <a:gd name="T14" fmla="*/ 1623 w 4137"/>
                  <a:gd name="T15" fmla="*/ 786 h 3992"/>
                  <a:gd name="T16" fmla="*/ 1780 w 4137"/>
                  <a:gd name="T17" fmla="*/ 1046 h 3992"/>
                  <a:gd name="T18" fmla="*/ 1874 w 4137"/>
                  <a:gd name="T19" fmla="*/ 1293 h 3992"/>
                  <a:gd name="T20" fmla="*/ 2045 w 4137"/>
                  <a:gd name="T21" fmla="*/ 1461 h 3992"/>
                  <a:gd name="T22" fmla="*/ 2302 w 4137"/>
                  <a:gd name="T23" fmla="*/ 1468 h 3992"/>
                  <a:gd name="T24" fmla="*/ 2485 w 4137"/>
                  <a:gd name="T25" fmla="*/ 1457 h 3992"/>
                  <a:gd name="T26" fmla="*/ 2681 w 4137"/>
                  <a:gd name="T27" fmla="*/ 1624 h 3992"/>
                  <a:gd name="T28" fmla="*/ 2844 w 4137"/>
                  <a:gd name="T29" fmla="*/ 1695 h 3992"/>
                  <a:gd name="T30" fmla="*/ 2942 w 4137"/>
                  <a:gd name="T31" fmla="*/ 1854 h 3992"/>
                  <a:gd name="T32" fmla="*/ 3074 w 4137"/>
                  <a:gd name="T33" fmla="*/ 2101 h 3992"/>
                  <a:gd name="T34" fmla="*/ 3345 w 4137"/>
                  <a:gd name="T35" fmla="*/ 2034 h 3992"/>
                  <a:gd name="T36" fmla="*/ 3520 w 4137"/>
                  <a:gd name="T37" fmla="*/ 1878 h 3992"/>
                  <a:gd name="T38" fmla="*/ 3652 w 4137"/>
                  <a:gd name="T39" fmla="*/ 1771 h 3992"/>
                  <a:gd name="T40" fmla="*/ 3909 w 4137"/>
                  <a:gd name="T41" fmla="*/ 1599 h 3992"/>
                  <a:gd name="T42" fmla="*/ 4124 w 4137"/>
                  <a:gd name="T43" fmla="*/ 1502 h 3992"/>
                  <a:gd name="T44" fmla="*/ 4074 w 4137"/>
                  <a:gd name="T45" fmla="*/ 1766 h 3992"/>
                  <a:gd name="T46" fmla="*/ 4009 w 4137"/>
                  <a:gd name="T47" fmla="*/ 2032 h 3992"/>
                  <a:gd name="T48" fmla="*/ 3993 w 4137"/>
                  <a:gd name="T49" fmla="*/ 2413 h 3992"/>
                  <a:gd name="T50" fmla="*/ 3947 w 4137"/>
                  <a:gd name="T51" fmla="*/ 2706 h 3992"/>
                  <a:gd name="T52" fmla="*/ 3915 w 4137"/>
                  <a:gd name="T53" fmla="*/ 3042 h 3992"/>
                  <a:gd name="T54" fmla="*/ 3518 w 4137"/>
                  <a:gd name="T55" fmla="*/ 3043 h 3992"/>
                  <a:gd name="T56" fmla="*/ 3363 w 4137"/>
                  <a:gd name="T57" fmla="*/ 3261 h 3992"/>
                  <a:gd name="T58" fmla="*/ 3446 w 4137"/>
                  <a:gd name="T59" fmla="*/ 3579 h 3992"/>
                  <a:gd name="T60" fmla="*/ 3484 w 4137"/>
                  <a:gd name="T61" fmla="*/ 3907 h 3992"/>
                  <a:gd name="T62" fmla="*/ 3256 w 4137"/>
                  <a:gd name="T63" fmla="*/ 3855 h 3992"/>
                  <a:gd name="T64" fmla="*/ 3121 w 4137"/>
                  <a:gd name="T65" fmla="*/ 3790 h 3992"/>
                  <a:gd name="T66" fmla="*/ 2932 w 4137"/>
                  <a:gd name="T67" fmla="*/ 3832 h 3992"/>
                  <a:gd name="T68" fmla="*/ 2812 w 4137"/>
                  <a:gd name="T69" fmla="*/ 3991 h 3992"/>
                  <a:gd name="T70" fmla="*/ 2588 w 4137"/>
                  <a:gd name="T71" fmla="*/ 3700 h 3992"/>
                  <a:gd name="T72" fmla="*/ 2480 w 4137"/>
                  <a:gd name="T73" fmla="*/ 3784 h 3992"/>
                  <a:gd name="T74" fmla="*/ 2322 w 4137"/>
                  <a:gd name="T75" fmla="*/ 3737 h 3992"/>
                  <a:gd name="T76" fmla="*/ 2178 w 4137"/>
                  <a:gd name="T77" fmla="*/ 3632 h 3992"/>
                  <a:gd name="T78" fmla="*/ 2098 w 4137"/>
                  <a:gd name="T79" fmla="*/ 3465 h 3992"/>
                  <a:gd name="T80" fmla="*/ 1802 w 4137"/>
                  <a:gd name="T81" fmla="*/ 3460 h 3992"/>
                  <a:gd name="T82" fmla="*/ 1598 w 4137"/>
                  <a:gd name="T83" fmla="*/ 3370 h 3992"/>
                  <a:gd name="T84" fmla="*/ 1383 w 4137"/>
                  <a:gd name="T85" fmla="*/ 3393 h 3992"/>
                  <a:gd name="T86" fmla="*/ 1134 w 4137"/>
                  <a:gd name="T87" fmla="*/ 3214 h 3992"/>
                  <a:gd name="T88" fmla="*/ 974 w 4137"/>
                  <a:gd name="T89" fmla="*/ 3093 h 3992"/>
                  <a:gd name="T90" fmla="*/ 869 w 4137"/>
                  <a:gd name="T91" fmla="*/ 2964 h 3992"/>
                  <a:gd name="T92" fmla="*/ 961 w 4137"/>
                  <a:gd name="T93" fmla="*/ 2837 h 3992"/>
                  <a:gd name="T94" fmla="*/ 855 w 4137"/>
                  <a:gd name="T95" fmla="*/ 2860 h 3992"/>
                  <a:gd name="T96" fmla="*/ 705 w 4137"/>
                  <a:gd name="T97" fmla="*/ 2767 h 3992"/>
                  <a:gd name="T98" fmla="*/ 803 w 4137"/>
                  <a:gd name="T99" fmla="*/ 2410 h 3992"/>
                  <a:gd name="T100" fmla="*/ 1094 w 4137"/>
                  <a:gd name="T101" fmla="*/ 2176 h 3992"/>
                  <a:gd name="T102" fmla="*/ 1163 w 4137"/>
                  <a:gd name="T103" fmla="*/ 1909 h 3992"/>
                  <a:gd name="T104" fmla="*/ 1242 w 4137"/>
                  <a:gd name="T105" fmla="*/ 1570 h 3992"/>
                  <a:gd name="T106" fmla="*/ 1302 w 4137"/>
                  <a:gd name="T107" fmla="*/ 1221 h 3992"/>
                  <a:gd name="T108" fmla="*/ 1361 w 4137"/>
                  <a:gd name="T109" fmla="*/ 926 h 3992"/>
                  <a:gd name="T110" fmla="*/ 1089 w 4137"/>
                  <a:gd name="T111" fmla="*/ 774 h 3992"/>
                  <a:gd name="T112" fmla="*/ 912 w 4137"/>
                  <a:gd name="T113" fmla="*/ 916 h 3992"/>
                  <a:gd name="T114" fmla="*/ 669 w 4137"/>
                  <a:gd name="T115" fmla="*/ 959 h 3992"/>
                  <a:gd name="T116" fmla="*/ 505 w 4137"/>
                  <a:gd name="T117" fmla="*/ 840 h 3992"/>
                  <a:gd name="T118" fmla="*/ 429 w 4137"/>
                  <a:gd name="T119" fmla="*/ 592 h 3992"/>
                  <a:gd name="T120" fmla="*/ 262 w 4137"/>
                  <a:gd name="T121" fmla="*/ 518 h 3992"/>
                  <a:gd name="T122" fmla="*/ 0 w 4137"/>
                  <a:gd name="T123" fmla="*/ 496 h 3992"/>
                  <a:gd name="T124" fmla="*/ 87 w 4137"/>
                  <a:gd name="T125" fmla="*/ 216 h 3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37" h="3992">
                    <a:moveTo>
                      <a:pt x="49" y="156"/>
                    </a:moveTo>
                    <a:lnTo>
                      <a:pt x="60" y="153"/>
                    </a:lnTo>
                    <a:lnTo>
                      <a:pt x="71" y="150"/>
                    </a:lnTo>
                    <a:lnTo>
                      <a:pt x="82" y="145"/>
                    </a:lnTo>
                    <a:lnTo>
                      <a:pt x="92" y="139"/>
                    </a:lnTo>
                    <a:lnTo>
                      <a:pt x="102" y="132"/>
                    </a:lnTo>
                    <a:lnTo>
                      <a:pt x="114" y="124"/>
                    </a:lnTo>
                    <a:lnTo>
                      <a:pt x="120" y="120"/>
                    </a:lnTo>
                    <a:lnTo>
                      <a:pt x="127" y="118"/>
                    </a:lnTo>
                    <a:lnTo>
                      <a:pt x="134" y="115"/>
                    </a:lnTo>
                    <a:lnTo>
                      <a:pt x="144" y="114"/>
                    </a:lnTo>
                    <a:lnTo>
                      <a:pt x="161" y="114"/>
                    </a:lnTo>
                    <a:lnTo>
                      <a:pt x="175" y="113"/>
                    </a:lnTo>
                    <a:lnTo>
                      <a:pt x="182" y="112"/>
                    </a:lnTo>
                    <a:lnTo>
                      <a:pt x="187" y="111"/>
                    </a:lnTo>
                    <a:lnTo>
                      <a:pt x="192" y="108"/>
                    </a:lnTo>
                    <a:lnTo>
                      <a:pt x="195" y="106"/>
                    </a:lnTo>
                    <a:lnTo>
                      <a:pt x="202" y="97"/>
                    </a:lnTo>
                    <a:lnTo>
                      <a:pt x="212" y="89"/>
                    </a:lnTo>
                    <a:lnTo>
                      <a:pt x="217" y="86"/>
                    </a:lnTo>
                    <a:lnTo>
                      <a:pt x="222" y="82"/>
                    </a:lnTo>
                    <a:lnTo>
                      <a:pt x="228" y="80"/>
                    </a:lnTo>
                    <a:lnTo>
                      <a:pt x="234" y="77"/>
                    </a:lnTo>
                    <a:lnTo>
                      <a:pt x="245" y="76"/>
                    </a:lnTo>
                    <a:lnTo>
                      <a:pt x="255" y="77"/>
                    </a:lnTo>
                    <a:lnTo>
                      <a:pt x="262" y="80"/>
                    </a:lnTo>
                    <a:lnTo>
                      <a:pt x="269" y="82"/>
                    </a:lnTo>
                    <a:lnTo>
                      <a:pt x="275" y="84"/>
                    </a:lnTo>
                    <a:lnTo>
                      <a:pt x="283" y="86"/>
                    </a:lnTo>
                    <a:lnTo>
                      <a:pt x="293" y="84"/>
                    </a:lnTo>
                    <a:lnTo>
                      <a:pt x="302" y="81"/>
                    </a:lnTo>
                    <a:lnTo>
                      <a:pt x="313" y="76"/>
                    </a:lnTo>
                    <a:lnTo>
                      <a:pt x="326" y="71"/>
                    </a:lnTo>
                    <a:lnTo>
                      <a:pt x="334" y="69"/>
                    </a:lnTo>
                    <a:lnTo>
                      <a:pt x="341" y="68"/>
                    </a:lnTo>
                    <a:lnTo>
                      <a:pt x="348" y="68"/>
                    </a:lnTo>
                    <a:lnTo>
                      <a:pt x="357" y="68"/>
                    </a:lnTo>
                    <a:lnTo>
                      <a:pt x="371" y="69"/>
                    </a:lnTo>
                    <a:lnTo>
                      <a:pt x="385" y="68"/>
                    </a:lnTo>
                    <a:lnTo>
                      <a:pt x="396" y="65"/>
                    </a:lnTo>
                    <a:lnTo>
                      <a:pt x="407" y="61"/>
                    </a:lnTo>
                    <a:lnTo>
                      <a:pt x="415" y="53"/>
                    </a:lnTo>
                    <a:lnTo>
                      <a:pt x="425" y="46"/>
                    </a:lnTo>
                    <a:lnTo>
                      <a:pt x="430" y="43"/>
                    </a:lnTo>
                    <a:lnTo>
                      <a:pt x="436" y="40"/>
                    </a:lnTo>
                    <a:lnTo>
                      <a:pt x="444" y="38"/>
                    </a:lnTo>
                    <a:lnTo>
                      <a:pt x="449" y="37"/>
                    </a:lnTo>
                    <a:lnTo>
                      <a:pt x="463" y="37"/>
                    </a:lnTo>
                    <a:lnTo>
                      <a:pt x="473" y="34"/>
                    </a:lnTo>
                    <a:lnTo>
                      <a:pt x="477" y="33"/>
                    </a:lnTo>
                    <a:lnTo>
                      <a:pt x="480" y="31"/>
                    </a:lnTo>
                    <a:lnTo>
                      <a:pt x="483" y="29"/>
                    </a:lnTo>
                    <a:lnTo>
                      <a:pt x="485" y="25"/>
                    </a:lnTo>
                    <a:lnTo>
                      <a:pt x="489" y="18"/>
                    </a:lnTo>
                    <a:lnTo>
                      <a:pt x="495" y="12"/>
                    </a:lnTo>
                    <a:lnTo>
                      <a:pt x="498" y="10"/>
                    </a:lnTo>
                    <a:lnTo>
                      <a:pt x="502" y="7"/>
                    </a:lnTo>
                    <a:lnTo>
                      <a:pt x="505" y="6"/>
                    </a:lnTo>
                    <a:lnTo>
                      <a:pt x="510" y="6"/>
                    </a:lnTo>
                    <a:lnTo>
                      <a:pt x="520" y="7"/>
                    </a:lnTo>
                    <a:lnTo>
                      <a:pt x="527" y="10"/>
                    </a:lnTo>
                    <a:lnTo>
                      <a:pt x="533" y="13"/>
                    </a:lnTo>
                    <a:lnTo>
                      <a:pt x="536" y="15"/>
                    </a:lnTo>
                    <a:lnTo>
                      <a:pt x="540" y="18"/>
                    </a:lnTo>
                    <a:lnTo>
                      <a:pt x="545" y="19"/>
                    </a:lnTo>
                    <a:lnTo>
                      <a:pt x="548" y="19"/>
                    </a:lnTo>
                    <a:lnTo>
                      <a:pt x="551" y="18"/>
                    </a:lnTo>
                    <a:lnTo>
                      <a:pt x="553" y="17"/>
                    </a:lnTo>
                    <a:lnTo>
                      <a:pt x="556" y="14"/>
                    </a:lnTo>
                    <a:lnTo>
                      <a:pt x="561" y="8"/>
                    </a:lnTo>
                    <a:lnTo>
                      <a:pt x="566" y="5"/>
                    </a:lnTo>
                    <a:lnTo>
                      <a:pt x="571" y="4"/>
                    </a:lnTo>
                    <a:lnTo>
                      <a:pt x="577" y="4"/>
                    </a:lnTo>
                    <a:lnTo>
                      <a:pt x="584" y="8"/>
                    </a:lnTo>
                    <a:lnTo>
                      <a:pt x="589" y="12"/>
                    </a:lnTo>
                    <a:lnTo>
                      <a:pt x="596" y="6"/>
                    </a:lnTo>
                    <a:lnTo>
                      <a:pt x="608" y="0"/>
                    </a:lnTo>
                    <a:lnTo>
                      <a:pt x="616" y="2"/>
                    </a:lnTo>
                    <a:lnTo>
                      <a:pt x="625" y="7"/>
                    </a:lnTo>
                    <a:lnTo>
                      <a:pt x="636" y="12"/>
                    </a:lnTo>
                    <a:lnTo>
                      <a:pt x="647" y="17"/>
                    </a:lnTo>
                    <a:lnTo>
                      <a:pt x="658" y="19"/>
                    </a:lnTo>
                    <a:lnTo>
                      <a:pt x="668" y="21"/>
                    </a:lnTo>
                    <a:lnTo>
                      <a:pt x="673" y="23"/>
                    </a:lnTo>
                    <a:lnTo>
                      <a:pt x="678" y="25"/>
                    </a:lnTo>
                    <a:lnTo>
                      <a:pt x="682" y="27"/>
                    </a:lnTo>
                    <a:lnTo>
                      <a:pt x="687" y="31"/>
                    </a:lnTo>
                    <a:lnTo>
                      <a:pt x="694" y="39"/>
                    </a:lnTo>
                    <a:lnTo>
                      <a:pt x="702" y="46"/>
                    </a:lnTo>
                    <a:lnTo>
                      <a:pt x="706" y="49"/>
                    </a:lnTo>
                    <a:lnTo>
                      <a:pt x="711" y="51"/>
                    </a:lnTo>
                    <a:lnTo>
                      <a:pt x="717" y="52"/>
                    </a:lnTo>
                    <a:lnTo>
                      <a:pt x="724" y="52"/>
                    </a:lnTo>
                    <a:lnTo>
                      <a:pt x="737" y="51"/>
                    </a:lnTo>
                    <a:lnTo>
                      <a:pt x="748" y="49"/>
                    </a:lnTo>
                    <a:lnTo>
                      <a:pt x="759" y="46"/>
                    </a:lnTo>
                    <a:lnTo>
                      <a:pt x="769" y="45"/>
                    </a:lnTo>
                    <a:lnTo>
                      <a:pt x="774" y="46"/>
                    </a:lnTo>
                    <a:lnTo>
                      <a:pt x="780" y="48"/>
                    </a:lnTo>
                    <a:lnTo>
                      <a:pt x="785" y="50"/>
                    </a:lnTo>
                    <a:lnTo>
                      <a:pt x="789" y="53"/>
                    </a:lnTo>
                    <a:lnTo>
                      <a:pt x="798" y="61"/>
                    </a:lnTo>
                    <a:lnTo>
                      <a:pt x="804" y="69"/>
                    </a:lnTo>
                    <a:lnTo>
                      <a:pt x="809" y="78"/>
                    </a:lnTo>
                    <a:lnTo>
                      <a:pt x="813" y="88"/>
                    </a:lnTo>
                    <a:lnTo>
                      <a:pt x="819" y="96"/>
                    </a:lnTo>
                    <a:lnTo>
                      <a:pt x="825" y="103"/>
                    </a:lnTo>
                    <a:lnTo>
                      <a:pt x="831" y="107"/>
                    </a:lnTo>
                    <a:lnTo>
                      <a:pt x="841" y="111"/>
                    </a:lnTo>
                    <a:lnTo>
                      <a:pt x="845" y="111"/>
                    </a:lnTo>
                    <a:lnTo>
                      <a:pt x="850" y="111"/>
                    </a:lnTo>
                    <a:lnTo>
                      <a:pt x="855" y="111"/>
                    </a:lnTo>
                    <a:lnTo>
                      <a:pt x="860" y="109"/>
                    </a:lnTo>
                    <a:lnTo>
                      <a:pt x="870" y="106"/>
                    </a:lnTo>
                    <a:lnTo>
                      <a:pt x="882" y="103"/>
                    </a:lnTo>
                    <a:lnTo>
                      <a:pt x="887" y="103"/>
                    </a:lnTo>
                    <a:lnTo>
                      <a:pt x="893" y="105"/>
                    </a:lnTo>
                    <a:lnTo>
                      <a:pt x="899" y="107"/>
                    </a:lnTo>
                    <a:lnTo>
                      <a:pt x="904" y="109"/>
                    </a:lnTo>
                    <a:lnTo>
                      <a:pt x="921" y="125"/>
                    </a:lnTo>
                    <a:lnTo>
                      <a:pt x="936" y="133"/>
                    </a:lnTo>
                    <a:lnTo>
                      <a:pt x="938" y="134"/>
                    </a:lnTo>
                    <a:lnTo>
                      <a:pt x="942" y="134"/>
                    </a:lnTo>
                    <a:lnTo>
                      <a:pt x="945" y="133"/>
                    </a:lnTo>
                    <a:lnTo>
                      <a:pt x="949" y="132"/>
                    </a:lnTo>
                    <a:lnTo>
                      <a:pt x="951" y="130"/>
                    </a:lnTo>
                    <a:lnTo>
                      <a:pt x="955" y="127"/>
                    </a:lnTo>
                    <a:lnTo>
                      <a:pt x="956" y="125"/>
                    </a:lnTo>
                    <a:lnTo>
                      <a:pt x="958" y="121"/>
                    </a:lnTo>
                    <a:lnTo>
                      <a:pt x="962" y="112"/>
                    </a:lnTo>
                    <a:lnTo>
                      <a:pt x="968" y="102"/>
                    </a:lnTo>
                    <a:lnTo>
                      <a:pt x="971" y="96"/>
                    </a:lnTo>
                    <a:lnTo>
                      <a:pt x="975" y="93"/>
                    </a:lnTo>
                    <a:lnTo>
                      <a:pt x="980" y="90"/>
                    </a:lnTo>
                    <a:lnTo>
                      <a:pt x="983" y="88"/>
                    </a:lnTo>
                    <a:lnTo>
                      <a:pt x="994" y="88"/>
                    </a:lnTo>
                    <a:lnTo>
                      <a:pt x="1008" y="87"/>
                    </a:lnTo>
                    <a:lnTo>
                      <a:pt x="1022" y="86"/>
                    </a:lnTo>
                    <a:lnTo>
                      <a:pt x="1036" y="87"/>
                    </a:lnTo>
                    <a:lnTo>
                      <a:pt x="1049" y="90"/>
                    </a:lnTo>
                    <a:lnTo>
                      <a:pt x="1061" y="95"/>
                    </a:lnTo>
                    <a:lnTo>
                      <a:pt x="1072" y="102"/>
                    </a:lnTo>
                    <a:lnTo>
                      <a:pt x="1083" y="108"/>
                    </a:lnTo>
                    <a:lnTo>
                      <a:pt x="1094" y="114"/>
                    </a:lnTo>
                    <a:lnTo>
                      <a:pt x="1108" y="120"/>
                    </a:lnTo>
                    <a:lnTo>
                      <a:pt x="1122" y="124"/>
                    </a:lnTo>
                    <a:lnTo>
                      <a:pt x="1134" y="126"/>
                    </a:lnTo>
                    <a:lnTo>
                      <a:pt x="1140" y="127"/>
                    </a:lnTo>
                    <a:lnTo>
                      <a:pt x="1147" y="130"/>
                    </a:lnTo>
                    <a:lnTo>
                      <a:pt x="1154" y="133"/>
                    </a:lnTo>
                    <a:lnTo>
                      <a:pt x="1160" y="137"/>
                    </a:lnTo>
                    <a:lnTo>
                      <a:pt x="1173" y="147"/>
                    </a:lnTo>
                    <a:lnTo>
                      <a:pt x="1187" y="160"/>
                    </a:lnTo>
                    <a:lnTo>
                      <a:pt x="1201" y="176"/>
                    </a:lnTo>
                    <a:lnTo>
                      <a:pt x="1217" y="190"/>
                    </a:lnTo>
                    <a:lnTo>
                      <a:pt x="1227" y="198"/>
                    </a:lnTo>
                    <a:lnTo>
                      <a:pt x="1236" y="206"/>
                    </a:lnTo>
                    <a:lnTo>
                      <a:pt x="1247" y="214"/>
                    </a:lnTo>
                    <a:lnTo>
                      <a:pt x="1259" y="221"/>
                    </a:lnTo>
                    <a:lnTo>
                      <a:pt x="1266" y="222"/>
                    </a:lnTo>
                    <a:lnTo>
                      <a:pt x="1273" y="222"/>
                    </a:lnTo>
                    <a:lnTo>
                      <a:pt x="1282" y="221"/>
                    </a:lnTo>
                    <a:lnTo>
                      <a:pt x="1289" y="221"/>
                    </a:lnTo>
                    <a:lnTo>
                      <a:pt x="1291" y="221"/>
                    </a:lnTo>
                    <a:lnTo>
                      <a:pt x="1294" y="221"/>
                    </a:lnTo>
                    <a:lnTo>
                      <a:pt x="1296" y="222"/>
                    </a:lnTo>
                    <a:lnTo>
                      <a:pt x="1297" y="225"/>
                    </a:lnTo>
                    <a:lnTo>
                      <a:pt x="1299" y="231"/>
                    </a:lnTo>
                    <a:lnTo>
                      <a:pt x="1299" y="239"/>
                    </a:lnTo>
                    <a:lnTo>
                      <a:pt x="1299" y="244"/>
                    </a:lnTo>
                    <a:lnTo>
                      <a:pt x="1298" y="248"/>
                    </a:lnTo>
                    <a:lnTo>
                      <a:pt x="1297" y="253"/>
                    </a:lnTo>
                    <a:lnTo>
                      <a:pt x="1295" y="257"/>
                    </a:lnTo>
                    <a:lnTo>
                      <a:pt x="1292" y="260"/>
                    </a:lnTo>
                    <a:lnTo>
                      <a:pt x="1290" y="263"/>
                    </a:lnTo>
                    <a:lnTo>
                      <a:pt x="1286" y="265"/>
                    </a:lnTo>
                    <a:lnTo>
                      <a:pt x="1283" y="266"/>
                    </a:lnTo>
                    <a:lnTo>
                      <a:pt x="1278" y="270"/>
                    </a:lnTo>
                    <a:lnTo>
                      <a:pt x="1273" y="275"/>
                    </a:lnTo>
                    <a:lnTo>
                      <a:pt x="1272" y="279"/>
                    </a:lnTo>
                    <a:lnTo>
                      <a:pt x="1272" y="284"/>
                    </a:lnTo>
                    <a:lnTo>
                      <a:pt x="1274" y="289"/>
                    </a:lnTo>
                    <a:lnTo>
                      <a:pt x="1280" y="294"/>
                    </a:lnTo>
                    <a:lnTo>
                      <a:pt x="1283" y="295"/>
                    </a:lnTo>
                    <a:lnTo>
                      <a:pt x="1288" y="297"/>
                    </a:lnTo>
                    <a:lnTo>
                      <a:pt x="1291" y="298"/>
                    </a:lnTo>
                    <a:lnTo>
                      <a:pt x="1296" y="298"/>
                    </a:lnTo>
                    <a:lnTo>
                      <a:pt x="1305" y="300"/>
                    </a:lnTo>
                    <a:lnTo>
                      <a:pt x="1316" y="302"/>
                    </a:lnTo>
                    <a:lnTo>
                      <a:pt x="1320" y="303"/>
                    </a:lnTo>
                    <a:lnTo>
                      <a:pt x="1324" y="305"/>
                    </a:lnTo>
                    <a:lnTo>
                      <a:pt x="1327" y="308"/>
                    </a:lnTo>
                    <a:lnTo>
                      <a:pt x="1329" y="311"/>
                    </a:lnTo>
                    <a:lnTo>
                      <a:pt x="1334" y="319"/>
                    </a:lnTo>
                    <a:lnTo>
                      <a:pt x="1337" y="327"/>
                    </a:lnTo>
                    <a:lnTo>
                      <a:pt x="1343" y="335"/>
                    </a:lnTo>
                    <a:lnTo>
                      <a:pt x="1351" y="341"/>
                    </a:lnTo>
                    <a:lnTo>
                      <a:pt x="1367" y="351"/>
                    </a:lnTo>
                    <a:lnTo>
                      <a:pt x="1381" y="360"/>
                    </a:lnTo>
                    <a:lnTo>
                      <a:pt x="1386" y="366"/>
                    </a:lnTo>
                    <a:lnTo>
                      <a:pt x="1389" y="373"/>
                    </a:lnTo>
                    <a:lnTo>
                      <a:pt x="1390" y="379"/>
                    </a:lnTo>
                    <a:lnTo>
                      <a:pt x="1387" y="386"/>
                    </a:lnTo>
                    <a:lnTo>
                      <a:pt x="1386" y="392"/>
                    </a:lnTo>
                    <a:lnTo>
                      <a:pt x="1386" y="397"/>
                    </a:lnTo>
                    <a:lnTo>
                      <a:pt x="1387" y="399"/>
                    </a:lnTo>
                    <a:lnTo>
                      <a:pt x="1390" y="401"/>
                    </a:lnTo>
                    <a:lnTo>
                      <a:pt x="1392" y="402"/>
                    </a:lnTo>
                    <a:lnTo>
                      <a:pt x="1395" y="402"/>
                    </a:lnTo>
                    <a:lnTo>
                      <a:pt x="1400" y="403"/>
                    </a:lnTo>
                    <a:lnTo>
                      <a:pt x="1405" y="405"/>
                    </a:lnTo>
                    <a:lnTo>
                      <a:pt x="1409" y="408"/>
                    </a:lnTo>
                    <a:lnTo>
                      <a:pt x="1411" y="411"/>
                    </a:lnTo>
                    <a:lnTo>
                      <a:pt x="1410" y="415"/>
                    </a:lnTo>
                    <a:lnTo>
                      <a:pt x="1406" y="420"/>
                    </a:lnTo>
                    <a:lnTo>
                      <a:pt x="1402" y="423"/>
                    </a:lnTo>
                    <a:lnTo>
                      <a:pt x="1397" y="426"/>
                    </a:lnTo>
                    <a:lnTo>
                      <a:pt x="1392" y="429"/>
                    </a:lnTo>
                    <a:lnTo>
                      <a:pt x="1389" y="433"/>
                    </a:lnTo>
                    <a:lnTo>
                      <a:pt x="1387" y="436"/>
                    </a:lnTo>
                    <a:lnTo>
                      <a:pt x="1387" y="441"/>
                    </a:lnTo>
                    <a:lnTo>
                      <a:pt x="1389" y="445"/>
                    </a:lnTo>
                    <a:lnTo>
                      <a:pt x="1391" y="447"/>
                    </a:lnTo>
                    <a:lnTo>
                      <a:pt x="1395" y="448"/>
                    </a:lnTo>
                    <a:lnTo>
                      <a:pt x="1399" y="449"/>
                    </a:lnTo>
                    <a:lnTo>
                      <a:pt x="1409" y="452"/>
                    </a:lnTo>
                    <a:lnTo>
                      <a:pt x="1418" y="454"/>
                    </a:lnTo>
                    <a:lnTo>
                      <a:pt x="1427" y="456"/>
                    </a:lnTo>
                    <a:lnTo>
                      <a:pt x="1436" y="459"/>
                    </a:lnTo>
                    <a:lnTo>
                      <a:pt x="1444" y="462"/>
                    </a:lnTo>
                    <a:lnTo>
                      <a:pt x="1452" y="467"/>
                    </a:lnTo>
                    <a:lnTo>
                      <a:pt x="1455" y="474"/>
                    </a:lnTo>
                    <a:lnTo>
                      <a:pt x="1458" y="481"/>
                    </a:lnTo>
                    <a:lnTo>
                      <a:pt x="1458" y="485"/>
                    </a:lnTo>
                    <a:lnTo>
                      <a:pt x="1458" y="490"/>
                    </a:lnTo>
                    <a:lnTo>
                      <a:pt x="1456" y="493"/>
                    </a:lnTo>
                    <a:lnTo>
                      <a:pt x="1455" y="498"/>
                    </a:lnTo>
                    <a:lnTo>
                      <a:pt x="1450" y="505"/>
                    </a:lnTo>
                    <a:lnTo>
                      <a:pt x="1446" y="510"/>
                    </a:lnTo>
                    <a:lnTo>
                      <a:pt x="1443" y="513"/>
                    </a:lnTo>
                    <a:lnTo>
                      <a:pt x="1441" y="517"/>
                    </a:lnTo>
                    <a:lnTo>
                      <a:pt x="1441" y="521"/>
                    </a:lnTo>
                    <a:lnTo>
                      <a:pt x="1441" y="524"/>
                    </a:lnTo>
                    <a:lnTo>
                      <a:pt x="1443" y="535"/>
                    </a:lnTo>
                    <a:lnTo>
                      <a:pt x="1449" y="546"/>
                    </a:lnTo>
                    <a:lnTo>
                      <a:pt x="1455" y="555"/>
                    </a:lnTo>
                    <a:lnTo>
                      <a:pt x="1461" y="563"/>
                    </a:lnTo>
                    <a:lnTo>
                      <a:pt x="1468" y="571"/>
                    </a:lnTo>
                    <a:lnTo>
                      <a:pt x="1478" y="579"/>
                    </a:lnTo>
                    <a:lnTo>
                      <a:pt x="1481" y="582"/>
                    </a:lnTo>
                    <a:lnTo>
                      <a:pt x="1486" y="587"/>
                    </a:lnTo>
                    <a:lnTo>
                      <a:pt x="1488" y="591"/>
                    </a:lnTo>
                    <a:lnTo>
                      <a:pt x="1492" y="595"/>
                    </a:lnTo>
                    <a:lnTo>
                      <a:pt x="1497" y="605"/>
                    </a:lnTo>
                    <a:lnTo>
                      <a:pt x="1503" y="612"/>
                    </a:lnTo>
                    <a:lnTo>
                      <a:pt x="1509" y="618"/>
                    </a:lnTo>
                    <a:lnTo>
                      <a:pt x="1516" y="622"/>
                    </a:lnTo>
                    <a:lnTo>
                      <a:pt x="1523" y="626"/>
                    </a:lnTo>
                    <a:lnTo>
                      <a:pt x="1531" y="632"/>
                    </a:lnTo>
                    <a:lnTo>
                      <a:pt x="1534" y="636"/>
                    </a:lnTo>
                    <a:lnTo>
                      <a:pt x="1536" y="639"/>
                    </a:lnTo>
                    <a:lnTo>
                      <a:pt x="1538" y="643"/>
                    </a:lnTo>
                    <a:lnTo>
                      <a:pt x="1540" y="648"/>
                    </a:lnTo>
                    <a:lnTo>
                      <a:pt x="1538" y="664"/>
                    </a:lnTo>
                    <a:lnTo>
                      <a:pt x="1536" y="676"/>
                    </a:lnTo>
                    <a:lnTo>
                      <a:pt x="1536" y="680"/>
                    </a:lnTo>
                    <a:lnTo>
                      <a:pt x="1538" y="683"/>
                    </a:lnTo>
                    <a:lnTo>
                      <a:pt x="1541" y="686"/>
                    </a:lnTo>
                    <a:lnTo>
                      <a:pt x="1546" y="687"/>
                    </a:lnTo>
                    <a:lnTo>
                      <a:pt x="1551" y="688"/>
                    </a:lnTo>
                    <a:lnTo>
                      <a:pt x="1560" y="691"/>
                    </a:lnTo>
                    <a:lnTo>
                      <a:pt x="1568" y="694"/>
                    </a:lnTo>
                    <a:lnTo>
                      <a:pt x="1574" y="700"/>
                    </a:lnTo>
                    <a:lnTo>
                      <a:pt x="1579" y="706"/>
                    </a:lnTo>
                    <a:lnTo>
                      <a:pt x="1581" y="712"/>
                    </a:lnTo>
                    <a:lnTo>
                      <a:pt x="1580" y="718"/>
                    </a:lnTo>
                    <a:lnTo>
                      <a:pt x="1578" y="725"/>
                    </a:lnTo>
                    <a:lnTo>
                      <a:pt x="1575" y="733"/>
                    </a:lnTo>
                    <a:lnTo>
                      <a:pt x="1575" y="740"/>
                    </a:lnTo>
                    <a:lnTo>
                      <a:pt x="1576" y="743"/>
                    </a:lnTo>
                    <a:lnTo>
                      <a:pt x="1579" y="745"/>
                    </a:lnTo>
                    <a:lnTo>
                      <a:pt x="1581" y="748"/>
                    </a:lnTo>
                    <a:lnTo>
                      <a:pt x="1586" y="749"/>
                    </a:lnTo>
                    <a:lnTo>
                      <a:pt x="1594" y="750"/>
                    </a:lnTo>
                    <a:lnTo>
                      <a:pt x="1603" y="751"/>
                    </a:lnTo>
                    <a:lnTo>
                      <a:pt x="1605" y="752"/>
                    </a:lnTo>
                    <a:lnTo>
                      <a:pt x="1607" y="754"/>
                    </a:lnTo>
                    <a:lnTo>
                      <a:pt x="1610" y="756"/>
                    </a:lnTo>
                    <a:lnTo>
                      <a:pt x="1611" y="758"/>
                    </a:lnTo>
                    <a:lnTo>
                      <a:pt x="1611" y="762"/>
                    </a:lnTo>
                    <a:lnTo>
                      <a:pt x="1611" y="764"/>
                    </a:lnTo>
                    <a:lnTo>
                      <a:pt x="1609" y="768"/>
                    </a:lnTo>
                    <a:lnTo>
                      <a:pt x="1607" y="770"/>
                    </a:lnTo>
                    <a:lnTo>
                      <a:pt x="1601" y="776"/>
                    </a:lnTo>
                    <a:lnTo>
                      <a:pt x="1597" y="781"/>
                    </a:lnTo>
                    <a:lnTo>
                      <a:pt x="1592" y="787"/>
                    </a:lnTo>
                    <a:lnTo>
                      <a:pt x="1590" y="793"/>
                    </a:lnTo>
                    <a:lnTo>
                      <a:pt x="1587" y="800"/>
                    </a:lnTo>
                    <a:lnTo>
                      <a:pt x="1588" y="807"/>
                    </a:lnTo>
                    <a:lnTo>
                      <a:pt x="1590" y="811"/>
                    </a:lnTo>
                    <a:lnTo>
                      <a:pt x="1593" y="813"/>
                    </a:lnTo>
                    <a:lnTo>
                      <a:pt x="1595" y="815"/>
                    </a:lnTo>
                    <a:lnTo>
                      <a:pt x="1599" y="817"/>
                    </a:lnTo>
                    <a:lnTo>
                      <a:pt x="1603" y="818"/>
                    </a:lnTo>
                    <a:lnTo>
                      <a:pt x="1606" y="817"/>
                    </a:lnTo>
                    <a:lnTo>
                      <a:pt x="1610" y="815"/>
                    </a:lnTo>
                    <a:lnTo>
                      <a:pt x="1612" y="813"/>
                    </a:lnTo>
                    <a:lnTo>
                      <a:pt x="1616" y="806"/>
                    </a:lnTo>
                    <a:lnTo>
                      <a:pt x="1618" y="796"/>
                    </a:lnTo>
                    <a:lnTo>
                      <a:pt x="1619" y="793"/>
                    </a:lnTo>
                    <a:lnTo>
                      <a:pt x="1620" y="788"/>
                    </a:lnTo>
                    <a:lnTo>
                      <a:pt x="1623" y="786"/>
                    </a:lnTo>
                    <a:lnTo>
                      <a:pt x="1625" y="784"/>
                    </a:lnTo>
                    <a:lnTo>
                      <a:pt x="1629" y="784"/>
                    </a:lnTo>
                    <a:lnTo>
                      <a:pt x="1632" y="786"/>
                    </a:lnTo>
                    <a:lnTo>
                      <a:pt x="1635" y="787"/>
                    </a:lnTo>
                    <a:lnTo>
                      <a:pt x="1638" y="789"/>
                    </a:lnTo>
                    <a:lnTo>
                      <a:pt x="1639" y="792"/>
                    </a:lnTo>
                    <a:lnTo>
                      <a:pt x="1642" y="795"/>
                    </a:lnTo>
                    <a:lnTo>
                      <a:pt x="1643" y="799"/>
                    </a:lnTo>
                    <a:lnTo>
                      <a:pt x="1643" y="802"/>
                    </a:lnTo>
                    <a:lnTo>
                      <a:pt x="1641" y="812"/>
                    </a:lnTo>
                    <a:lnTo>
                      <a:pt x="1637" y="823"/>
                    </a:lnTo>
                    <a:lnTo>
                      <a:pt x="1633" y="834"/>
                    </a:lnTo>
                    <a:lnTo>
                      <a:pt x="1631" y="843"/>
                    </a:lnTo>
                    <a:lnTo>
                      <a:pt x="1630" y="852"/>
                    </a:lnTo>
                    <a:lnTo>
                      <a:pt x="1630" y="862"/>
                    </a:lnTo>
                    <a:lnTo>
                      <a:pt x="1632" y="871"/>
                    </a:lnTo>
                    <a:lnTo>
                      <a:pt x="1636" y="882"/>
                    </a:lnTo>
                    <a:lnTo>
                      <a:pt x="1643" y="893"/>
                    </a:lnTo>
                    <a:lnTo>
                      <a:pt x="1653" y="903"/>
                    </a:lnTo>
                    <a:lnTo>
                      <a:pt x="1662" y="913"/>
                    </a:lnTo>
                    <a:lnTo>
                      <a:pt x="1670" y="921"/>
                    </a:lnTo>
                    <a:lnTo>
                      <a:pt x="1686" y="933"/>
                    </a:lnTo>
                    <a:lnTo>
                      <a:pt x="1701" y="941"/>
                    </a:lnTo>
                    <a:lnTo>
                      <a:pt x="1706" y="945"/>
                    </a:lnTo>
                    <a:lnTo>
                      <a:pt x="1711" y="948"/>
                    </a:lnTo>
                    <a:lnTo>
                      <a:pt x="1716" y="954"/>
                    </a:lnTo>
                    <a:lnTo>
                      <a:pt x="1720" y="960"/>
                    </a:lnTo>
                    <a:lnTo>
                      <a:pt x="1725" y="968"/>
                    </a:lnTo>
                    <a:lnTo>
                      <a:pt x="1731" y="976"/>
                    </a:lnTo>
                    <a:lnTo>
                      <a:pt x="1738" y="984"/>
                    </a:lnTo>
                    <a:lnTo>
                      <a:pt x="1745" y="991"/>
                    </a:lnTo>
                    <a:lnTo>
                      <a:pt x="1752" y="996"/>
                    </a:lnTo>
                    <a:lnTo>
                      <a:pt x="1758" y="1002"/>
                    </a:lnTo>
                    <a:lnTo>
                      <a:pt x="1763" y="1009"/>
                    </a:lnTo>
                    <a:lnTo>
                      <a:pt x="1765" y="1017"/>
                    </a:lnTo>
                    <a:lnTo>
                      <a:pt x="1768" y="1027"/>
                    </a:lnTo>
                    <a:lnTo>
                      <a:pt x="1771" y="1034"/>
                    </a:lnTo>
                    <a:lnTo>
                      <a:pt x="1775" y="1041"/>
                    </a:lnTo>
                    <a:lnTo>
                      <a:pt x="1780" y="1046"/>
                    </a:lnTo>
                    <a:lnTo>
                      <a:pt x="1784" y="1052"/>
                    </a:lnTo>
                    <a:lnTo>
                      <a:pt x="1790" y="1059"/>
                    </a:lnTo>
                    <a:lnTo>
                      <a:pt x="1793" y="1063"/>
                    </a:lnTo>
                    <a:lnTo>
                      <a:pt x="1794" y="1066"/>
                    </a:lnTo>
                    <a:lnTo>
                      <a:pt x="1796" y="1071"/>
                    </a:lnTo>
                    <a:lnTo>
                      <a:pt x="1796" y="1076"/>
                    </a:lnTo>
                    <a:lnTo>
                      <a:pt x="1796" y="1086"/>
                    </a:lnTo>
                    <a:lnTo>
                      <a:pt x="1794" y="1095"/>
                    </a:lnTo>
                    <a:lnTo>
                      <a:pt x="1792" y="1103"/>
                    </a:lnTo>
                    <a:lnTo>
                      <a:pt x="1789" y="1109"/>
                    </a:lnTo>
                    <a:lnTo>
                      <a:pt x="1788" y="1116"/>
                    </a:lnTo>
                    <a:lnTo>
                      <a:pt x="1788" y="1123"/>
                    </a:lnTo>
                    <a:lnTo>
                      <a:pt x="1790" y="1129"/>
                    </a:lnTo>
                    <a:lnTo>
                      <a:pt x="1795" y="1136"/>
                    </a:lnTo>
                    <a:lnTo>
                      <a:pt x="1801" y="1141"/>
                    </a:lnTo>
                    <a:lnTo>
                      <a:pt x="1806" y="1147"/>
                    </a:lnTo>
                    <a:lnTo>
                      <a:pt x="1808" y="1149"/>
                    </a:lnTo>
                    <a:lnTo>
                      <a:pt x="1811" y="1153"/>
                    </a:lnTo>
                    <a:lnTo>
                      <a:pt x="1813" y="1156"/>
                    </a:lnTo>
                    <a:lnTo>
                      <a:pt x="1813" y="1161"/>
                    </a:lnTo>
                    <a:lnTo>
                      <a:pt x="1815" y="1173"/>
                    </a:lnTo>
                    <a:lnTo>
                      <a:pt x="1819" y="1184"/>
                    </a:lnTo>
                    <a:lnTo>
                      <a:pt x="1823" y="1192"/>
                    </a:lnTo>
                    <a:lnTo>
                      <a:pt x="1827" y="1199"/>
                    </a:lnTo>
                    <a:lnTo>
                      <a:pt x="1834" y="1204"/>
                    </a:lnTo>
                    <a:lnTo>
                      <a:pt x="1843" y="1208"/>
                    </a:lnTo>
                    <a:lnTo>
                      <a:pt x="1852" y="1211"/>
                    </a:lnTo>
                    <a:lnTo>
                      <a:pt x="1864" y="1214"/>
                    </a:lnTo>
                    <a:lnTo>
                      <a:pt x="1874" y="1216"/>
                    </a:lnTo>
                    <a:lnTo>
                      <a:pt x="1880" y="1218"/>
                    </a:lnTo>
                    <a:lnTo>
                      <a:pt x="1882" y="1219"/>
                    </a:lnTo>
                    <a:lnTo>
                      <a:pt x="1883" y="1222"/>
                    </a:lnTo>
                    <a:lnTo>
                      <a:pt x="1884" y="1227"/>
                    </a:lnTo>
                    <a:lnTo>
                      <a:pt x="1884" y="1231"/>
                    </a:lnTo>
                    <a:lnTo>
                      <a:pt x="1883" y="1244"/>
                    </a:lnTo>
                    <a:lnTo>
                      <a:pt x="1881" y="1259"/>
                    </a:lnTo>
                    <a:lnTo>
                      <a:pt x="1878" y="1273"/>
                    </a:lnTo>
                    <a:lnTo>
                      <a:pt x="1876" y="1284"/>
                    </a:lnTo>
                    <a:lnTo>
                      <a:pt x="1874" y="1293"/>
                    </a:lnTo>
                    <a:lnTo>
                      <a:pt x="1874" y="1302"/>
                    </a:lnTo>
                    <a:lnTo>
                      <a:pt x="1875" y="1310"/>
                    </a:lnTo>
                    <a:lnTo>
                      <a:pt x="1877" y="1317"/>
                    </a:lnTo>
                    <a:lnTo>
                      <a:pt x="1881" y="1323"/>
                    </a:lnTo>
                    <a:lnTo>
                      <a:pt x="1884" y="1331"/>
                    </a:lnTo>
                    <a:lnTo>
                      <a:pt x="1888" y="1340"/>
                    </a:lnTo>
                    <a:lnTo>
                      <a:pt x="1889" y="1349"/>
                    </a:lnTo>
                    <a:lnTo>
                      <a:pt x="1890" y="1361"/>
                    </a:lnTo>
                    <a:lnTo>
                      <a:pt x="1891" y="1373"/>
                    </a:lnTo>
                    <a:lnTo>
                      <a:pt x="1894" y="1384"/>
                    </a:lnTo>
                    <a:lnTo>
                      <a:pt x="1896" y="1391"/>
                    </a:lnTo>
                    <a:lnTo>
                      <a:pt x="1902" y="1395"/>
                    </a:lnTo>
                    <a:lnTo>
                      <a:pt x="1912" y="1400"/>
                    </a:lnTo>
                    <a:lnTo>
                      <a:pt x="1921" y="1404"/>
                    </a:lnTo>
                    <a:lnTo>
                      <a:pt x="1928" y="1406"/>
                    </a:lnTo>
                    <a:lnTo>
                      <a:pt x="1933" y="1408"/>
                    </a:lnTo>
                    <a:lnTo>
                      <a:pt x="1938" y="1411"/>
                    </a:lnTo>
                    <a:lnTo>
                      <a:pt x="1940" y="1416"/>
                    </a:lnTo>
                    <a:lnTo>
                      <a:pt x="1943" y="1422"/>
                    </a:lnTo>
                    <a:lnTo>
                      <a:pt x="1944" y="1430"/>
                    </a:lnTo>
                    <a:lnTo>
                      <a:pt x="1945" y="1437"/>
                    </a:lnTo>
                    <a:lnTo>
                      <a:pt x="1947" y="1443"/>
                    </a:lnTo>
                    <a:lnTo>
                      <a:pt x="1951" y="1447"/>
                    </a:lnTo>
                    <a:lnTo>
                      <a:pt x="1956" y="1447"/>
                    </a:lnTo>
                    <a:lnTo>
                      <a:pt x="1960" y="1448"/>
                    </a:lnTo>
                    <a:lnTo>
                      <a:pt x="1965" y="1450"/>
                    </a:lnTo>
                    <a:lnTo>
                      <a:pt x="1971" y="1455"/>
                    </a:lnTo>
                    <a:lnTo>
                      <a:pt x="1977" y="1462"/>
                    </a:lnTo>
                    <a:lnTo>
                      <a:pt x="1985" y="1468"/>
                    </a:lnTo>
                    <a:lnTo>
                      <a:pt x="1989" y="1469"/>
                    </a:lnTo>
                    <a:lnTo>
                      <a:pt x="1994" y="1471"/>
                    </a:lnTo>
                    <a:lnTo>
                      <a:pt x="1998" y="1471"/>
                    </a:lnTo>
                    <a:lnTo>
                      <a:pt x="2004" y="1470"/>
                    </a:lnTo>
                    <a:lnTo>
                      <a:pt x="2015" y="1467"/>
                    </a:lnTo>
                    <a:lnTo>
                      <a:pt x="2026" y="1462"/>
                    </a:lnTo>
                    <a:lnTo>
                      <a:pt x="2031" y="1460"/>
                    </a:lnTo>
                    <a:lnTo>
                      <a:pt x="2035" y="1458"/>
                    </a:lnTo>
                    <a:lnTo>
                      <a:pt x="2040" y="1460"/>
                    </a:lnTo>
                    <a:lnTo>
                      <a:pt x="2045" y="1461"/>
                    </a:lnTo>
                    <a:lnTo>
                      <a:pt x="2054" y="1468"/>
                    </a:lnTo>
                    <a:lnTo>
                      <a:pt x="2065" y="1473"/>
                    </a:lnTo>
                    <a:lnTo>
                      <a:pt x="2070" y="1474"/>
                    </a:lnTo>
                    <a:lnTo>
                      <a:pt x="2076" y="1474"/>
                    </a:lnTo>
                    <a:lnTo>
                      <a:pt x="2083" y="1474"/>
                    </a:lnTo>
                    <a:lnTo>
                      <a:pt x="2090" y="1473"/>
                    </a:lnTo>
                    <a:lnTo>
                      <a:pt x="2109" y="1467"/>
                    </a:lnTo>
                    <a:lnTo>
                      <a:pt x="2124" y="1464"/>
                    </a:lnTo>
                    <a:lnTo>
                      <a:pt x="2135" y="1462"/>
                    </a:lnTo>
                    <a:lnTo>
                      <a:pt x="2146" y="1458"/>
                    </a:lnTo>
                    <a:lnTo>
                      <a:pt x="2154" y="1454"/>
                    </a:lnTo>
                    <a:lnTo>
                      <a:pt x="2160" y="1448"/>
                    </a:lnTo>
                    <a:lnTo>
                      <a:pt x="2165" y="1442"/>
                    </a:lnTo>
                    <a:lnTo>
                      <a:pt x="2172" y="1436"/>
                    </a:lnTo>
                    <a:lnTo>
                      <a:pt x="2176" y="1433"/>
                    </a:lnTo>
                    <a:lnTo>
                      <a:pt x="2180" y="1432"/>
                    </a:lnTo>
                    <a:lnTo>
                      <a:pt x="2185" y="1430"/>
                    </a:lnTo>
                    <a:lnTo>
                      <a:pt x="2190" y="1430"/>
                    </a:lnTo>
                    <a:lnTo>
                      <a:pt x="2202" y="1430"/>
                    </a:lnTo>
                    <a:lnTo>
                      <a:pt x="2216" y="1430"/>
                    </a:lnTo>
                    <a:lnTo>
                      <a:pt x="2230" y="1430"/>
                    </a:lnTo>
                    <a:lnTo>
                      <a:pt x="2243" y="1430"/>
                    </a:lnTo>
                    <a:lnTo>
                      <a:pt x="2248" y="1431"/>
                    </a:lnTo>
                    <a:lnTo>
                      <a:pt x="2253" y="1432"/>
                    </a:lnTo>
                    <a:lnTo>
                      <a:pt x="2255" y="1433"/>
                    </a:lnTo>
                    <a:lnTo>
                      <a:pt x="2258" y="1436"/>
                    </a:lnTo>
                    <a:lnTo>
                      <a:pt x="2260" y="1441"/>
                    </a:lnTo>
                    <a:lnTo>
                      <a:pt x="2259" y="1447"/>
                    </a:lnTo>
                    <a:lnTo>
                      <a:pt x="2259" y="1452"/>
                    </a:lnTo>
                    <a:lnTo>
                      <a:pt x="2258" y="1460"/>
                    </a:lnTo>
                    <a:lnTo>
                      <a:pt x="2258" y="1462"/>
                    </a:lnTo>
                    <a:lnTo>
                      <a:pt x="2259" y="1466"/>
                    </a:lnTo>
                    <a:lnTo>
                      <a:pt x="2260" y="1468"/>
                    </a:lnTo>
                    <a:lnTo>
                      <a:pt x="2261" y="1469"/>
                    </a:lnTo>
                    <a:lnTo>
                      <a:pt x="2267" y="1470"/>
                    </a:lnTo>
                    <a:lnTo>
                      <a:pt x="2275" y="1470"/>
                    </a:lnTo>
                    <a:lnTo>
                      <a:pt x="2284" y="1468"/>
                    </a:lnTo>
                    <a:lnTo>
                      <a:pt x="2293" y="1467"/>
                    </a:lnTo>
                    <a:lnTo>
                      <a:pt x="2302" y="1468"/>
                    </a:lnTo>
                    <a:lnTo>
                      <a:pt x="2309" y="1470"/>
                    </a:lnTo>
                    <a:lnTo>
                      <a:pt x="2317" y="1474"/>
                    </a:lnTo>
                    <a:lnTo>
                      <a:pt x="2323" y="1476"/>
                    </a:lnTo>
                    <a:lnTo>
                      <a:pt x="2329" y="1479"/>
                    </a:lnTo>
                    <a:lnTo>
                      <a:pt x="2336" y="1482"/>
                    </a:lnTo>
                    <a:lnTo>
                      <a:pt x="2341" y="1486"/>
                    </a:lnTo>
                    <a:lnTo>
                      <a:pt x="2346" y="1492"/>
                    </a:lnTo>
                    <a:lnTo>
                      <a:pt x="2347" y="1495"/>
                    </a:lnTo>
                    <a:lnTo>
                      <a:pt x="2348" y="1498"/>
                    </a:lnTo>
                    <a:lnTo>
                      <a:pt x="2350" y="1499"/>
                    </a:lnTo>
                    <a:lnTo>
                      <a:pt x="2353" y="1500"/>
                    </a:lnTo>
                    <a:lnTo>
                      <a:pt x="2360" y="1501"/>
                    </a:lnTo>
                    <a:lnTo>
                      <a:pt x="2368" y="1502"/>
                    </a:lnTo>
                    <a:lnTo>
                      <a:pt x="2375" y="1501"/>
                    </a:lnTo>
                    <a:lnTo>
                      <a:pt x="2382" y="1500"/>
                    </a:lnTo>
                    <a:lnTo>
                      <a:pt x="2387" y="1498"/>
                    </a:lnTo>
                    <a:lnTo>
                      <a:pt x="2391" y="1493"/>
                    </a:lnTo>
                    <a:lnTo>
                      <a:pt x="2394" y="1489"/>
                    </a:lnTo>
                    <a:lnTo>
                      <a:pt x="2400" y="1486"/>
                    </a:lnTo>
                    <a:lnTo>
                      <a:pt x="2406" y="1485"/>
                    </a:lnTo>
                    <a:lnTo>
                      <a:pt x="2415" y="1486"/>
                    </a:lnTo>
                    <a:lnTo>
                      <a:pt x="2424" y="1488"/>
                    </a:lnTo>
                    <a:lnTo>
                      <a:pt x="2434" y="1490"/>
                    </a:lnTo>
                    <a:lnTo>
                      <a:pt x="2437" y="1490"/>
                    </a:lnTo>
                    <a:lnTo>
                      <a:pt x="2442" y="1489"/>
                    </a:lnTo>
                    <a:lnTo>
                      <a:pt x="2444" y="1487"/>
                    </a:lnTo>
                    <a:lnTo>
                      <a:pt x="2447" y="1482"/>
                    </a:lnTo>
                    <a:lnTo>
                      <a:pt x="2450" y="1471"/>
                    </a:lnTo>
                    <a:lnTo>
                      <a:pt x="2451" y="1462"/>
                    </a:lnTo>
                    <a:lnTo>
                      <a:pt x="2453" y="1458"/>
                    </a:lnTo>
                    <a:lnTo>
                      <a:pt x="2454" y="1455"/>
                    </a:lnTo>
                    <a:lnTo>
                      <a:pt x="2457" y="1454"/>
                    </a:lnTo>
                    <a:lnTo>
                      <a:pt x="2461" y="1451"/>
                    </a:lnTo>
                    <a:lnTo>
                      <a:pt x="2466" y="1451"/>
                    </a:lnTo>
                    <a:lnTo>
                      <a:pt x="2470" y="1451"/>
                    </a:lnTo>
                    <a:lnTo>
                      <a:pt x="2474" y="1451"/>
                    </a:lnTo>
                    <a:lnTo>
                      <a:pt x="2478" y="1452"/>
                    </a:lnTo>
                    <a:lnTo>
                      <a:pt x="2481" y="1455"/>
                    </a:lnTo>
                    <a:lnTo>
                      <a:pt x="2485" y="1457"/>
                    </a:lnTo>
                    <a:lnTo>
                      <a:pt x="2487" y="1461"/>
                    </a:lnTo>
                    <a:lnTo>
                      <a:pt x="2489" y="1466"/>
                    </a:lnTo>
                    <a:lnTo>
                      <a:pt x="2492" y="1476"/>
                    </a:lnTo>
                    <a:lnTo>
                      <a:pt x="2494" y="1487"/>
                    </a:lnTo>
                    <a:lnTo>
                      <a:pt x="2498" y="1496"/>
                    </a:lnTo>
                    <a:lnTo>
                      <a:pt x="2501" y="1504"/>
                    </a:lnTo>
                    <a:lnTo>
                      <a:pt x="2502" y="1507"/>
                    </a:lnTo>
                    <a:lnTo>
                      <a:pt x="2505" y="1510"/>
                    </a:lnTo>
                    <a:lnTo>
                      <a:pt x="2508" y="1511"/>
                    </a:lnTo>
                    <a:lnTo>
                      <a:pt x="2512" y="1512"/>
                    </a:lnTo>
                    <a:lnTo>
                      <a:pt x="2519" y="1513"/>
                    </a:lnTo>
                    <a:lnTo>
                      <a:pt x="2529" y="1511"/>
                    </a:lnTo>
                    <a:lnTo>
                      <a:pt x="2537" y="1510"/>
                    </a:lnTo>
                    <a:lnTo>
                      <a:pt x="2544" y="1510"/>
                    </a:lnTo>
                    <a:lnTo>
                      <a:pt x="2548" y="1511"/>
                    </a:lnTo>
                    <a:lnTo>
                      <a:pt x="2550" y="1512"/>
                    </a:lnTo>
                    <a:lnTo>
                      <a:pt x="2552" y="1514"/>
                    </a:lnTo>
                    <a:lnTo>
                      <a:pt x="2555" y="1518"/>
                    </a:lnTo>
                    <a:lnTo>
                      <a:pt x="2557" y="1525"/>
                    </a:lnTo>
                    <a:lnTo>
                      <a:pt x="2561" y="1530"/>
                    </a:lnTo>
                    <a:lnTo>
                      <a:pt x="2562" y="1533"/>
                    </a:lnTo>
                    <a:lnTo>
                      <a:pt x="2564" y="1534"/>
                    </a:lnTo>
                    <a:lnTo>
                      <a:pt x="2568" y="1536"/>
                    </a:lnTo>
                    <a:lnTo>
                      <a:pt x="2571" y="1537"/>
                    </a:lnTo>
                    <a:lnTo>
                      <a:pt x="2581" y="1540"/>
                    </a:lnTo>
                    <a:lnTo>
                      <a:pt x="2592" y="1546"/>
                    </a:lnTo>
                    <a:lnTo>
                      <a:pt x="2602" y="1553"/>
                    </a:lnTo>
                    <a:lnTo>
                      <a:pt x="2612" y="1561"/>
                    </a:lnTo>
                    <a:lnTo>
                      <a:pt x="2618" y="1568"/>
                    </a:lnTo>
                    <a:lnTo>
                      <a:pt x="2624" y="1576"/>
                    </a:lnTo>
                    <a:lnTo>
                      <a:pt x="2627" y="1583"/>
                    </a:lnTo>
                    <a:lnTo>
                      <a:pt x="2631" y="1589"/>
                    </a:lnTo>
                    <a:lnTo>
                      <a:pt x="2636" y="1596"/>
                    </a:lnTo>
                    <a:lnTo>
                      <a:pt x="2644" y="1606"/>
                    </a:lnTo>
                    <a:lnTo>
                      <a:pt x="2650" y="1609"/>
                    </a:lnTo>
                    <a:lnTo>
                      <a:pt x="2655" y="1614"/>
                    </a:lnTo>
                    <a:lnTo>
                      <a:pt x="2662" y="1618"/>
                    </a:lnTo>
                    <a:lnTo>
                      <a:pt x="2668" y="1620"/>
                    </a:lnTo>
                    <a:lnTo>
                      <a:pt x="2681" y="1624"/>
                    </a:lnTo>
                    <a:lnTo>
                      <a:pt x="2693" y="1627"/>
                    </a:lnTo>
                    <a:lnTo>
                      <a:pt x="2703" y="1631"/>
                    </a:lnTo>
                    <a:lnTo>
                      <a:pt x="2712" y="1634"/>
                    </a:lnTo>
                    <a:lnTo>
                      <a:pt x="2721" y="1638"/>
                    </a:lnTo>
                    <a:lnTo>
                      <a:pt x="2733" y="1639"/>
                    </a:lnTo>
                    <a:lnTo>
                      <a:pt x="2739" y="1640"/>
                    </a:lnTo>
                    <a:lnTo>
                      <a:pt x="2745" y="1639"/>
                    </a:lnTo>
                    <a:lnTo>
                      <a:pt x="2751" y="1638"/>
                    </a:lnTo>
                    <a:lnTo>
                      <a:pt x="2756" y="1637"/>
                    </a:lnTo>
                    <a:lnTo>
                      <a:pt x="2764" y="1631"/>
                    </a:lnTo>
                    <a:lnTo>
                      <a:pt x="2775" y="1627"/>
                    </a:lnTo>
                    <a:lnTo>
                      <a:pt x="2779" y="1626"/>
                    </a:lnTo>
                    <a:lnTo>
                      <a:pt x="2785" y="1625"/>
                    </a:lnTo>
                    <a:lnTo>
                      <a:pt x="2790" y="1625"/>
                    </a:lnTo>
                    <a:lnTo>
                      <a:pt x="2796" y="1626"/>
                    </a:lnTo>
                    <a:lnTo>
                      <a:pt x="2807" y="1628"/>
                    </a:lnTo>
                    <a:lnTo>
                      <a:pt x="2817" y="1628"/>
                    </a:lnTo>
                    <a:lnTo>
                      <a:pt x="2822" y="1628"/>
                    </a:lnTo>
                    <a:lnTo>
                      <a:pt x="2827" y="1627"/>
                    </a:lnTo>
                    <a:lnTo>
                      <a:pt x="2832" y="1625"/>
                    </a:lnTo>
                    <a:lnTo>
                      <a:pt x="2835" y="1622"/>
                    </a:lnTo>
                    <a:lnTo>
                      <a:pt x="2842" y="1619"/>
                    </a:lnTo>
                    <a:lnTo>
                      <a:pt x="2848" y="1618"/>
                    </a:lnTo>
                    <a:lnTo>
                      <a:pt x="2852" y="1618"/>
                    </a:lnTo>
                    <a:lnTo>
                      <a:pt x="2854" y="1619"/>
                    </a:lnTo>
                    <a:lnTo>
                      <a:pt x="2857" y="1620"/>
                    </a:lnTo>
                    <a:lnTo>
                      <a:pt x="2859" y="1622"/>
                    </a:lnTo>
                    <a:lnTo>
                      <a:pt x="2860" y="1625"/>
                    </a:lnTo>
                    <a:lnTo>
                      <a:pt x="2861" y="1628"/>
                    </a:lnTo>
                    <a:lnTo>
                      <a:pt x="2861" y="1633"/>
                    </a:lnTo>
                    <a:lnTo>
                      <a:pt x="2861" y="1638"/>
                    </a:lnTo>
                    <a:lnTo>
                      <a:pt x="2859" y="1647"/>
                    </a:lnTo>
                    <a:lnTo>
                      <a:pt x="2856" y="1655"/>
                    </a:lnTo>
                    <a:lnTo>
                      <a:pt x="2852" y="1660"/>
                    </a:lnTo>
                    <a:lnTo>
                      <a:pt x="2848" y="1666"/>
                    </a:lnTo>
                    <a:lnTo>
                      <a:pt x="2845" y="1672"/>
                    </a:lnTo>
                    <a:lnTo>
                      <a:pt x="2845" y="1679"/>
                    </a:lnTo>
                    <a:lnTo>
                      <a:pt x="2845" y="1688"/>
                    </a:lnTo>
                    <a:lnTo>
                      <a:pt x="2844" y="1695"/>
                    </a:lnTo>
                    <a:lnTo>
                      <a:pt x="2842" y="1702"/>
                    </a:lnTo>
                    <a:lnTo>
                      <a:pt x="2840" y="1708"/>
                    </a:lnTo>
                    <a:lnTo>
                      <a:pt x="2838" y="1713"/>
                    </a:lnTo>
                    <a:lnTo>
                      <a:pt x="2837" y="1720"/>
                    </a:lnTo>
                    <a:lnTo>
                      <a:pt x="2838" y="1723"/>
                    </a:lnTo>
                    <a:lnTo>
                      <a:pt x="2838" y="1727"/>
                    </a:lnTo>
                    <a:lnTo>
                      <a:pt x="2840" y="1731"/>
                    </a:lnTo>
                    <a:lnTo>
                      <a:pt x="2842" y="1733"/>
                    </a:lnTo>
                    <a:lnTo>
                      <a:pt x="2848" y="1738"/>
                    </a:lnTo>
                    <a:lnTo>
                      <a:pt x="2854" y="1741"/>
                    </a:lnTo>
                    <a:lnTo>
                      <a:pt x="2858" y="1744"/>
                    </a:lnTo>
                    <a:lnTo>
                      <a:pt x="2860" y="1747"/>
                    </a:lnTo>
                    <a:lnTo>
                      <a:pt x="2863" y="1751"/>
                    </a:lnTo>
                    <a:lnTo>
                      <a:pt x="2864" y="1757"/>
                    </a:lnTo>
                    <a:lnTo>
                      <a:pt x="2866" y="1767"/>
                    </a:lnTo>
                    <a:lnTo>
                      <a:pt x="2870" y="1776"/>
                    </a:lnTo>
                    <a:lnTo>
                      <a:pt x="2871" y="1778"/>
                    </a:lnTo>
                    <a:lnTo>
                      <a:pt x="2875" y="1779"/>
                    </a:lnTo>
                    <a:lnTo>
                      <a:pt x="2877" y="1781"/>
                    </a:lnTo>
                    <a:lnTo>
                      <a:pt x="2880" y="1779"/>
                    </a:lnTo>
                    <a:lnTo>
                      <a:pt x="2889" y="1776"/>
                    </a:lnTo>
                    <a:lnTo>
                      <a:pt x="2896" y="1773"/>
                    </a:lnTo>
                    <a:lnTo>
                      <a:pt x="2903" y="1771"/>
                    </a:lnTo>
                    <a:lnTo>
                      <a:pt x="2910" y="1771"/>
                    </a:lnTo>
                    <a:lnTo>
                      <a:pt x="2914" y="1772"/>
                    </a:lnTo>
                    <a:lnTo>
                      <a:pt x="2916" y="1773"/>
                    </a:lnTo>
                    <a:lnTo>
                      <a:pt x="2919" y="1776"/>
                    </a:lnTo>
                    <a:lnTo>
                      <a:pt x="2921" y="1777"/>
                    </a:lnTo>
                    <a:lnTo>
                      <a:pt x="2922" y="1783"/>
                    </a:lnTo>
                    <a:lnTo>
                      <a:pt x="2923" y="1789"/>
                    </a:lnTo>
                    <a:lnTo>
                      <a:pt x="2923" y="1796"/>
                    </a:lnTo>
                    <a:lnTo>
                      <a:pt x="2924" y="1803"/>
                    </a:lnTo>
                    <a:lnTo>
                      <a:pt x="2926" y="1811"/>
                    </a:lnTo>
                    <a:lnTo>
                      <a:pt x="2929" y="1817"/>
                    </a:lnTo>
                    <a:lnTo>
                      <a:pt x="2934" y="1823"/>
                    </a:lnTo>
                    <a:lnTo>
                      <a:pt x="2938" y="1829"/>
                    </a:lnTo>
                    <a:lnTo>
                      <a:pt x="2940" y="1836"/>
                    </a:lnTo>
                    <a:lnTo>
                      <a:pt x="2941" y="1844"/>
                    </a:lnTo>
                    <a:lnTo>
                      <a:pt x="2942" y="1854"/>
                    </a:lnTo>
                    <a:lnTo>
                      <a:pt x="2942" y="1865"/>
                    </a:lnTo>
                    <a:lnTo>
                      <a:pt x="2942" y="1876"/>
                    </a:lnTo>
                    <a:lnTo>
                      <a:pt x="2942" y="1885"/>
                    </a:lnTo>
                    <a:lnTo>
                      <a:pt x="2941" y="1893"/>
                    </a:lnTo>
                    <a:lnTo>
                      <a:pt x="2939" y="1903"/>
                    </a:lnTo>
                    <a:lnTo>
                      <a:pt x="2935" y="1912"/>
                    </a:lnTo>
                    <a:lnTo>
                      <a:pt x="2929" y="1922"/>
                    </a:lnTo>
                    <a:lnTo>
                      <a:pt x="2924" y="1930"/>
                    </a:lnTo>
                    <a:lnTo>
                      <a:pt x="2922" y="1939"/>
                    </a:lnTo>
                    <a:lnTo>
                      <a:pt x="2921" y="1946"/>
                    </a:lnTo>
                    <a:lnTo>
                      <a:pt x="2922" y="1953"/>
                    </a:lnTo>
                    <a:lnTo>
                      <a:pt x="2923" y="1956"/>
                    </a:lnTo>
                    <a:lnTo>
                      <a:pt x="2924" y="1960"/>
                    </a:lnTo>
                    <a:lnTo>
                      <a:pt x="2928" y="1964"/>
                    </a:lnTo>
                    <a:lnTo>
                      <a:pt x="2932" y="1967"/>
                    </a:lnTo>
                    <a:lnTo>
                      <a:pt x="2940" y="1974"/>
                    </a:lnTo>
                    <a:lnTo>
                      <a:pt x="2948" y="1981"/>
                    </a:lnTo>
                    <a:lnTo>
                      <a:pt x="2960" y="1990"/>
                    </a:lnTo>
                    <a:lnTo>
                      <a:pt x="2974" y="2000"/>
                    </a:lnTo>
                    <a:lnTo>
                      <a:pt x="2983" y="2005"/>
                    </a:lnTo>
                    <a:lnTo>
                      <a:pt x="2991" y="2012"/>
                    </a:lnTo>
                    <a:lnTo>
                      <a:pt x="2997" y="2018"/>
                    </a:lnTo>
                    <a:lnTo>
                      <a:pt x="3004" y="2025"/>
                    </a:lnTo>
                    <a:lnTo>
                      <a:pt x="3012" y="2037"/>
                    </a:lnTo>
                    <a:lnTo>
                      <a:pt x="3018" y="2047"/>
                    </a:lnTo>
                    <a:lnTo>
                      <a:pt x="3021" y="2056"/>
                    </a:lnTo>
                    <a:lnTo>
                      <a:pt x="3023" y="2065"/>
                    </a:lnTo>
                    <a:lnTo>
                      <a:pt x="3024" y="2068"/>
                    </a:lnTo>
                    <a:lnTo>
                      <a:pt x="3027" y="2073"/>
                    </a:lnTo>
                    <a:lnTo>
                      <a:pt x="3029" y="2078"/>
                    </a:lnTo>
                    <a:lnTo>
                      <a:pt x="3033" y="2082"/>
                    </a:lnTo>
                    <a:lnTo>
                      <a:pt x="3037" y="2087"/>
                    </a:lnTo>
                    <a:lnTo>
                      <a:pt x="3042" y="2092"/>
                    </a:lnTo>
                    <a:lnTo>
                      <a:pt x="3047" y="2094"/>
                    </a:lnTo>
                    <a:lnTo>
                      <a:pt x="3050" y="2097"/>
                    </a:lnTo>
                    <a:lnTo>
                      <a:pt x="3056" y="2099"/>
                    </a:lnTo>
                    <a:lnTo>
                      <a:pt x="3062" y="2100"/>
                    </a:lnTo>
                    <a:lnTo>
                      <a:pt x="3068" y="2101"/>
                    </a:lnTo>
                    <a:lnTo>
                      <a:pt x="3074" y="2101"/>
                    </a:lnTo>
                    <a:lnTo>
                      <a:pt x="3081" y="2100"/>
                    </a:lnTo>
                    <a:lnTo>
                      <a:pt x="3087" y="2099"/>
                    </a:lnTo>
                    <a:lnTo>
                      <a:pt x="3093" y="2095"/>
                    </a:lnTo>
                    <a:lnTo>
                      <a:pt x="3098" y="2092"/>
                    </a:lnTo>
                    <a:lnTo>
                      <a:pt x="3105" y="2082"/>
                    </a:lnTo>
                    <a:lnTo>
                      <a:pt x="3111" y="2075"/>
                    </a:lnTo>
                    <a:lnTo>
                      <a:pt x="3115" y="2073"/>
                    </a:lnTo>
                    <a:lnTo>
                      <a:pt x="3118" y="2071"/>
                    </a:lnTo>
                    <a:lnTo>
                      <a:pt x="3123" y="2068"/>
                    </a:lnTo>
                    <a:lnTo>
                      <a:pt x="3129" y="2067"/>
                    </a:lnTo>
                    <a:lnTo>
                      <a:pt x="3142" y="2063"/>
                    </a:lnTo>
                    <a:lnTo>
                      <a:pt x="3154" y="2060"/>
                    </a:lnTo>
                    <a:lnTo>
                      <a:pt x="3165" y="2056"/>
                    </a:lnTo>
                    <a:lnTo>
                      <a:pt x="3174" y="2054"/>
                    </a:lnTo>
                    <a:lnTo>
                      <a:pt x="3182" y="2053"/>
                    </a:lnTo>
                    <a:lnTo>
                      <a:pt x="3191" y="2053"/>
                    </a:lnTo>
                    <a:lnTo>
                      <a:pt x="3196" y="2053"/>
                    </a:lnTo>
                    <a:lnTo>
                      <a:pt x="3200" y="2054"/>
                    </a:lnTo>
                    <a:lnTo>
                      <a:pt x="3205" y="2056"/>
                    </a:lnTo>
                    <a:lnTo>
                      <a:pt x="3209" y="2059"/>
                    </a:lnTo>
                    <a:lnTo>
                      <a:pt x="3218" y="2063"/>
                    </a:lnTo>
                    <a:lnTo>
                      <a:pt x="3228" y="2068"/>
                    </a:lnTo>
                    <a:lnTo>
                      <a:pt x="3231" y="2068"/>
                    </a:lnTo>
                    <a:lnTo>
                      <a:pt x="3236" y="2068"/>
                    </a:lnTo>
                    <a:lnTo>
                      <a:pt x="3239" y="2067"/>
                    </a:lnTo>
                    <a:lnTo>
                      <a:pt x="3242" y="2065"/>
                    </a:lnTo>
                    <a:lnTo>
                      <a:pt x="3247" y="2060"/>
                    </a:lnTo>
                    <a:lnTo>
                      <a:pt x="3253" y="2056"/>
                    </a:lnTo>
                    <a:lnTo>
                      <a:pt x="3260" y="2054"/>
                    </a:lnTo>
                    <a:lnTo>
                      <a:pt x="3268" y="2053"/>
                    </a:lnTo>
                    <a:lnTo>
                      <a:pt x="3282" y="2053"/>
                    </a:lnTo>
                    <a:lnTo>
                      <a:pt x="3300" y="2053"/>
                    </a:lnTo>
                    <a:lnTo>
                      <a:pt x="3310" y="2052"/>
                    </a:lnTo>
                    <a:lnTo>
                      <a:pt x="3318" y="2050"/>
                    </a:lnTo>
                    <a:lnTo>
                      <a:pt x="3325" y="2049"/>
                    </a:lnTo>
                    <a:lnTo>
                      <a:pt x="3330" y="2047"/>
                    </a:lnTo>
                    <a:lnTo>
                      <a:pt x="3337" y="2042"/>
                    </a:lnTo>
                    <a:lnTo>
                      <a:pt x="3343" y="2036"/>
                    </a:lnTo>
                    <a:lnTo>
                      <a:pt x="3345" y="2034"/>
                    </a:lnTo>
                    <a:lnTo>
                      <a:pt x="3349" y="2031"/>
                    </a:lnTo>
                    <a:lnTo>
                      <a:pt x="3354" y="2030"/>
                    </a:lnTo>
                    <a:lnTo>
                      <a:pt x="3358" y="2029"/>
                    </a:lnTo>
                    <a:lnTo>
                      <a:pt x="3368" y="2029"/>
                    </a:lnTo>
                    <a:lnTo>
                      <a:pt x="3377" y="2029"/>
                    </a:lnTo>
                    <a:lnTo>
                      <a:pt x="3382" y="2028"/>
                    </a:lnTo>
                    <a:lnTo>
                      <a:pt x="3387" y="2025"/>
                    </a:lnTo>
                    <a:lnTo>
                      <a:pt x="3392" y="2022"/>
                    </a:lnTo>
                    <a:lnTo>
                      <a:pt x="3395" y="2018"/>
                    </a:lnTo>
                    <a:lnTo>
                      <a:pt x="3405" y="2008"/>
                    </a:lnTo>
                    <a:lnTo>
                      <a:pt x="3414" y="1998"/>
                    </a:lnTo>
                    <a:lnTo>
                      <a:pt x="3419" y="1993"/>
                    </a:lnTo>
                    <a:lnTo>
                      <a:pt x="3425" y="1990"/>
                    </a:lnTo>
                    <a:lnTo>
                      <a:pt x="3430" y="1987"/>
                    </a:lnTo>
                    <a:lnTo>
                      <a:pt x="3433" y="1986"/>
                    </a:lnTo>
                    <a:lnTo>
                      <a:pt x="3448" y="1989"/>
                    </a:lnTo>
                    <a:lnTo>
                      <a:pt x="3464" y="1993"/>
                    </a:lnTo>
                    <a:lnTo>
                      <a:pt x="3470" y="1993"/>
                    </a:lnTo>
                    <a:lnTo>
                      <a:pt x="3476" y="1992"/>
                    </a:lnTo>
                    <a:lnTo>
                      <a:pt x="3482" y="1991"/>
                    </a:lnTo>
                    <a:lnTo>
                      <a:pt x="3488" y="1989"/>
                    </a:lnTo>
                    <a:lnTo>
                      <a:pt x="3494" y="1986"/>
                    </a:lnTo>
                    <a:lnTo>
                      <a:pt x="3499" y="1981"/>
                    </a:lnTo>
                    <a:lnTo>
                      <a:pt x="3503" y="1977"/>
                    </a:lnTo>
                    <a:lnTo>
                      <a:pt x="3506" y="1971"/>
                    </a:lnTo>
                    <a:lnTo>
                      <a:pt x="3508" y="1965"/>
                    </a:lnTo>
                    <a:lnTo>
                      <a:pt x="3509" y="1958"/>
                    </a:lnTo>
                    <a:lnTo>
                      <a:pt x="3509" y="1952"/>
                    </a:lnTo>
                    <a:lnTo>
                      <a:pt x="3509" y="1945"/>
                    </a:lnTo>
                    <a:lnTo>
                      <a:pt x="3508" y="1933"/>
                    </a:lnTo>
                    <a:lnTo>
                      <a:pt x="3506" y="1923"/>
                    </a:lnTo>
                    <a:lnTo>
                      <a:pt x="3503" y="1914"/>
                    </a:lnTo>
                    <a:lnTo>
                      <a:pt x="3503" y="1902"/>
                    </a:lnTo>
                    <a:lnTo>
                      <a:pt x="3506" y="1891"/>
                    </a:lnTo>
                    <a:lnTo>
                      <a:pt x="3509" y="1883"/>
                    </a:lnTo>
                    <a:lnTo>
                      <a:pt x="3512" y="1880"/>
                    </a:lnTo>
                    <a:lnTo>
                      <a:pt x="3514" y="1879"/>
                    </a:lnTo>
                    <a:lnTo>
                      <a:pt x="3518" y="1878"/>
                    </a:lnTo>
                    <a:lnTo>
                      <a:pt x="3520" y="1878"/>
                    </a:lnTo>
                    <a:lnTo>
                      <a:pt x="3527" y="1880"/>
                    </a:lnTo>
                    <a:lnTo>
                      <a:pt x="3533" y="1883"/>
                    </a:lnTo>
                    <a:lnTo>
                      <a:pt x="3535" y="1884"/>
                    </a:lnTo>
                    <a:lnTo>
                      <a:pt x="3538" y="1885"/>
                    </a:lnTo>
                    <a:lnTo>
                      <a:pt x="3541" y="1885"/>
                    </a:lnTo>
                    <a:lnTo>
                      <a:pt x="3544" y="1885"/>
                    </a:lnTo>
                    <a:lnTo>
                      <a:pt x="3547" y="1884"/>
                    </a:lnTo>
                    <a:lnTo>
                      <a:pt x="3550" y="1882"/>
                    </a:lnTo>
                    <a:lnTo>
                      <a:pt x="3551" y="1878"/>
                    </a:lnTo>
                    <a:lnTo>
                      <a:pt x="3552" y="1873"/>
                    </a:lnTo>
                    <a:lnTo>
                      <a:pt x="3553" y="1868"/>
                    </a:lnTo>
                    <a:lnTo>
                      <a:pt x="3556" y="1864"/>
                    </a:lnTo>
                    <a:lnTo>
                      <a:pt x="3557" y="1859"/>
                    </a:lnTo>
                    <a:lnTo>
                      <a:pt x="3560" y="1855"/>
                    </a:lnTo>
                    <a:lnTo>
                      <a:pt x="3566" y="1848"/>
                    </a:lnTo>
                    <a:lnTo>
                      <a:pt x="3575" y="1844"/>
                    </a:lnTo>
                    <a:lnTo>
                      <a:pt x="3583" y="1841"/>
                    </a:lnTo>
                    <a:lnTo>
                      <a:pt x="3590" y="1838"/>
                    </a:lnTo>
                    <a:lnTo>
                      <a:pt x="3593" y="1835"/>
                    </a:lnTo>
                    <a:lnTo>
                      <a:pt x="3594" y="1832"/>
                    </a:lnTo>
                    <a:lnTo>
                      <a:pt x="3595" y="1828"/>
                    </a:lnTo>
                    <a:lnTo>
                      <a:pt x="3596" y="1822"/>
                    </a:lnTo>
                    <a:lnTo>
                      <a:pt x="3597" y="1810"/>
                    </a:lnTo>
                    <a:lnTo>
                      <a:pt x="3600" y="1800"/>
                    </a:lnTo>
                    <a:lnTo>
                      <a:pt x="3602" y="1796"/>
                    </a:lnTo>
                    <a:lnTo>
                      <a:pt x="3604" y="1794"/>
                    </a:lnTo>
                    <a:lnTo>
                      <a:pt x="3608" y="1791"/>
                    </a:lnTo>
                    <a:lnTo>
                      <a:pt x="3612" y="1790"/>
                    </a:lnTo>
                    <a:lnTo>
                      <a:pt x="3620" y="1790"/>
                    </a:lnTo>
                    <a:lnTo>
                      <a:pt x="3627" y="1789"/>
                    </a:lnTo>
                    <a:lnTo>
                      <a:pt x="3629" y="1788"/>
                    </a:lnTo>
                    <a:lnTo>
                      <a:pt x="3632" y="1786"/>
                    </a:lnTo>
                    <a:lnTo>
                      <a:pt x="3634" y="1784"/>
                    </a:lnTo>
                    <a:lnTo>
                      <a:pt x="3635" y="1782"/>
                    </a:lnTo>
                    <a:lnTo>
                      <a:pt x="3637" y="1778"/>
                    </a:lnTo>
                    <a:lnTo>
                      <a:pt x="3639" y="1776"/>
                    </a:lnTo>
                    <a:lnTo>
                      <a:pt x="3642" y="1773"/>
                    </a:lnTo>
                    <a:lnTo>
                      <a:pt x="3645" y="1772"/>
                    </a:lnTo>
                    <a:lnTo>
                      <a:pt x="3652" y="1771"/>
                    </a:lnTo>
                    <a:lnTo>
                      <a:pt x="3658" y="1771"/>
                    </a:lnTo>
                    <a:lnTo>
                      <a:pt x="3664" y="1771"/>
                    </a:lnTo>
                    <a:lnTo>
                      <a:pt x="3672" y="1770"/>
                    </a:lnTo>
                    <a:lnTo>
                      <a:pt x="3681" y="1767"/>
                    </a:lnTo>
                    <a:lnTo>
                      <a:pt x="3689" y="1765"/>
                    </a:lnTo>
                    <a:lnTo>
                      <a:pt x="3698" y="1763"/>
                    </a:lnTo>
                    <a:lnTo>
                      <a:pt x="3713" y="1759"/>
                    </a:lnTo>
                    <a:lnTo>
                      <a:pt x="3727" y="1756"/>
                    </a:lnTo>
                    <a:lnTo>
                      <a:pt x="3739" y="1751"/>
                    </a:lnTo>
                    <a:lnTo>
                      <a:pt x="3747" y="1746"/>
                    </a:lnTo>
                    <a:lnTo>
                      <a:pt x="3755" y="1739"/>
                    </a:lnTo>
                    <a:lnTo>
                      <a:pt x="3763" y="1732"/>
                    </a:lnTo>
                    <a:lnTo>
                      <a:pt x="3767" y="1723"/>
                    </a:lnTo>
                    <a:lnTo>
                      <a:pt x="3773" y="1713"/>
                    </a:lnTo>
                    <a:lnTo>
                      <a:pt x="3780" y="1701"/>
                    </a:lnTo>
                    <a:lnTo>
                      <a:pt x="3789" y="1689"/>
                    </a:lnTo>
                    <a:lnTo>
                      <a:pt x="3796" y="1681"/>
                    </a:lnTo>
                    <a:lnTo>
                      <a:pt x="3804" y="1675"/>
                    </a:lnTo>
                    <a:lnTo>
                      <a:pt x="3811" y="1671"/>
                    </a:lnTo>
                    <a:lnTo>
                      <a:pt x="3818" y="1669"/>
                    </a:lnTo>
                    <a:lnTo>
                      <a:pt x="3824" y="1668"/>
                    </a:lnTo>
                    <a:lnTo>
                      <a:pt x="3831" y="1668"/>
                    </a:lnTo>
                    <a:lnTo>
                      <a:pt x="3837" y="1666"/>
                    </a:lnTo>
                    <a:lnTo>
                      <a:pt x="3841" y="1664"/>
                    </a:lnTo>
                    <a:lnTo>
                      <a:pt x="3843" y="1662"/>
                    </a:lnTo>
                    <a:lnTo>
                      <a:pt x="3846" y="1659"/>
                    </a:lnTo>
                    <a:lnTo>
                      <a:pt x="3847" y="1656"/>
                    </a:lnTo>
                    <a:lnTo>
                      <a:pt x="3849" y="1649"/>
                    </a:lnTo>
                    <a:lnTo>
                      <a:pt x="3853" y="1641"/>
                    </a:lnTo>
                    <a:lnTo>
                      <a:pt x="3855" y="1638"/>
                    </a:lnTo>
                    <a:lnTo>
                      <a:pt x="3858" y="1635"/>
                    </a:lnTo>
                    <a:lnTo>
                      <a:pt x="3860" y="1633"/>
                    </a:lnTo>
                    <a:lnTo>
                      <a:pt x="3865" y="1631"/>
                    </a:lnTo>
                    <a:lnTo>
                      <a:pt x="3873" y="1627"/>
                    </a:lnTo>
                    <a:lnTo>
                      <a:pt x="3881" y="1624"/>
                    </a:lnTo>
                    <a:lnTo>
                      <a:pt x="3890" y="1618"/>
                    </a:lnTo>
                    <a:lnTo>
                      <a:pt x="3897" y="1611"/>
                    </a:lnTo>
                    <a:lnTo>
                      <a:pt x="3903" y="1603"/>
                    </a:lnTo>
                    <a:lnTo>
                      <a:pt x="3909" y="1599"/>
                    </a:lnTo>
                    <a:lnTo>
                      <a:pt x="3914" y="1596"/>
                    </a:lnTo>
                    <a:lnTo>
                      <a:pt x="3921" y="1595"/>
                    </a:lnTo>
                    <a:lnTo>
                      <a:pt x="3929" y="1595"/>
                    </a:lnTo>
                    <a:lnTo>
                      <a:pt x="3938" y="1594"/>
                    </a:lnTo>
                    <a:lnTo>
                      <a:pt x="3943" y="1593"/>
                    </a:lnTo>
                    <a:lnTo>
                      <a:pt x="3948" y="1590"/>
                    </a:lnTo>
                    <a:lnTo>
                      <a:pt x="3953" y="1588"/>
                    </a:lnTo>
                    <a:lnTo>
                      <a:pt x="3957" y="1586"/>
                    </a:lnTo>
                    <a:lnTo>
                      <a:pt x="3967" y="1578"/>
                    </a:lnTo>
                    <a:lnTo>
                      <a:pt x="3980" y="1570"/>
                    </a:lnTo>
                    <a:lnTo>
                      <a:pt x="3987" y="1568"/>
                    </a:lnTo>
                    <a:lnTo>
                      <a:pt x="3994" y="1564"/>
                    </a:lnTo>
                    <a:lnTo>
                      <a:pt x="4001" y="1562"/>
                    </a:lnTo>
                    <a:lnTo>
                      <a:pt x="4009" y="1561"/>
                    </a:lnTo>
                    <a:lnTo>
                      <a:pt x="4021" y="1559"/>
                    </a:lnTo>
                    <a:lnTo>
                      <a:pt x="4030" y="1561"/>
                    </a:lnTo>
                    <a:lnTo>
                      <a:pt x="4037" y="1562"/>
                    </a:lnTo>
                    <a:lnTo>
                      <a:pt x="4045" y="1563"/>
                    </a:lnTo>
                    <a:lnTo>
                      <a:pt x="4053" y="1564"/>
                    </a:lnTo>
                    <a:lnTo>
                      <a:pt x="4061" y="1564"/>
                    </a:lnTo>
                    <a:lnTo>
                      <a:pt x="4066" y="1563"/>
                    </a:lnTo>
                    <a:lnTo>
                      <a:pt x="4069" y="1561"/>
                    </a:lnTo>
                    <a:lnTo>
                      <a:pt x="4072" y="1559"/>
                    </a:lnTo>
                    <a:lnTo>
                      <a:pt x="4074" y="1556"/>
                    </a:lnTo>
                    <a:lnTo>
                      <a:pt x="4078" y="1550"/>
                    </a:lnTo>
                    <a:lnTo>
                      <a:pt x="4082" y="1544"/>
                    </a:lnTo>
                    <a:lnTo>
                      <a:pt x="4087" y="1539"/>
                    </a:lnTo>
                    <a:lnTo>
                      <a:pt x="4095" y="1534"/>
                    </a:lnTo>
                    <a:lnTo>
                      <a:pt x="4105" y="1532"/>
                    </a:lnTo>
                    <a:lnTo>
                      <a:pt x="4112" y="1527"/>
                    </a:lnTo>
                    <a:lnTo>
                      <a:pt x="4114" y="1524"/>
                    </a:lnTo>
                    <a:lnTo>
                      <a:pt x="4117" y="1521"/>
                    </a:lnTo>
                    <a:lnTo>
                      <a:pt x="4119" y="1518"/>
                    </a:lnTo>
                    <a:lnTo>
                      <a:pt x="4120" y="1514"/>
                    </a:lnTo>
                    <a:lnTo>
                      <a:pt x="4120" y="1508"/>
                    </a:lnTo>
                    <a:lnTo>
                      <a:pt x="4120" y="1504"/>
                    </a:lnTo>
                    <a:lnTo>
                      <a:pt x="4120" y="1502"/>
                    </a:lnTo>
                    <a:lnTo>
                      <a:pt x="4122" y="1501"/>
                    </a:lnTo>
                    <a:lnTo>
                      <a:pt x="4124" y="1502"/>
                    </a:lnTo>
                    <a:lnTo>
                      <a:pt x="4126" y="1505"/>
                    </a:lnTo>
                    <a:lnTo>
                      <a:pt x="4130" y="1507"/>
                    </a:lnTo>
                    <a:lnTo>
                      <a:pt x="4133" y="1511"/>
                    </a:lnTo>
                    <a:lnTo>
                      <a:pt x="4136" y="1515"/>
                    </a:lnTo>
                    <a:lnTo>
                      <a:pt x="4137" y="1521"/>
                    </a:lnTo>
                    <a:lnTo>
                      <a:pt x="4137" y="1526"/>
                    </a:lnTo>
                    <a:lnTo>
                      <a:pt x="4135" y="1531"/>
                    </a:lnTo>
                    <a:lnTo>
                      <a:pt x="4132" y="1536"/>
                    </a:lnTo>
                    <a:lnTo>
                      <a:pt x="4129" y="1540"/>
                    </a:lnTo>
                    <a:lnTo>
                      <a:pt x="4118" y="1549"/>
                    </a:lnTo>
                    <a:lnTo>
                      <a:pt x="4105" y="1558"/>
                    </a:lnTo>
                    <a:lnTo>
                      <a:pt x="4091" y="1568"/>
                    </a:lnTo>
                    <a:lnTo>
                      <a:pt x="4080" y="1578"/>
                    </a:lnTo>
                    <a:lnTo>
                      <a:pt x="4069" y="1588"/>
                    </a:lnTo>
                    <a:lnTo>
                      <a:pt x="4061" y="1597"/>
                    </a:lnTo>
                    <a:lnTo>
                      <a:pt x="4057" y="1602"/>
                    </a:lnTo>
                    <a:lnTo>
                      <a:pt x="4055" y="1608"/>
                    </a:lnTo>
                    <a:lnTo>
                      <a:pt x="4053" y="1614"/>
                    </a:lnTo>
                    <a:lnTo>
                      <a:pt x="4051" y="1620"/>
                    </a:lnTo>
                    <a:lnTo>
                      <a:pt x="4049" y="1634"/>
                    </a:lnTo>
                    <a:lnTo>
                      <a:pt x="4049" y="1647"/>
                    </a:lnTo>
                    <a:lnTo>
                      <a:pt x="4049" y="1660"/>
                    </a:lnTo>
                    <a:lnTo>
                      <a:pt x="4049" y="1671"/>
                    </a:lnTo>
                    <a:lnTo>
                      <a:pt x="4048" y="1682"/>
                    </a:lnTo>
                    <a:lnTo>
                      <a:pt x="4045" y="1693"/>
                    </a:lnTo>
                    <a:lnTo>
                      <a:pt x="4043" y="1704"/>
                    </a:lnTo>
                    <a:lnTo>
                      <a:pt x="4040" y="1719"/>
                    </a:lnTo>
                    <a:lnTo>
                      <a:pt x="4038" y="1732"/>
                    </a:lnTo>
                    <a:lnTo>
                      <a:pt x="4037" y="1744"/>
                    </a:lnTo>
                    <a:lnTo>
                      <a:pt x="4038" y="1748"/>
                    </a:lnTo>
                    <a:lnTo>
                      <a:pt x="4041" y="1752"/>
                    </a:lnTo>
                    <a:lnTo>
                      <a:pt x="4043" y="1756"/>
                    </a:lnTo>
                    <a:lnTo>
                      <a:pt x="4047" y="1759"/>
                    </a:lnTo>
                    <a:lnTo>
                      <a:pt x="4051" y="1763"/>
                    </a:lnTo>
                    <a:lnTo>
                      <a:pt x="4056" y="1764"/>
                    </a:lnTo>
                    <a:lnTo>
                      <a:pt x="4061" y="1765"/>
                    </a:lnTo>
                    <a:lnTo>
                      <a:pt x="4066" y="1765"/>
                    </a:lnTo>
                    <a:lnTo>
                      <a:pt x="4070" y="1765"/>
                    </a:lnTo>
                    <a:lnTo>
                      <a:pt x="4074" y="1766"/>
                    </a:lnTo>
                    <a:lnTo>
                      <a:pt x="4078" y="1766"/>
                    </a:lnTo>
                    <a:lnTo>
                      <a:pt x="4080" y="1769"/>
                    </a:lnTo>
                    <a:lnTo>
                      <a:pt x="4082" y="1770"/>
                    </a:lnTo>
                    <a:lnTo>
                      <a:pt x="4084" y="1772"/>
                    </a:lnTo>
                    <a:lnTo>
                      <a:pt x="4085" y="1775"/>
                    </a:lnTo>
                    <a:lnTo>
                      <a:pt x="4085" y="1778"/>
                    </a:lnTo>
                    <a:lnTo>
                      <a:pt x="4085" y="1782"/>
                    </a:lnTo>
                    <a:lnTo>
                      <a:pt x="4087" y="1784"/>
                    </a:lnTo>
                    <a:lnTo>
                      <a:pt x="4088" y="1788"/>
                    </a:lnTo>
                    <a:lnTo>
                      <a:pt x="4091" y="1791"/>
                    </a:lnTo>
                    <a:lnTo>
                      <a:pt x="4098" y="1797"/>
                    </a:lnTo>
                    <a:lnTo>
                      <a:pt x="4105" y="1804"/>
                    </a:lnTo>
                    <a:lnTo>
                      <a:pt x="4113" y="1814"/>
                    </a:lnTo>
                    <a:lnTo>
                      <a:pt x="4118" y="1822"/>
                    </a:lnTo>
                    <a:lnTo>
                      <a:pt x="4122" y="1832"/>
                    </a:lnTo>
                    <a:lnTo>
                      <a:pt x="4123" y="1841"/>
                    </a:lnTo>
                    <a:lnTo>
                      <a:pt x="4122" y="1853"/>
                    </a:lnTo>
                    <a:lnTo>
                      <a:pt x="4119" y="1868"/>
                    </a:lnTo>
                    <a:lnTo>
                      <a:pt x="4117" y="1886"/>
                    </a:lnTo>
                    <a:lnTo>
                      <a:pt x="4112" y="1901"/>
                    </a:lnTo>
                    <a:lnTo>
                      <a:pt x="4106" y="1914"/>
                    </a:lnTo>
                    <a:lnTo>
                      <a:pt x="4101" y="1927"/>
                    </a:lnTo>
                    <a:lnTo>
                      <a:pt x="4097" y="1941"/>
                    </a:lnTo>
                    <a:lnTo>
                      <a:pt x="4093" y="1954"/>
                    </a:lnTo>
                    <a:lnTo>
                      <a:pt x="4092" y="1959"/>
                    </a:lnTo>
                    <a:lnTo>
                      <a:pt x="4088" y="1964"/>
                    </a:lnTo>
                    <a:lnTo>
                      <a:pt x="4085" y="1967"/>
                    </a:lnTo>
                    <a:lnTo>
                      <a:pt x="4080" y="1971"/>
                    </a:lnTo>
                    <a:lnTo>
                      <a:pt x="4070" y="1974"/>
                    </a:lnTo>
                    <a:lnTo>
                      <a:pt x="4059" y="1979"/>
                    </a:lnTo>
                    <a:lnTo>
                      <a:pt x="4053" y="1981"/>
                    </a:lnTo>
                    <a:lnTo>
                      <a:pt x="4047" y="1984"/>
                    </a:lnTo>
                    <a:lnTo>
                      <a:pt x="4041" y="1989"/>
                    </a:lnTo>
                    <a:lnTo>
                      <a:pt x="4035" y="1993"/>
                    </a:lnTo>
                    <a:lnTo>
                      <a:pt x="4024" y="2004"/>
                    </a:lnTo>
                    <a:lnTo>
                      <a:pt x="4016" y="2013"/>
                    </a:lnTo>
                    <a:lnTo>
                      <a:pt x="4012" y="2019"/>
                    </a:lnTo>
                    <a:lnTo>
                      <a:pt x="4010" y="2025"/>
                    </a:lnTo>
                    <a:lnTo>
                      <a:pt x="4009" y="2032"/>
                    </a:lnTo>
                    <a:lnTo>
                      <a:pt x="4006" y="2040"/>
                    </a:lnTo>
                    <a:lnTo>
                      <a:pt x="4006" y="2047"/>
                    </a:lnTo>
                    <a:lnTo>
                      <a:pt x="4006" y="2054"/>
                    </a:lnTo>
                    <a:lnTo>
                      <a:pt x="4006" y="2060"/>
                    </a:lnTo>
                    <a:lnTo>
                      <a:pt x="4007" y="2066"/>
                    </a:lnTo>
                    <a:lnTo>
                      <a:pt x="4012" y="2076"/>
                    </a:lnTo>
                    <a:lnTo>
                      <a:pt x="4019" y="2090"/>
                    </a:lnTo>
                    <a:lnTo>
                      <a:pt x="4022" y="2098"/>
                    </a:lnTo>
                    <a:lnTo>
                      <a:pt x="4024" y="2105"/>
                    </a:lnTo>
                    <a:lnTo>
                      <a:pt x="4025" y="2113"/>
                    </a:lnTo>
                    <a:lnTo>
                      <a:pt x="4026" y="2120"/>
                    </a:lnTo>
                    <a:lnTo>
                      <a:pt x="4025" y="2129"/>
                    </a:lnTo>
                    <a:lnTo>
                      <a:pt x="4023" y="2135"/>
                    </a:lnTo>
                    <a:lnTo>
                      <a:pt x="4019" y="2141"/>
                    </a:lnTo>
                    <a:lnTo>
                      <a:pt x="4017" y="2145"/>
                    </a:lnTo>
                    <a:lnTo>
                      <a:pt x="4013" y="2151"/>
                    </a:lnTo>
                    <a:lnTo>
                      <a:pt x="4010" y="2156"/>
                    </a:lnTo>
                    <a:lnTo>
                      <a:pt x="4007" y="2162"/>
                    </a:lnTo>
                    <a:lnTo>
                      <a:pt x="4005" y="2168"/>
                    </a:lnTo>
                    <a:lnTo>
                      <a:pt x="4004" y="2185"/>
                    </a:lnTo>
                    <a:lnTo>
                      <a:pt x="4005" y="2204"/>
                    </a:lnTo>
                    <a:lnTo>
                      <a:pt x="4007" y="2224"/>
                    </a:lnTo>
                    <a:lnTo>
                      <a:pt x="4011" y="2242"/>
                    </a:lnTo>
                    <a:lnTo>
                      <a:pt x="4013" y="2264"/>
                    </a:lnTo>
                    <a:lnTo>
                      <a:pt x="4016" y="2294"/>
                    </a:lnTo>
                    <a:lnTo>
                      <a:pt x="4017" y="2321"/>
                    </a:lnTo>
                    <a:lnTo>
                      <a:pt x="4016" y="2342"/>
                    </a:lnTo>
                    <a:lnTo>
                      <a:pt x="4015" y="2347"/>
                    </a:lnTo>
                    <a:lnTo>
                      <a:pt x="4012" y="2353"/>
                    </a:lnTo>
                    <a:lnTo>
                      <a:pt x="4010" y="2358"/>
                    </a:lnTo>
                    <a:lnTo>
                      <a:pt x="4006" y="2363"/>
                    </a:lnTo>
                    <a:lnTo>
                      <a:pt x="4001" y="2369"/>
                    </a:lnTo>
                    <a:lnTo>
                      <a:pt x="3998" y="2374"/>
                    </a:lnTo>
                    <a:lnTo>
                      <a:pt x="3996" y="2380"/>
                    </a:lnTo>
                    <a:lnTo>
                      <a:pt x="3993" y="2387"/>
                    </a:lnTo>
                    <a:lnTo>
                      <a:pt x="3992" y="2394"/>
                    </a:lnTo>
                    <a:lnTo>
                      <a:pt x="3991" y="2401"/>
                    </a:lnTo>
                    <a:lnTo>
                      <a:pt x="3992" y="2407"/>
                    </a:lnTo>
                    <a:lnTo>
                      <a:pt x="3993" y="2413"/>
                    </a:lnTo>
                    <a:lnTo>
                      <a:pt x="3996" y="2419"/>
                    </a:lnTo>
                    <a:lnTo>
                      <a:pt x="3998" y="2424"/>
                    </a:lnTo>
                    <a:lnTo>
                      <a:pt x="4000" y="2429"/>
                    </a:lnTo>
                    <a:lnTo>
                      <a:pt x="4005" y="2433"/>
                    </a:lnTo>
                    <a:lnTo>
                      <a:pt x="4013" y="2446"/>
                    </a:lnTo>
                    <a:lnTo>
                      <a:pt x="4022" y="2462"/>
                    </a:lnTo>
                    <a:lnTo>
                      <a:pt x="4025" y="2471"/>
                    </a:lnTo>
                    <a:lnTo>
                      <a:pt x="4028" y="2479"/>
                    </a:lnTo>
                    <a:lnTo>
                      <a:pt x="4029" y="2488"/>
                    </a:lnTo>
                    <a:lnTo>
                      <a:pt x="4029" y="2496"/>
                    </a:lnTo>
                    <a:lnTo>
                      <a:pt x="4028" y="2503"/>
                    </a:lnTo>
                    <a:lnTo>
                      <a:pt x="4025" y="2510"/>
                    </a:lnTo>
                    <a:lnTo>
                      <a:pt x="4022" y="2517"/>
                    </a:lnTo>
                    <a:lnTo>
                      <a:pt x="4018" y="2523"/>
                    </a:lnTo>
                    <a:lnTo>
                      <a:pt x="4009" y="2535"/>
                    </a:lnTo>
                    <a:lnTo>
                      <a:pt x="4000" y="2547"/>
                    </a:lnTo>
                    <a:lnTo>
                      <a:pt x="3997" y="2553"/>
                    </a:lnTo>
                    <a:lnTo>
                      <a:pt x="3994" y="2560"/>
                    </a:lnTo>
                    <a:lnTo>
                      <a:pt x="3992" y="2567"/>
                    </a:lnTo>
                    <a:lnTo>
                      <a:pt x="3992" y="2574"/>
                    </a:lnTo>
                    <a:lnTo>
                      <a:pt x="3992" y="2580"/>
                    </a:lnTo>
                    <a:lnTo>
                      <a:pt x="3992" y="2586"/>
                    </a:lnTo>
                    <a:lnTo>
                      <a:pt x="3993" y="2591"/>
                    </a:lnTo>
                    <a:lnTo>
                      <a:pt x="3996" y="2595"/>
                    </a:lnTo>
                    <a:lnTo>
                      <a:pt x="3999" y="2601"/>
                    </a:lnTo>
                    <a:lnTo>
                      <a:pt x="4001" y="2608"/>
                    </a:lnTo>
                    <a:lnTo>
                      <a:pt x="4001" y="2616"/>
                    </a:lnTo>
                    <a:lnTo>
                      <a:pt x="4000" y="2626"/>
                    </a:lnTo>
                    <a:lnTo>
                      <a:pt x="3998" y="2639"/>
                    </a:lnTo>
                    <a:lnTo>
                      <a:pt x="3992" y="2654"/>
                    </a:lnTo>
                    <a:lnTo>
                      <a:pt x="3984" y="2668"/>
                    </a:lnTo>
                    <a:lnTo>
                      <a:pt x="3977" y="2681"/>
                    </a:lnTo>
                    <a:lnTo>
                      <a:pt x="3973" y="2687"/>
                    </a:lnTo>
                    <a:lnTo>
                      <a:pt x="3968" y="2692"/>
                    </a:lnTo>
                    <a:lnTo>
                      <a:pt x="3962" y="2696"/>
                    </a:lnTo>
                    <a:lnTo>
                      <a:pt x="3956" y="2698"/>
                    </a:lnTo>
                    <a:lnTo>
                      <a:pt x="3952" y="2700"/>
                    </a:lnTo>
                    <a:lnTo>
                      <a:pt x="3948" y="2703"/>
                    </a:lnTo>
                    <a:lnTo>
                      <a:pt x="3947" y="2706"/>
                    </a:lnTo>
                    <a:lnTo>
                      <a:pt x="3947" y="2714"/>
                    </a:lnTo>
                    <a:lnTo>
                      <a:pt x="3949" y="2734"/>
                    </a:lnTo>
                    <a:lnTo>
                      <a:pt x="3950" y="2748"/>
                    </a:lnTo>
                    <a:lnTo>
                      <a:pt x="3949" y="2754"/>
                    </a:lnTo>
                    <a:lnTo>
                      <a:pt x="3949" y="2762"/>
                    </a:lnTo>
                    <a:lnTo>
                      <a:pt x="3950" y="2769"/>
                    </a:lnTo>
                    <a:lnTo>
                      <a:pt x="3953" y="2777"/>
                    </a:lnTo>
                    <a:lnTo>
                      <a:pt x="3955" y="2784"/>
                    </a:lnTo>
                    <a:lnTo>
                      <a:pt x="3956" y="2793"/>
                    </a:lnTo>
                    <a:lnTo>
                      <a:pt x="3956" y="2803"/>
                    </a:lnTo>
                    <a:lnTo>
                      <a:pt x="3954" y="2811"/>
                    </a:lnTo>
                    <a:lnTo>
                      <a:pt x="3949" y="2817"/>
                    </a:lnTo>
                    <a:lnTo>
                      <a:pt x="3940" y="2826"/>
                    </a:lnTo>
                    <a:lnTo>
                      <a:pt x="3929" y="2837"/>
                    </a:lnTo>
                    <a:lnTo>
                      <a:pt x="3917" y="2851"/>
                    </a:lnTo>
                    <a:lnTo>
                      <a:pt x="3911" y="2859"/>
                    </a:lnTo>
                    <a:lnTo>
                      <a:pt x="3906" y="2868"/>
                    </a:lnTo>
                    <a:lnTo>
                      <a:pt x="3902" y="2876"/>
                    </a:lnTo>
                    <a:lnTo>
                      <a:pt x="3898" y="2885"/>
                    </a:lnTo>
                    <a:lnTo>
                      <a:pt x="3892" y="2901"/>
                    </a:lnTo>
                    <a:lnTo>
                      <a:pt x="3889" y="2913"/>
                    </a:lnTo>
                    <a:lnTo>
                      <a:pt x="3887" y="2925"/>
                    </a:lnTo>
                    <a:lnTo>
                      <a:pt x="3887" y="2939"/>
                    </a:lnTo>
                    <a:lnTo>
                      <a:pt x="3886" y="2955"/>
                    </a:lnTo>
                    <a:lnTo>
                      <a:pt x="3886" y="2968"/>
                    </a:lnTo>
                    <a:lnTo>
                      <a:pt x="3886" y="2974"/>
                    </a:lnTo>
                    <a:lnTo>
                      <a:pt x="3887" y="2980"/>
                    </a:lnTo>
                    <a:lnTo>
                      <a:pt x="3889" y="2985"/>
                    </a:lnTo>
                    <a:lnTo>
                      <a:pt x="3891" y="2990"/>
                    </a:lnTo>
                    <a:lnTo>
                      <a:pt x="3893" y="2995"/>
                    </a:lnTo>
                    <a:lnTo>
                      <a:pt x="3896" y="2999"/>
                    </a:lnTo>
                    <a:lnTo>
                      <a:pt x="3899" y="3002"/>
                    </a:lnTo>
                    <a:lnTo>
                      <a:pt x="3903" y="3005"/>
                    </a:lnTo>
                    <a:lnTo>
                      <a:pt x="3905" y="3007"/>
                    </a:lnTo>
                    <a:lnTo>
                      <a:pt x="3908" y="3011"/>
                    </a:lnTo>
                    <a:lnTo>
                      <a:pt x="3910" y="3015"/>
                    </a:lnTo>
                    <a:lnTo>
                      <a:pt x="3912" y="3020"/>
                    </a:lnTo>
                    <a:lnTo>
                      <a:pt x="3915" y="3030"/>
                    </a:lnTo>
                    <a:lnTo>
                      <a:pt x="3915" y="3042"/>
                    </a:lnTo>
                    <a:lnTo>
                      <a:pt x="3915" y="3046"/>
                    </a:lnTo>
                    <a:lnTo>
                      <a:pt x="3914" y="3052"/>
                    </a:lnTo>
                    <a:lnTo>
                      <a:pt x="3911" y="3058"/>
                    </a:lnTo>
                    <a:lnTo>
                      <a:pt x="3909" y="3064"/>
                    </a:lnTo>
                    <a:lnTo>
                      <a:pt x="3905" y="3070"/>
                    </a:lnTo>
                    <a:lnTo>
                      <a:pt x="3900" y="3076"/>
                    </a:lnTo>
                    <a:lnTo>
                      <a:pt x="3896" y="3082"/>
                    </a:lnTo>
                    <a:lnTo>
                      <a:pt x="3889" y="3088"/>
                    </a:lnTo>
                    <a:lnTo>
                      <a:pt x="3884" y="3090"/>
                    </a:lnTo>
                    <a:lnTo>
                      <a:pt x="3878" y="3093"/>
                    </a:lnTo>
                    <a:lnTo>
                      <a:pt x="3873" y="3095"/>
                    </a:lnTo>
                    <a:lnTo>
                      <a:pt x="3867" y="3096"/>
                    </a:lnTo>
                    <a:lnTo>
                      <a:pt x="3854" y="3097"/>
                    </a:lnTo>
                    <a:lnTo>
                      <a:pt x="3843" y="3097"/>
                    </a:lnTo>
                    <a:lnTo>
                      <a:pt x="3829" y="3096"/>
                    </a:lnTo>
                    <a:lnTo>
                      <a:pt x="3816" y="3095"/>
                    </a:lnTo>
                    <a:lnTo>
                      <a:pt x="3803" y="3093"/>
                    </a:lnTo>
                    <a:lnTo>
                      <a:pt x="3789" y="3092"/>
                    </a:lnTo>
                    <a:lnTo>
                      <a:pt x="3753" y="3088"/>
                    </a:lnTo>
                    <a:lnTo>
                      <a:pt x="3713" y="3084"/>
                    </a:lnTo>
                    <a:lnTo>
                      <a:pt x="3672" y="3082"/>
                    </a:lnTo>
                    <a:lnTo>
                      <a:pt x="3635" y="3080"/>
                    </a:lnTo>
                    <a:lnTo>
                      <a:pt x="3614" y="3078"/>
                    </a:lnTo>
                    <a:lnTo>
                      <a:pt x="3596" y="3077"/>
                    </a:lnTo>
                    <a:lnTo>
                      <a:pt x="3582" y="3076"/>
                    </a:lnTo>
                    <a:lnTo>
                      <a:pt x="3571" y="3074"/>
                    </a:lnTo>
                    <a:lnTo>
                      <a:pt x="3563" y="3071"/>
                    </a:lnTo>
                    <a:lnTo>
                      <a:pt x="3557" y="3069"/>
                    </a:lnTo>
                    <a:lnTo>
                      <a:pt x="3552" y="3065"/>
                    </a:lnTo>
                    <a:lnTo>
                      <a:pt x="3547" y="3063"/>
                    </a:lnTo>
                    <a:lnTo>
                      <a:pt x="3541" y="3055"/>
                    </a:lnTo>
                    <a:lnTo>
                      <a:pt x="3538" y="3049"/>
                    </a:lnTo>
                    <a:lnTo>
                      <a:pt x="3535" y="3046"/>
                    </a:lnTo>
                    <a:lnTo>
                      <a:pt x="3533" y="3044"/>
                    </a:lnTo>
                    <a:lnTo>
                      <a:pt x="3531" y="3042"/>
                    </a:lnTo>
                    <a:lnTo>
                      <a:pt x="3527" y="3042"/>
                    </a:lnTo>
                    <a:lnTo>
                      <a:pt x="3524" y="3040"/>
                    </a:lnTo>
                    <a:lnTo>
                      <a:pt x="3520" y="3042"/>
                    </a:lnTo>
                    <a:lnTo>
                      <a:pt x="3518" y="3043"/>
                    </a:lnTo>
                    <a:lnTo>
                      <a:pt x="3515" y="3045"/>
                    </a:lnTo>
                    <a:lnTo>
                      <a:pt x="3509" y="3053"/>
                    </a:lnTo>
                    <a:lnTo>
                      <a:pt x="3505" y="3068"/>
                    </a:lnTo>
                    <a:lnTo>
                      <a:pt x="3500" y="3083"/>
                    </a:lnTo>
                    <a:lnTo>
                      <a:pt x="3496" y="3095"/>
                    </a:lnTo>
                    <a:lnTo>
                      <a:pt x="3492" y="3103"/>
                    </a:lnTo>
                    <a:lnTo>
                      <a:pt x="3484" y="3112"/>
                    </a:lnTo>
                    <a:lnTo>
                      <a:pt x="3477" y="3118"/>
                    </a:lnTo>
                    <a:lnTo>
                      <a:pt x="3472" y="3121"/>
                    </a:lnTo>
                    <a:lnTo>
                      <a:pt x="3471" y="3124"/>
                    </a:lnTo>
                    <a:lnTo>
                      <a:pt x="3471" y="3126"/>
                    </a:lnTo>
                    <a:lnTo>
                      <a:pt x="3471" y="3128"/>
                    </a:lnTo>
                    <a:lnTo>
                      <a:pt x="3472" y="3132"/>
                    </a:lnTo>
                    <a:lnTo>
                      <a:pt x="3474" y="3138"/>
                    </a:lnTo>
                    <a:lnTo>
                      <a:pt x="3474" y="3145"/>
                    </a:lnTo>
                    <a:lnTo>
                      <a:pt x="3471" y="3153"/>
                    </a:lnTo>
                    <a:lnTo>
                      <a:pt x="3465" y="3164"/>
                    </a:lnTo>
                    <a:lnTo>
                      <a:pt x="3458" y="3175"/>
                    </a:lnTo>
                    <a:lnTo>
                      <a:pt x="3451" y="3184"/>
                    </a:lnTo>
                    <a:lnTo>
                      <a:pt x="3445" y="3193"/>
                    </a:lnTo>
                    <a:lnTo>
                      <a:pt x="3439" y="3200"/>
                    </a:lnTo>
                    <a:lnTo>
                      <a:pt x="3434" y="3206"/>
                    </a:lnTo>
                    <a:lnTo>
                      <a:pt x="3431" y="3213"/>
                    </a:lnTo>
                    <a:lnTo>
                      <a:pt x="3430" y="3220"/>
                    </a:lnTo>
                    <a:lnTo>
                      <a:pt x="3431" y="3226"/>
                    </a:lnTo>
                    <a:lnTo>
                      <a:pt x="3431" y="3228"/>
                    </a:lnTo>
                    <a:lnTo>
                      <a:pt x="3431" y="3231"/>
                    </a:lnTo>
                    <a:lnTo>
                      <a:pt x="3429" y="3232"/>
                    </a:lnTo>
                    <a:lnTo>
                      <a:pt x="3426" y="3232"/>
                    </a:lnTo>
                    <a:lnTo>
                      <a:pt x="3418" y="3233"/>
                    </a:lnTo>
                    <a:lnTo>
                      <a:pt x="3405" y="3233"/>
                    </a:lnTo>
                    <a:lnTo>
                      <a:pt x="3399" y="3233"/>
                    </a:lnTo>
                    <a:lnTo>
                      <a:pt x="3393" y="3235"/>
                    </a:lnTo>
                    <a:lnTo>
                      <a:pt x="3387" y="3237"/>
                    </a:lnTo>
                    <a:lnTo>
                      <a:pt x="3382" y="3240"/>
                    </a:lnTo>
                    <a:lnTo>
                      <a:pt x="3375" y="3247"/>
                    </a:lnTo>
                    <a:lnTo>
                      <a:pt x="3369" y="3256"/>
                    </a:lnTo>
                    <a:lnTo>
                      <a:pt x="3367" y="3259"/>
                    </a:lnTo>
                    <a:lnTo>
                      <a:pt x="3363" y="3261"/>
                    </a:lnTo>
                    <a:lnTo>
                      <a:pt x="3360" y="3264"/>
                    </a:lnTo>
                    <a:lnTo>
                      <a:pt x="3356" y="3265"/>
                    </a:lnTo>
                    <a:lnTo>
                      <a:pt x="3348" y="3265"/>
                    </a:lnTo>
                    <a:lnTo>
                      <a:pt x="3341" y="3264"/>
                    </a:lnTo>
                    <a:lnTo>
                      <a:pt x="3333" y="3264"/>
                    </a:lnTo>
                    <a:lnTo>
                      <a:pt x="3326" y="3265"/>
                    </a:lnTo>
                    <a:lnTo>
                      <a:pt x="3324" y="3267"/>
                    </a:lnTo>
                    <a:lnTo>
                      <a:pt x="3322" y="3270"/>
                    </a:lnTo>
                    <a:lnTo>
                      <a:pt x="3320" y="3273"/>
                    </a:lnTo>
                    <a:lnTo>
                      <a:pt x="3320" y="3278"/>
                    </a:lnTo>
                    <a:lnTo>
                      <a:pt x="3318" y="3285"/>
                    </a:lnTo>
                    <a:lnTo>
                      <a:pt x="3316" y="3291"/>
                    </a:lnTo>
                    <a:lnTo>
                      <a:pt x="3311" y="3295"/>
                    </a:lnTo>
                    <a:lnTo>
                      <a:pt x="3305" y="3297"/>
                    </a:lnTo>
                    <a:lnTo>
                      <a:pt x="3301" y="3298"/>
                    </a:lnTo>
                    <a:lnTo>
                      <a:pt x="3299" y="3301"/>
                    </a:lnTo>
                    <a:lnTo>
                      <a:pt x="3298" y="3304"/>
                    </a:lnTo>
                    <a:lnTo>
                      <a:pt x="3298" y="3309"/>
                    </a:lnTo>
                    <a:lnTo>
                      <a:pt x="3298" y="3314"/>
                    </a:lnTo>
                    <a:lnTo>
                      <a:pt x="3300" y="3317"/>
                    </a:lnTo>
                    <a:lnTo>
                      <a:pt x="3302" y="3322"/>
                    </a:lnTo>
                    <a:lnTo>
                      <a:pt x="3307" y="3326"/>
                    </a:lnTo>
                    <a:lnTo>
                      <a:pt x="3317" y="3330"/>
                    </a:lnTo>
                    <a:lnTo>
                      <a:pt x="3324" y="3334"/>
                    </a:lnTo>
                    <a:lnTo>
                      <a:pt x="3327" y="3336"/>
                    </a:lnTo>
                    <a:lnTo>
                      <a:pt x="3331" y="3341"/>
                    </a:lnTo>
                    <a:lnTo>
                      <a:pt x="3335" y="3346"/>
                    </a:lnTo>
                    <a:lnTo>
                      <a:pt x="3338" y="3354"/>
                    </a:lnTo>
                    <a:lnTo>
                      <a:pt x="3348" y="3373"/>
                    </a:lnTo>
                    <a:lnTo>
                      <a:pt x="3357" y="3392"/>
                    </a:lnTo>
                    <a:lnTo>
                      <a:pt x="3367" y="3411"/>
                    </a:lnTo>
                    <a:lnTo>
                      <a:pt x="3374" y="3427"/>
                    </a:lnTo>
                    <a:lnTo>
                      <a:pt x="3383" y="3446"/>
                    </a:lnTo>
                    <a:lnTo>
                      <a:pt x="3396" y="3473"/>
                    </a:lnTo>
                    <a:lnTo>
                      <a:pt x="3409" y="3502"/>
                    </a:lnTo>
                    <a:lnTo>
                      <a:pt x="3420" y="3524"/>
                    </a:lnTo>
                    <a:lnTo>
                      <a:pt x="3429" y="3543"/>
                    </a:lnTo>
                    <a:lnTo>
                      <a:pt x="3437" y="3561"/>
                    </a:lnTo>
                    <a:lnTo>
                      <a:pt x="3446" y="3579"/>
                    </a:lnTo>
                    <a:lnTo>
                      <a:pt x="3452" y="3594"/>
                    </a:lnTo>
                    <a:lnTo>
                      <a:pt x="3456" y="3601"/>
                    </a:lnTo>
                    <a:lnTo>
                      <a:pt x="3458" y="3610"/>
                    </a:lnTo>
                    <a:lnTo>
                      <a:pt x="3462" y="3619"/>
                    </a:lnTo>
                    <a:lnTo>
                      <a:pt x="3462" y="3626"/>
                    </a:lnTo>
                    <a:lnTo>
                      <a:pt x="3457" y="3638"/>
                    </a:lnTo>
                    <a:lnTo>
                      <a:pt x="3452" y="3651"/>
                    </a:lnTo>
                    <a:lnTo>
                      <a:pt x="3453" y="3667"/>
                    </a:lnTo>
                    <a:lnTo>
                      <a:pt x="3455" y="3683"/>
                    </a:lnTo>
                    <a:lnTo>
                      <a:pt x="3457" y="3701"/>
                    </a:lnTo>
                    <a:lnTo>
                      <a:pt x="3456" y="3717"/>
                    </a:lnTo>
                    <a:lnTo>
                      <a:pt x="3455" y="3731"/>
                    </a:lnTo>
                    <a:lnTo>
                      <a:pt x="3455" y="3742"/>
                    </a:lnTo>
                    <a:lnTo>
                      <a:pt x="3456" y="3746"/>
                    </a:lnTo>
                    <a:lnTo>
                      <a:pt x="3457" y="3751"/>
                    </a:lnTo>
                    <a:lnTo>
                      <a:pt x="3459" y="3755"/>
                    </a:lnTo>
                    <a:lnTo>
                      <a:pt x="3462" y="3760"/>
                    </a:lnTo>
                    <a:lnTo>
                      <a:pt x="3468" y="3768"/>
                    </a:lnTo>
                    <a:lnTo>
                      <a:pt x="3472" y="3780"/>
                    </a:lnTo>
                    <a:lnTo>
                      <a:pt x="3475" y="3786"/>
                    </a:lnTo>
                    <a:lnTo>
                      <a:pt x="3476" y="3793"/>
                    </a:lnTo>
                    <a:lnTo>
                      <a:pt x="3476" y="3800"/>
                    </a:lnTo>
                    <a:lnTo>
                      <a:pt x="3476" y="3808"/>
                    </a:lnTo>
                    <a:lnTo>
                      <a:pt x="3475" y="3824"/>
                    </a:lnTo>
                    <a:lnTo>
                      <a:pt x="3476" y="3838"/>
                    </a:lnTo>
                    <a:lnTo>
                      <a:pt x="3477" y="3845"/>
                    </a:lnTo>
                    <a:lnTo>
                      <a:pt x="3478" y="3851"/>
                    </a:lnTo>
                    <a:lnTo>
                      <a:pt x="3482" y="3856"/>
                    </a:lnTo>
                    <a:lnTo>
                      <a:pt x="3487" y="3861"/>
                    </a:lnTo>
                    <a:lnTo>
                      <a:pt x="3501" y="3866"/>
                    </a:lnTo>
                    <a:lnTo>
                      <a:pt x="3509" y="3871"/>
                    </a:lnTo>
                    <a:lnTo>
                      <a:pt x="3512" y="3875"/>
                    </a:lnTo>
                    <a:lnTo>
                      <a:pt x="3512" y="3878"/>
                    </a:lnTo>
                    <a:lnTo>
                      <a:pt x="3512" y="3881"/>
                    </a:lnTo>
                    <a:lnTo>
                      <a:pt x="3509" y="3883"/>
                    </a:lnTo>
                    <a:lnTo>
                      <a:pt x="3505" y="3889"/>
                    </a:lnTo>
                    <a:lnTo>
                      <a:pt x="3497" y="3894"/>
                    </a:lnTo>
                    <a:lnTo>
                      <a:pt x="3490" y="3901"/>
                    </a:lnTo>
                    <a:lnTo>
                      <a:pt x="3484" y="3907"/>
                    </a:lnTo>
                    <a:lnTo>
                      <a:pt x="3480" y="3912"/>
                    </a:lnTo>
                    <a:lnTo>
                      <a:pt x="3476" y="3915"/>
                    </a:lnTo>
                    <a:lnTo>
                      <a:pt x="3474" y="3915"/>
                    </a:lnTo>
                    <a:lnTo>
                      <a:pt x="3471" y="3915"/>
                    </a:lnTo>
                    <a:lnTo>
                      <a:pt x="3468" y="3914"/>
                    </a:lnTo>
                    <a:lnTo>
                      <a:pt x="3464" y="3910"/>
                    </a:lnTo>
                    <a:lnTo>
                      <a:pt x="3450" y="3899"/>
                    </a:lnTo>
                    <a:lnTo>
                      <a:pt x="3436" y="3887"/>
                    </a:lnTo>
                    <a:lnTo>
                      <a:pt x="3431" y="3883"/>
                    </a:lnTo>
                    <a:lnTo>
                      <a:pt x="3426" y="3881"/>
                    </a:lnTo>
                    <a:lnTo>
                      <a:pt x="3424" y="3881"/>
                    </a:lnTo>
                    <a:lnTo>
                      <a:pt x="3423" y="3881"/>
                    </a:lnTo>
                    <a:lnTo>
                      <a:pt x="3420" y="3882"/>
                    </a:lnTo>
                    <a:lnTo>
                      <a:pt x="3419" y="3884"/>
                    </a:lnTo>
                    <a:lnTo>
                      <a:pt x="3412" y="3896"/>
                    </a:lnTo>
                    <a:lnTo>
                      <a:pt x="3407" y="3908"/>
                    </a:lnTo>
                    <a:lnTo>
                      <a:pt x="3405" y="3912"/>
                    </a:lnTo>
                    <a:lnTo>
                      <a:pt x="3402" y="3915"/>
                    </a:lnTo>
                    <a:lnTo>
                      <a:pt x="3399" y="3918"/>
                    </a:lnTo>
                    <a:lnTo>
                      <a:pt x="3395" y="3919"/>
                    </a:lnTo>
                    <a:lnTo>
                      <a:pt x="3392" y="3919"/>
                    </a:lnTo>
                    <a:lnTo>
                      <a:pt x="3387" y="3919"/>
                    </a:lnTo>
                    <a:lnTo>
                      <a:pt x="3382" y="3916"/>
                    </a:lnTo>
                    <a:lnTo>
                      <a:pt x="3379" y="3914"/>
                    </a:lnTo>
                    <a:lnTo>
                      <a:pt x="3369" y="3906"/>
                    </a:lnTo>
                    <a:lnTo>
                      <a:pt x="3360" y="3899"/>
                    </a:lnTo>
                    <a:lnTo>
                      <a:pt x="3349" y="3891"/>
                    </a:lnTo>
                    <a:lnTo>
                      <a:pt x="3338" y="3887"/>
                    </a:lnTo>
                    <a:lnTo>
                      <a:pt x="3327" y="3883"/>
                    </a:lnTo>
                    <a:lnTo>
                      <a:pt x="3318" y="3878"/>
                    </a:lnTo>
                    <a:lnTo>
                      <a:pt x="3310" y="3874"/>
                    </a:lnTo>
                    <a:lnTo>
                      <a:pt x="3302" y="3866"/>
                    </a:lnTo>
                    <a:lnTo>
                      <a:pt x="3297" y="3862"/>
                    </a:lnTo>
                    <a:lnTo>
                      <a:pt x="3289" y="3859"/>
                    </a:lnTo>
                    <a:lnTo>
                      <a:pt x="3282" y="3858"/>
                    </a:lnTo>
                    <a:lnTo>
                      <a:pt x="3275" y="3858"/>
                    </a:lnTo>
                    <a:lnTo>
                      <a:pt x="3268" y="3858"/>
                    </a:lnTo>
                    <a:lnTo>
                      <a:pt x="3260" y="3857"/>
                    </a:lnTo>
                    <a:lnTo>
                      <a:pt x="3256" y="3855"/>
                    </a:lnTo>
                    <a:lnTo>
                      <a:pt x="3251" y="3853"/>
                    </a:lnTo>
                    <a:lnTo>
                      <a:pt x="3248" y="3850"/>
                    </a:lnTo>
                    <a:lnTo>
                      <a:pt x="3245" y="3846"/>
                    </a:lnTo>
                    <a:lnTo>
                      <a:pt x="3238" y="3833"/>
                    </a:lnTo>
                    <a:lnTo>
                      <a:pt x="3231" y="3821"/>
                    </a:lnTo>
                    <a:lnTo>
                      <a:pt x="3226" y="3819"/>
                    </a:lnTo>
                    <a:lnTo>
                      <a:pt x="3222" y="3819"/>
                    </a:lnTo>
                    <a:lnTo>
                      <a:pt x="3218" y="3819"/>
                    </a:lnTo>
                    <a:lnTo>
                      <a:pt x="3213" y="3821"/>
                    </a:lnTo>
                    <a:lnTo>
                      <a:pt x="3211" y="3823"/>
                    </a:lnTo>
                    <a:lnTo>
                      <a:pt x="3209" y="3820"/>
                    </a:lnTo>
                    <a:lnTo>
                      <a:pt x="3207" y="3817"/>
                    </a:lnTo>
                    <a:lnTo>
                      <a:pt x="3206" y="3812"/>
                    </a:lnTo>
                    <a:lnTo>
                      <a:pt x="3205" y="3800"/>
                    </a:lnTo>
                    <a:lnTo>
                      <a:pt x="3204" y="3788"/>
                    </a:lnTo>
                    <a:lnTo>
                      <a:pt x="3203" y="3779"/>
                    </a:lnTo>
                    <a:lnTo>
                      <a:pt x="3200" y="3769"/>
                    </a:lnTo>
                    <a:lnTo>
                      <a:pt x="3199" y="3761"/>
                    </a:lnTo>
                    <a:lnTo>
                      <a:pt x="3196" y="3752"/>
                    </a:lnTo>
                    <a:lnTo>
                      <a:pt x="3192" y="3743"/>
                    </a:lnTo>
                    <a:lnTo>
                      <a:pt x="3186" y="3733"/>
                    </a:lnTo>
                    <a:lnTo>
                      <a:pt x="3182" y="3723"/>
                    </a:lnTo>
                    <a:lnTo>
                      <a:pt x="3180" y="3713"/>
                    </a:lnTo>
                    <a:lnTo>
                      <a:pt x="3179" y="3704"/>
                    </a:lnTo>
                    <a:lnTo>
                      <a:pt x="3178" y="3697"/>
                    </a:lnTo>
                    <a:lnTo>
                      <a:pt x="3176" y="3694"/>
                    </a:lnTo>
                    <a:lnTo>
                      <a:pt x="3176" y="3692"/>
                    </a:lnTo>
                    <a:lnTo>
                      <a:pt x="3175" y="3692"/>
                    </a:lnTo>
                    <a:lnTo>
                      <a:pt x="3173" y="3693"/>
                    </a:lnTo>
                    <a:lnTo>
                      <a:pt x="3169" y="3698"/>
                    </a:lnTo>
                    <a:lnTo>
                      <a:pt x="3165" y="3707"/>
                    </a:lnTo>
                    <a:lnTo>
                      <a:pt x="3157" y="3718"/>
                    </a:lnTo>
                    <a:lnTo>
                      <a:pt x="3152" y="3730"/>
                    </a:lnTo>
                    <a:lnTo>
                      <a:pt x="3146" y="3743"/>
                    </a:lnTo>
                    <a:lnTo>
                      <a:pt x="3136" y="3758"/>
                    </a:lnTo>
                    <a:lnTo>
                      <a:pt x="3129" y="3774"/>
                    </a:lnTo>
                    <a:lnTo>
                      <a:pt x="3123" y="3787"/>
                    </a:lnTo>
                    <a:lnTo>
                      <a:pt x="3122" y="3788"/>
                    </a:lnTo>
                    <a:lnTo>
                      <a:pt x="3121" y="3790"/>
                    </a:lnTo>
                    <a:lnTo>
                      <a:pt x="3119" y="3792"/>
                    </a:lnTo>
                    <a:lnTo>
                      <a:pt x="3117" y="3792"/>
                    </a:lnTo>
                    <a:lnTo>
                      <a:pt x="3112" y="3792"/>
                    </a:lnTo>
                    <a:lnTo>
                      <a:pt x="3108" y="3789"/>
                    </a:lnTo>
                    <a:lnTo>
                      <a:pt x="3103" y="3787"/>
                    </a:lnTo>
                    <a:lnTo>
                      <a:pt x="3098" y="3782"/>
                    </a:lnTo>
                    <a:lnTo>
                      <a:pt x="3094" y="3777"/>
                    </a:lnTo>
                    <a:lnTo>
                      <a:pt x="3092" y="3773"/>
                    </a:lnTo>
                    <a:lnTo>
                      <a:pt x="3089" y="3762"/>
                    </a:lnTo>
                    <a:lnTo>
                      <a:pt x="3086" y="3752"/>
                    </a:lnTo>
                    <a:lnTo>
                      <a:pt x="3084" y="3743"/>
                    </a:lnTo>
                    <a:lnTo>
                      <a:pt x="3079" y="3733"/>
                    </a:lnTo>
                    <a:lnTo>
                      <a:pt x="3075" y="3731"/>
                    </a:lnTo>
                    <a:lnTo>
                      <a:pt x="3070" y="3729"/>
                    </a:lnTo>
                    <a:lnTo>
                      <a:pt x="3065" y="3727"/>
                    </a:lnTo>
                    <a:lnTo>
                      <a:pt x="3058" y="3729"/>
                    </a:lnTo>
                    <a:lnTo>
                      <a:pt x="3050" y="3730"/>
                    </a:lnTo>
                    <a:lnTo>
                      <a:pt x="3045" y="3733"/>
                    </a:lnTo>
                    <a:lnTo>
                      <a:pt x="3037" y="3738"/>
                    </a:lnTo>
                    <a:lnTo>
                      <a:pt x="3031" y="3743"/>
                    </a:lnTo>
                    <a:lnTo>
                      <a:pt x="3027" y="3749"/>
                    </a:lnTo>
                    <a:lnTo>
                      <a:pt x="3024" y="3755"/>
                    </a:lnTo>
                    <a:lnTo>
                      <a:pt x="3022" y="3761"/>
                    </a:lnTo>
                    <a:lnTo>
                      <a:pt x="3022" y="3767"/>
                    </a:lnTo>
                    <a:lnTo>
                      <a:pt x="3022" y="3777"/>
                    </a:lnTo>
                    <a:lnTo>
                      <a:pt x="3022" y="3788"/>
                    </a:lnTo>
                    <a:lnTo>
                      <a:pt x="3020" y="3793"/>
                    </a:lnTo>
                    <a:lnTo>
                      <a:pt x="3017" y="3796"/>
                    </a:lnTo>
                    <a:lnTo>
                      <a:pt x="3015" y="3800"/>
                    </a:lnTo>
                    <a:lnTo>
                      <a:pt x="3011" y="3802"/>
                    </a:lnTo>
                    <a:lnTo>
                      <a:pt x="3002" y="3805"/>
                    </a:lnTo>
                    <a:lnTo>
                      <a:pt x="2991" y="3807"/>
                    </a:lnTo>
                    <a:lnTo>
                      <a:pt x="2979" y="3808"/>
                    </a:lnTo>
                    <a:lnTo>
                      <a:pt x="2966" y="3811"/>
                    </a:lnTo>
                    <a:lnTo>
                      <a:pt x="2960" y="3812"/>
                    </a:lnTo>
                    <a:lnTo>
                      <a:pt x="2954" y="3814"/>
                    </a:lnTo>
                    <a:lnTo>
                      <a:pt x="2948" y="3818"/>
                    </a:lnTo>
                    <a:lnTo>
                      <a:pt x="2942" y="3821"/>
                    </a:lnTo>
                    <a:lnTo>
                      <a:pt x="2932" y="3832"/>
                    </a:lnTo>
                    <a:lnTo>
                      <a:pt x="2921" y="3843"/>
                    </a:lnTo>
                    <a:lnTo>
                      <a:pt x="2914" y="3849"/>
                    </a:lnTo>
                    <a:lnTo>
                      <a:pt x="2908" y="3853"/>
                    </a:lnTo>
                    <a:lnTo>
                      <a:pt x="2901" y="3857"/>
                    </a:lnTo>
                    <a:lnTo>
                      <a:pt x="2894" y="3859"/>
                    </a:lnTo>
                    <a:lnTo>
                      <a:pt x="2888" y="3861"/>
                    </a:lnTo>
                    <a:lnTo>
                      <a:pt x="2880" y="3864"/>
                    </a:lnTo>
                    <a:lnTo>
                      <a:pt x="2876" y="3868"/>
                    </a:lnTo>
                    <a:lnTo>
                      <a:pt x="2871" y="3872"/>
                    </a:lnTo>
                    <a:lnTo>
                      <a:pt x="2869" y="3877"/>
                    </a:lnTo>
                    <a:lnTo>
                      <a:pt x="2866" y="3882"/>
                    </a:lnTo>
                    <a:lnTo>
                      <a:pt x="2865" y="3888"/>
                    </a:lnTo>
                    <a:lnTo>
                      <a:pt x="2865" y="3894"/>
                    </a:lnTo>
                    <a:lnTo>
                      <a:pt x="2867" y="3905"/>
                    </a:lnTo>
                    <a:lnTo>
                      <a:pt x="2871" y="3918"/>
                    </a:lnTo>
                    <a:lnTo>
                      <a:pt x="2877" y="3929"/>
                    </a:lnTo>
                    <a:lnTo>
                      <a:pt x="2883" y="3944"/>
                    </a:lnTo>
                    <a:lnTo>
                      <a:pt x="2885" y="3951"/>
                    </a:lnTo>
                    <a:lnTo>
                      <a:pt x="2886" y="3956"/>
                    </a:lnTo>
                    <a:lnTo>
                      <a:pt x="2885" y="3959"/>
                    </a:lnTo>
                    <a:lnTo>
                      <a:pt x="2883" y="3962"/>
                    </a:lnTo>
                    <a:lnTo>
                      <a:pt x="2878" y="3964"/>
                    </a:lnTo>
                    <a:lnTo>
                      <a:pt x="2873" y="3964"/>
                    </a:lnTo>
                    <a:lnTo>
                      <a:pt x="2867" y="3963"/>
                    </a:lnTo>
                    <a:lnTo>
                      <a:pt x="2860" y="3962"/>
                    </a:lnTo>
                    <a:lnTo>
                      <a:pt x="2857" y="3960"/>
                    </a:lnTo>
                    <a:lnTo>
                      <a:pt x="2854" y="3962"/>
                    </a:lnTo>
                    <a:lnTo>
                      <a:pt x="2851" y="3962"/>
                    </a:lnTo>
                    <a:lnTo>
                      <a:pt x="2850" y="3963"/>
                    </a:lnTo>
                    <a:lnTo>
                      <a:pt x="2845" y="3968"/>
                    </a:lnTo>
                    <a:lnTo>
                      <a:pt x="2841" y="3973"/>
                    </a:lnTo>
                    <a:lnTo>
                      <a:pt x="2838" y="3979"/>
                    </a:lnTo>
                    <a:lnTo>
                      <a:pt x="2834" y="3985"/>
                    </a:lnTo>
                    <a:lnTo>
                      <a:pt x="2832" y="3988"/>
                    </a:lnTo>
                    <a:lnTo>
                      <a:pt x="2828" y="3989"/>
                    </a:lnTo>
                    <a:lnTo>
                      <a:pt x="2826" y="3991"/>
                    </a:lnTo>
                    <a:lnTo>
                      <a:pt x="2822" y="3991"/>
                    </a:lnTo>
                    <a:lnTo>
                      <a:pt x="2816" y="3992"/>
                    </a:lnTo>
                    <a:lnTo>
                      <a:pt x="2812" y="3991"/>
                    </a:lnTo>
                    <a:lnTo>
                      <a:pt x="2806" y="3987"/>
                    </a:lnTo>
                    <a:lnTo>
                      <a:pt x="2796" y="3978"/>
                    </a:lnTo>
                    <a:lnTo>
                      <a:pt x="2793" y="3976"/>
                    </a:lnTo>
                    <a:lnTo>
                      <a:pt x="2789" y="3975"/>
                    </a:lnTo>
                    <a:lnTo>
                      <a:pt x="2784" y="3976"/>
                    </a:lnTo>
                    <a:lnTo>
                      <a:pt x="2781" y="3976"/>
                    </a:lnTo>
                    <a:lnTo>
                      <a:pt x="2774" y="3978"/>
                    </a:lnTo>
                    <a:lnTo>
                      <a:pt x="2768" y="3979"/>
                    </a:lnTo>
                    <a:lnTo>
                      <a:pt x="2762" y="3976"/>
                    </a:lnTo>
                    <a:lnTo>
                      <a:pt x="2757" y="3971"/>
                    </a:lnTo>
                    <a:lnTo>
                      <a:pt x="2752" y="3964"/>
                    </a:lnTo>
                    <a:lnTo>
                      <a:pt x="2746" y="3951"/>
                    </a:lnTo>
                    <a:lnTo>
                      <a:pt x="2740" y="3934"/>
                    </a:lnTo>
                    <a:lnTo>
                      <a:pt x="2733" y="3918"/>
                    </a:lnTo>
                    <a:lnTo>
                      <a:pt x="2727" y="3902"/>
                    </a:lnTo>
                    <a:lnTo>
                      <a:pt x="2721" y="3888"/>
                    </a:lnTo>
                    <a:lnTo>
                      <a:pt x="2719" y="3883"/>
                    </a:lnTo>
                    <a:lnTo>
                      <a:pt x="2715" y="3878"/>
                    </a:lnTo>
                    <a:lnTo>
                      <a:pt x="2712" y="3874"/>
                    </a:lnTo>
                    <a:lnTo>
                      <a:pt x="2707" y="3870"/>
                    </a:lnTo>
                    <a:lnTo>
                      <a:pt x="2702" y="3868"/>
                    </a:lnTo>
                    <a:lnTo>
                      <a:pt x="2697" y="3865"/>
                    </a:lnTo>
                    <a:lnTo>
                      <a:pt x="2693" y="3864"/>
                    </a:lnTo>
                    <a:lnTo>
                      <a:pt x="2687" y="3863"/>
                    </a:lnTo>
                    <a:lnTo>
                      <a:pt x="2676" y="3859"/>
                    </a:lnTo>
                    <a:lnTo>
                      <a:pt x="2667" y="3856"/>
                    </a:lnTo>
                    <a:lnTo>
                      <a:pt x="2659" y="3850"/>
                    </a:lnTo>
                    <a:lnTo>
                      <a:pt x="2651" y="3842"/>
                    </a:lnTo>
                    <a:lnTo>
                      <a:pt x="2645" y="3830"/>
                    </a:lnTo>
                    <a:lnTo>
                      <a:pt x="2640" y="3815"/>
                    </a:lnTo>
                    <a:lnTo>
                      <a:pt x="2636" y="3801"/>
                    </a:lnTo>
                    <a:lnTo>
                      <a:pt x="2631" y="3790"/>
                    </a:lnTo>
                    <a:lnTo>
                      <a:pt x="2618" y="3774"/>
                    </a:lnTo>
                    <a:lnTo>
                      <a:pt x="2601" y="3756"/>
                    </a:lnTo>
                    <a:lnTo>
                      <a:pt x="2598" y="3750"/>
                    </a:lnTo>
                    <a:lnTo>
                      <a:pt x="2594" y="3742"/>
                    </a:lnTo>
                    <a:lnTo>
                      <a:pt x="2593" y="3732"/>
                    </a:lnTo>
                    <a:lnTo>
                      <a:pt x="2590" y="3721"/>
                    </a:lnTo>
                    <a:lnTo>
                      <a:pt x="2588" y="3700"/>
                    </a:lnTo>
                    <a:lnTo>
                      <a:pt x="2587" y="3682"/>
                    </a:lnTo>
                    <a:lnTo>
                      <a:pt x="2584" y="3669"/>
                    </a:lnTo>
                    <a:lnTo>
                      <a:pt x="2580" y="3657"/>
                    </a:lnTo>
                    <a:lnTo>
                      <a:pt x="2575" y="3648"/>
                    </a:lnTo>
                    <a:lnTo>
                      <a:pt x="2569" y="3639"/>
                    </a:lnTo>
                    <a:lnTo>
                      <a:pt x="2562" y="3632"/>
                    </a:lnTo>
                    <a:lnTo>
                      <a:pt x="2554" y="3625"/>
                    </a:lnTo>
                    <a:lnTo>
                      <a:pt x="2551" y="3623"/>
                    </a:lnTo>
                    <a:lnTo>
                      <a:pt x="2548" y="3620"/>
                    </a:lnTo>
                    <a:lnTo>
                      <a:pt x="2545" y="3619"/>
                    </a:lnTo>
                    <a:lnTo>
                      <a:pt x="2542" y="3619"/>
                    </a:lnTo>
                    <a:lnTo>
                      <a:pt x="2536" y="3623"/>
                    </a:lnTo>
                    <a:lnTo>
                      <a:pt x="2529" y="3630"/>
                    </a:lnTo>
                    <a:lnTo>
                      <a:pt x="2520" y="3638"/>
                    </a:lnTo>
                    <a:lnTo>
                      <a:pt x="2514" y="3645"/>
                    </a:lnTo>
                    <a:lnTo>
                      <a:pt x="2510" y="3654"/>
                    </a:lnTo>
                    <a:lnTo>
                      <a:pt x="2505" y="3666"/>
                    </a:lnTo>
                    <a:lnTo>
                      <a:pt x="2500" y="3677"/>
                    </a:lnTo>
                    <a:lnTo>
                      <a:pt x="2497" y="3687"/>
                    </a:lnTo>
                    <a:lnTo>
                      <a:pt x="2494" y="3691"/>
                    </a:lnTo>
                    <a:lnTo>
                      <a:pt x="2491" y="3693"/>
                    </a:lnTo>
                    <a:lnTo>
                      <a:pt x="2486" y="3694"/>
                    </a:lnTo>
                    <a:lnTo>
                      <a:pt x="2482" y="3694"/>
                    </a:lnTo>
                    <a:lnTo>
                      <a:pt x="2473" y="3693"/>
                    </a:lnTo>
                    <a:lnTo>
                      <a:pt x="2464" y="3691"/>
                    </a:lnTo>
                    <a:lnTo>
                      <a:pt x="2461" y="3691"/>
                    </a:lnTo>
                    <a:lnTo>
                      <a:pt x="2460" y="3692"/>
                    </a:lnTo>
                    <a:lnTo>
                      <a:pt x="2458" y="3693"/>
                    </a:lnTo>
                    <a:lnTo>
                      <a:pt x="2457" y="3695"/>
                    </a:lnTo>
                    <a:lnTo>
                      <a:pt x="2460" y="3700"/>
                    </a:lnTo>
                    <a:lnTo>
                      <a:pt x="2463" y="3705"/>
                    </a:lnTo>
                    <a:lnTo>
                      <a:pt x="2468" y="3710"/>
                    </a:lnTo>
                    <a:lnTo>
                      <a:pt x="2472" y="3716"/>
                    </a:lnTo>
                    <a:lnTo>
                      <a:pt x="2474" y="3723"/>
                    </a:lnTo>
                    <a:lnTo>
                      <a:pt x="2474" y="3730"/>
                    </a:lnTo>
                    <a:lnTo>
                      <a:pt x="2474" y="3740"/>
                    </a:lnTo>
                    <a:lnTo>
                      <a:pt x="2474" y="3756"/>
                    </a:lnTo>
                    <a:lnTo>
                      <a:pt x="2476" y="3773"/>
                    </a:lnTo>
                    <a:lnTo>
                      <a:pt x="2480" y="3784"/>
                    </a:lnTo>
                    <a:lnTo>
                      <a:pt x="2483" y="3792"/>
                    </a:lnTo>
                    <a:lnTo>
                      <a:pt x="2486" y="3796"/>
                    </a:lnTo>
                    <a:lnTo>
                      <a:pt x="2486" y="3800"/>
                    </a:lnTo>
                    <a:lnTo>
                      <a:pt x="2485" y="3802"/>
                    </a:lnTo>
                    <a:lnTo>
                      <a:pt x="2483" y="3805"/>
                    </a:lnTo>
                    <a:lnTo>
                      <a:pt x="2480" y="3808"/>
                    </a:lnTo>
                    <a:lnTo>
                      <a:pt x="2470" y="3814"/>
                    </a:lnTo>
                    <a:lnTo>
                      <a:pt x="2457" y="3823"/>
                    </a:lnTo>
                    <a:lnTo>
                      <a:pt x="2450" y="3826"/>
                    </a:lnTo>
                    <a:lnTo>
                      <a:pt x="2443" y="3830"/>
                    </a:lnTo>
                    <a:lnTo>
                      <a:pt x="2435" y="3832"/>
                    </a:lnTo>
                    <a:lnTo>
                      <a:pt x="2426" y="3833"/>
                    </a:lnTo>
                    <a:lnTo>
                      <a:pt x="2419" y="3833"/>
                    </a:lnTo>
                    <a:lnTo>
                      <a:pt x="2412" y="3832"/>
                    </a:lnTo>
                    <a:lnTo>
                      <a:pt x="2407" y="3830"/>
                    </a:lnTo>
                    <a:lnTo>
                      <a:pt x="2403" y="3826"/>
                    </a:lnTo>
                    <a:lnTo>
                      <a:pt x="2395" y="3818"/>
                    </a:lnTo>
                    <a:lnTo>
                      <a:pt x="2392" y="3811"/>
                    </a:lnTo>
                    <a:lnTo>
                      <a:pt x="2390" y="3805"/>
                    </a:lnTo>
                    <a:lnTo>
                      <a:pt x="2387" y="3799"/>
                    </a:lnTo>
                    <a:lnTo>
                      <a:pt x="2385" y="3796"/>
                    </a:lnTo>
                    <a:lnTo>
                      <a:pt x="2384" y="3795"/>
                    </a:lnTo>
                    <a:lnTo>
                      <a:pt x="2381" y="3794"/>
                    </a:lnTo>
                    <a:lnTo>
                      <a:pt x="2378" y="3794"/>
                    </a:lnTo>
                    <a:lnTo>
                      <a:pt x="2372" y="3796"/>
                    </a:lnTo>
                    <a:lnTo>
                      <a:pt x="2366" y="3798"/>
                    </a:lnTo>
                    <a:lnTo>
                      <a:pt x="2360" y="3799"/>
                    </a:lnTo>
                    <a:lnTo>
                      <a:pt x="2355" y="3798"/>
                    </a:lnTo>
                    <a:lnTo>
                      <a:pt x="2351" y="3795"/>
                    </a:lnTo>
                    <a:lnTo>
                      <a:pt x="2350" y="3793"/>
                    </a:lnTo>
                    <a:lnTo>
                      <a:pt x="2348" y="3790"/>
                    </a:lnTo>
                    <a:lnTo>
                      <a:pt x="2347" y="3787"/>
                    </a:lnTo>
                    <a:lnTo>
                      <a:pt x="2344" y="3780"/>
                    </a:lnTo>
                    <a:lnTo>
                      <a:pt x="2343" y="3773"/>
                    </a:lnTo>
                    <a:lnTo>
                      <a:pt x="2342" y="3767"/>
                    </a:lnTo>
                    <a:lnTo>
                      <a:pt x="2340" y="3761"/>
                    </a:lnTo>
                    <a:lnTo>
                      <a:pt x="2336" y="3754"/>
                    </a:lnTo>
                    <a:lnTo>
                      <a:pt x="2331" y="3748"/>
                    </a:lnTo>
                    <a:lnTo>
                      <a:pt x="2322" y="3737"/>
                    </a:lnTo>
                    <a:lnTo>
                      <a:pt x="2310" y="3724"/>
                    </a:lnTo>
                    <a:lnTo>
                      <a:pt x="2298" y="3710"/>
                    </a:lnTo>
                    <a:lnTo>
                      <a:pt x="2287" y="3699"/>
                    </a:lnTo>
                    <a:lnTo>
                      <a:pt x="2284" y="3694"/>
                    </a:lnTo>
                    <a:lnTo>
                      <a:pt x="2281" y="3689"/>
                    </a:lnTo>
                    <a:lnTo>
                      <a:pt x="2279" y="3685"/>
                    </a:lnTo>
                    <a:lnTo>
                      <a:pt x="2278" y="3680"/>
                    </a:lnTo>
                    <a:lnTo>
                      <a:pt x="2278" y="3675"/>
                    </a:lnTo>
                    <a:lnTo>
                      <a:pt x="2278" y="3672"/>
                    </a:lnTo>
                    <a:lnTo>
                      <a:pt x="2279" y="3667"/>
                    </a:lnTo>
                    <a:lnTo>
                      <a:pt x="2280" y="3663"/>
                    </a:lnTo>
                    <a:lnTo>
                      <a:pt x="2288" y="3655"/>
                    </a:lnTo>
                    <a:lnTo>
                      <a:pt x="2298" y="3647"/>
                    </a:lnTo>
                    <a:lnTo>
                      <a:pt x="2299" y="3645"/>
                    </a:lnTo>
                    <a:lnTo>
                      <a:pt x="2299" y="3644"/>
                    </a:lnTo>
                    <a:lnTo>
                      <a:pt x="2298" y="3643"/>
                    </a:lnTo>
                    <a:lnTo>
                      <a:pt x="2297" y="3642"/>
                    </a:lnTo>
                    <a:lnTo>
                      <a:pt x="2293" y="3639"/>
                    </a:lnTo>
                    <a:lnTo>
                      <a:pt x="2290" y="3638"/>
                    </a:lnTo>
                    <a:lnTo>
                      <a:pt x="2279" y="3632"/>
                    </a:lnTo>
                    <a:lnTo>
                      <a:pt x="2267" y="3625"/>
                    </a:lnTo>
                    <a:lnTo>
                      <a:pt x="2261" y="3623"/>
                    </a:lnTo>
                    <a:lnTo>
                      <a:pt x="2255" y="3623"/>
                    </a:lnTo>
                    <a:lnTo>
                      <a:pt x="2249" y="3623"/>
                    </a:lnTo>
                    <a:lnTo>
                      <a:pt x="2242" y="3622"/>
                    </a:lnTo>
                    <a:lnTo>
                      <a:pt x="2234" y="3620"/>
                    </a:lnTo>
                    <a:lnTo>
                      <a:pt x="2228" y="3620"/>
                    </a:lnTo>
                    <a:lnTo>
                      <a:pt x="2222" y="3623"/>
                    </a:lnTo>
                    <a:lnTo>
                      <a:pt x="2217" y="3626"/>
                    </a:lnTo>
                    <a:lnTo>
                      <a:pt x="2214" y="3628"/>
                    </a:lnTo>
                    <a:lnTo>
                      <a:pt x="2210" y="3629"/>
                    </a:lnTo>
                    <a:lnTo>
                      <a:pt x="2205" y="3628"/>
                    </a:lnTo>
                    <a:lnTo>
                      <a:pt x="2201" y="3626"/>
                    </a:lnTo>
                    <a:lnTo>
                      <a:pt x="2191" y="3623"/>
                    </a:lnTo>
                    <a:lnTo>
                      <a:pt x="2182" y="3620"/>
                    </a:lnTo>
                    <a:lnTo>
                      <a:pt x="2178" y="3622"/>
                    </a:lnTo>
                    <a:lnTo>
                      <a:pt x="2177" y="3624"/>
                    </a:lnTo>
                    <a:lnTo>
                      <a:pt x="2177" y="3628"/>
                    </a:lnTo>
                    <a:lnTo>
                      <a:pt x="2178" y="3632"/>
                    </a:lnTo>
                    <a:lnTo>
                      <a:pt x="2179" y="3636"/>
                    </a:lnTo>
                    <a:lnTo>
                      <a:pt x="2179" y="3639"/>
                    </a:lnTo>
                    <a:lnTo>
                      <a:pt x="2173" y="3650"/>
                    </a:lnTo>
                    <a:lnTo>
                      <a:pt x="2167" y="3660"/>
                    </a:lnTo>
                    <a:lnTo>
                      <a:pt x="2165" y="3661"/>
                    </a:lnTo>
                    <a:lnTo>
                      <a:pt x="2161" y="3661"/>
                    </a:lnTo>
                    <a:lnTo>
                      <a:pt x="2157" y="3658"/>
                    </a:lnTo>
                    <a:lnTo>
                      <a:pt x="2151" y="3655"/>
                    </a:lnTo>
                    <a:lnTo>
                      <a:pt x="2146" y="3650"/>
                    </a:lnTo>
                    <a:lnTo>
                      <a:pt x="2141" y="3645"/>
                    </a:lnTo>
                    <a:lnTo>
                      <a:pt x="2138" y="3639"/>
                    </a:lnTo>
                    <a:lnTo>
                      <a:pt x="2135" y="3634"/>
                    </a:lnTo>
                    <a:lnTo>
                      <a:pt x="2133" y="3622"/>
                    </a:lnTo>
                    <a:lnTo>
                      <a:pt x="2130" y="3609"/>
                    </a:lnTo>
                    <a:lnTo>
                      <a:pt x="2126" y="3597"/>
                    </a:lnTo>
                    <a:lnTo>
                      <a:pt x="2121" y="3585"/>
                    </a:lnTo>
                    <a:lnTo>
                      <a:pt x="2117" y="3579"/>
                    </a:lnTo>
                    <a:lnTo>
                      <a:pt x="2115" y="3571"/>
                    </a:lnTo>
                    <a:lnTo>
                      <a:pt x="2114" y="3561"/>
                    </a:lnTo>
                    <a:lnTo>
                      <a:pt x="2113" y="3552"/>
                    </a:lnTo>
                    <a:lnTo>
                      <a:pt x="2111" y="3542"/>
                    </a:lnTo>
                    <a:lnTo>
                      <a:pt x="2111" y="3534"/>
                    </a:lnTo>
                    <a:lnTo>
                      <a:pt x="2113" y="3527"/>
                    </a:lnTo>
                    <a:lnTo>
                      <a:pt x="2114" y="3523"/>
                    </a:lnTo>
                    <a:lnTo>
                      <a:pt x="2115" y="3519"/>
                    </a:lnTo>
                    <a:lnTo>
                      <a:pt x="2120" y="3518"/>
                    </a:lnTo>
                    <a:lnTo>
                      <a:pt x="2123" y="3516"/>
                    </a:lnTo>
                    <a:lnTo>
                      <a:pt x="2128" y="3515"/>
                    </a:lnTo>
                    <a:lnTo>
                      <a:pt x="2132" y="3515"/>
                    </a:lnTo>
                    <a:lnTo>
                      <a:pt x="2136" y="3513"/>
                    </a:lnTo>
                    <a:lnTo>
                      <a:pt x="2138" y="3513"/>
                    </a:lnTo>
                    <a:lnTo>
                      <a:pt x="2139" y="3512"/>
                    </a:lnTo>
                    <a:lnTo>
                      <a:pt x="2139" y="3511"/>
                    </a:lnTo>
                    <a:lnTo>
                      <a:pt x="2139" y="3509"/>
                    </a:lnTo>
                    <a:lnTo>
                      <a:pt x="2132" y="3499"/>
                    </a:lnTo>
                    <a:lnTo>
                      <a:pt x="2123" y="3491"/>
                    </a:lnTo>
                    <a:lnTo>
                      <a:pt x="2114" y="3481"/>
                    </a:lnTo>
                    <a:lnTo>
                      <a:pt x="2104" y="3472"/>
                    </a:lnTo>
                    <a:lnTo>
                      <a:pt x="2098" y="3465"/>
                    </a:lnTo>
                    <a:lnTo>
                      <a:pt x="2094" y="3459"/>
                    </a:lnTo>
                    <a:lnTo>
                      <a:pt x="2090" y="3453"/>
                    </a:lnTo>
                    <a:lnTo>
                      <a:pt x="2086" y="3447"/>
                    </a:lnTo>
                    <a:lnTo>
                      <a:pt x="2082" y="3436"/>
                    </a:lnTo>
                    <a:lnTo>
                      <a:pt x="2079" y="3427"/>
                    </a:lnTo>
                    <a:lnTo>
                      <a:pt x="2078" y="3424"/>
                    </a:lnTo>
                    <a:lnTo>
                      <a:pt x="2076" y="3422"/>
                    </a:lnTo>
                    <a:lnTo>
                      <a:pt x="2072" y="3421"/>
                    </a:lnTo>
                    <a:lnTo>
                      <a:pt x="2069" y="3420"/>
                    </a:lnTo>
                    <a:lnTo>
                      <a:pt x="2058" y="3420"/>
                    </a:lnTo>
                    <a:lnTo>
                      <a:pt x="2046" y="3422"/>
                    </a:lnTo>
                    <a:lnTo>
                      <a:pt x="2034" y="3424"/>
                    </a:lnTo>
                    <a:lnTo>
                      <a:pt x="2025" y="3426"/>
                    </a:lnTo>
                    <a:lnTo>
                      <a:pt x="2017" y="3424"/>
                    </a:lnTo>
                    <a:lnTo>
                      <a:pt x="2008" y="3421"/>
                    </a:lnTo>
                    <a:lnTo>
                      <a:pt x="1998" y="3414"/>
                    </a:lnTo>
                    <a:lnTo>
                      <a:pt x="1989" y="3406"/>
                    </a:lnTo>
                    <a:lnTo>
                      <a:pt x="1983" y="3403"/>
                    </a:lnTo>
                    <a:lnTo>
                      <a:pt x="1977" y="3401"/>
                    </a:lnTo>
                    <a:lnTo>
                      <a:pt x="1971" y="3398"/>
                    </a:lnTo>
                    <a:lnTo>
                      <a:pt x="1964" y="3397"/>
                    </a:lnTo>
                    <a:lnTo>
                      <a:pt x="1951" y="3396"/>
                    </a:lnTo>
                    <a:lnTo>
                      <a:pt x="1939" y="3397"/>
                    </a:lnTo>
                    <a:lnTo>
                      <a:pt x="1933" y="3399"/>
                    </a:lnTo>
                    <a:lnTo>
                      <a:pt x="1927" y="3402"/>
                    </a:lnTo>
                    <a:lnTo>
                      <a:pt x="1922" y="3405"/>
                    </a:lnTo>
                    <a:lnTo>
                      <a:pt x="1918" y="3409"/>
                    </a:lnTo>
                    <a:lnTo>
                      <a:pt x="1906" y="3420"/>
                    </a:lnTo>
                    <a:lnTo>
                      <a:pt x="1893" y="3431"/>
                    </a:lnTo>
                    <a:lnTo>
                      <a:pt x="1878" y="3443"/>
                    </a:lnTo>
                    <a:lnTo>
                      <a:pt x="1863" y="3453"/>
                    </a:lnTo>
                    <a:lnTo>
                      <a:pt x="1855" y="3458"/>
                    </a:lnTo>
                    <a:lnTo>
                      <a:pt x="1846" y="3460"/>
                    </a:lnTo>
                    <a:lnTo>
                      <a:pt x="1838" y="3462"/>
                    </a:lnTo>
                    <a:lnTo>
                      <a:pt x="1830" y="3464"/>
                    </a:lnTo>
                    <a:lnTo>
                      <a:pt x="1821" y="3464"/>
                    </a:lnTo>
                    <a:lnTo>
                      <a:pt x="1814" y="3462"/>
                    </a:lnTo>
                    <a:lnTo>
                      <a:pt x="1808" y="3461"/>
                    </a:lnTo>
                    <a:lnTo>
                      <a:pt x="1802" y="3460"/>
                    </a:lnTo>
                    <a:lnTo>
                      <a:pt x="1793" y="3456"/>
                    </a:lnTo>
                    <a:lnTo>
                      <a:pt x="1783" y="3454"/>
                    </a:lnTo>
                    <a:lnTo>
                      <a:pt x="1773" y="3453"/>
                    </a:lnTo>
                    <a:lnTo>
                      <a:pt x="1763" y="3453"/>
                    </a:lnTo>
                    <a:lnTo>
                      <a:pt x="1755" y="3452"/>
                    </a:lnTo>
                    <a:lnTo>
                      <a:pt x="1748" y="3448"/>
                    </a:lnTo>
                    <a:lnTo>
                      <a:pt x="1742" y="3443"/>
                    </a:lnTo>
                    <a:lnTo>
                      <a:pt x="1736" y="3436"/>
                    </a:lnTo>
                    <a:lnTo>
                      <a:pt x="1727" y="3428"/>
                    </a:lnTo>
                    <a:lnTo>
                      <a:pt x="1716" y="3420"/>
                    </a:lnTo>
                    <a:lnTo>
                      <a:pt x="1705" y="3411"/>
                    </a:lnTo>
                    <a:lnTo>
                      <a:pt x="1695" y="3404"/>
                    </a:lnTo>
                    <a:lnTo>
                      <a:pt x="1689" y="3398"/>
                    </a:lnTo>
                    <a:lnTo>
                      <a:pt x="1686" y="3393"/>
                    </a:lnTo>
                    <a:lnTo>
                      <a:pt x="1685" y="3387"/>
                    </a:lnTo>
                    <a:lnTo>
                      <a:pt x="1683" y="3382"/>
                    </a:lnTo>
                    <a:lnTo>
                      <a:pt x="1683" y="3374"/>
                    </a:lnTo>
                    <a:lnTo>
                      <a:pt x="1683" y="3368"/>
                    </a:lnTo>
                    <a:lnTo>
                      <a:pt x="1681" y="3361"/>
                    </a:lnTo>
                    <a:lnTo>
                      <a:pt x="1677" y="3354"/>
                    </a:lnTo>
                    <a:lnTo>
                      <a:pt x="1675" y="3348"/>
                    </a:lnTo>
                    <a:lnTo>
                      <a:pt x="1675" y="3341"/>
                    </a:lnTo>
                    <a:lnTo>
                      <a:pt x="1676" y="3334"/>
                    </a:lnTo>
                    <a:lnTo>
                      <a:pt x="1679" y="3328"/>
                    </a:lnTo>
                    <a:lnTo>
                      <a:pt x="1680" y="3322"/>
                    </a:lnTo>
                    <a:lnTo>
                      <a:pt x="1680" y="3321"/>
                    </a:lnTo>
                    <a:lnTo>
                      <a:pt x="1676" y="3321"/>
                    </a:lnTo>
                    <a:lnTo>
                      <a:pt x="1669" y="3322"/>
                    </a:lnTo>
                    <a:lnTo>
                      <a:pt x="1658" y="3324"/>
                    </a:lnTo>
                    <a:lnTo>
                      <a:pt x="1647" y="3327"/>
                    </a:lnTo>
                    <a:lnTo>
                      <a:pt x="1636" y="3329"/>
                    </a:lnTo>
                    <a:lnTo>
                      <a:pt x="1626" y="3333"/>
                    </a:lnTo>
                    <a:lnTo>
                      <a:pt x="1620" y="3336"/>
                    </a:lnTo>
                    <a:lnTo>
                      <a:pt x="1614" y="3340"/>
                    </a:lnTo>
                    <a:lnTo>
                      <a:pt x="1611" y="3344"/>
                    </a:lnTo>
                    <a:lnTo>
                      <a:pt x="1607" y="3348"/>
                    </a:lnTo>
                    <a:lnTo>
                      <a:pt x="1603" y="3358"/>
                    </a:lnTo>
                    <a:lnTo>
                      <a:pt x="1600" y="3366"/>
                    </a:lnTo>
                    <a:lnTo>
                      <a:pt x="1598" y="3370"/>
                    </a:lnTo>
                    <a:lnTo>
                      <a:pt x="1594" y="3372"/>
                    </a:lnTo>
                    <a:lnTo>
                      <a:pt x="1591" y="3374"/>
                    </a:lnTo>
                    <a:lnTo>
                      <a:pt x="1585" y="3377"/>
                    </a:lnTo>
                    <a:lnTo>
                      <a:pt x="1572" y="3379"/>
                    </a:lnTo>
                    <a:lnTo>
                      <a:pt x="1557" y="3380"/>
                    </a:lnTo>
                    <a:lnTo>
                      <a:pt x="1551" y="3380"/>
                    </a:lnTo>
                    <a:lnTo>
                      <a:pt x="1546" y="3383"/>
                    </a:lnTo>
                    <a:lnTo>
                      <a:pt x="1540" y="3385"/>
                    </a:lnTo>
                    <a:lnTo>
                      <a:pt x="1535" y="3387"/>
                    </a:lnTo>
                    <a:lnTo>
                      <a:pt x="1524" y="3392"/>
                    </a:lnTo>
                    <a:lnTo>
                      <a:pt x="1512" y="3396"/>
                    </a:lnTo>
                    <a:lnTo>
                      <a:pt x="1506" y="3397"/>
                    </a:lnTo>
                    <a:lnTo>
                      <a:pt x="1500" y="3396"/>
                    </a:lnTo>
                    <a:lnTo>
                      <a:pt x="1496" y="3395"/>
                    </a:lnTo>
                    <a:lnTo>
                      <a:pt x="1491" y="3391"/>
                    </a:lnTo>
                    <a:lnTo>
                      <a:pt x="1486" y="3387"/>
                    </a:lnTo>
                    <a:lnTo>
                      <a:pt x="1483" y="3383"/>
                    </a:lnTo>
                    <a:lnTo>
                      <a:pt x="1479" y="3378"/>
                    </a:lnTo>
                    <a:lnTo>
                      <a:pt x="1475" y="3372"/>
                    </a:lnTo>
                    <a:lnTo>
                      <a:pt x="1472" y="3366"/>
                    </a:lnTo>
                    <a:lnTo>
                      <a:pt x="1468" y="3361"/>
                    </a:lnTo>
                    <a:lnTo>
                      <a:pt x="1464" y="3358"/>
                    </a:lnTo>
                    <a:lnTo>
                      <a:pt x="1459" y="3354"/>
                    </a:lnTo>
                    <a:lnTo>
                      <a:pt x="1448" y="3349"/>
                    </a:lnTo>
                    <a:lnTo>
                      <a:pt x="1439" y="3346"/>
                    </a:lnTo>
                    <a:lnTo>
                      <a:pt x="1435" y="3346"/>
                    </a:lnTo>
                    <a:lnTo>
                      <a:pt x="1433" y="3347"/>
                    </a:lnTo>
                    <a:lnTo>
                      <a:pt x="1430" y="3349"/>
                    </a:lnTo>
                    <a:lnTo>
                      <a:pt x="1429" y="3353"/>
                    </a:lnTo>
                    <a:lnTo>
                      <a:pt x="1425" y="3364"/>
                    </a:lnTo>
                    <a:lnTo>
                      <a:pt x="1424" y="3374"/>
                    </a:lnTo>
                    <a:lnTo>
                      <a:pt x="1423" y="3379"/>
                    </a:lnTo>
                    <a:lnTo>
                      <a:pt x="1421" y="3384"/>
                    </a:lnTo>
                    <a:lnTo>
                      <a:pt x="1417" y="3386"/>
                    </a:lnTo>
                    <a:lnTo>
                      <a:pt x="1414" y="3389"/>
                    </a:lnTo>
                    <a:lnTo>
                      <a:pt x="1405" y="3390"/>
                    </a:lnTo>
                    <a:lnTo>
                      <a:pt x="1396" y="3391"/>
                    </a:lnTo>
                    <a:lnTo>
                      <a:pt x="1387" y="3391"/>
                    </a:lnTo>
                    <a:lnTo>
                      <a:pt x="1383" y="3393"/>
                    </a:lnTo>
                    <a:lnTo>
                      <a:pt x="1379" y="3396"/>
                    </a:lnTo>
                    <a:lnTo>
                      <a:pt x="1376" y="3398"/>
                    </a:lnTo>
                    <a:lnTo>
                      <a:pt x="1364" y="3403"/>
                    </a:lnTo>
                    <a:lnTo>
                      <a:pt x="1345" y="3409"/>
                    </a:lnTo>
                    <a:lnTo>
                      <a:pt x="1332" y="3412"/>
                    </a:lnTo>
                    <a:lnTo>
                      <a:pt x="1318" y="3414"/>
                    </a:lnTo>
                    <a:lnTo>
                      <a:pt x="1313" y="3414"/>
                    </a:lnTo>
                    <a:lnTo>
                      <a:pt x="1307" y="3412"/>
                    </a:lnTo>
                    <a:lnTo>
                      <a:pt x="1302" y="3411"/>
                    </a:lnTo>
                    <a:lnTo>
                      <a:pt x="1297" y="3410"/>
                    </a:lnTo>
                    <a:lnTo>
                      <a:pt x="1282" y="3396"/>
                    </a:lnTo>
                    <a:lnTo>
                      <a:pt x="1265" y="3378"/>
                    </a:lnTo>
                    <a:lnTo>
                      <a:pt x="1254" y="3368"/>
                    </a:lnTo>
                    <a:lnTo>
                      <a:pt x="1241" y="3359"/>
                    </a:lnTo>
                    <a:lnTo>
                      <a:pt x="1228" y="3349"/>
                    </a:lnTo>
                    <a:lnTo>
                      <a:pt x="1217" y="3345"/>
                    </a:lnTo>
                    <a:lnTo>
                      <a:pt x="1210" y="3341"/>
                    </a:lnTo>
                    <a:lnTo>
                      <a:pt x="1203" y="3338"/>
                    </a:lnTo>
                    <a:lnTo>
                      <a:pt x="1197" y="3333"/>
                    </a:lnTo>
                    <a:lnTo>
                      <a:pt x="1192" y="3327"/>
                    </a:lnTo>
                    <a:lnTo>
                      <a:pt x="1188" y="3320"/>
                    </a:lnTo>
                    <a:lnTo>
                      <a:pt x="1181" y="3314"/>
                    </a:lnTo>
                    <a:lnTo>
                      <a:pt x="1173" y="3310"/>
                    </a:lnTo>
                    <a:lnTo>
                      <a:pt x="1168" y="3305"/>
                    </a:lnTo>
                    <a:lnTo>
                      <a:pt x="1165" y="3302"/>
                    </a:lnTo>
                    <a:lnTo>
                      <a:pt x="1164" y="3298"/>
                    </a:lnTo>
                    <a:lnTo>
                      <a:pt x="1163" y="3295"/>
                    </a:lnTo>
                    <a:lnTo>
                      <a:pt x="1162" y="3290"/>
                    </a:lnTo>
                    <a:lnTo>
                      <a:pt x="1162" y="3278"/>
                    </a:lnTo>
                    <a:lnTo>
                      <a:pt x="1162" y="3263"/>
                    </a:lnTo>
                    <a:lnTo>
                      <a:pt x="1162" y="3256"/>
                    </a:lnTo>
                    <a:lnTo>
                      <a:pt x="1160" y="3248"/>
                    </a:lnTo>
                    <a:lnTo>
                      <a:pt x="1158" y="3242"/>
                    </a:lnTo>
                    <a:lnTo>
                      <a:pt x="1156" y="3238"/>
                    </a:lnTo>
                    <a:lnTo>
                      <a:pt x="1150" y="3229"/>
                    </a:lnTo>
                    <a:lnTo>
                      <a:pt x="1143" y="3222"/>
                    </a:lnTo>
                    <a:lnTo>
                      <a:pt x="1139" y="3220"/>
                    </a:lnTo>
                    <a:lnTo>
                      <a:pt x="1137" y="3216"/>
                    </a:lnTo>
                    <a:lnTo>
                      <a:pt x="1134" y="3214"/>
                    </a:lnTo>
                    <a:lnTo>
                      <a:pt x="1134" y="3212"/>
                    </a:lnTo>
                    <a:lnTo>
                      <a:pt x="1134" y="3206"/>
                    </a:lnTo>
                    <a:lnTo>
                      <a:pt x="1137" y="3200"/>
                    </a:lnTo>
                    <a:lnTo>
                      <a:pt x="1139" y="3193"/>
                    </a:lnTo>
                    <a:lnTo>
                      <a:pt x="1140" y="3185"/>
                    </a:lnTo>
                    <a:lnTo>
                      <a:pt x="1143" y="3179"/>
                    </a:lnTo>
                    <a:lnTo>
                      <a:pt x="1143" y="3172"/>
                    </a:lnTo>
                    <a:lnTo>
                      <a:pt x="1138" y="3158"/>
                    </a:lnTo>
                    <a:lnTo>
                      <a:pt x="1128" y="3138"/>
                    </a:lnTo>
                    <a:lnTo>
                      <a:pt x="1125" y="3126"/>
                    </a:lnTo>
                    <a:lnTo>
                      <a:pt x="1124" y="3113"/>
                    </a:lnTo>
                    <a:lnTo>
                      <a:pt x="1122" y="3100"/>
                    </a:lnTo>
                    <a:lnTo>
                      <a:pt x="1122" y="3087"/>
                    </a:lnTo>
                    <a:lnTo>
                      <a:pt x="1121" y="3082"/>
                    </a:lnTo>
                    <a:lnTo>
                      <a:pt x="1120" y="3077"/>
                    </a:lnTo>
                    <a:lnTo>
                      <a:pt x="1116" y="3074"/>
                    </a:lnTo>
                    <a:lnTo>
                      <a:pt x="1113" y="3071"/>
                    </a:lnTo>
                    <a:lnTo>
                      <a:pt x="1104" y="3069"/>
                    </a:lnTo>
                    <a:lnTo>
                      <a:pt x="1096" y="3068"/>
                    </a:lnTo>
                    <a:lnTo>
                      <a:pt x="1093" y="3068"/>
                    </a:lnTo>
                    <a:lnTo>
                      <a:pt x="1088" y="3068"/>
                    </a:lnTo>
                    <a:lnTo>
                      <a:pt x="1084" y="3065"/>
                    </a:lnTo>
                    <a:lnTo>
                      <a:pt x="1082" y="3064"/>
                    </a:lnTo>
                    <a:lnTo>
                      <a:pt x="1078" y="3062"/>
                    </a:lnTo>
                    <a:lnTo>
                      <a:pt x="1077" y="3061"/>
                    </a:lnTo>
                    <a:lnTo>
                      <a:pt x="1075" y="3061"/>
                    </a:lnTo>
                    <a:lnTo>
                      <a:pt x="1074" y="3061"/>
                    </a:lnTo>
                    <a:lnTo>
                      <a:pt x="1070" y="3064"/>
                    </a:lnTo>
                    <a:lnTo>
                      <a:pt x="1064" y="3068"/>
                    </a:lnTo>
                    <a:lnTo>
                      <a:pt x="1052" y="3074"/>
                    </a:lnTo>
                    <a:lnTo>
                      <a:pt x="1040" y="3080"/>
                    </a:lnTo>
                    <a:lnTo>
                      <a:pt x="1024" y="3088"/>
                    </a:lnTo>
                    <a:lnTo>
                      <a:pt x="1009" y="3094"/>
                    </a:lnTo>
                    <a:lnTo>
                      <a:pt x="1003" y="3096"/>
                    </a:lnTo>
                    <a:lnTo>
                      <a:pt x="998" y="3097"/>
                    </a:lnTo>
                    <a:lnTo>
                      <a:pt x="993" y="3099"/>
                    </a:lnTo>
                    <a:lnTo>
                      <a:pt x="989" y="3099"/>
                    </a:lnTo>
                    <a:lnTo>
                      <a:pt x="981" y="3095"/>
                    </a:lnTo>
                    <a:lnTo>
                      <a:pt x="974" y="3093"/>
                    </a:lnTo>
                    <a:lnTo>
                      <a:pt x="970" y="3092"/>
                    </a:lnTo>
                    <a:lnTo>
                      <a:pt x="967" y="3092"/>
                    </a:lnTo>
                    <a:lnTo>
                      <a:pt x="962" y="3094"/>
                    </a:lnTo>
                    <a:lnTo>
                      <a:pt x="958" y="3096"/>
                    </a:lnTo>
                    <a:lnTo>
                      <a:pt x="951" y="3102"/>
                    </a:lnTo>
                    <a:lnTo>
                      <a:pt x="944" y="3107"/>
                    </a:lnTo>
                    <a:lnTo>
                      <a:pt x="940" y="3108"/>
                    </a:lnTo>
                    <a:lnTo>
                      <a:pt x="936" y="3109"/>
                    </a:lnTo>
                    <a:lnTo>
                      <a:pt x="930" y="3109"/>
                    </a:lnTo>
                    <a:lnTo>
                      <a:pt x="923" y="3108"/>
                    </a:lnTo>
                    <a:lnTo>
                      <a:pt x="899" y="3107"/>
                    </a:lnTo>
                    <a:lnTo>
                      <a:pt x="880" y="3103"/>
                    </a:lnTo>
                    <a:lnTo>
                      <a:pt x="872" y="3101"/>
                    </a:lnTo>
                    <a:lnTo>
                      <a:pt x="863" y="3097"/>
                    </a:lnTo>
                    <a:lnTo>
                      <a:pt x="855" y="3092"/>
                    </a:lnTo>
                    <a:lnTo>
                      <a:pt x="847" y="3082"/>
                    </a:lnTo>
                    <a:lnTo>
                      <a:pt x="836" y="3069"/>
                    </a:lnTo>
                    <a:lnTo>
                      <a:pt x="826" y="3057"/>
                    </a:lnTo>
                    <a:lnTo>
                      <a:pt x="822" y="3051"/>
                    </a:lnTo>
                    <a:lnTo>
                      <a:pt x="817" y="3045"/>
                    </a:lnTo>
                    <a:lnTo>
                      <a:pt x="814" y="3038"/>
                    </a:lnTo>
                    <a:lnTo>
                      <a:pt x="811" y="3030"/>
                    </a:lnTo>
                    <a:lnTo>
                      <a:pt x="807" y="3013"/>
                    </a:lnTo>
                    <a:lnTo>
                      <a:pt x="805" y="2999"/>
                    </a:lnTo>
                    <a:lnTo>
                      <a:pt x="805" y="2992"/>
                    </a:lnTo>
                    <a:lnTo>
                      <a:pt x="805" y="2986"/>
                    </a:lnTo>
                    <a:lnTo>
                      <a:pt x="806" y="2981"/>
                    </a:lnTo>
                    <a:lnTo>
                      <a:pt x="807" y="2977"/>
                    </a:lnTo>
                    <a:lnTo>
                      <a:pt x="810" y="2974"/>
                    </a:lnTo>
                    <a:lnTo>
                      <a:pt x="812" y="2971"/>
                    </a:lnTo>
                    <a:lnTo>
                      <a:pt x="816" y="2969"/>
                    </a:lnTo>
                    <a:lnTo>
                      <a:pt x="819" y="2968"/>
                    </a:lnTo>
                    <a:lnTo>
                      <a:pt x="828" y="2967"/>
                    </a:lnTo>
                    <a:lnTo>
                      <a:pt x="837" y="2967"/>
                    </a:lnTo>
                    <a:lnTo>
                      <a:pt x="847" y="2968"/>
                    </a:lnTo>
                    <a:lnTo>
                      <a:pt x="857" y="2968"/>
                    </a:lnTo>
                    <a:lnTo>
                      <a:pt x="862" y="2967"/>
                    </a:lnTo>
                    <a:lnTo>
                      <a:pt x="866" y="2967"/>
                    </a:lnTo>
                    <a:lnTo>
                      <a:pt x="869" y="2964"/>
                    </a:lnTo>
                    <a:lnTo>
                      <a:pt x="872" y="2963"/>
                    </a:lnTo>
                    <a:lnTo>
                      <a:pt x="876" y="2956"/>
                    </a:lnTo>
                    <a:lnTo>
                      <a:pt x="879" y="2947"/>
                    </a:lnTo>
                    <a:lnTo>
                      <a:pt x="880" y="2941"/>
                    </a:lnTo>
                    <a:lnTo>
                      <a:pt x="883" y="2936"/>
                    </a:lnTo>
                    <a:lnTo>
                      <a:pt x="887" y="2932"/>
                    </a:lnTo>
                    <a:lnTo>
                      <a:pt x="891" y="2929"/>
                    </a:lnTo>
                    <a:lnTo>
                      <a:pt x="896" y="2925"/>
                    </a:lnTo>
                    <a:lnTo>
                      <a:pt x="902" y="2923"/>
                    </a:lnTo>
                    <a:lnTo>
                      <a:pt x="908" y="2922"/>
                    </a:lnTo>
                    <a:lnTo>
                      <a:pt x="917" y="2922"/>
                    </a:lnTo>
                    <a:lnTo>
                      <a:pt x="932" y="2920"/>
                    </a:lnTo>
                    <a:lnTo>
                      <a:pt x="949" y="2919"/>
                    </a:lnTo>
                    <a:lnTo>
                      <a:pt x="956" y="2918"/>
                    </a:lnTo>
                    <a:lnTo>
                      <a:pt x="962" y="2916"/>
                    </a:lnTo>
                    <a:lnTo>
                      <a:pt x="963" y="2914"/>
                    </a:lnTo>
                    <a:lnTo>
                      <a:pt x="965" y="2912"/>
                    </a:lnTo>
                    <a:lnTo>
                      <a:pt x="965" y="2910"/>
                    </a:lnTo>
                    <a:lnTo>
                      <a:pt x="967" y="2908"/>
                    </a:lnTo>
                    <a:lnTo>
                      <a:pt x="965" y="2893"/>
                    </a:lnTo>
                    <a:lnTo>
                      <a:pt x="964" y="2879"/>
                    </a:lnTo>
                    <a:lnTo>
                      <a:pt x="964" y="2872"/>
                    </a:lnTo>
                    <a:lnTo>
                      <a:pt x="965" y="2867"/>
                    </a:lnTo>
                    <a:lnTo>
                      <a:pt x="969" y="2864"/>
                    </a:lnTo>
                    <a:lnTo>
                      <a:pt x="976" y="2862"/>
                    </a:lnTo>
                    <a:lnTo>
                      <a:pt x="978" y="2861"/>
                    </a:lnTo>
                    <a:lnTo>
                      <a:pt x="981" y="2860"/>
                    </a:lnTo>
                    <a:lnTo>
                      <a:pt x="982" y="2859"/>
                    </a:lnTo>
                    <a:lnTo>
                      <a:pt x="981" y="2857"/>
                    </a:lnTo>
                    <a:lnTo>
                      <a:pt x="977" y="2851"/>
                    </a:lnTo>
                    <a:lnTo>
                      <a:pt x="975" y="2845"/>
                    </a:lnTo>
                    <a:lnTo>
                      <a:pt x="975" y="2842"/>
                    </a:lnTo>
                    <a:lnTo>
                      <a:pt x="974" y="2838"/>
                    </a:lnTo>
                    <a:lnTo>
                      <a:pt x="973" y="2836"/>
                    </a:lnTo>
                    <a:lnTo>
                      <a:pt x="970" y="2834"/>
                    </a:lnTo>
                    <a:lnTo>
                      <a:pt x="968" y="2834"/>
                    </a:lnTo>
                    <a:lnTo>
                      <a:pt x="965" y="2834"/>
                    </a:lnTo>
                    <a:lnTo>
                      <a:pt x="963" y="2835"/>
                    </a:lnTo>
                    <a:lnTo>
                      <a:pt x="961" y="2837"/>
                    </a:lnTo>
                    <a:lnTo>
                      <a:pt x="957" y="2840"/>
                    </a:lnTo>
                    <a:lnTo>
                      <a:pt x="955" y="2842"/>
                    </a:lnTo>
                    <a:lnTo>
                      <a:pt x="951" y="2843"/>
                    </a:lnTo>
                    <a:lnTo>
                      <a:pt x="949" y="2844"/>
                    </a:lnTo>
                    <a:lnTo>
                      <a:pt x="946" y="2843"/>
                    </a:lnTo>
                    <a:lnTo>
                      <a:pt x="944" y="2841"/>
                    </a:lnTo>
                    <a:lnTo>
                      <a:pt x="942" y="2837"/>
                    </a:lnTo>
                    <a:lnTo>
                      <a:pt x="940" y="2834"/>
                    </a:lnTo>
                    <a:lnTo>
                      <a:pt x="940" y="2823"/>
                    </a:lnTo>
                    <a:lnTo>
                      <a:pt x="942" y="2815"/>
                    </a:lnTo>
                    <a:lnTo>
                      <a:pt x="942" y="2811"/>
                    </a:lnTo>
                    <a:lnTo>
                      <a:pt x="940" y="2809"/>
                    </a:lnTo>
                    <a:lnTo>
                      <a:pt x="938" y="2806"/>
                    </a:lnTo>
                    <a:lnTo>
                      <a:pt x="936" y="2804"/>
                    </a:lnTo>
                    <a:lnTo>
                      <a:pt x="927" y="2800"/>
                    </a:lnTo>
                    <a:lnTo>
                      <a:pt x="918" y="2794"/>
                    </a:lnTo>
                    <a:lnTo>
                      <a:pt x="900" y="2788"/>
                    </a:lnTo>
                    <a:lnTo>
                      <a:pt x="885" y="2782"/>
                    </a:lnTo>
                    <a:lnTo>
                      <a:pt x="881" y="2780"/>
                    </a:lnTo>
                    <a:lnTo>
                      <a:pt x="879" y="2779"/>
                    </a:lnTo>
                    <a:lnTo>
                      <a:pt x="877" y="2779"/>
                    </a:lnTo>
                    <a:lnTo>
                      <a:pt x="876" y="2780"/>
                    </a:lnTo>
                    <a:lnTo>
                      <a:pt x="876" y="2780"/>
                    </a:lnTo>
                    <a:lnTo>
                      <a:pt x="876" y="2782"/>
                    </a:lnTo>
                    <a:lnTo>
                      <a:pt x="880" y="2792"/>
                    </a:lnTo>
                    <a:lnTo>
                      <a:pt x="885" y="2804"/>
                    </a:lnTo>
                    <a:lnTo>
                      <a:pt x="888" y="2812"/>
                    </a:lnTo>
                    <a:lnTo>
                      <a:pt x="889" y="2821"/>
                    </a:lnTo>
                    <a:lnTo>
                      <a:pt x="889" y="2830"/>
                    </a:lnTo>
                    <a:lnTo>
                      <a:pt x="888" y="2840"/>
                    </a:lnTo>
                    <a:lnTo>
                      <a:pt x="887" y="2844"/>
                    </a:lnTo>
                    <a:lnTo>
                      <a:pt x="886" y="2847"/>
                    </a:lnTo>
                    <a:lnTo>
                      <a:pt x="883" y="2849"/>
                    </a:lnTo>
                    <a:lnTo>
                      <a:pt x="882" y="2849"/>
                    </a:lnTo>
                    <a:lnTo>
                      <a:pt x="876" y="2848"/>
                    </a:lnTo>
                    <a:lnTo>
                      <a:pt x="867" y="2849"/>
                    </a:lnTo>
                    <a:lnTo>
                      <a:pt x="862" y="2851"/>
                    </a:lnTo>
                    <a:lnTo>
                      <a:pt x="858" y="2855"/>
                    </a:lnTo>
                    <a:lnTo>
                      <a:pt x="855" y="2860"/>
                    </a:lnTo>
                    <a:lnTo>
                      <a:pt x="854" y="2866"/>
                    </a:lnTo>
                    <a:lnTo>
                      <a:pt x="851" y="2872"/>
                    </a:lnTo>
                    <a:lnTo>
                      <a:pt x="849" y="2879"/>
                    </a:lnTo>
                    <a:lnTo>
                      <a:pt x="844" y="2885"/>
                    </a:lnTo>
                    <a:lnTo>
                      <a:pt x="837" y="2889"/>
                    </a:lnTo>
                    <a:lnTo>
                      <a:pt x="828" y="2894"/>
                    </a:lnTo>
                    <a:lnTo>
                      <a:pt x="816" y="2899"/>
                    </a:lnTo>
                    <a:lnTo>
                      <a:pt x="803" y="2901"/>
                    </a:lnTo>
                    <a:lnTo>
                      <a:pt x="794" y="2903"/>
                    </a:lnTo>
                    <a:lnTo>
                      <a:pt x="787" y="2903"/>
                    </a:lnTo>
                    <a:lnTo>
                      <a:pt x="776" y="2903"/>
                    </a:lnTo>
                    <a:lnTo>
                      <a:pt x="773" y="2901"/>
                    </a:lnTo>
                    <a:lnTo>
                      <a:pt x="768" y="2900"/>
                    </a:lnTo>
                    <a:lnTo>
                      <a:pt x="765" y="2899"/>
                    </a:lnTo>
                    <a:lnTo>
                      <a:pt x="763" y="2898"/>
                    </a:lnTo>
                    <a:lnTo>
                      <a:pt x="761" y="2893"/>
                    </a:lnTo>
                    <a:lnTo>
                      <a:pt x="757" y="2887"/>
                    </a:lnTo>
                    <a:lnTo>
                      <a:pt x="755" y="2879"/>
                    </a:lnTo>
                    <a:lnTo>
                      <a:pt x="753" y="2870"/>
                    </a:lnTo>
                    <a:lnTo>
                      <a:pt x="751" y="2856"/>
                    </a:lnTo>
                    <a:lnTo>
                      <a:pt x="750" y="2845"/>
                    </a:lnTo>
                    <a:lnTo>
                      <a:pt x="749" y="2841"/>
                    </a:lnTo>
                    <a:lnTo>
                      <a:pt x="747" y="2838"/>
                    </a:lnTo>
                    <a:lnTo>
                      <a:pt x="743" y="2836"/>
                    </a:lnTo>
                    <a:lnTo>
                      <a:pt x="738" y="2835"/>
                    </a:lnTo>
                    <a:lnTo>
                      <a:pt x="732" y="2835"/>
                    </a:lnTo>
                    <a:lnTo>
                      <a:pt x="728" y="2835"/>
                    </a:lnTo>
                    <a:lnTo>
                      <a:pt x="724" y="2835"/>
                    </a:lnTo>
                    <a:lnTo>
                      <a:pt x="721" y="2832"/>
                    </a:lnTo>
                    <a:lnTo>
                      <a:pt x="718" y="2830"/>
                    </a:lnTo>
                    <a:lnTo>
                      <a:pt x="717" y="2825"/>
                    </a:lnTo>
                    <a:lnTo>
                      <a:pt x="716" y="2819"/>
                    </a:lnTo>
                    <a:lnTo>
                      <a:pt x="716" y="2811"/>
                    </a:lnTo>
                    <a:lnTo>
                      <a:pt x="717" y="2796"/>
                    </a:lnTo>
                    <a:lnTo>
                      <a:pt x="716" y="2782"/>
                    </a:lnTo>
                    <a:lnTo>
                      <a:pt x="715" y="2778"/>
                    </a:lnTo>
                    <a:lnTo>
                      <a:pt x="713" y="2774"/>
                    </a:lnTo>
                    <a:lnTo>
                      <a:pt x="710" y="2771"/>
                    </a:lnTo>
                    <a:lnTo>
                      <a:pt x="705" y="2767"/>
                    </a:lnTo>
                    <a:lnTo>
                      <a:pt x="691" y="2761"/>
                    </a:lnTo>
                    <a:lnTo>
                      <a:pt x="675" y="2753"/>
                    </a:lnTo>
                    <a:lnTo>
                      <a:pt x="659" y="2746"/>
                    </a:lnTo>
                    <a:lnTo>
                      <a:pt x="646" y="2737"/>
                    </a:lnTo>
                    <a:lnTo>
                      <a:pt x="635" y="2730"/>
                    </a:lnTo>
                    <a:lnTo>
                      <a:pt x="627" y="2723"/>
                    </a:lnTo>
                    <a:lnTo>
                      <a:pt x="621" y="2714"/>
                    </a:lnTo>
                    <a:lnTo>
                      <a:pt x="616" y="2704"/>
                    </a:lnTo>
                    <a:lnTo>
                      <a:pt x="614" y="2695"/>
                    </a:lnTo>
                    <a:lnTo>
                      <a:pt x="611" y="2686"/>
                    </a:lnTo>
                    <a:lnTo>
                      <a:pt x="610" y="2683"/>
                    </a:lnTo>
                    <a:lnTo>
                      <a:pt x="608" y="2679"/>
                    </a:lnTo>
                    <a:lnTo>
                      <a:pt x="605" y="2676"/>
                    </a:lnTo>
                    <a:lnTo>
                      <a:pt x="600" y="2673"/>
                    </a:lnTo>
                    <a:lnTo>
                      <a:pt x="598" y="2670"/>
                    </a:lnTo>
                    <a:lnTo>
                      <a:pt x="597" y="2665"/>
                    </a:lnTo>
                    <a:lnTo>
                      <a:pt x="597" y="2660"/>
                    </a:lnTo>
                    <a:lnTo>
                      <a:pt x="599" y="2654"/>
                    </a:lnTo>
                    <a:lnTo>
                      <a:pt x="605" y="2642"/>
                    </a:lnTo>
                    <a:lnTo>
                      <a:pt x="610" y="2629"/>
                    </a:lnTo>
                    <a:lnTo>
                      <a:pt x="614" y="2615"/>
                    </a:lnTo>
                    <a:lnTo>
                      <a:pt x="618" y="2599"/>
                    </a:lnTo>
                    <a:lnTo>
                      <a:pt x="621" y="2590"/>
                    </a:lnTo>
                    <a:lnTo>
                      <a:pt x="624" y="2582"/>
                    </a:lnTo>
                    <a:lnTo>
                      <a:pt x="630" y="2574"/>
                    </a:lnTo>
                    <a:lnTo>
                      <a:pt x="636" y="2567"/>
                    </a:lnTo>
                    <a:lnTo>
                      <a:pt x="654" y="2551"/>
                    </a:lnTo>
                    <a:lnTo>
                      <a:pt x="677" y="2532"/>
                    </a:lnTo>
                    <a:lnTo>
                      <a:pt x="700" y="2513"/>
                    </a:lnTo>
                    <a:lnTo>
                      <a:pt x="721" y="2495"/>
                    </a:lnTo>
                    <a:lnTo>
                      <a:pt x="738" y="2482"/>
                    </a:lnTo>
                    <a:lnTo>
                      <a:pt x="757" y="2470"/>
                    </a:lnTo>
                    <a:lnTo>
                      <a:pt x="773" y="2460"/>
                    </a:lnTo>
                    <a:lnTo>
                      <a:pt x="785" y="2451"/>
                    </a:lnTo>
                    <a:lnTo>
                      <a:pt x="789" y="2446"/>
                    </a:lnTo>
                    <a:lnTo>
                      <a:pt x="793" y="2440"/>
                    </a:lnTo>
                    <a:lnTo>
                      <a:pt x="797" y="2433"/>
                    </a:lnTo>
                    <a:lnTo>
                      <a:pt x="799" y="2426"/>
                    </a:lnTo>
                    <a:lnTo>
                      <a:pt x="803" y="2410"/>
                    </a:lnTo>
                    <a:lnTo>
                      <a:pt x="806" y="2396"/>
                    </a:lnTo>
                    <a:lnTo>
                      <a:pt x="809" y="2390"/>
                    </a:lnTo>
                    <a:lnTo>
                      <a:pt x="811" y="2384"/>
                    </a:lnTo>
                    <a:lnTo>
                      <a:pt x="814" y="2380"/>
                    </a:lnTo>
                    <a:lnTo>
                      <a:pt x="818" y="2375"/>
                    </a:lnTo>
                    <a:lnTo>
                      <a:pt x="823" y="2371"/>
                    </a:lnTo>
                    <a:lnTo>
                      <a:pt x="828" y="2369"/>
                    </a:lnTo>
                    <a:lnTo>
                      <a:pt x="833" y="2366"/>
                    </a:lnTo>
                    <a:lnTo>
                      <a:pt x="839" y="2364"/>
                    </a:lnTo>
                    <a:lnTo>
                      <a:pt x="845" y="2362"/>
                    </a:lnTo>
                    <a:lnTo>
                      <a:pt x="852" y="2358"/>
                    </a:lnTo>
                    <a:lnTo>
                      <a:pt x="861" y="2353"/>
                    </a:lnTo>
                    <a:lnTo>
                      <a:pt x="869" y="2347"/>
                    </a:lnTo>
                    <a:lnTo>
                      <a:pt x="883" y="2336"/>
                    </a:lnTo>
                    <a:lnTo>
                      <a:pt x="894" y="2324"/>
                    </a:lnTo>
                    <a:lnTo>
                      <a:pt x="901" y="2312"/>
                    </a:lnTo>
                    <a:lnTo>
                      <a:pt x="907" y="2295"/>
                    </a:lnTo>
                    <a:lnTo>
                      <a:pt x="914" y="2276"/>
                    </a:lnTo>
                    <a:lnTo>
                      <a:pt x="925" y="2257"/>
                    </a:lnTo>
                    <a:lnTo>
                      <a:pt x="938" y="2236"/>
                    </a:lnTo>
                    <a:lnTo>
                      <a:pt x="955" y="2214"/>
                    </a:lnTo>
                    <a:lnTo>
                      <a:pt x="971" y="2192"/>
                    </a:lnTo>
                    <a:lnTo>
                      <a:pt x="987" y="2170"/>
                    </a:lnTo>
                    <a:lnTo>
                      <a:pt x="1000" y="2154"/>
                    </a:lnTo>
                    <a:lnTo>
                      <a:pt x="1015" y="2135"/>
                    </a:lnTo>
                    <a:lnTo>
                      <a:pt x="1031" y="2117"/>
                    </a:lnTo>
                    <a:lnTo>
                      <a:pt x="1046" y="2101"/>
                    </a:lnTo>
                    <a:lnTo>
                      <a:pt x="1052" y="2095"/>
                    </a:lnTo>
                    <a:lnTo>
                      <a:pt x="1057" y="2093"/>
                    </a:lnTo>
                    <a:lnTo>
                      <a:pt x="1059" y="2093"/>
                    </a:lnTo>
                    <a:lnTo>
                      <a:pt x="1061" y="2093"/>
                    </a:lnTo>
                    <a:lnTo>
                      <a:pt x="1063" y="2095"/>
                    </a:lnTo>
                    <a:lnTo>
                      <a:pt x="1065" y="2100"/>
                    </a:lnTo>
                    <a:lnTo>
                      <a:pt x="1070" y="2111"/>
                    </a:lnTo>
                    <a:lnTo>
                      <a:pt x="1075" y="2124"/>
                    </a:lnTo>
                    <a:lnTo>
                      <a:pt x="1080" y="2137"/>
                    </a:lnTo>
                    <a:lnTo>
                      <a:pt x="1083" y="2148"/>
                    </a:lnTo>
                    <a:lnTo>
                      <a:pt x="1088" y="2161"/>
                    </a:lnTo>
                    <a:lnTo>
                      <a:pt x="1094" y="2176"/>
                    </a:lnTo>
                    <a:lnTo>
                      <a:pt x="1100" y="2192"/>
                    </a:lnTo>
                    <a:lnTo>
                      <a:pt x="1104" y="2204"/>
                    </a:lnTo>
                    <a:lnTo>
                      <a:pt x="1109" y="2213"/>
                    </a:lnTo>
                    <a:lnTo>
                      <a:pt x="1114" y="2221"/>
                    </a:lnTo>
                    <a:lnTo>
                      <a:pt x="1120" y="2229"/>
                    </a:lnTo>
                    <a:lnTo>
                      <a:pt x="1126" y="2235"/>
                    </a:lnTo>
                    <a:lnTo>
                      <a:pt x="1129" y="2239"/>
                    </a:lnTo>
                    <a:lnTo>
                      <a:pt x="1132" y="2244"/>
                    </a:lnTo>
                    <a:lnTo>
                      <a:pt x="1134" y="2251"/>
                    </a:lnTo>
                    <a:lnTo>
                      <a:pt x="1135" y="2260"/>
                    </a:lnTo>
                    <a:lnTo>
                      <a:pt x="1135" y="2268"/>
                    </a:lnTo>
                    <a:lnTo>
                      <a:pt x="1135" y="2271"/>
                    </a:lnTo>
                    <a:lnTo>
                      <a:pt x="1138" y="2269"/>
                    </a:lnTo>
                    <a:lnTo>
                      <a:pt x="1144" y="2262"/>
                    </a:lnTo>
                    <a:lnTo>
                      <a:pt x="1148" y="2254"/>
                    </a:lnTo>
                    <a:lnTo>
                      <a:pt x="1152" y="2246"/>
                    </a:lnTo>
                    <a:lnTo>
                      <a:pt x="1153" y="2237"/>
                    </a:lnTo>
                    <a:lnTo>
                      <a:pt x="1154" y="2227"/>
                    </a:lnTo>
                    <a:lnTo>
                      <a:pt x="1157" y="2218"/>
                    </a:lnTo>
                    <a:lnTo>
                      <a:pt x="1159" y="2211"/>
                    </a:lnTo>
                    <a:lnTo>
                      <a:pt x="1162" y="2202"/>
                    </a:lnTo>
                    <a:lnTo>
                      <a:pt x="1165" y="2192"/>
                    </a:lnTo>
                    <a:lnTo>
                      <a:pt x="1165" y="2185"/>
                    </a:lnTo>
                    <a:lnTo>
                      <a:pt x="1165" y="2180"/>
                    </a:lnTo>
                    <a:lnTo>
                      <a:pt x="1164" y="2175"/>
                    </a:lnTo>
                    <a:lnTo>
                      <a:pt x="1163" y="2170"/>
                    </a:lnTo>
                    <a:lnTo>
                      <a:pt x="1158" y="2162"/>
                    </a:lnTo>
                    <a:lnTo>
                      <a:pt x="1153" y="2151"/>
                    </a:lnTo>
                    <a:lnTo>
                      <a:pt x="1150" y="2138"/>
                    </a:lnTo>
                    <a:lnTo>
                      <a:pt x="1145" y="2122"/>
                    </a:lnTo>
                    <a:lnTo>
                      <a:pt x="1141" y="2105"/>
                    </a:lnTo>
                    <a:lnTo>
                      <a:pt x="1140" y="2087"/>
                    </a:lnTo>
                    <a:lnTo>
                      <a:pt x="1140" y="2065"/>
                    </a:lnTo>
                    <a:lnTo>
                      <a:pt x="1143" y="2035"/>
                    </a:lnTo>
                    <a:lnTo>
                      <a:pt x="1145" y="2004"/>
                    </a:lnTo>
                    <a:lnTo>
                      <a:pt x="1147" y="1979"/>
                    </a:lnTo>
                    <a:lnTo>
                      <a:pt x="1151" y="1958"/>
                    </a:lnTo>
                    <a:lnTo>
                      <a:pt x="1157" y="1934"/>
                    </a:lnTo>
                    <a:lnTo>
                      <a:pt x="1163" y="1909"/>
                    </a:lnTo>
                    <a:lnTo>
                      <a:pt x="1170" y="1885"/>
                    </a:lnTo>
                    <a:lnTo>
                      <a:pt x="1175" y="1864"/>
                    </a:lnTo>
                    <a:lnTo>
                      <a:pt x="1178" y="1844"/>
                    </a:lnTo>
                    <a:lnTo>
                      <a:pt x="1181" y="1824"/>
                    </a:lnTo>
                    <a:lnTo>
                      <a:pt x="1185" y="1809"/>
                    </a:lnTo>
                    <a:lnTo>
                      <a:pt x="1189" y="1803"/>
                    </a:lnTo>
                    <a:lnTo>
                      <a:pt x="1192" y="1798"/>
                    </a:lnTo>
                    <a:lnTo>
                      <a:pt x="1198" y="1795"/>
                    </a:lnTo>
                    <a:lnTo>
                      <a:pt x="1206" y="1792"/>
                    </a:lnTo>
                    <a:lnTo>
                      <a:pt x="1219" y="1791"/>
                    </a:lnTo>
                    <a:lnTo>
                      <a:pt x="1233" y="1792"/>
                    </a:lnTo>
                    <a:lnTo>
                      <a:pt x="1245" y="1792"/>
                    </a:lnTo>
                    <a:lnTo>
                      <a:pt x="1255" y="1792"/>
                    </a:lnTo>
                    <a:lnTo>
                      <a:pt x="1259" y="1791"/>
                    </a:lnTo>
                    <a:lnTo>
                      <a:pt x="1264" y="1789"/>
                    </a:lnTo>
                    <a:lnTo>
                      <a:pt x="1267" y="1786"/>
                    </a:lnTo>
                    <a:lnTo>
                      <a:pt x="1271" y="1783"/>
                    </a:lnTo>
                    <a:lnTo>
                      <a:pt x="1274" y="1778"/>
                    </a:lnTo>
                    <a:lnTo>
                      <a:pt x="1277" y="1771"/>
                    </a:lnTo>
                    <a:lnTo>
                      <a:pt x="1280" y="1761"/>
                    </a:lnTo>
                    <a:lnTo>
                      <a:pt x="1283" y="1752"/>
                    </a:lnTo>
                    <a:lnTo>
                      <a:pt x="1288" y="1732"/>
                    </a:lnTo>
                    <a:lnTo>
                      <a:pt x="1290" y="1713"/>
                    </a:lnTo>
                    <a:lnTo>
                      <a:pt x="1290" y="1696"/>
                    </a:lnTo>
                    <a:lnTo>
                      <a:pt x="1290" y="1679"/>
                    </a:lnTo>
                    <a:lnTo>
                      <a:pt x="1289" y="1671"/>
                    </a:lnTo>
                    <a:lnTo>
                      <a:pt x="1288" y="1663"/>
                    </a:lnTo>
                    <a:lnTo>
                      <a:pt x="1285" y="1655"/>
                    </a:lnTo>
                    <a:lnTo>
                      <a:pt x="1282" y="1647"/>
                    </a:lnTo>
                    <a:lnTo>
                      <a:pt x="1273" y="1632"/>
                    </a:lnTo>
                    <a:lnTo>
                      <a:pt x="1263" y="1615"/>
                    </a:lnTo>
                    <a:lnTo>
                      <a:pt x="1252" y="1601"/>
                    </a:lnTo>
                    <a:lnTo>
                      <a:pt x="1244" y="1590"/>
                    </a:lnTo>
                    <a:lnTo>
                      <a:pt x="1238" y="1582"/>
                    </a:lnTo>
                    <a:lnTo>
                      <a:pt x="1236" y="1576"/>
                    </a:lnTo>
                    <a:lnTo>
                      <a:pt x="1238" y="1574"/>
                    </a:lnTo>
                    <a:lnTo>
                      <a:pt x="1238" y="1573"/>
                    </a:lnTo>
                    <a:lnTo>
                      <a:pt x="1240" y="1571"/>
                    </a:lnTo>
                    <a:lnTo>
                      <a:pt x="1242" y="1570"/>
                    </a:lnTo>
                    <a:lnTo>
                      <a:pt x="1247" y="1569"/>
                    </a:lnTo>
                    <a:lnTo>
                      <a:pt x="1251" y="1568"/>
                    </a:lnTo>
                    <a:lnTo>
                      <a:pt x="1252" y="1567"/>
                    </a:lnTo>
                    <a:lnTo>
                      <a:pt x="1253" y="1564"/>
                    </a:lnTo>
                    <a:lnTo>
                      <a:pt x="1254" y="1561"/>
                    </a:lnTo>
                    <a:lnTo>
                      <a:pt x="1254" y="1557"/>
                    </a:lnTo>
                    <a:lnTo>
                      <a:pt x="1254" y="1546"/>
                    </a:lnTo>
                    <a:lnTo>
                      <a:pt x="1253" y="1538"/>
                    </a:lnTo>
                    <a:lnTo>
                      <a:pt x="1252" y="1531"/>
                    </a:lnTo>
                    <a:lnTo>
                      <a:pt x="1250" y="1524"/>
                    </a:lnTo>
                    <a:lnTo>
                      <a:pt x="1247" y="1517"/>
                    </a:lnTo>
                    <a:lnTo>
                      <a:pt x="1246" y="1511"/>
                    </a:lnTo>
                    <a:lnTo>
                      <a:pt x="1245" y="1504"/>
                    </a:lnTo>
                    <a:lnTo>
                      <a:pt x="1244" y="1496"/>
                    </a:lnTo>
                    <a:lnTo>
                      <a:pt x="1244" y="1488"/>
                    </a:lnTo>
                    <a:lnTo>
                      <a:pt x="1244" y="1479"/>
                    </a:lnTo>
                    <a:lnTo>
                      <a:pt x="1242" y="1467"/>
                    </a:lnTo>
                    <a:lnTo>
                      <a:pt x="1241" y="1451"/>
                    </a:lnTo>
                    <a:lnTo>
                      <a:pt x="1241" y="1435"/>
                    </a:lnTo>
                    <a:lnTo>
                      <a:pt x="1242" y="1419"/>
                    </a:lnTo>
                    <a:lnTo>
                      <a:pt x="1246" y="1405"/>
                    </a:lnTo>
                    <a:lnTo>
                      <a:pt x="1248" y="1392"/>
                    </a:lnTo>
                    <a:lnTo>
                      <a:pt x="1253" y="1381"/>
                    </a:lnTo>
                    <a:lnTo>
                      <a:pt x="1258" y="1369"/>
                    </a:lnTo>
                    <a:lnTo>
                      <a:pt x="1264" y="1356"/>
                    </a:lnTo>
                    <a:lnTo>
                      <a:pt x="1267" y="1343"/>
                    </a:lnTo>
                    <a:lnTo>
                      <a:pt x="1272" y="1331"/>
                    </a:lnTo>
                    <a:lnTo>
                      <a:pt x="1278" y="1321"/>
                    </a:lnTo>
                    <a:lnTo>
                      <a:pt x="1284" y="1311"/>
                    </a:lnTo>
                    <a:lnTo>
                      <a:pt x="1289" y="1299"/>
                    </a:lnTo>
                    <a:lnTo>
                      <a:pt x="1292" y="1286"/>
                    </a:lnTo>
                    <a:lnTo>
                      <a:pt x="1295" y="1271"/>
                    </a:lnTo>
                    <a:lnTo>
                      <a:pt x="1296" y="1255"/>
                    </a:lnTo>
                    <a:lnTo>
                      <a:pt x="1295" y="1242"/>
                    </a:lnTo>
                    <a:lnTo>
                      <a:pt x="1295" y="1237"/>
                    </a:lnTo>
                    <a:lnTo>
                      <a:pt x="1295" y="1233"/>
                    </a:lnTo>
                    <a:lnTo>
                      <a:pt x="1296" y="1229"/>
                    </a:lnTo>
                    <a:lnTo>
                      <a:pt x="1297" y="1225"/>
                    </a:lnTo>
                    <a:lnTo>
                      <a:pt x="1302" y="1221"/>
                    </a:lnTo>
                    <a:lnTo>
                      <a:pt x="1308" y="1216"/>
                    </a:lnTo>
                    <a:lnTo>
                      <a:pt x="1314" y="1212"/>
                    </a:lnTo>
                    <a:lnTo>
                      <a:pt x="1322" y="1209"/>
                    </a:lnTo>
                    <a:lnTo>
                      <a:pt x="1330" y="1202"/>
                    </a:lnTo>
                    <a:lnTo>
                      <a:pt x="1340" y="1193"/>
                    </a:lnTo>
                    <a:lnTo>
                      <a:pt x="1348" y="1183"/>
                    </a:lnTo>
                    <a:lnTo>
                      <a:pt x="1354" y="1172"/>
                    </a:lnTo>
                    <a:lnTo>
                      <a:pt x="1358" y="1162"/>
                    </a:lnTo>
                    <a:lnTo>
                      <a:pt x="1359" y="1152"/>
                    </a:lnTo>
                    <a:lnTo>
                      <a:pt x="1358" y="1140"/>
                    </a:lnTo>
                    <a:lnTo>
                      <a:pt x="1355" y="1126"/>
                    </a:lnTo>
                    <a:lnTo>
                      <a:pt x="1352" y="1111"/>
                    </a:lnTo>
                    <a:lnTo>
                      <a:pt x="1348" y="1099"/>
                    </a:lnTo>
                    <a:lnTo>
                      <a:pt x="1347" y="1094"/>
                    </a:lnTo>
                    <a:lnTo>
                      <a:pt x="1347" y="1089"/>
                    </a:lnTo>
                    <a:lnTo>
                      <a:pt x="1347" y="1083"/>
                    </a:lnTo>
                    <a:lnTo>
                      <a:pt x="1348" y="1079"/>
                    </a:lnTo>
                    <a:lnTo>
                      <a:pt x="1351" y="1071"/>
                    </a:lnTo>
                    <a:lnTo>
                      <a:pt x="1354" y="1065"/>
                    </a:lnTo>
                    <a:lnTo>
                      <a:pt x="1360" y="1060"/>
                    </a:lnTo>
                    <a:lnTo>
                      <a:pt x="1366" y="1053"/>
                    </a:lnTo>
                    <a:lnTo>
                      <a:pt x="1372" y="1045"/>
                    </a:lnTo>
                    <a:lnTo>
                      <a:pt x="1377" y="1035"/>
                    </a:lnTo>
                    <a:lnTo>
                      <a:pt x="1381" y="1026"/>
                    </a:lnTo>
                    <a:lnTo>
                      <a:pt x="1390" y="1014"/>
                    </a:lnTo>
                    <a:lnTo>
                      <a:pt x="1397" y="1002"/>
                    </a:lnTo>
                    <a:lnTo>
                      <a:pt x="1402" y="994"/>
                    </a:lnTo>
                    <a:lnTo>
                      <a:pt x="1403" y="989"/>
                    </a:lnTo>
                    <a:lnTo>
                      <a:pt x="1403" y="983"/>
                    </a:lnTo>
                    <a:lnTo>
                      <a:pt x="1402" y="977"/>
                    </a:lnTo>
                    <a:lnTo>
                      <a:pt x="1400" y="971"/>
                    </a:lnTo>
                    <a:lnTo>
                      <a:pt x="1399" y="964"/>
                    </a:lnTo>
                    <a:lnTo>
                      <a:pt x="1397" y="957"/>
                    </a:lnTo>
                    <a:lnTo>
                      <a:pt x="1393" y="951"/>
                    </a:lnTo>
                    <a:lnTo>
                      <a:pt x="1390" y="946"/>
                    </a:lnTo>
                    <a:lnTo>
                      <a:pt x="1383" y="938"/>
                    </a:lnTo>
                    <a:lnTo>
                      <a:pt x="1377" y="932"/>
                    </a:lnTo>
                    <a:lnTo>
                      <a:pt x="1370" y="928"/>
                    </a:lnTo>
                    <a:lnTo>
                      <a:pt x="1361" y="926"/>
                    </a:lnTo>
                    <a:lnTo>
                      <a:pt x="1354" y="922"/>
                    </a:lnTo>
                    <a:lnTo>
                      <a:pt x="1348" y="916"/>
                    </a:lnTo>
                    <a:lnTo>
                      <a:pt x="1342" y="910"/>
                    </a:lnTo>
                    <a:lnTo>
                      <a:pt x="1335" y="903"/>
                    </a:lnTo>
                    <a:lnTo>
                      <a:pt x="1324" y="893"/>
                    </a:lnTo>
                    <a:lnTo>
                      <a:pt x="1315" y="881"/>
                    </a:lnTo>
                    <a:lnTo>
                      <a:pt x="1302" y="866"/>
                    </a:lnTo>
                    <a:lnTo>
                      <a:pt x="1285" y="852"/>
                    </a:lnTo>
                    <a:lnTo>
                      <a:pt x="1277" y="845"/>
                    </a:lnTo>
                    <a:lnTo>
                      <a:pt x="1269" y="836"/>
                    </a:lnTo>
                    <a:lnTo>
                      <a:pt x="1260" y="827"/>
                    </a:lnTo>
                    <a:lnTo>
                      <a:pt x="1252" y="818"/>
                    </a:lnTo>
                    <a:lnTo>
                      <a:pt x="1238" y="799"/>
                    </a:lnTo>
                    <a:lnTo>
                      <a:pt x="1227" y="784"/>
                    </a:lnTo>
                    <a:lnTo>
                      <a:pt x="1216" y="771"/>
                    </a:lnTo>
                    <a:lnTo>
                      <a:pt x="1204" y="760"/>
                    </a:lnTo>
                    <a:lnTo>
                      <a:pt x="1197" y="754"/>
                    </a:lnTo>
                    <a:lnTo>
                      <a:pt x="1190" y="748"/>
                    </a:lnTo>
                    <a:lnTo>
                      <a:pt x="1182" y="742"/>
                    </a:lnTo>
                    <a:lnTo>
                      <a:pt x="1172" y="737"/>
                    </a:lnTo>
                    <a:lnTo>
                      <a:pt x="1159" y="726"/>
                    </a:lnTo>
                    <a:lnTo>
                      <a:pt x="1148" y="717"/>
                    </a:lnTo>
                    <a:lnTo>
                      <a:pt x="1145" y="716"/>
                    </a:lnTo>
                    <a:lnTo>
                      <a:pt x="1141" y="716"/>
                    </a:lnTo>
                    <a:lnTo>
                      <a:pt x="1137" y="717"/>
                    </a:lnTo>
                    <a:lnTo>
                      <a:pt x="1132" y="719"/>
                    </a:lnTo>
                    <a:lnTo>
                      <a:pt x="1121" y="725"/>
                    </a:lnTo>
                    <a:lnTo>
                      <a:pt x="1110" y="727"/>
                    </a:lnTo>
                    <a:lnTo>
                      <a:pt x="1103" y="729"/>
                    </a:lnTo>
                    <a:lnTo>
                      <a:pt x="1097" y="729"/>
                    </a:lnTo>
                    <a:lnTo>
                      <a:pt x="1095" y="730"/>
                    </a:lnTo>
                    <a:lnTo>
                      <a:pt x="1093" y="731"/>
                    </a:lnTo>
                    <a:lnTo>
                      <a:pt x="1093" y="733"/>
                    </a:lnTo>
                    <a:lnTo>
                      <a:pt x="1093" y="736"/>
                    </a:lnTo>
                    <a:lnTo>
                      <a:pt x="1094" y="745"/>
                    </a:lnTo>
                    <a:lnTo>
                      <a:pt x="1094" y="757"/>
                    </a:lnTo>
                    <a:lnTo>
                      <a:pt x="1093" y="763"/>
                    </a:lnTo>
                    <a:lnTo>
                      <a:pt x="1091" y="769"/>
                    </a:lnTo>
                    <a:lnTo>
                      <a:pt x="1089" y="774"/>
                    </a:lnTo>
                    <a:lnTo>
                      <a:pt x="1085" y="777"/>
                    </a:lnTo>
                    <a:lnTo>
                      <a:pt x="1076" y="782"/>
                    </a:lnTo>
                    <a:lnTo>
                      <a:pt x="1068" y="788"/>
                    </a:lnTo>
                    <a:lnTo>
                      <a:pt x="1064" y="792"/>
                    </a:lnTo>
                    <a:lnTo>
                      <a:pt x="1062" y="795"/>
                    </a:lnTo>
                    <a:lnTo>
                      <a:pt x="1061" y="799"/>
                    </a:lnTo>
                    <a:lnTo>
                      <a:pt x="1062" y="803"/>
                    </a:lnTo>
                    <a:lnTo>
                      <a:pt x="1064" y="813"/>
                    </a:lnTo>
                    <a:lnTo>
                      <a:pt x="1064" y="823"/>
                    </a:lnTo>
                    <a:lnTo>
                      <a:pt x="1064" y="827"/>
                    </a:lnTo>
                    <a:lnTo>
                      <a:pt x="1062" y="831"/>
                    </a:lnTo>
                    <a:lnTo>
                      <a:pt x="1059" y="836"/>
                    </a:lnTo>
                    <a:lnTo>
                      <a:pt x="1056" y="838"/>
                    </a:lnTo>
                    <a:lnTo>
                      <a:pt x="1045" y="847"/>
                    </a:lnTo>
                    <a:lnTo>
                      <a:pt x="1028" y="858"/>
                    </a:lnTo>
                    <a:lnTo>
                      <a:pt x="1012" y="869"/>
                    </a:lnTo>
                    <a:lnTo>
                      <a:pt x="999" y="876"/>
                    </a:lnTo>
                    <a:lnTo>
                      <a:pt x="994" y="877"/>
                    </a:lnTo>
                    <a:lnTo>
                      <a:pt x="989" y="878"/>
                    </a:lnTo>
                    <a:lnTo>
                      <a:pt x="984" y="878"/>
                    </a:lnTo>
                    <a:lnTo>
                      <a:pt x="978" y="877"/>
                    </a:lnTo>
                    <a:lnTo>
                      <a:pt x="970" y="874"/>
                    </a:lnTo>
                    <a:lnTo>
                      <a:pt x="962" y="870"/>
                    </a:lnTo>
                    <a:lnTo>
                      <a:pt x="956" y="868"/>
                    </a:lnTo>
                    <a:lnTo>
                      <a:pt x="949" y="866"/>
                    </a:lnTo>
                    <a:lnTo>
                      <a:pt x="946" y="868"/>
                    </a:lnTo>
                    <a:lnTo>
                      <a:pt x="943" y="869"/>
                    </a:lnTo>
                    <a:lnTo>
                      <a:pt x="940" y="872"/>
                    </a:lnTo>
                    <a:lnTo>
                      <a:pt x="939" y="876"/>
                    </a:lnTo>
                    <a:lnTo>
                      <a:pt x="938" y="885"/>
                    </a:lnTo>
                    <a:lnTo>
                      <a:pt x="937" y="896"/>
                    </a:lnTo>
                    <a:lnTo>
                      <a:pt x="936" y="901"/>
                    </a:lnTo>
                    <a:lnTo>
                      <a:pt x="935" y="906"/>
                    </a:lnTo>
                    <a:lnTo>
                      <a:pt x="932" y="909"/>
                    </a:lnTo>
                    <a:lnTo>
                      <a:pt x="929" y="912"/>
                    </a:lnTo>
                    <a:lnTo>
                      <a:pt x="925" y="914"/>
                    </a:lnTo>
                    <a:lnTo>
                      <a:pt x="920" y="915"/>
                    </a:lnTo>
                    <a:lnTo>
                      <a:pt x="917" y="916"/>
                    </a:lnTo>
                    <a:lnTo>
                      <a:pt x="912" y="916"/>
                    </a:lnTo>
                    <a:lnTo>
                      <a:pt x="906" y="915"/>
                    </a:lnTo>
                    <a:lnTo>
                      <a:pt x="901" y="914"/>
                    </a:lnTo>
                    <a:lnTo>
                      <a:pt x="895" y="912"/>
                    </a:lnTo>
                    <a:lnTo>
                      <a:pt x="889" y="908"/>
                    </a:lnTo>
                    <a:lnTo>
                      <a:pt x="883" y="905"/>
                    </a:lnTo>
                    <a:lnTo>
                      <a:pt x="876" y="902"/>
                    </a:lnTo>
                    <a:lnTo>
                      <a:pt x="869" y="902"/>
                    </a:lnTo>
                    <a:lnTo>
                      <a:pt x="862" y="903"/>
                    </a:lnTo>
                    <a:lnTo>
                      <a:pt x="848" y="907"/>
                    </a:lnTo>
                    <a:lnTo>
                      <a:pt x="837" y="913"/>
                    </a:lnTo>
                    <a:lnTo>
                      <a:pt x="832" y="915"/>
                    </a:lnTo>
                    <a:lnTo>
                      <a:pt x="828" y="916"/>
                    </a:lnTo>
                    <a:lnTo>
                      <a:pt x="820" y="918"/>
                    </a:lnTo>
                    <a:lnTo>
                      <a:pt x="814" y="918"/>
                    </a:lnTo>
                    <a:lnTo>
                      <a:pt x="807" y="918"/>
                    </a:lnTo>
                    <a:lnTo>
                      <a:pt x="800" y="916"/>
                    </a:lnTo>
                    <a:lnTo>
                      <a:pt x="793" y="915"/>
                    </a:lnTo>
                    <a:lnTo>
                      <a:pt x="786" y="913"/>
                    </a:lnTo>
                    <a:lnTo>
                      <a:pt x="772" y="907"/>
                    </a:lnTo>
                    <a:lnTo>
                      <a:pt x="760" y="901"/>
                    </a:lnTo>
                    <a:lnTo>
                      <a:pt x="750" y="896"/>
                    </a:lnTo>
                    <a:lnTo>
                      <a:pt x="743" y="891"/>
                    </a:lnTo>
                    <a:lnTo>
                      <a:pt x="740" y="889"/>
                    </a:lnTo>
                    <a:lnTo>
                      <a:pt x="737" y="888"/>
                    </a:lnTo>
                    <a:lnTo>
                      <a:pt x="734" y="888"/>
                    </a:lnTo>
                    <a:lnTo>
                      <a:pt x="730" y="889"/>
                    </a:lnTo>
                    <a:lnTo>
                      <a:pt x="728" y="891"/>
                    </a:lnTo>
                    <a:lnTo>
                      <a:pt x="724" y="895"/>
                    </a:lnTo>
                    <a:lnTo>
                      <a:pt x="723" y="899"/>
                    </a:lnTo>
                    <a:lnTo>
                      <a:pt x="722" y="903"/>
                    </a:lnTo>
                    <a:lnTo>
                      <a:pt x="719" y="913"/>
                    </a:lnTo>
                    <a:lnTo>
                      <a:pt x="717" y="921"/>
                    </a:lnTo>
                    <a:lnTo>
                      <a:pt x="716" y="925"/>
                    </a:lnTo>
                    <a:lnTo>
                      <a:pt x="712" y="927"/>
                    </a:lnTo>
                    <a:lnTo>
                      <a:pt x="710" y="931"/>
                    </a:lnTo>
                    <a:lnTo>
                      <a:pt x="705" y="933"/>
                    </a:lnTo>
                    <a:lnTo>
                      <a:pt x="693" y="941"/>
                    </a:lnTo>
                    <a:lnTo>
                      <a:pt x="681" y="950"/>
                    </a:lnTo>
                    <a:lnTo>
                      <a:pt x="669" y="959"/>
                    </a:lnTo>
                    <a:lnTo>
                      <a:pt x="661" y="966"/>
                    </a:lnTo>
                    <a:lnTo>
                      <a:pt x="654" y="972"/>
                    </a:lnTo>
                    <a:lnTo>
                      <a:pt x="646" y="976"/>
                    </a:lnTo>
                    <a:lnTo>
                      <a:pt x="641" y="976"/>
                    </a:lnTo>
                    <a:lnTo>
                      <a:pt x="636" y="976"/>
                    </a:lnTo>
                    <a:lnTo>
                      <a:pt x="631" y="975"/>
                    </a:lnTo>
                    <a:lnTo>
                      <a:pt x="627" y="971"/>
                    </a:lnTo>
                    <a:lnTo>
                      <a:pt x="616" y="965"/>
                    </a:lnTo>
                    <a:lnTo>
                      <a:pt x="606" y="960"/>
                    </a:lnTo>
                    <a:lnTo>
                      <a:pt x="600" y="959"/>
                    </a:lnTo>
                    <a:lnTo>
                      <a:pt x="596" y="958"/>
                    </a:lnTo>
                    <a:lnTo>
                      <a:pt x="590" y="958"/>
                    </a:lnTo>
                    <a:lnTo>
                      <a:pt x="584" y="959"/>
                    </a:lnTo>
                    <a:lnTo>
                      <a:pt x="577" y="959"/>
                    </a:lnTo>
                    <a:lnTo>
                      <a:pt x="572" y="959"/>
                    </a:lnTo>
                    <a:lnTo>
                      <a:pt x="568" y="957"/>
                    </a:lnTo>
                    <a:lnTo>
                      <a:pt x="566" y="956"/>
                    </a:lnTo>
                    <a:lnTo>
                      <a:pt x="561" y="950"/>
                    </a:lnTo>
                    <a:lnTo>
                      <a:pt x="558" y="943"/>
                    </a:lnTo>
                    <a:lnTo>
                      <a:pt x="554" y="937"/>
                    </a:lnTo>
                    <a:lnTo>
                      <a:pt x="549" y="931"/>
                    </a:lnTo>
                    <a:lnTo>
                      <a:pt x="543" y="926"/>
                    </a:lnTo>
                    <a:lnTo>
                      <a:pt x="536" y="922"/>
                    </a:lnTo>
                    <a:lnTo>
                      <a:pt x="529" y="919"/>
                    </a:lnTo>
                    <a:lnTo>
                      <a:pt x="523" y="914"/>
                    </a:lnTo>
                    <a:lnTo>
                      <a:pt x="522" y="910"/>
                    </a:lnTo>
                    <a:lnTo>
                      <a:pt x="521" y="907"/>
                    </a:lnTo>
                    <a:lnTo>
                      <a:pt x="520" y="902"/>
                    </a:lnTo>
                    <a:lnTo>
                      <a:pt x="520" y="896"/>
                    </a:lnTo>
                    <a:lnTo>
                      <a:pt x="523" y="882"/>
                    </a:lnTo>
                    <a:lnTo>
                      <a:pt x="526" y="869"/>
                    </a:lnTo>
                    <a:lnTo>
                      <a:pt x="527" y="863"/>
                    </a:lnTo>
                    <a:lnTo>
                      <a:pt x="527" y="858"/>
                    </a:lnTo>
                    <a:lnTo>
                      <a:pt x="526" y="855"/>
                    </a:lnTo>
                    <a:lnTo>
                      <a:pt x="523" y="852"/>
                    </a:lnTo>
                    <a:lnTo>
                      <a:pt x="517" y="850"/>
                    </a:lnTo>
                    <a:lnTo>
                      <a:pt x="510" y="846"/>
                    </a:lnTo>
                    <a:lnTo>
                      <a:pt x="508" y="843"/>
                    </a:lnTo>
                    <a:lnTo>
                      <a:pt x="505" y="840"/>
                    </a:lnTo>
                    <a:lnTo>
                      <a:pt x="503" y="836"/>
                    </a:lnTo>
                    <a:lnTo>
                      <a:pt x="501" y="831"/>
                    </a:lnTo>
                    <a:lnTo>
                      <a:pt x="495" y="818"/>
                    </a:lnTo>
                    <a:lnTo>
                      <a:pt x="488" y="805"/>
                    </a:lnTo>
                    <a:lnTo>
                      <a:pt x="479" y="792"/>
                    </a:lnTo>
                    <a:lnTo>
                      <a:pt x="474" y="781"/>
                    </a:lnTo>
                    <a:lnTo>
                      <a:pt x="470" y="770"/>
                    </a:lnTo>
                    <a:lnTo>
                      <a:pt x="467" y="758"/>
                    </a:lnTo>
                    <a:lnTo>
                      <a:pt x="466" y="751"/>
                    </a:lnTo>
                    <a:lnTo>
                      <a:pt x="464" y="745"/>
                    </a:lnTo>
                    <a:lnTo>
                      <a:pt x="461" y="740"/>
                    </a:lnTo>
                    <a:lnTo>
                      <a:pt x="458" y="736"/>
                    </a:lnTo>
                    <a:lnTo>
                      <a:pt x="451" y="730"/>
                    </a:lnTo>
                    <a:lnTo>
                      <a:pt x="446" y="723"/>
                    </a:lnTo>
                    <a:lnTo>
                      <a:pt x="444" y="719"/>
                    </a:lnTo>
                    <a:lnTo>
                      <a:pt x="442" y="716"/>
                    </a:lnTo>
                    <a:lnTo>
                      <a:pt x="442" y="711"/>
                    </a:lnTo>
                    <a:lnTo>
                      <a:pt x="442" y="705"/>
                    </a:lnTo>
                    <a:lnTo>
                      <a:pt x="442" y="692"/>
                    </a:lnTo>
                    <a:lnTo>
                      <a:pt x="440" y="680"/>
                    </a:lnTo>
                    <a:lnTo>
                      <a:pt x="438" y="674"/>
                    </a:lnTo>
                    <a:lnTo>
                      <a:pt x="435" y="668"/>
                    </a:lnTo>
                    <a:lnTo>
                      <a:pt x="432" y="663"/>
                    </a:lnTo>
                    <a:lnTo>
                      <a:pt x="427" y="658"/>
                    </a:lnTo>
                    <a:lnTo>
                      <a:pt x="422" y="654"/>
                    </a:lnTo>
                    <a:lnTo>
                      <a:pt x="419" y="649"/>
                    </a:lnTo>
                    <a:lnTo>
                      <a:pt x="415" y="645"/>
                    </a:lnTo>
                    <a:lnTo>
                      <a:pt x="414" y="641"/>
                    </a:lnTo>
                    <a:lnTo>
                      <a:pt x="411" y="636"/>
                    </a:lnTo>
                    <a:lnTo>
                      <a:pt x="411" y="631"/>
                    </a:lnTo>
                    <a:lnTo>
                      <a:pt x="411" y="628"/>
                    </a:lnTo>
                    <a:lnTo>
                      <a:pt x="411" y="622"/>
                    </a:lnTo>
                    <a:lnTo>
                      <a:pt x="413" y="617"/>
                    </a:lnTo>
                    <a:lnTo>
                      <a:pt x="415" y="613"/>
                    </a:lnTo>
                    <a:lnTo>
                      <a:pt x="417" y="609"/>
                    </a:lnTo>
                    <a:lnTo>
                      <a:pt x="421" y="605"/>
                    </a:lnTo>
                    <a:lnTo>
                      <a:pt x="423" y="601"/>
                    </a:lnTo>
                    <a:lnTo>
                      <a:pt x="427" y="597"/>
                    </a:lnTo>
                    <a:lnTo>
                      <a:pt x="429" y="592"/>
                    </a:lnTo>
                    <a:lnTo>
                      <a:pt x="430" y="586"/>
                    </a:lnTo>
                    <a:lnTo>
                      <a:pt x="434" y="574"/>
                    </a:lnTo>
                    <a:lnTo>
                      <a:pt x="438" y="565"/>
                    </a:lnTo>
                    <a:lnTo>
                      <a:pt x="438" y="561"/>
                    </a:lnTo>
                    <a:lnTo>
                      <a:pt x="438" y="559"/>
                    </a:lnTo>
                    <a:lnTo>
                      <a:pt x="436" y="557"/>
                    </a:lnTo>
                    <a:lnTo>
                      <a:pt x="433" y="557"/>
                    </a:lnTo>
                    <a:lnTo>
                      <a:pt x="420" y="560"/>
                    </a:lnTo>
                    <a:lnTo>
                      <a:pt x="404" y="562"/>
                    </a:lnTo>
                    <a:lnTo>
                      <a:pt x="388" y="566"/>
                    </a:lnTo>
                    <a:lnTo>
                      <a:pt x="375" y="567"/>
                    </a:lnTo>
                    <a:lnTo>
                      <a:pt x="364" y="567"/>
                    </a:lnTo>
                    <a:lnTo>
                      <a:pt x="354" y="565"/>
                    </a:lnTo>
                    <a:lnTo>
                      <a:pt x="351" y="563"/>
                    </a:lnTo>
                    <a:lnTo>
                      <a:pt x="347" y="561"/>
                    </a:lnTo>
                    <a:lnTo>
                      <a:pt x="345" y="557"/>
                    </a:lnTo>
                    <a:lnTo>
                      <a:pt x="344" y="554"/>
                    </a:lnTo>
                    <a:lnTo>
                      <a:pt x="343" y="546"/>
                    </a:lnTo>
                    <a:lnTo>
                      <a:pt x="340" y="538"/>
                    </a:lnTo>
                    <a:lnTo>
                      <a:pt x="338" y="536"/>
                    </a:lnTo>
                    <a:lnTo>
                      <a:pt x="335" y="534"/>
                    </a:lnTo>
                    <a:lnTo>
                      <a:pt x="333" y="531"/>
                    </a:lnTo>
                    <a:lnTo>
                      <a:pt x="329" y="530"/>
                    </a:lnTo>
                    <a:lnTo>
                      <a:pt x="322" y="528"/>
                    </a:lnTo>
                    <a:lnTo>
                      <a:pt x="318" y="524"/>
                    </a:lnTo>
                    <a:lnTo>
                      <a:pt x="315" y="518"/>
                    </a:lnTo>
                    <a:lnTo>
                      <a:pt x="313" y="510"/>
                    </a:lnTo>
                    <a:lnTo>
                      <a:pt x="308" y="498"/>
                    </a:lnTo>
                    <a:lnTo>
                      <a:pt x="300" y="484"/>
                    </a:lnTo>
                    <a:lnTo>
                      <a:pt x="296" y="478"/>
                    </a:lnTo>
                    <a:lnTo>
                      <a:pt x="291" y="472"/>
                    </a:lnTo>
                    <a:lnTo>
                      <a:pt x="288" y="468"/>
                    </a:lnTo>
                    <a:lnTo>
                      <a:pt x="285" y="467"/>
                    </a:lnTo>
                    <a:lnTo>
                      <a:pt x="283" y="468"/>
                    </a:lnTo>
                    <a:lnTo>
                      <a:pt x="280" y="473"/>
                    </a:lnTo>
                    <a:lnTo>
                      <a:pt x="277" y="479"/>
                    </a:lnTo>
                    <a:lnTo>
                      <a:pt x="274" y="487"/>
                    </a:lnTo>
                    <a:lnTo>
                      <a:pt x="266" y="504"/>
                    </a:lnTo>
                    <a:lnTo>
                      <a:pt x="262" y="518"/>
                    </a:lnTo>
                    <a:lnTo>
                      <a:pt x="255" y="532"/>
                    </a:lnTo>
                    <a:lnTo>
                      <a:pt x="245" y="552"/>
                    </a:lnTo>
                    <a:lnTo>
                      <a:pt x="237" y="569"/>
                    </a:lnTo>
                    <a:lnTo>
                      <a:pt x="230" y="582"/>
                    </a:lnTo>
                    <a:lnTo>
                      <a:pt x="226" y="587"/>
                    </a:lnTo>
                    <a:lnTo>
                      <a:pt x="222" y="591"/>
                    </a:lnTo>
                    <a:lnTo>
                      <a:pt x="218" y="593"/>
                    </a:lnTo>
                    <a:lnTo>
                      <a:pt x="213" y="595"/>
                    </a:lnTo>
                    <a:lnTo>
                      <a:pt x="203" y="597"/>
                    </a:lnTo>
                    <a:lnTo>
                      <a:pt x="194" y="598"/>
                    </a:lnTo>
                    <a:lnTo>
                      <a:pt x="190" y="597"/>
                    </a:lnTo>
                    <a:lnTo>
                      <a:pt x="186" y="595"/>
                    </a:lnTo>
                    <a:lnTo>
                      <a:pt x="182" y="593"/>
                    </a:lnTo>
                    <a:lnTo>
                      <a:pt x="177" y="591"/>
                    </a:lnTo>
                    <a:lnTo>
                      <a:pt x="168" y="582"/>
                    </a:lnTo>
                    <a:lnTo>
                      <a:pt x="159" y="573"/>
                    </a:lnTo>
                    <a:lnTo>
                      <a:pt x="153" y="562"/>
                    </a:lnTo>
                    <a:lnTo>
                      <a:pt x="149" y="552"/>
                    </a:lnTo>
                    <a:lnTo>
                      <a:pt x="144" y="548"/>
                    </a:lnTo>
                    <a:lnTo>
                      <a:pt x="139" y="544"/>
                    </a:lnTo>
                    <a:lnTo>
                      <a:pt x="133" y="541"/>
                    </a:lnTo>
                    <a:lnTo>
                      <a:pt x="124" y="538"/>
                    </a:lnTo>
                    <a:lnTo>
                      <a:pt x="105" y="535"/>
                    </a:lnTo>
                    <a:lnTo>
                      <a:pt x="90" y="531"/>
                    </a:lnTo>
                    <a:lnTo>
                      <a:pt x="79" y="528"/>
                    </a:lnTo>
                    <a:lnTo>
                      <a:pt x="69" y="522"/>
                    </a:lnTo>
                    <a:lnTo>
                      <a:pt x="61" y="515"/>
                    </a:lnTo>
                    <a:lnTo>
                      <a:pt x="52" y="509"/>
                    </a:lnTo>
                    <a:lnTo>
                      <a:pt x="49" y="506"/>
                    </a:lnTo>
                    <a:lnTo>
                      <a:pt x="43" y="505"/>
                    </a:lnTo>
                    <a:lnTo>
                      <a:pt x="37" y="504"/>
                    </a:lnTo>
                    <a:lnTo>
                      <a:pt x="29" y="505"/>
                    </a:lnTo>
                    <a:lnTo>
                      <a:pt x="14" y="506"/>
                    </a:lnTo>
                    <a:lnTo>
                      <a:pt x="6" y="506"/>
                    </a:lnTo>
                    <a:lnTo>
                      <a:pt x="4" y="506"/>
                    </a:lnTo>
                    <a:lnTo>
                      <a:pt x="3" y="505"/>
                    </a:lnTo>
                    <a:lnTo>
                      <a:pt x="1" y="503"/>
                    </a:lnTo>
                    <a:lnTo>
                      <a:pt x="0" y="499"/>
                    </a:lnTo>
                    <a:lnTo>
                      <a:pt x="0" y="496"/>
                    </a:lnTo>
                    <a:lnTo>
                      <a:pt x="3" y="492"/>
                    </a:lnTo>
                    <a:lnTo>
                      <a:pt x="5" y="487"/>
                    </a:lnTo>
                    <a:lnTo>
                      <a:pt x="8" y="484"/>
                    </a:lnTo>
                    <a:lnTo>
                      <a:pt x="18" y="473"/>
                    </a:lnTo>
                    <a:lnTo>
                      <a:pt x="31" y="460"/>
                    </a:lnTo>
                    <a:lnTo>
                      <a:pt x="45" y="443"/>
                    </a:lnTo>
                    <a:lnTo>
                      <a:pt x="61" y="426"/>
                    </a:lnTo>
                    <a:lnTo>
                      <a:pt x="69" y="416"/>
                    </a:lnTo>
                    <a:lnTo>
                      <a:pt x="76" y="406"/>
                    </a:lnTo>
                    <a:lnTo>
                      <a:pt x="82" y="397"/>
                    </a:lnTo>
                    <a:lnTo>
                      <a:pt x="88" y="386"/>
                    </a:lnTo>
                    <a:lnTo>
                      <a:pt x="98" y="367"/>
                    </a:lnTo>
                    <a:lnTo>
                      <a:pt x="102" y="353"/>
                    </a:lnTo>
                    <a:lnTo>
                      <a:pt x="105" y="340"/>
                    </a:lnTo>
                    <a:lnTo>
                      <a:pt x="106" y="328"/>
                    </a:lnTo>
                    <a:lnTo>
                      <a:pt x="106" y="316"/>
                    </a:lnTo>
                    <a:lnTo>
                      <a:pt x="108" y="303"/>
                    </a:lnTo>
                    <a:lnTo>
                      <a:pt x="111" y="297"/>
                    </a:lnTo>
                    <a:lnTo>
                      <a:pt x="114" y="292"/>
                    </a:lnTo>
                    <a:lnTo>
                      <a:pt x="118" y="289"/>
                    </a:lnTo>
                    <a:lnTo>
                      <a:pt x="121" y="285"/>
                    </a:lnTo>
                    <a:lnTo>
                      <a:pt x="126" y="284"/>
                    </a:lnTo>
                    <a:lnTo>
                      <a:pt x="129" y="282"/>
                    </a:lnTo>
                    <a:lnTo>
                      <a:pt x="131" y="279"/>
                    </a:lnTo>
                    <a:lnTo>
                      <a:pt x="132" y="276"/>
                    </a:lnTo>
                    <a:lnTo>
                      <a:pt x="133" y="269"/>
                    </a:lnTo>
                    <a:lnTo>
                      <a:pt x="132" y="258"/>
                    </a:lnTo>
                    <a:lnTo>
                      <a:pt x="130" y="252"/>
                    </a:lnTo>
                    <a:lnTo>
                      <a:pt x="127" y="247"/>
                    </a:lnTo>
                    <a:lnTo>
                      <a:pt x="124" y="244"/>
                    </a:lnTo>
                    <a:lnTo>
                      <a:pt x="120" y="241"/>
                    </a:lnTo>
                    <a:lnTo>
                      <a:pt x="112" y="238"/>
                    </a:lnTo>
                    <a:lnTo>
                      <a:pt x="105" y="237"/>
                    </a:lnTo>
                    <a:lnTo>
                      <a:pt x="98" y="235"/>
                    </a:lnTo>
                    <a:lnTo>
                      <a:pt x="93" y="232"/>
                    </a:lnTo>
                    <a:lnTo>
                      <a:pt x="90" y="229"/>
                    </a:lnTo>
                    <a:lnTo>
                      <a:pt x="88" y="226"/>
                    </a:lnTo>
                    <a:lnTo>
                      <a:pt x="87" y="222"/>
                    </a:lnTo>
                    <a:lnTo>
                      <a:pt x="87" y="216"/>
                    </a:lnTo>
                    <a:lnTo>
                      <a:pt x="86" y="210"/>
                    </a:lnTo>
                    <a:lnTo>
                      <a:pt x="83" y="206"/>
                    </a:lnTo>
                    <a:lnTo>
                      <a:pt x="80" y="201"/>
                    </a:lnTo>
                    <a:lnTo>
                      <a:pt x="76" y="196"/>
                    </a:lnTo>
                    <a:lnTo>
                      <a:pt x="68" y="189"/>
                    </a:lnTo>
                    <a:lnTo>
                      <a:pt x="60" y="184"/>
                    </a:lnTo>
                    <a:lnTo>
                      <a:pt x="50" y="179"/>
                    </a:lnTo>
                    <a:lnTo>
                      <a:pt x="41" y="174"/>
                    </a:lnTo>
                    <a:lnTo>
                      <a:pt x="37" y="169"/>
                    </a:lnTo>
                    <a:lnTo>
                      <a:pt x="35" y="165"/>
                    </a:lnTo>
                    <a:lnTo>
                      <a:pt x="33" y="163"/>
                    </a:lnTo>
                    <a:lnTo>
                      <a:pt x="35" y="160"/>
                    </a:lnTo>
                    <a:lnTo>
                      <a:pt x="39" y="158"/>
                    </a:lnTo>
                    <a:lnTo>
                      <a:pt x="49" y="156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湖北"/>
              <p:cNvSpPr/>
              <p:nvPr>
                <p:custDataLst>
                  <p:tags r:id="rId21"/>
                </p:custDataLst>
              </p:nvPr>
            </p:nvSpPr>
            <p:spPr bwMode="auto">
              <a:xfrm>
                <a:off x="4705008" y="3934854"/>
                <a:ext cx="1052428" cy="657768"/>
              </a:xfrm>
              <a:custGeom>
                <a:avLst/>
                <a:gdLst>
                  <a:gd name="T0" fmla="*/ 2776 w 2869"/>
                  <a:gd name="T1" fmla="*/ 1214 h 1815"/>
                  <a:gd name="T2" fmla="*/ 2734 w 2869"/>
                  <a:gd name="T3" fmla="*/ 1076 h 1815"/>
                  <a:gd name="T4" fmla="*/ 2776 w 2869"/>
                  <a:gd name="T5" fmla="*/ 956 h 1815"/>
                  <a:gd name="T6" fmla="*/ 2706 w 2869"/>
                  <a:gd name="T7" fmla="*/ 850 h 1815"/>
                  <a:gd name="T8" fmla="*/ 2570 w 2869"/>
                  <a:gd name="T9" fmla="*/ 763 h 1815"/>
                  <a:gd name="T10" fmla="*/ 2494 w 2869"/>
                  <a:gd name="T11" fmla="*/ 724 h 1815"/>
                  <a:gd name="T12" fmla="*/ 2402 w 2869"/>
                  <a:gd name="T13" fmla="*/ 735 h 1815"/>
                  <a:gd name="T14" fmla="*/ 2267 w 2869"/>
                  <a:gd name="T15" fmla="*/ 659 h 1815"/>
                  <a:gd name="T16" fmla="*/ 2102 w 2869"/>
                  <a:gd name="T17" fmla="*/ 596 h 1815"/>
                  <a:gd name="T18" fmla="*/ 2015 w 2869"/>
                  <a:gd name="T19" fmla="*/ 592 h 1815"/>
                  <a:gd name="T20" fmla="*/ 1971 w 2869"/>
                  <a:gd name="T21" fmla="*/ 457 h 1815"/>
                  <a:gd name="T22" fmla="*/ 1939 w 2869"/>
                  <a:gd name="T23" fmla="*/ 341 h 1815"/>
                  <a:gd name="T24" fmla="*/ 1794 w 2869"/>
                  <a:gd name="T25" fmla="*/ 377 h 1815"/>
                  <a:gd name="T26" fmla="*/ 1662 w 2869"/>
                  <a:gd name="T27" fmla="*/ 364 h 1815"/>
                  <a:gd name="T28" fmla="*/ 1370 w 2869"/>
                  <a:gd name="T29" fmla="*/ 356 h 1815"/>
                  <a:gd name="T30" fmla="*/ 1187 w 2869"/>
                  <a:gd name="T31" fmla="*/ 289 h 1815"/>
                  <a:gd name="T32" fmla="*/ 1052 w 2869"/>
                  <a:gd name="T33" fmla="*/ 146 h 1815"/>
                  <a:gd name="T34" fmla="*/ 945 w 2869"/>
                  <a:gd name="T35" fmla="*/ 4 h 1815"/>
                  <a:gd name="T36" fmla="*/ 824 w 2869"/>
                  <a:gd name="T37" fmla="*/ 43 h 1815"/>
                  <a:gd name="T38" fmla="*/ 675 w 2869"/>
                  <a:gd name="T39" fmla="*/ 30 h 1815"/>
                  <a:gd name="T40" fmla="*/ 435 w 2869"/>
                  <a:gd name="T41" fmla="*/ 7 h 1815"/>
                  <a:gd name="T42" fmla="*/ 519 w 2869"/>
                  <a:gd name="T43" fmla="*/ 101 h 1815"/>
                  <a:gd name="T44" fmla="*/ 656 w 2869"/>
                  <a:gd name="T45" fmla="*/ 195 h 1815"/>
                  <a:gd name="T46" fmla="*/ 583 w 2869"/>
                  <a:gd name="T47" fmla="*/ 305 h 1815"/>
                  <a:gd name="T48" fmla="*/ 444 w 2869"/>
                  <a:gd name="T49" fmla="*/ 341 h 1815"/>
                  <a:gd name="T50" fmla="*/ 451 w 2869"/>
                  <a:gd name="T51" fmla="*/ 530 h 1815"/>
                  <a:gd name="T52" fmla="*/ 498 w 2869"/>
                  <a:gd name="T53" fmla="*/ 705 h 1815"/>
                  <a:gd name="T54" fmla="*/ 649 w 2869"/>
                  <a:gd name="T55" fmla="*/ 804 h 1815"/>
                  <a:gd name="T56" fmla="*/ 631 w 2869"/>
                  <a:gd name="T57" fmla="*/ 1055 h 1815"/>
                  <a:gd name="T58" fmla="*/ 453 w 2869"/>
                  <a:gd name="T59" fmla="*/ 1121 h 1815"/>
                  <a:gd name="T60" fmla="*/ 351 w 2869"/>
                  <a:gd name="T61" fmla="*/ 1154 h 1815"/>
                  <a:gd name="T62" fmla="*/ 233 w 2869"/>
                  <a:gd name="T63" fmla="*/ 1135 h 1815"/>
                  <a:gd name="T64" fmla="*/ 104 w 2869"/>
                  <a:gd name="T65" fmla="*/ 1164 h 1815"/>
                  <a:gd name="T66" fmla="*/ 44 w 2869"/>
                  <a:gd name="T67" fmla="*/ 1284 h 1815"/>
                  <a:gd name="T68" fmla="*/ 54 w 2869"/>
                  <a:gd name="T69" fmla="*/ 1462 h 1815"/>
                  <a:gd name="T70" fmla="*/ 54 w 2869"/>
                  <a:gd name="T71" fmla="*/ 1545 h 1815"/>
                  <a:gd name="T72" fmla="*/ 169 w 2869"/>
                  <a:gd name="T73" fmla="*/ 1580 h 1815"/>
                  <a:gd name="T74" fmla="*/ 213 w 2869"/>
                  <a:gd name="T75" fmla="*/ 1718 h 1815"/>
                  <a:gd name="T76" fmla="*/ 314 w 2869"/>
                  <a:gd name="T77" fmla="*/ 1807 h 1815"/>
                  <a:gd name="T78" fmla="*/ 359 w 2869"/>
                  <a:gd name="T79" fmla="*/ 1706 h 1815"/>
                  <a:gd name="T80" fmla="*/ 485 w 2869"/>
                  <a:gd name="T81" fmla="*/ 1586 h 1815"/>
                  <a:gd name="T82" fmla="*/ 672 w 2869"/>
                  <a:gd name="T83" fmla="*/ 1524 h 1815"/>
                  <a:gd name="T84" fmla="*/ 835 w 2869"/>
                  <a:gd name="T85" fmla="*/ 1528 h 1815"/>
                  <a:gd name="T86" fmla="*/ 776 w 2869"/>
                  <a:gd name="T87" fmla="*/ 1402 h 1815"/>
                  <a:gd name="T88" fmla="*/ 891 w 2869"/>
                  <a:gd name="T89" fmla="*/ 1362 h 1815"/>
                  <a:gd name="T90" fmla="*/ 1093 w 2869"/>
                  <a:gd name="T91" fmla="*/ 1429 h 1815"/>
                  <a:gd name="T92" fmla="*/ 1278 w 2869"/>
                  <a:gd name="T93" fmla="*/ 1471 h 1815"/>
                  <a:gd name="T94" fmla="*/ 1405 w 2869"/>
                  <a:gd name="T95" fmla="*/ 1574 h 1815"/>
                  <a:gd name="T96" fmla="*/ 1504 w 2869"/>
                  <a:gd name="T97" fmla="*/ 1589 h 1815"/>
                  <a:gd name="T98" fmla="*/ 1654 w 2869"/>
                  <a:gd name="T99" fmla="*/ 1511 h 1815"/>
                  <a:gd name="T100" fmla="*/ 1732 w 2869"/>
                  <a:gd name="T101" fmla="*/ 1543 h 1815"/>
                  <a:gd name="T102" fmla="*/ 1751 w 2869"/>
                  <a:gd name="T103" fmla="*/ 1646 h 1815"/>
                  <a:gd name="T104" fmla="*/ 1919 w 2869"/>
                  <a:gd name="T105" fmla="*/ 1478 h 1815"/>
                  <a:gd name="T106" fmla="*/ 1970 w 2869"/>
                  <a:gd name="T107" fmla="*/ 1598 h 1815"/>
                  <a:gd name="T108" fmla="*/ 1982 w 2869"/>
                  <a:gd name="T109" fmla="*/ 1733 h 1815"/>
                  <a:gd name="T110" fmla="*/ 2044 w 2869"/>
                  <a:gd name="T111" fmla="*/ 1796 h 1815"/>
                  <a:gd name="T112" fmla="*/ 2182 w 2869"/>
                  <a:gd name="T113" fmla="*/ 1726 h 1815"/>
                  <a:gd name="T114" fmla="*/ 2350 w 2869"/>
                  <a:gd name="T115" fmla="*/ 1644 h 1815"/>
                  <a:gd name="T116" fmla="*/ 2436 w 2869"/>
                  <a:gd name="T117" fmla="*/ 1588 h 1815"/>
                  <a:gd name="T118" fmla="*/ 2520 w 2869"/>
                  <a:gd name="T119" fmla="*/ 1573 h 1815"/>
                  <a:gd name="T120" fmla="*/ 2592 w 2869"/>
                  <a:gd name="T121" fmla="*/ 1519 h 1815"/>
                  <a:gd name="T122" fmla="*/ 2772 w 2869"/>
                  <a:gd name="T123" fmla="*/ 1466 h 1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69" h="1815">
                    <a:moveTo>
                      <a:pt x="2867" y="1427"/>
                    </a:moveTo>
                    <a:lnTo>
                      <a:pt x="2869" y="1424"/>
                    </a:lnTo>
                    <a:lnTo>
                      <a:pt x="2869" y="1422"/>
                    </a:lnTo>
                    <a:lnTo>
                      <a:pt x="2864" y="1405"/>
                    </a:lnTo>
                    <a:lnTo>
                      <a:pt x="2862" y="1396"/>
                    </a:lnTo>
                    <a:lnTo>
                      <a:pt x="2859" y="1386"/>
                    </a:lnTo>
                    <a:lnTo>
                      <a:pt x="2858" y="1377"/>
                    </a:lnTo>
                    <a:lnTo>
                      <a:pt x="2856" y="1367"/>
                    </a:lnTo>
                    <a:lnTo>
                      <a:pt x="2853" y="1359"/>
                    </a:lnTo>
                    <a:lnTo>
                      <a:pt x="2851" y="1351"/>
                    </a:lnTo>
                    <a:lnTo>
                      <a:pt x="2851" y="1343"/>
                    </a:lnTo>
                    <a:lnTo>
                      <a:pt x="2851" y="1335"/>
                    </a:lnTo>
                    <a:lnTo>
                      <a:pt x="2851" y="1327"/>
                    </a:lnTo>
                    <a:lnTo>
                      <a:pt x="2851" y="1318"/>
                    </a:lnTo>
                    <a:lnTo>
                      <a:pt x="2851" y="1309"/>
                    </a:lnTo>
                    <a:lnTo>
                      <a:pt x="2850" y="1299"/>
                    </a:lnTo>
                    <a:lnTo>
                      <a:pt x="2848" y="1290"/>
                    </a:lnTo>
                    <a:lnTo>
                      <a:pt x="2845" y="1280"/>
                    </a:lnTo>
                    <a:lnTo>
                      <a:pt x="2841" y="1270"/>
                    </a:lnTo>
                    <a:lnTo>
                      <a:pt x="2835" y="1260"/>
                    </a:lnTo>
                    <a:lnTo>
                      <a:pt x="2829" y="1252"/>
                    </a:lnTo>
                    <a:lnTo>
                      <a:pt x="2819" y="1238"/>
                    </a:lnTo>
                    <a:lnTo>
                      <a:pt x="2810" y="1228"/>
                    </a:lnTo>
                    <a:lnTo>
                      <a:pt x="2795" y="1221"/>
                    </a:lnTo>
                    <a:lnTo>
                      <a:pt x="2780" y="1216"/>
                    </a:lnTo>
                    <a:lnTo>
                      <a:pt x="2776" y="1214"/>
                    </a:lnTo>
                    <a:lnTo>
                      <a:pt x="2774" y="1210"/>
                    </a:lnTo>
                    <a:lnTo>
                      <a:pt x="2772" y="1205"/>
                    </a:lnTo>
                    <a:lnTo>
                      <a:pt x="2771" y="1200"/>
                    </a:lnTo>
                    <a:lnTo>
                      <a:pt x="2770" y="1195"/>
                    </a:lnTo>
                    <a:lnTo>
                      <a:pt x="2770" y="1189"/>
                    </a:lnTo>
                    <a:lnTo>
                      <a:pt x="2771" y="1183"/>
                    </a:lnTo>
                    <a:lnTo>
                      <a:pt x="2772" y="1177"/>
                    </a:lnTo>
                    <a:lnTo>
                      <a:pt x="2776" y="1167"/>
                    </a:lnTo>
                    <a:lnTo>
                      <a:pt x="2778" y="1158"/>
                    </a:lnTo>
                    <a:lnTo>
                      <a:pt x="2778" y="1154"/>
                    </a:lnTo>
                    <a:lnTo>
                      <a:pt x="2778" y="1150"/>
                    </a:lnTo>
                    <a:lnTo>
                      <a:pt x="2776" y="1145"/>
                    </a:lnTo>
                    <a:lnTo>
                      <a:pt x="2772" y="1140"/>
                    </a:lnTo>
                    <a:lnTo>
                      <a:pt x="2769" y="1135"/>
                    </a:lnTo>
                    <a:lnTo>
                      <a:pt x="2766" y="1131"/>
                    </a:lnTo>
                    <a:lnTo>
                      <a:pt x="2764" y="1126"/>
                    </a:lnTo>
                    <a:lnTo>
                      <a:pt x="2763" y="1121"/>
                    </a:lnTo>
                    <a:lnTo>
                      <a:pt x="2762" y="1112"/>
                    </a:lnTo>
                    <a:lnTo>
                      <a:pt x="2762" y="1103"/>
                    </a:lnTo>
                    <a:lnTo>
                      <a:pt x="2759" y="1095"/>
                    </a:lnTo>
                    <a:lnTo>
                      <a:pt x="2757" y="1089"/>
                    </a:lnTo>
                    <a:lnTo>
                      <a:pt x="2752" y="1085"/>
                    </a:lnTo>
                    <a:lnTo>
                      <a:pt x="2746" y="1083"/>
                    </a:lnTo>
                    <a:lnTo>
                      <a:pt x="2741" y="1082"/>
                    </a:lnTo>
                    <a:lnTo>
                      <a:pt x="2738" y="1080"/>
                    </a:lnTo>
                    <a:lnTo>
                      <a:pt x="2734" y="1076"/>
                    </a:lnTo>
                    <a:lnTo>
                      <a:pt x="2731" y="1072"/>
                    </a:lnTo>
                    <a:lnTo>
                      <a:pt x="2727" y="1068"/>
                    </a:lnTo>
                    <a:lnTo>
                      <a:pt x="2724" y="1063"/>
                    </a:lnTo>
                    <a:lnTo>
                      <a:pt x="2722" y="1058"/>
                    </a:lnTo>
                    <a:lnTo>
                      <a:pt x="2720" y="1052"/>
                    </a:lnTo>
                    <a:lnTo>
                      <a:pt x="2719" y="1046"/>
                    </a:lnTo>
                    <a:lnTo>
                      <a:pt x="2719" y="1040"/>
                    </a:lnTo>
                    <a:lnTo>
                      <a:pt x="2719" y="1036"/>
                    </a:lnTo>
                    <a:lnTo>
                      <a:pt x="2720" y="1031"/>
                    </a:lnTo>
                    <a:lnTo>
                      <a:pt x="2722" y="1027"/>
                    </a:lnTo>
                    <a:lnTo>
                      <a:pt x="2725" y="1024"/>
                    </a:lnTo>
                    <a:lnTo>
                      <a:pt x="2727" y="1020"/>
                    </a:lnTo>
                    <a:lnTo>
                      <a:pt x="2731" y="1017"/>
                    </a:lnTo>
                    <a:lnTo>
                      <a:pt x="2738" y="1011"/>
                    </a:lnTo>
                    <a:lnTo>
                      <a:pt x="2743" y="1006"/>
                    </a:lnTo>
                    <a:lnTo>
                      <a:pt x="2745" y="1001"/>
                    </a:lnTo>
                    <a:lnTo>
                      <a:pt x="2746" y="994"/>
                    </a:lnTo>
                    <a:lnTo>
                      <a:pt x="2745" y="986"/>
                    </a:lnTo>
                    <a:lnTo>
                      <a:pt x="2744" y="977"/>
                    </a:lnTo>
                    <a:lnTo>
                      <a:pt x="2745" y="974"/>
                    </a:lnTo>
                    <a:lnTo>
                      <a:pt x="2746" y="971"/>
                    </a:lnTo>
                    <a:lnTo>
                      <a:pt x="2749" y="968"/>
                    </a:lnTo>
                    <a:lnTo>
                      <a:pt x="2752" y="965"/>
                    </a:lnTo>
                    <a:lnTo>
                      <a:pt x="2762" y="962"/>
                    </a:lnTo>
                    <a:lnTo>
                      <a:pt x="2769" y="959"/>
                    </a:lnTo>
                    <a:lnTo>
                      <a:pt x="2776" y="956"/>
                    </a:lnTo>
                    <a:lnTo>
                      <a:pt x="2783" y="949"/>
                    </a:lnTo>
                    <a:lnTo>
                      <a:pt x="2793" y="938"/>
                    </a:lnTo>
                    <a:lnTo>
                      <a:pt x="2803" y="929"/>
                    </a:lnTo>
                    <a:lnTo>
                      <a:pt x="2813" y="919"/>
                    </a:lnTo>
                    <a:lnTo>
                      <a:pt x="2819" y="912"/>
                    </a:lnTo>
                    <a:lnTo>
                      <a:pt x="2820" y="908"/>
                    </a:lnTo>
                    <a:lnTo>
                      <a:pt x="2820" y="905"/>
                    </a:lnTo>
                    <a:lnTo>
                      <a:pt x="2819" y="902"/>
                    </a:lnTo>
                    <a:lnTo>
                      <a:pt x="2816" y="899"/>
                    </a:lnTo>
                    <a:lnTo>
                      <a:pt x="2808" y="895"/>
                    </a:lnTo>
                    <a:lnTo>
                      <a:pt x="2799" y="892"/>
                    </a:lnTo>
                    <a:lnTo>
                      <a:pt x="2789" y="889"/>
                    </a:lnTo>
                    <a:lnTo>
                      <a:pt x="2780" y="883"/>
                    </a:lnTo>
                    <a:lnTo>
                      <a:pt x="2775" y="880"/>
                    </a:lnTo>
                    <a:lnTo>
                      <a:pt x="2770" y="876"/>
                    </a:lnTo>
                    <a:lnTo>
                      <a:pt x="2766" y="872"/>
                    </a:lnTo>
                    <a:lnTo>
                      <a:pt x="2764" y="867"/>
                    </a:lnTo>
                    <a:lnTo>
                      <a:pt x="2758" y="857"/>
                    </a:lnTo>
                    <a:lnTo>
                      <a:pt x="2751" y="849"/>
                    </a:lnTo>
                    <a:lnTo>
                      <a:pt x="2747" y="847"/>
                    </a:lnTo>
                    <a:lnTo>
                      <a:pt x="2743" y="845"/>
                    </a:lnTo>
                    <a:lnTo>
                      <a:pt x="2737" y="844"/>
                    </a:lnTo>
                    <a:lnTo>
                      <a:pt x="2731" y="845"/>
                    </a:lnTo>
                    <a:lnTo>
                      <a:pt x="2720" y="849"/>
                    </a:lnTo>
                    <a:lnTo>
                      <a:pt x="2709" y="850"/>
                    </a:lnTo>
                    <a:lnTo>
                      <a:pt x="2706" y="850"/>
                    </a:lnTo>
                    <a:lnTo>
                      <a:pt x="2701" y="848"/>
                    </a:lnTo>
                    <a:lnTo>
                      <a:pt x="2698" y="845"/>
                    </a:lnTo>
                    <a:lnTo>
                      <a:pt x="2694" y="842"/>
                    </a:lnTo>
                    <a:lnTo>
                      <a:pt x="2687" y="832"/>
                    </a:lnTo>
                    <a:lnTo>
                      <a:pt x="2682" y="824"/>
                    </a:lnTo>
                    <a:lnTo>
                      <a:pt x="2678" y="822"/>
                    </a:lnTo>
                    <a:lnTo>
                      <a:pt x="2676" y="819"/>
                    </a:lnTo>
                    <a:lnTo>
                      <a:pt x="2674" y="819"/>
                    </a:lnTo>
                    <a:lnTo>
                      <a:pt x="2670" y="819"/>
                    </a:lnTo>
                    <a:lnTo>
                      <a:pt x="2656" y="826"/>
                    </a:lnTo>
                    <a:lnTo>
                      <a:pt x="2640" y="837"/>
                    </a:lnTo>
                    <a:lnTo>
                      <a:pt x="2637" y="838"/>
                    </a:lnTo>
                    <a:lnTo>
                      <a:pt x="2632" y="837"/>
                    </a:lnTo>
                    <a:lnTo>
                      <a:pt x="2629" y="835"/>
                    </a:lnTo>
                    <a:lnTo>
                      <a:pt x="2624" y="830"/>
                    </a:lnTo>
                    <a:lnTo>
                      <a:pt x="2617" y="819"/>
                    </a:lnTo>
                    <a:lnTo>
                      <a:pt x="2608" y="807"/>
                    </a:lnTo>
                    <a:lnTo>
                      <a:pt x="2602" y="793"/>
                    </a:lnTo>
                    <a:lnTo>
                      <a:pt x="2598" y="781"/>
                    </a:lnTo>
                    <a:lnTo>
                      <a:pt x="2595" y="775"/>
                    </a:lnTo>
                    <a:lnTo>
                      <a:pt x="2593" y="772"/>
                    </a:lnTo>
                    <a:lnTo>
                      <a:pt x="2589" y="768"/>
                    </a:lnTo>
                    <a:lnTo>
                      <a:pt x="2585" y="767"/>
                    </a:lnTo>
                    <a:lnTo>
                      <a:pt x="2579" y="766"/>
                    </a:lnTo>
                    <a:lnTo>
                      <a:pt x="2574" y="765"/>
                    </a:lnTo>
                    <a:lnTo>
                      <a:pt x="2570" y="763"/>
                    </a:lnTo>
                    <a:lnTo>
                      <a:pt x="2567" y="761"/>
                    </a:lnTo>
                    <a:lnTo>
                      <a:pt x="2563" y="757"/>
                    </a:lnTo>
                    <a:lnTo>
                      <a:pt x="2562" y="754"/>
                    </a:lnTo>
                    <a:lnTo>
                      <a:pt x="2562" y="750"/>
                    </a:lnTo>
                    <a:lnTo>
                      <a:pt x="2562" y="748"/>
                    </a:lnTo>
                    <a:lnTo>
                      <a:pt x="2562" y="747"/>
                    </a:lnTo>
                    <a:lnTo>
                      <a:pt x="2562" y="746"/>
                    </a:lnTo>
                    <a:lnTo>
                      <a:pt x="2561" y="744"/>
                    </a:lnTo>
                    <a:lnTo>
                      <a:pt x="2558" y="744"/>
                    </a:lnTo>
                    <a:lnTo>
                      <a:pt x="2552" y="746"/>
                    </a:lnTo>
                    <a:lnTo>
                      <a:pt x="2542" y="750"/>
                    </a:lnTo>
                    <a:lnTo>
                      <a:pt x="2532" y="753"/>
                    </a:lnTo>
                    <a:lnTo>
                      <a:pt x="2524" y="754"/>
                    </a:lnTo>
                    <a:lnTo>
                      <a:pt x="2520" y="754"/>
                    </a:lnTo>
                    <a:lnTo>
                      <a:pt x="2518" y="753"/>
                    </a:lnTo>
                    <a:lnTo>
                      <a:pt x="2517" y="751"/>
                    </a:lnTo>
                    <a:lnTo>
                      <a:pt x="2516" y="749"/>
                    </a:lnTo>
                    <a:lnTo>
                      <a:pt x="2516" y="744"/>
                    </a:lnTo>
                    <a:lnTo>
                      <a:pt x="2514" y="742"/>
                    </a:lnTo>
                    <a:lnTo>
                      <a:pt x="2512" y="741"/>
                    </a:lnTo>
                    <a:lnTo>
                      <a:pt x="2508" y="741"/>
                    </a:lnTo>
                    <a:lnTo>
                      <a:pt x="2504" y="741"/>
                    </a:lnTo>
                    <a:lnTo>
                      <a:pt x="2500" y="740"/>
                    </a:lnTo>
                    <a:lnTo>
                      <a:pt x="2497" y="736"/>
                    </a:lnTo>
                    <a:lnTo>
                      <a:pt x="2494" y="729"/>
                    </a:lnTo>
                    <a:lnTo>
                      <a:pt x="2494" y="724"/>
                    </a:lnTo>
                    <a:lnTo>
                      <a:pt x="2494" y="719"/>
                    </a:lnTo>
                    <a:lnTo>
                      <a:pt x="2495" y="713"/>
                    </a:lnTo>
                    <a:lnTo>
                      <a:pt x="2497" y="709"/>
                    </a:lnTo>
                    <a:lnTo>
                      <a:pt x="2499" y="698"/>
                    </a:lnTo>
                    <a:lnTo>
                      <a:pt x="2500" y="687"/>
                    </a:lnTo>
                    <a:lnTo>
                      <a:pt x="2499" y="683"/>
                    </a:lnTo>
                    <a:lnTo>
                      <a:pt x="2498" y="678"/>
                    </a:lnTo>
                    <a:lnTo>
                      <a:pt x="2494" y="674"/>
                    </a:lnTo>
                    <a:lnTo>
                      <a:pt x="2489" y="671"/>
                    </a:lnTo>
                    <a:lnTo>
                      <a:pt x="2485" y="668"/>
                    </a:lnTo>
                    <a:lnTo>
                      <a:pt x="2480" y="666"/>
                    </a:lnTo>
                    <a:lnTo>
                      <a:pt x="2474" y="666"/>
                    </a:lnTo>
                    <a:lnTo>
                      <a:pt x="2469" y="666"/>
                    </a:lnTo>
                    <a:lnTo>
                      <a:pt x="2465" y="669"/>
                    </a:lnTo>
                    <a:lnTo>
                      <a:pt x="2461" y="674"/>
                    </a:lnTo>
                    <a:lnTo>
                      <a:pt x="2459" y="680"/>
                    </a:lnTo>
                    <a:lnTo>
                      <a:pt x="2457" y="687"/>
                    </a:lnTo>
                    <a:lnTo>
                      <a:pt x="2454" y="703"/>
                    </a:lnTo>
                    <a:lnTo>
                      <a:pt x="2451" y="717"/>
                    </a:lnTo>
                    <a:lnTo>
                      <a:pt x="2449" y="722"/>
                    </a:lnTo>
                    <a:lnTo>
                      <a:pt x="2445" y="725"/>
                    </a:lnTo>
                    <a:lnTo>
                      <a:pt x="2442" y="728"/>
                    </a:lnTo>
                    <a:lnTo>
                      <a:pt x="2437" y="729"/>
                    </a:lnTo>
                    <a:lnTo>
                      <a:pt x="2426" y="731"/>
                    </a:lnTo>
                    <a:lnTo>
                      <a:pt x="2416" y="732"/>
                    </a:lnTo>
                    <a:lnTo>
                      <a:pt x="2402" y="735"/>
                    </a:lnTo>
                    <a:lnTo>
                      <a:pt x="2387" y="738"/>
                    </a:lnTo>
                    <a:lnTo>
                      <a:pt x="2380" y="740"/>
                    </a:lnTo>
                    <a:lnTo>
                      <a:pt x="2373" y="740"/>
                    </a:lnTo>
                    <a:lnTo>
                      <a:pt x="2367" y="740"/>
                    </a:lnTo>
                    <a:lnTo>
                      <a:pt x="2360" y="737"/>
                    </a:lnTo>
                    <a:lnTo>
                      <a:pt x="2354" y="735"/>
                    </a:lnTo>
                    <a:lnTo>
                      <a:pt x="2346" y="730"/>
                    </a:lnTo>
                    <a:lnTo>
                      <a:pt x="2337" y="725"/>
                    </a:lnTo>
                    <a:lnTo>
                      <a:pt x="2329" y="718"/>
                    </a:lnTo>
                    <a:lnTo>
                      <a:pt x="2314" y="706"/>
                    </a:lnTo>
                    <a:lnTo>
                      <a:pt x="2303" y="696"/>
                    </a:lnTo>
                    <a:lnTo>
                      <a:pt x="2299" y="691"/>
                    </a:lnTo>
                    <a:lnTo>
                      <a:pt x="2296" y="688"/>
                    </a:lnTo>
                    <a:lnTo>
                      <a:pt x="2293" y="686"/>
                    </a:lnTo>
                    <a:lnTo>
                      <a:pt x="2291" y="686"/>
                    </a:lnTo>
                    <a:lnTo>
                      <a:pt x="2285" y="687"/>
                    </a:lnTo>
                    <a:lnTo>
                      <a:pt x="2278" y="692"/>
                    </a:lnTo>
                    <a:lnTo>
                      <a:pt x="2273" y="694"/>
                    </a:lnTo>
                    <a:lnTo>
                      <a:pt x="2270" y="694"/>
                    </a:lnTo>
                    <a:lnTo>
                      <a:pt x="2267" y="693"/>
                    </a:lnTo>
                    <a:lnTo>
                      <a:pt x="2264" y="691"/>
                    </a:lnTo>
                    <a:lnTo>
                      <a:pt x="2262" y="687"/>
                    </a:lnTo>
                    <a:lnTo>
                      <a:pt x="2261" y="683"/>
                    </a:lnTo>
                    <a:lnTo>
                      <a:pt x="2261" y="678"/>
                    </a:lnTo>
                    <a:lnTo>
                      <a:pt x="2261" y="674"/>
                    </a:lnTo>
                    <a:lnTo>
                      <a:pt x="2267" y="659"/>
                    </a:lnTo>
                    <a:lnTo>
                      <a:pt x="2274" y="643"/>
                    </a:lnTo>
                    <a:lnTo>
                      <a:pt x="2274" y="633"/>
                    </a:lnTo>
                    <a:lnTo>
                      <a:pt x="2274" y="621"/>
                    </a:lnTo>
                    <a:lnTo>
                      <a:pt x="2273" y="616"/>
                    </a:lnTo>
                    <a:lnTo>
                      <a:pt x="2271" y="611"/>
                    </a:lnTo>
                    <a:lnTo>
                      <a:pt x="2267" y="609"/>
                    </a:lnTo>
                    <a:lnTo>
                      <a:pt x="2264" y="608"/>
                    </a:lnTo>
                    <a:lnTo>
                      <a:pt x="2248" y="616"/>
                    </a:lnTo>
                    <a:lnTo>
                      <a:pt x="2232" y="623"/>
                    </a:lnTo>
                    <a:lnTo>
                      <a:pt x="2218" y="624"/>
                    </a:lnTo>
                    <a:lnTo>
                      <a:pt x="2203" y="623"/>
                    </a:lnTo>
                    <a:lnTo>
                      <a:pt x="2189" y="622"/>
                    </a:lnTo>
                    <a:lnTo>
                      <a:pt x="2179" y="620"/>
                    </a:lnTo>
                    <a:lnTo>
                      <a:pt x="2171" y="614"/>
                    </a:lnTo>
                    <a:lnTo>
                      <a:pt x="2159" y="603"/>
                    </a:lnTo>
                    <a:lnTo>
                      <a:pt x="2148" y="592"/>
                    </a:lnTo>
                    <a:lnTo>
                      <a:pt x="2140" y="583"/>
                    </a:lnTo>
                    <a:lnTo>
                      <a:pt x="2136" y="579"/>
                    </a:lnTo>
                    <a:lnTo>
                      <a:pt x="2133" y="576"/>
                    </a:lnTo>
                    <a:lnTo>
                      <a:pt x="2129" y="573"/>
                    </a:lnTo>
                    <a:lnTo>
                      <a:pt x="2126" y="572"/>
                    </a:lnTo>
                    <a:lnTo>
                      <a:pt x="2122" y="572"/>
                    </a:lnTo>
                    <a:lnTo>
                      <a:pt x="2119" y="573"/>
                    </a:lnTo>
                    <a:lnTo>
                      <a:pt x="2115" y="577"/>
                    </a:lnTo>
                    <a:lnTo>
                      <a:pt x="2110" y="581"/>
                    </a:lnTo>
                    <a:lnTo>
                      <a:pt x="2102" y="596"/>
                    </a:lnTo>
                    <a:lnTo>
                      <a:pt x="2094" y="609"/>
                    </a:lnTo>
                    <a:lnTo>
                      <a:pt x="2089" y="615"/>
                    </a:lnTo>
                    <a:lnTo>
                      <a:pt x="2084" y="621"/>
                    </a:lnTo>
                    <a:lnTo>
                      <a:pt x="2078" y="625"/>
                    </a:lnTo>
                    <a:lnTo>
                      <a:pt x="2073" y="629"/>
                    </a:lnTo>
                    <a:lnTo>
                      <a:pt x="2063" y="635"/>
                    </a:lnTo>
                    <a:lnTo>
                      <a:pt x="2053" y="637"/>
                    </a:lnTo>
                    <a:lnTo>
                      <a:pt x="2050" y="637"/>
                    </a:lnTo>
                    <a:lnTo>
                      <a:pt x="2047" y="636"/>
                    </a:lnTo>
                    <a:lnTo>
                      <a:pt x="2045" y="635"/>
                    </a:lnTo>
                    <a:lnTo>
                      <a:pt x="2044" y="633"/>
                    </a:lnTo>
                    <a:lnTo>
                      <a:pt x="2043" y="624"/>
                    </a:lnTo>
                    <a:lnTo>
                      <a:pt x="2043" y="615"/>
                    </a:lnTo>
                    <a:lnTo>
                      <a:pt x="2044" y="604"/>
                    </a:lnTo>
                    <a:lnTo>
                      <a:pt x="2045" y="591"/>
                    </a:lnTo>
                    <a:lnTo>
                      <a:pt x="2044" y="586"/>
                    </a:lnTo>
                    <a:lnTo>
                      <a:pt x="2043" y="583"/>
                    </a:lnTo>
                    <a:lnTo>
                      <a:pt x="2040" y="579"/>
                    </a:lnTo>
                    <a:lnTo>
                      <a:pt x="2038" y="578"/>
                    </a:lnTo>
                    <a:lnTo>
                      <a:pt x="2034" y="578"/>
                    </a:lnTo>
                    <a:lnTo>
                      <a:pt x="2032" y="579"/>
                    </a:lnTo>
                    <a:lnTo>
                      <a:pt x="2028" y="580"/>
                    </a:lnTo>
                    <a:lnTo>
                      <a:pt x="2026" y="583"/>
                    </a:lnTo>
                    <a:lnTo>
                      <a:pt x="2022" y="587"/>
                    </a:lnTo>
                    <a:lnTo>
                      <a:pt x="2018" y="591"/>
                    </a:lnTo>
                    <a:lnTo>
                      <a:pt x="2015" y="592"/>
                    </a:lnTo>
                    <a:lnTo>
                      <a:pt x="2013" y="592"/>
                    </a:lnTo>
                    <a:lnTo>
                      <a:pt x="2010" y="591"/>
                    </a:lnTo>
                    <a:lnTo>
                      <a:pt x="2008" y="590"/>
                    </a:lnTo>
                    <a:lnTo>
                      <a:pt x="2004" y="584"/>
                    </a:lnTo>
                    <a:lnTo>
                      <a:pt x="2002" y="577"/>
                    </a:lnTo>
                    <a:lnTo>
                      <a:pt x="2000" y="567"/>
                    </a:lnTo>
                    <a:lnTo>
                      <a:pt x="1997" y="558"/>
                    </a:lnTo>
                    <a:lnTo>
                      <a:pt x="1994" y="547"/>
                    </a:lnTo>
                    <a:lnTo>
                      <a:pt x="1990" y="540"/>
                    </a:lnTo>
                    <a:lnTo>
                      <a:pt x="1987" y="535"/>
                    </a:lnTo>
                    <a:lnTo>
                      <a:pt x="1983" y="533"/>
                    </a:lnTo>
                    <a:lnTo>
                      <a:pt x="1978" y="530"/>
                    </a:lnTo>
                    <a:lnTo>
                      <a:pt x="1975" y="529"/>
                    </a:lnTo>
                    <a:lnTo>
                      <a:pt x="1972" y="527"/>
                    </a:lnTo>
                    <a:lnTo>
                      <a:pt x="1971" y="522"/>
                    </a:lnTo>
                    <a:lnTo>
                      <a:pt x="1971" y="516"/>
                    </a:lnTo>
                    <a:lnTo>
                      <a:pt x="1971" y="510"/>
                    </a:lnTo>
                    <a:lnTo>
                      <a:pt x="1970" y="504"/>
                    </a:lnTo>
                    <a:lnTo>
                      <a:pt x="1966" y="497"/>
                    </a:lnTo>
                    <a:lnTo>
                      <a:pt x="1964" y="494"/>
                    </a:lnTo>
                    <a:lnTo>
                      <a:pt x="1963" y="490"/>
                    </a:lnTo>
                    <a:lnTo>
                      <a:pt x="1962" y="486"/>
                    </a:lnTo>
                    <a:lnTo>
                      <a:pt x="1963" y="482"/>
                    </a:lnTo>
                    <a:lnTo>
                      <a:pt x="1964" y="472"/>
                    </a:lnTo>
                    <a:lnTo>
                      <a:pt x="1969" y="461"/>
                    </a:lnTo>
                    <a:lnTo>
                      <a:pt x="1971" y="457"/>
                    </a:lnTo>
                    <a:lnTo>
                      <a:pt x="1972" y="452"/>
                    </a:lnTo>
                    <a:lnTo>
                      <a:pt x="1972" y="447"/>
                    </a:lnTo>
                    <a:lnTo>
                      <a:pt x="1972" y="444"/>
                    </a:lnTo>
                    <a:lnTo>
                      <a:pt x="1970" y="439"/>
                    </a:lnTo>
                    <a:lnTo>
                      <a:pt x="1965" y="433"/>
                    </a:lnTo>
                    <a:lnTo>
                      <a:pt x="1960" y="427"/>
                    </a:lnTo>
                    <a:lnTo>
                      <a:pt x="1958" y="420"/>
                    </a:lnTo>
                    <a:lnTo>
                      <a:pt x="1957" y="415"/>
                    </a:lnTo>
                    <a:lnTo>
                      <a:pt x="1957" y="412"/>
                    </a:lnTo>
                    <a:lnTo>
                      <a:pt x="1958" y="409"/>
                    </a:lnTo>
                    <a:lnTo>
                      <a:pt x="1959" y="407"/>
                    </a:lnTo>
                    <a:lnTo>
                      <a:pt x="1964" y="401"/>
                    </a:lnTo>
                    <a:lnTo>
                      <a:pt x="1968" y="394"/>
                    </a:lnTo>
                    <a:lnTo>
                      <a:pt x="1970" y="390"/>
                    </a:lnTo>
                    <a:lnTo>
                      <a:pt x="1970" y="385"/>
                    </a:lnTo>
                    <a:lnTo>
                      <a:pt x="1971" y="381"/>
                    </a:lnTo>
                    <a:lnTo>
                      <a:pt x="1970" y="377"/>
                    </a:lnTo>
                    <a:lnTo>
                      <a:pt x="1966" y="365"/>
                    </a:lnTo>
                    <a:lnTo>
                      <a:pt x="1963" y="351"/>
                    </a:lnTo>
                    <a:lnTo>
                      <a:pt x="1960" y="345"/>
                    </a:lnTo>
                    <a:lnTo>
                      <a:pt x="1959" y="340"/>
                    </a:lnTo>
                    <a:lnTo>
                      <a:pt x="1957" y="339"/>
                    </a:lnTo>
                    <a:lnTo>
                      <a:pt x="1956" y="338"/>
                    </a:lnTo>
                    <a:lnTo>
                      <a:pt x="1952" y="338"/>
                    </a:lnTo>
                    <a:lnTo>
                      <a:pt x="1949" y="339"/>
                    </a:lnTo>
                    <a:lnTo>
                      <a:pt x="1939" y="341"/>
                    </a:lnTo>
                    <a:lnTo>
                      <a:pt x="1931" y="346"/>
                    </a:lnTo>
                    <a:lnTo>
                      <a:pt x="1915" y="360"/>
                    </a:lnTo>
                    <a:lnTo>
                      <a:pt x="1897" y="377"/>
                    </a:lnTo>
                    <a:lnTo>
                      <a:pt x="1894" y="379"/>
                    </a:lnTo>
                    <a:lnTo>
                      <a:pt x="1889" y="382"/>
                    </a:lnTo>
                    <a:lnTo>
                      <a:pt x="1884" y="384"/>
                    </a:lnTo>
                    <a:lnTo>
                      <a:pt x="1881" y="384"/>
                    </a:lnTo>
                    <a:lnTo>
                      <a:pt x="1873" y="385"/>
                    </a:lnTo>
                    <a:lnTo>
                      <a:pt x="1865" y="385"/>
                    </a:lnTo>
                    <a:lnTo>
                      <a:pt x="1861" y="385"/>
                    </a:lnTo>
                    <a:lnTo>
                      <a:pt x="1858" y="387"/>
                    </a:lnTo>
                    <a:lnTo>
                      <a:pt x="1855" y="390"/>
                    </a:lnTo>
                    <a:lnTo>
                      <a:pt x="1849" y="395"/>
                    </a:lnTo>
                    <a:lnTo>
                      <a:pt x="1846" y="397"/>
                    </a:lnTo>
                    <a:lnTo>
                      <a:pt x="1843" y="400"/>
                    </a:lnTo>
                    <a:lnTo>
                      <a:pt x="1838" y="401"/>
                    </a:lnTo>
                    <a:lnTo>
                      <a:pt x="1834" y="402"/>
                    </a:lnTo>
                    <a:lnTo>
                      <a:pt x="1831" y="403"/>
                    </a:lnTo>
                    <a:lnTo>
                      <a:pt x="1826" y="402"/>
                    </a:lnTo>
                    <a:lnTo>
                      <a:pt x="1823" y="401"/>
                    </a:lnTo>
                    <a:lnTo>
                      <a:pt x="1818" y="400"/>
                    </a:lnTo>
                    <a:lnTo>
                      <a:pt x="1813" y="397"/>
                    </a:lnTo>
                    <a:lnTo>
                      <a:pt x="1808" y="394"/>
                    </a:lnTo>
                    <a:lnTo>
                      <a:pt x="1804" y="390"/>
                    </a:lnTo>
                    <a:lnTo>
                      <a:pt x="1800" y="387"/>
                    </a:lnTo>
                    <a:lnTo>
                      <a:pt x="1794" y="377"/>
                    </a:lnTo>
                    <a:lnTo>
                      <a:pt x="1789" y="369"/>
                    </a:lnTo>
                    <a:lnTo>
                      <a:pt x="1785" y="360"/>
                    </a:lnTo>
                    <a:lnTo>
                      <a:pt x="1780" y="356"/>
                    </a:lnTo>
                    <a:lnTo>
                      <a:pt x="1773" y="352"/>
                    </a:lnTo>
                    <a:lnTo>
                      <a:pt x="1764" y="351"/>
                    </a:lnTo>
                    <a:lnTo>
                      <a:pt x="1758" y="351"/>
                    </a:lnTo>
                    <a:lnTo>
                      <a:pt x="1755" y="352"/>
                    </a:lnTo>
                    <a:lnTo>
                      <a:pt x="1751" y="353"/>
                    </a:lnTo>
                    <a:lnTo>
                      <a:pt x="1749" y="354"/>
                    </a:lnTo>
                    <a:lnTo>
                      <a:pt x="1744" y="359"/>
                    </a:lnTo>
                    <a:lnTo>
                      <a:pt x="1741" y="364"/>
                    </a:lnTo>
                    <a:lnTo>
                      <a:pt x="1738" y="368"/>
                    </a:lnTo>
                    <a:lnTo>
                      <a:pt x="1736" y="369"/>
                    </a:lnTo>
                    <a:lnTo>
                      <a:pt x="1733" y="370"/>
                    </a:lnTo>
                    <a:lnTo>
                      <a:pt x="1731" y="371"/>
                    </a:lnTo>
                    <a:lnTo>
                      <a:pt x="1725" y="370"/>
                    </a:lnTo>
                    <a:lnTo>
                      <a:pt x="1720" y="366"/>
                    </a:lnTo>
                    <a:lnTo>
                      <a:pt x="1717" y="363"/>
                    </a:lnTo>
                    <a:lnTo>
                      <a:pt x="1714" y="360"/>
                    </a:lnTo>
                    <a:lnTo>
                      <a:pt x="1708" y="357"/>
                    </a:lnTo>
                    <a:lnTo>
                      <a:pt x="1699" y="354"/>
                    </a:lnTo>
                    <a:lnTo>
                      <a:pt x="1693" y="353"/>
                    </a:lnTo>
                    <a:lnTo>
                      <a:pt x="1687" y="354"/>
                    </a:lnTo>
                    <a:lnTo>
                      <a:pt x="1681" y="356"/>
                    </a:lnTo>
                    <a:lnTo>
                      <a:pt x="1675" y="358"/>
                    </a:lnTo>
                    <a:lnTo>
                      <a:pt x="1662" y="364"/>
                    </a:lnTo>
                    <a:lnTo>
                      <a:pt x="1648" y="368"/>
                    </a:lnTo>
                    <a:lnTo>
                      <a:pt x="1634" y="372"/>
                    </a:lnTo>
                    <a:lnTo>
                      <a:pt x="1619" y="378"/>
                    </a:lnTo>
                    <a:lnTo>
                      <a:pt x="1613" y="381"/>
                    </a:lnTo>
                    <a:lnTo>
                      <a:pt x="1606" y="383"/>
                    </a:lnTo>
                    <a:lnTo>
                      <a:pt x="1600" y="384"/>
                    </a:lnTo>
                    <a:lnTo>
                      <a:pt x="1596" y="385"/>
                    </a:lnTo>
                    <a:lnTo>
                      <a:pt x="1584" y="384"/>
                    </a:lnTo>
                    <a:lnTo>
                      <a:pt x="1572" y="382"/>
                    </a:lnTo>
                    <a:lnTo>
                      <a:pt x="1556" y="381"/>
                    </a:lnTo>
                    <a:lnTo>
                      <a:pt x="1537" y="379"/>
                    </a:lnTo>
                    <a:lnTo>
                      <a:pt x="1516" y="381"/>
                    </a:lnTo>
                    <a:lnTo>
                      <a:pt x="1496" y="383"/>
                    </a:lnTo>
                    <a:lnTo>
                      <a:pt x="1479" y="387"/>
                    </a:lnTo>
                    <a:lnTo>
                      <a:pt x="1466" y="390"/>
                    </a:lnTo>
                    <a:lnTo>
                      <a:pt x="1456" y="391"/>
                    </a:lnTo>
                    <a:lnTo>
                      <a:pt x="1445" y="393"/>
                    </a:lnTo>
                    <a:lnTo>
                      <a:pt x="1439" y="391"/>
                    </a:lnTo>
                    <a:lnTo>
                      <a:pt x="1434" y="390"/>
                    </a:lnTo>
                    <a:lnTo>
                      <a:pt x="1428" y="389"/>
                    </a:lnTo>
                    <a:lnTo>
                      <a:pt x="1423" y="387"/>
                    </a:lnTo>
                    <a:lnTo>
                      <a:pt x="1411" y="379"/>
                    </a:lnTo>
                    <a:lnTo>
                      <a:pt x="1397" y="372"/>
                    </a:lnTo>
                    <a:lnTo>
                      <a:pt x="1384" y="366"/>
                    </a:lnTo>
                    <a:lnTo>
                      <a:pt x="1376" y="360"/>
                    </a:lnTo>
                    <a:lnTo>
                      <a:pt x="1370" y="356"/>
                    </a:lnTo>
                    <a:lnTo>
                      <a:pt x="1364" y="351"/>
                    </a:lnTo>
                    <a:lnTo>
                      <a:pt x="1354" y="349"/>
                    </a:lnTo>
                    <a:lnTo>
                      <a:pt x="1341" y="347"/>
                    </a:lnTo>
                    <a:lnTo>
                      <a:pt x="1334" y="347"/>
                    </a:lnTo>
                    <a:lnTo>
                      <a:pt x="1329" y="346"/>
                    </a:lnTo>
                    <a:lnTo>
                      <a:pt x="1325" y="345"/>
                    </a:lnTo>
                    <a:lnTo>
                      <a:pt x="1321" y="343"/>
                    </a:lnTo>
                    <a:lnTo>
                      <a:pt x="1315" y="337"/>
                    </a:lnTo>
                    <a:lnTo>
                      <a:pt x="1308" y="331"/>
                    </a:lnTo>
                    <a:lnTo>
                      <a:pt x="1298" y="325"/>
                    </a:lnTo>
                    <a:lnTo>
                      <a:pt x="1288" y="321"/>
                    </a:lnTo>
                    <a:lnTo>
                      <a:pt x="1276" y="319"/>
                    </a:lnTo>
                    <a:lnTo>
                      <a:pt x="1265" y="318"/>
                    </a:lnTo>
                    <a:lnTo>
                      <a:pt x="1260" y="316"/>
                    </a:lnTo>
                    <a:lnTo>
                      <a:pt x="1256" y="315"/>
                    </a:lnTo>
                    <a:lnTo>
                      <a:pt x="1251" y="313"/>
                    </a:lnTo>
                    <a:lnTo>
                      <a:pt x="1247" y="310"/>
                    </a:lnTo>
                    <a:lnTo>
                      <a:pt x="1241" y="302"/>
                    </a:lnTo>
                    <a:lnTo>
                      <a:pt x="1235" y="293"/>
                    </a:lnTo>
                    <a:lnTo>
                      <a:pt x="1233" y="289"/>
                    </a:lnTo>
                    <a:lnTo>
                      <a:pt x="1229" y="288"/>
                    </a:lnTo>
                    <a:lnTo>
                      <a:pt x="1225" y="287"/>
                    </a:lnTo>
                    <a:lnTo>
                      <a:pt x="1220" y="288"/>
                    </a:lnTo>
                    <a:lnTo>
                      <a:pt x="1208" y="290"/>
                    </a:lnTo>
                    <a:lnTo>
                      <a:pt x="1196" y="290"/>
                    </a:lnTo>
                    <a:lnTo>
                      <a:pt x="1187" y="289"/>
                    </a:lnTo>
                    <a:lnTo>
                      <a:pt x="1178" y="286"/>
                    </a:lnTo>
                    <a:lnTo>
                      <a:pt x="1170" y="281"/>
                    </a:lnTo>
                    <a:lnTo>
                      <a:pt x="1159" y="272"/>
                    </a:lnTo>
                    <a:lnTo>
                      <a:pt x="1149" y="262"/>
                    </a:lnTo>
                    <a:lnTo>
                      <a:pt x="1139" y="251"/>
                    </a:lnTo>
                    <a:lnTo>
                      <a:pt x="1132" y="242"/>
                    </a:lnTo>
                    <a:lnTo>
                      <a:pt x="1126" y="233"/>
                    </a:lnTo>
                    <a:lnTo>
                      <a:pt x="1121" y="225"/>
                    </a:lnTo>
                    <a:lnTo>
                      <a:pt x="1115" y="213"/>
                    </a:lnTo>
                    <a:lnTo>
                      <a:pt x="1114" y="207"/>
                    </a:lnTo>
                    <a:lnTo>
                      <a:pt x="1113" y="202"/>
                    </a:lnTo>
                    <a:lnTo>
                      <a:pt x="1113" y="198"/>
                    </a:lnTo>
                    <a:lnTo>
                      <a:pt x="1113" y="193"/>
                    </a:lnTo>
                    <a:lnTo>
                      <a:pt x="1114" y="189"/>
                    </a:lnTo>
                    <a:lnTo>
                      <a:pt x="1115" y="187"/>
                    </a:lnTo>
                    <a:lnTo>
                      <a:pt x="1115" y="183"/>
                    </a:lnTo>
                    <a:lnTo>
                      <a:pt x="1114" y="181"/>
                    </a:lnTo>
                    <a:lnTo>
                      <a:pt x="1113" y="179"/>
                    </a:lnTo>
                    <a:lnTo>
                      <a:pt x="1109" y="176"/>
                    </a:lnTo>
                    <a:lnTo>
                      <a:pt x="1106" y="175"/>
                    </a:lnTo>
                    <a:lnTo>
                      <a:pt x="1102" y="174"/>
                    </a:lnTo>
                    <a:lnTo>
                      <a:pt x="1090" y="170"/>
                    </a:lnTo>
                    <a:lnTo>
                      <a:pt x="1077" y="164"/>
                    </a:lnTo>
                    <a:lnTo>
                      <a:pt x="1064" y="157"/>
                    </a:lnTo>
                    <a:lnTo>
                      <a:pt x="1056" y="150"/>
                    </a:lnTo>
                    <a:lnTo>
                      <a:pt x="1052" y="146"/>
                    </a:lnTo>
                    <a:lnTo>
                      <a:pt x="1050" y="142"/>
                    </a:lnTo>
                    <a:lnTo>
                      <a:pt x="1049" y="136"/>
                    </a:lnTo>
                    <a:lnTo>
                      <a:pt x="1048" y="129"/>
                    </a:lnTo>
                    <a:lnTo>
                      <a:pt x="1046" y="117"/>
                    </a:lnTo>
                    <a:lnTo>
                      <a:pt x="1048" y="105"/>
                    </a:lnTo>
                    <a:lnTo>
                      <a:pt x="1048" y="100"/>
                    </a:lnTo>
                    <a:lnTo>
                      <a:pt x="1046" y="97"/>
                    </a:lnTo>
                    <a:lnTo>
                      <a:pt x="1045" y="93"/>
                    </a:lnTo>
                    <a:lnTo>
                      <a:pt x="1044" y="89"/>
                    </a:lnTo>
                    <a:lnTo>
                      <a:pt x="1042" y="87"/>
                    </a:lnTo>
                    <a:lnTo>
                      <a:pt x="1039" y="83"/>
                    </a:lnTo>
                    <a:lnTo>
                      <a:pt x="1036" y="82"/>
                    </a:lnTo>
                    <a:lnTo>
                      <a:pt x="1032" y="80"/>
                    </a:lnTo>
                    <a:lnTo>
                      <a:pt x="1024" y="76"/>
                    </a:lnTo>
                    <a:lnTo>
                      <a:pt x="1018" y="72"/>
                    </a:lnTo>
                    <a:lnTo>
                      <a:pt x="1013" y="67"/>
                    </a:lnTo>
                    <a:lnTo>
                      <a:pt x="1011" y="61"/>
                    </a:lnTo>
                    <a:lnTo>
                      <a:pt x="1008" y="54"/>
                    </a:lnTo>
                    <a:lnTo>
                      <a:pt x="1006" y="48"/>
                    </a:lnTo>
                    <a:lnTo>
                      <a:pt x="1002" y="42"/>
                    </a:lnTo>
                    <a:lnTo>
                      <a:pt x="996" y="36"/>
                    </a:lnTo>
                    <a:lnTo>
                      <a:pt x="981" y="24"/>
                    </a:lnTo>
                    <a:lnTo>
                      <a:pt x="962" y="9"/>
                    </a:lnTo>
                    <a:lnTo>
                      <a:pt x="952" y="1"/>
                    </a:lnTo>
                    <a:lnTo>
                      <a:pt x="949" y="0"/>
                    </a:lnTo>
                    <a:lnTo>
                      <a:pt x="945" y="4"/>
                    </a:lnTo>
                    <a:lnTo>
                      <a:pt x="939" y="12"/>
                    </a:lnTo>
                    <a:lnTo>
                      <a:pt x="935" y="18"/>
                    </a:lnTo>
                    <a:lnTo>
                      <a:pt x="931" y="19"/>
                    </a:lnTo>
                    <a:lnTo>
                      <a:pt x="927" y="19"/>
                    </a:lnTo>
                    <a:lnTo>
                      <a:pt x="923" y="17"/>
                    </a:lnTo>
                    <a:lnTo>
                      <a:pt x="919" y="16"/>
                    </a:lnTo>
                    <a:lnTo>
                      <a:pt x="916" y="17"/>
                    </a:lnTo>
                    <a:lnTo>
                      <a:pt x="911" y="18"/>
                    </a:lnTo>
                    <a:lnTo>
                      <a:pt x="907" y="19"/>
                    </a:lnTo>
                    <a:lnTo>
                      <a:pt x="899" y="25"/>
                    </a:lnTo>
                    <a:lnTo>
                      <a:pt x="889" y="32"/>
                    </a:lnTo>
                    <a:lnTo>
                      <a:pt x="873" y="43"/>
                    </a:lnTo>
                    <a:lnTo>
                      <a:pt x="861" y="50"/>
                    </a:lnTo>
                    <a:lnTo>
                      <a:pt x="860" y="53"/>
                    </a:lnTo>
                    <a:lnTo>
                      <a:pt x="857" y="54"/>
                    </a:lnTo>
                    <a:lnTo>
                      <a:pt x="855" y="54"/>
                    </a:lnTo>
                    <a:lnTo>
                      <a:pt x="851" y="55"/>
                    </a:lnTo>
                    <a:lnTo>
                      <a:pt x="849" y="54"/>
                    </a:lnTo>
                    <a:lnTo>
                      <a:pt x="847" y="53"/>
                    </a:lnTo>
                    <a:lnTo>
                      <a:pt x="844" y="51"/>
                    </a:lnTo>
                    <a:lnTo>
                      <a:pt x="842" y="48"/>
                    </a:lnTo>
                    <a:lnTo>
                      <a:pt x="839" y="44"/>
                    </a:lnTo>
                    <a:lnTo>
                      <a:pt x="836" y="42"/>
                    </a:lnTo>
                    <a:lnTo>
                      <a:pt x="834" y="42"/>
                    </a:lnTo>
                    <a:lnTo>
                      <a:pt x="829" y="43"/>
                    </a:lnTo>
                    <a:lnTo>
                      <a:pt x="824" y="43"/>
                    </a:lnTo>
                    <a:lnTo>
                      <a:pt x="820" y="41"/>
                    </a:lnTo>
                    <a:lnTo>
                      <a:pt x="819" y="36"/>
                    </a:lnTo>
                    <a:lnTo>
                      <a:pt x="817" y="26"/>
                    </a:lnTo>
                    <a:lnTo>
                      <a:pt x="816" y="16"/>
                    </a:lnTo>
                    <a:lnTo>
                      <a:pt x="812" y="9"/>
                    </a:lnTo>
                    <a:lnTo>
                      <a:pt x="809" y="5"/>
                    </a:lnTo>
                    <a:lnTo>
                      <a:pt x="805" y="1"/>
                    </a:lnTo>
                    <a:lnTo>
                      <a:pt x="803" y="1"/>
                    </a:lnTo>
                    <a:lnTo>
                      <a:pt x="800" y="1"/>
                    </a:lnTo>
                    <a:lnTo>
                      <a:pt x="798" y="1"/>
                    </a:lnTo>
                    <a:lnTo>
                      <a:pt x="796" y="3"/>
                    </a:lnTo>
                    <a:lnTo>
                      <a:pt x="790" y="7"/>
                    </a:lnTo>
                    <a:lnTo>
                      <a:pt x="785" y="13"/>
                    </a:lnTo>
                    <a:lnTo>
                      <a:pt x="779" y="18"/>
                    </a:lnTo>
                    <a:lnTo>
                      <a:pt x="773" y="22"/>
                    </a:lnTo>
                    <a:lnTo>
                      <a:pt x="766" y="24"/>
                    </a:lnTo>
                    <a:lnTo>
                      <a:pt x="756" y="26"/>
                    </a:lnTo>
                    <a:lnTo>
                      <a:pt x="744" y="26"/>
                    </a:lnTo>
                    <a:lnTo>
                      <a:pt x="734" y="28"/>
                    </a:lnTo>
                    <a:lnTo>
                      <a:pt x="722" y="30"/>
                    </a:lnTo>
                    <a:lnTo>
                      <a:pt x="708" y="34"/>
                    </a:lnTo>
                    <a:lnTo>
                      <a:pt x="700" y="35"/>
                    </a:lnTo>
                    <a:lnTo>
                      <a:pt x="694" y="36"/>
                    </a:lnTo>
                    <a:lnTo>
                      <a:pt x="689" y="35"/>
                    </a:lnTo>
                    <a:lnTo>
                      <a:pt x="684" y="34"/>
                    </a:lnTo>
                    <a:lnTo>
                      <a:pt x="675" y="30"/>
                    </a:lnTo>
                    <a:lnTo>
                      <a:pt x="667" y="25"/>
                    </a:lnTo>
                    <a:lnTo>
                      <a:pt x="664" y="22"/>
                    </a:lnTo>
                    <a:lnTo>
                      <a:pt x="658" y="19"/>
                    </a:lnTo>
                    <a:lnTo>
                      <a:pt x="652" y="18"/>
                    </a:lnTo>
                    <a:lnTo>
                      <a:pt x="646" y="17"/>
                    </a:lnTo>
                    <a:lnTo>
                      <a:pt x="633" y="16"/>
                    </a:lnTo>
                    <a:lnTo>
                      <a:pt x="622" y="17"/>
                    </a:lnTo>
                    <a:lnTo>
                      <a:pt x="611" y="18"/>
                    </a:lnTo>
                    <a:lnTo>
                      <a:pt x="598" y="18"/>
                    </a:lnTo>
                    <a:lnTo>
                      <a:pt x="583" y="17"/>
                    </a:lnTo>
                    <a:lnTo>
                      <a:pt x="568" y="13"/>
                    </a:lnTo>
                    <a:lnTo>
                      <a:pt x="553" y="10"/>
                    </a:lnTo>
                    <a:lnTo>
                      <a:pt x="538" y="7"/>
                    </a:lnTo>
                    <a:lnTo>
                      <a:pt x="523" y="7"/>
                    </a:lnTo>
                    <a:lnTo>
                      <a:pt x="516" y="7"/>
                    </a:lnTo>
                    <a:lnTo>
                      <a:pt x="510" y="5"/>
                    </a:lnTo>
                    <a:lnTo>
                      <a:pt x="501" y="3"/>
                    </a:lnTo>
                    <a:lnTo>
                      <a:pt x="495" y="1"/>
                    </a:lnTo>
                    <a:lnTo>
                      <a:pt x="489" y="0"/>
                    </a:lnTo>
                    <a:lnTo>
                      <a:pt x="483" y="1"/>
                    </a:lnTo>
                    <a:lnTo>
                      <a:pt x="477" y="3"/>
                    </a:lnTo>
                    <a:lnTo>
                      <a:pt x="467" y="5"/>
                    </a:lnTo>
                    <a:lnTo>
                      <a:pt x="459" y="7"/>
                    </a:lnTo>
                    <a:lnTo>
                      <a:pt x="451" y="7"/>
                    </a:lnTo>
                    <a:lnTo>
                      <a:pt x="441" y="7"/>
                    </a:lnTo>
                    <a:lnTo>
                      <a:pt x="435" y="7"/>
                    </a:lnTo>
                    <a:lnTo>
                      <a:pt x="431" y="9"/>
                    </a:lnTo>
                    <a:lnTo>
                      <a:pt x="425" y="11"/>
                    </a:lnTo>
                    <a:lnTo>
                      <a:pt x="420" y="15"/>
                    </a:lnTo>
                    <a:lnTo>
                      <a:pt x="412" y="20"/>
                    </a:lnTo>
                    <a:lnTo>
                      <a:pt x="406" y="28"/>
                    </a:lnTo>
                    <a:lnTo>
                      <a:pt x="404" y="31"/>
                    </a:lnTo>
                    <a:lnTo>
                      <a:pt x="402" y="34"/>
                    </a:lnTo>
                    <a:lnTo>
                      <a:pt x="402" y="37"/>
                    </a:lnTo>
                    <a:lnTo>
                      <a:pt x="402" y="41"/>
                    </a:lnTo>
                    <a:lnTo>
                      <a:pt x="403" y="44"/>
                    </a:lnTo>
                    <a:lnTo>
                      <a:pt x="404" y="48"/>
                    </a:lnTo>
                    <a:lnTo>
                      <a:pt x="408" y="50"/>
                    </a:lnTo>
                    <a:lnTo>
                      <a:pt x="413" y="51"/>
                    </a:lnTo>
                    <a:lnTo>
                      <a:pt x="427" y="55"/>
                    </a:lnTo>
                    <a:lnTo>
                      <a:pt x="446" y="57"/>
                    </a:lnTo>
                    <a:lnTo>
                      <a:pt x="465" y="60"/>
                    </a:lnTo>
                    <a:lnTo>
                      <a:pt x="480" y="62"/>
                    </a:lnTo>
                    <a:lnTo>
                      <a:pt x="488" y="63"/>
                    </a:lnTo>
                    <a:lnTo>
                      <a:pt x="494" y="66"/>
                    </a:lnTo>
                    <a:lnTo>
                      <a:pt x="500" y="69"/>
                    </a:lnTo>
                    <a:lnTo>
                      <a:pt x="505" y="73"/>
                    </a:lnTo>
                    <a:lnTo>
                      <a:pt x="510" y="78"/>
                    </a:lnTo>
                    <a:lnTo>
                      <a:pt x="514" y="81"/>
                    </a:lnTo>
                    <a:lnTo>
                      <a:pt x="516" y="86"/>
                    </a:lnTo>
                    <a:lnTo>
                      <a:pt x="517" y="91"/>
                    </a:lnTo>
                    <a:lnTo>
                      <a:pt x="519" y="101"/>
                    </a:lnTo>
                    <a:lnTo>
                      <a:pt x="519" y="118"/>
                    </a:lnTo>
                    <a:lnTo>
                      <a:pt x="517" y="136"/>
                    </a:lnTo>
                    <a:lnTo>
                      <a:pt x="517" y="152"/>
                    </a:lnTo>
                    <a:lnTo>
                      <a:pt x="517" y="160"/>
                    </a:lnTo>
                    <a:lnTo>
                      <a:pt x="519" y="164"/>
                    </a:lnTo>
                    <a:lnTo>
                      <a:pt x="521" y="167"/>
                    </a:lnTo>
                    <a:lnTo>
                      <a:pt x="523" y="168"/>
                    </a:lnTo>
                    <a:lnTo>
                      <a:pt x="529" y="169"/>
                    </a:lnTo>
                    <a:lnTo>
                      <a:pt x="535" y="167"/>
                    </a:lnTo>
                    <a:lnTo>
                      <a:pt x="547" y="163"/>
                    </a:lnTo>
                    <a:lnTo>
                      <a:pt x="560" y="160"/>
                    </a:lnTo>
                    <a:lnTo>
                      <a:pt x="566" y="160"/>
                    </a:lnTo>
                    <a:lnTo>
                      <a:pt x="571" y="161"/>
                    </a:lnTo>
                    <a:lnTo>
                      <a:pt x="574" y="163"/>
                    </a:lnTo>
                    <a:lnTo>
                      <a:pt x="577" y="165"/>
                    </a:lnTo>
                    <a:lnTo>
                      <a:pt x="580" y="168"/>
                    </a:lnTo>
                    <a:lnTo>
                      <a:pt x="585" y="171"/>
                    </a:lnTo>
                    <a:lnTo>
                      <a:pt x="592" y="173"/>
                    </a:lnTo>
                    <a:lnTo>
                      <a:pt x="601" y="174"/>
                    </a:lnTo>
                    <a:lnTo>
                      <a:pt x="610" y="173"/>
                    </a:lnTo>
                    <a:lnTo>
                      <a:pt x="620" y="173"/>
                    </a:lnTo>
                    <a:lnTo>
                      <a:pt x="628" y="175"/>
                    </a:lnTo>
                    <a:lnTo>
                      <a:pt x="634" y="177"/>
                    </a:lnTo>
                    <a:lnTo>
                      <a:pt x="643" y="186"/>
                    </a:lnTo>
                    <a:lnTo>
                      <a:pt x="652" y="192"/>
                    </a:lnTo>
                    <a:lnTo>
                      <a:pt x="656" y="195"/>
                    </a:lnTo>
                    <a:lnTo>
                      <a:pt x="658" y="198"/>
                    </a:lnTo>
                    <a:lnTo>
                      <a:pt x="658" y="202"/>
                    </a:lnTo>
                    <a:lnTo>
                      <a:pt x="658" y="208"/>
                    </a:lnTo>
                    <a:lnTo>
                      <a:pt x="656" y="218"/>
                    </a:lnTo>
                    <a:lnTo>
                      <a:pt x="658" y="228"/>
                    </a:lnTo>
                    <a:lnTo>
                      <a:pt x="662" y="247"/>
                    </a:lnTo>
                    <a:lnTo>
                      <a:pt x="668" y="263"/>
                    </a:lnTo>
                    <a:lnTo>
                      <a:pt x="670" y="272"/>
                    </a:lnTo>
                    <a:lnTo>
                      <a:pt x="668" y="280"/>
                    </a:lnTo>
                    <a:lnTo>
                      <a:pt x="666" y="282"/>
                    </a:lnTo>
                    <a:lnTo>
                      <a:pt x="664" y="284"/>
                    </a:lnTo>
                    <a:lnTo>
                      <a:pt x="661" y="284"/>
                    </a:lnTo>
                    <a:lnTo>
                      <a:pt x="656" y="284"/>
                    </a:lnTo>
                    <a:lnTo>
                      <a:pt x="649" y="284"/>
                    </a:lnTo>
                    <a:lnTo>
                      <a:pt x="645" y="286"/>
                    </a:lnTo>
                    <a:lnTo>
                      <a:pt x="641" y="289"/>
                    </a:lnTo>
                    <a:lnTo>
                      <a:pt x="637" y="294"/>
                    </a:lnTo>
                    <a:lnTo>
                      <a:pt x="631" y="300"/>
                    </a:lnTo>
                    <a:lnTo>
                      <a:pt x="624" y="306"/>
                    </a:lnTo>
                    <a:lnTo>
                      <a:pt x="616" y="313"/>
                    </a:lnTo>
                    <a:lnTo>
                      <a:pt x="609" y="318"/>
                    </a:lnTo>
                    <a:lnTo>
                      <a:pt x="605" y="319"/>
                    </a:lnTo>
                    <a:lnTo>
                      <a:pt x="602" y="318"/>
                    </a:lnTo>
                    <a:lnTo>
                      <a:pt x="597" y="315"/>
                    </a:lnTo>
                    <a:lnTo>
                      <a:pt x="592" y="313"/>
                    </a:lnTo>
                    <a:lnTo>
                      <a:pt x="583" y="305"/>
                    </a:lnTo>
                    <a:lnTo>
                      <a:pt x="574" y="296"/>
                    </a:lnTo>
                    <a:lnTo>
                      <a:pt x="570" y="294"/>
                    </a:lnTo>
                    <a:lnTo>
                      <a:pt x="566" y="291"/>
                    </a:lnTo>
                    <a:lnTo>
                      <a:pt x="563" y="291"/>
                    </a:lnTo>
                    <a:lnTo>
                      <a:pt x="559" y="291"/>
                    </a:lnTo>
                    <a:lnTo>
                      <a:pt x="552" y="294"/>
                    </a:lnTo>
                    <a:lnTo>
                      <a:pt x="546" y="299"/>
                    </a:lnTo>
                    <a:lnTo>
                      <a:pt x="540" y="303"/>
                    </a:lnTo>
                    <a:lnTo>
                      <a:pt x="535" y="306"/>
                    </a:lnTo>
                    <a:lnTo>
                      <a:pt x="530" y="305"/>
                    </a:lnTo>
                    <a:lnTo>
                      <a:pt x="523" y="302"/>
                    </a:lnTo>
                    <a:lnTo>
                      <a:pt x="515" y="300"/>
                    </a:lnTo>
                    <a:lnTo>
                      <a:pt x="505" y="300"/>
                    </a:lnTo>
                    <a:lnTo>
                      <a:pt x="496" y="300"/>
                    </a:lnTo>
                    <a:lnTo>
                      <a:pt x="488" y="299"/>
                    </a:lnTo>
                    <a:lnTo>
                      <a:pt x="482" y="297"/>
                    </a:lnTo>
                    <a:lnTo>
                      <a:pt x="475" y="297"/>
                    </a:lnTo>
                    <a:lnTo>
                      <a:pt x="471" y="297"/>
                    </a:lnTo>
                    <a:lnTo>
                      <a:pt x="469" y="299"/>
                    </a:lnTo>
                    <a:lnTo>
                      <a:pt x="465" y="301"/>
                    </a:lnTo>
                    <a:lnTo>
                      <a:pt x="461" y="303"/>
                    </a:lnTo>
                    <a:lnTo>
                      <a:pt x="456" y="312"/>
                    </a:lnTo>
                    <a:lnTo>
                      <a:pt x="450" y="322"/>
                    </a:lnTo>
                    <a:lnTo>
                      <a:pt x="447" y="328"/>
                    </a:lnTo>
                    <a:lnTo>
                      <a:pt x="445" y="335"/>
                    </a:lnTo>
                    <a:lnTo>
                      <a:pt x="444" y="341"/>
                    </a:lnTo>
                    <a:lnTo>
                      <a:pt x="444" y="349"/>
                    </a:lnTo>
                    <a:lnTo>
                      <a:pt x="444" y="354"/>
                    </a:lnTo>
                    <a:lnTo>
                      <a:pt x="442" y="360"/>
                    </a:lnTo>
                    <a:lnTo>
                      <a:pt x="441" y="364"/>
                    </a:lnTo>
                    <a:lnTo>
                      <a:pt x="440" y="368"/>
                    </a:lnTo>
                    <a:lnTo>
                      <a:pt x="437" y="372"/>
                    </a:lnTo>
                    <a:lnTo>
                      <a:pt x="432" y="376"/>
                    </a:lnTo>
                    <a:lnTo>
                      <a:pt x="426" y="382"/>
                    </a:lnTo>
                    <a:lnTo>
                      <a:pt x="421" y="390"/>
                    </a:lnTo>
                    <a:lnTo>
                      <a:pt x="419" y="396"/>
                    </a:lnTo>
                    <a:lnTo>
                      <a:pt x="416" y="403"/>
                    </a:lnTo>
                    <a:lnTo>
                      <a:pt x="416" y="409"/>
                    </a:lnTo>
                    <a:lnTo>
                      <a:pt x="416" y="417"/>
                    </a:lnTo>
                    <a:lnTo>
                      <a:pt x="417" y="425"/>
                    </a:lnTo>
                    <a:lnTo>
                      <a:pt x="420" y="431"/>
                    </a:lnTo>
                    <a:lnTo>
                      <a:pt x="423" y="435"/>
                    </a:lnTo>
                    <a:lnTo>
                      <a:pt x="427" y="440"/>
                    </a:lnTo>
                    <a:lnTo>
                      <a:pt x="435" y="446"/>
                    </a:lnTo>
                    <a:lnTo>
                      <a:pt x="442" y="452"/>
                    </a:lnTo>
                    <a:lnTo>
                      <a:pt x="445" y="455"/>
                    </a:lnTo>
                    <a:lnTo>
                      <a:pt x="447" y="460"/>
                    </a:lnTo>
                    <a:lnTo>
                      <a:pt x="448" y="466"/>
                    </a:lnTo>
                    <a:lnTo>
                      <a:pt x="450" y="475"/>
                    </a:lnTo>
                    <a:lnTo>
                      <a:pt x="451" y="490"/>
                    </a:lnTo>
                    <a:lnTo>
                      <a:pt x="452" y="508"/>
                    </a:lnTo>
                    <a:lnTo>
                      <a:pt x="451" y="530"/>
                    </a:lnTo>
                    <a:lnTo>
                      <a:pt x="450" y="560"/>
                    </a:lnTo>
                    <a:lnTo>
                      <a:pt x="450" y="576"/>
                    </a:lnTo>
                    <a:lnTo>
                      <a:pt x="451" y="591"/>
                    </a:lnTo>
                    <a:lnTo>
                      <a:pt x="451" y="604"/>
                    </a:lnTo>
                    <a:lnTo>
                      <a:pt x="453" y="615"/>
                    </a:lnTo>
                    <a:lnTo>
                      <a:pt x="454" y="627"/>
                    </a:lnTo>
                    <a:lnTo>
                      <a:pt x="454" y="637"/>
                    </a:lnTo>
                    <a:lnTo>
                      <a:pt x="452" y="646"/>
                    </a:lnTo>
                    <a:lnTo>
                      <a:pt x="448" y="654"/>
                    </a:lnTo>
                    <a:lnTo>
                      <a:pt x="444" y="662"/>
                    </a:lnTo>
                    <a:lnTo>
                      <a:pt x="440" y="667"/>
                    </a:lnTo>
                    <a:lnTo>
                      <a:pt x="440" y="668"/>
                    </a:lnTo>
                    <a:lnTo>
                      <a:pt x="442" y="669"/>
                    </a:lnTo>
                    <a:lnTo>
                      <a:pt x="446" y="669"/>
                    </a:lnTo>
                    <a:lnTo>
                      <a:pt x="451" y="668"/>
                    </a:lnTo>
                    <a:lnTo>
                      <a:pt x="457" y="668"/>
                    </a:lnTo>
                    <a:lnTo>
                      <a:pt x="463" y="669"/>
                    </a:lnTo>
                    <a:lnTo>
                      <a:pt x="469" y="671"/>
                    </a:lnTo>
                    <a:lnTo>
                      <a:pt x="476" y="672"/>
                    </a:lnTo>
                    <a:lnTo>
                      <a:pt x="482" y="675"/>
                    </a:lnTo>
                    <a:lnTo>
                      <a:pt x="488" y="678"/>
                    </a:lnTo>
                    <a:lnTo>
                      <a:pt x="491" y="680"/>
                    </a:lnTo>
                    <a:lnTo>
                      <a:pt x="495" y="684"/>
                    </a:lnTo>
                    <a:lnTo>
                      <a:pt x="496" y="688"/>
                    </a:lnTo>
                    <a:lnTo>
                      <a:pt x="498" y="697"/>
                    </a:lnTo>
                    <a:lnTo>
                      <a:pt x="498" y="705"/>
                    </a:lnTo>
                    <a:lnTo>
                      <a:pt x="500" y="716"/>
                    </a:lnTo>
                    <a:lnTo>
                      <a:pt x="500" y="725"/>
                    </a:lnTo>
                    <a:lnTo>
                      <a:pt x="501" y="735"/>
                    </a:lnTo>
                    <a:lnTo>
                      <a:pt x="502" y="742"/>
                    </a:lnTo>
                    <a:lnTo>
                      <a:pt x="504" y="747"/>
                    </a:lnTo>
                    <a:lnTo>
                      <a:pt x="508" y="749"/>
                    </a:lnTo>
                    <a:lnTo>
                      <a:pt x="511" y="750"/>
                    </a:lnTo>
                    <a:lnTo>
                      <a:pt x="517" y="753"/>
                    </a:lnTo>
                    <a:lnTo>
                      <a:pt x="523" y="754"/>
                    </a:lnTo>
                    <a:lnTo>
                      <a:pt x="534" y="755"/>
                    </a:lnTo>
                    <a:lnTo>
                      <a:pt x="542" y="755"/>
                    </a:lnTo>
                    <a:lnTo>
                      <a:pt x="548" y="755"/>
                    </a:lnTo>
                    <a:lnTo>
                      <a:pt x="555" y="756"/>
                    </a:lnTo>
                    <a:lnTo>
                      <a:pt x="564" y="757"/>
                    </a:lnTo>
                    <a:lnTo>
                      <a:pt x="571" y="761"/>
                    </a:lnTo>
                    <a:lnTo>
                      <a:pt x="587" y="775"/>
                    </a:lnTo>
                    <a:lnTo>
                      <a:pt x="605" y="793"/>
                    </a:lnTo>
                    <a:lnTo>
                      <a:pt x="608" y="795"/>
                    </a:lnTo>
                    <a:lnTo>
                      <a:pt x="611" y="798"/>
                    </a:lnTo>
                    <a:lnTo>
                      <a:pt x="614" y="799"/>
                    </a:lnTo>
                    <a:lnTo>
                      <a:pt x="617" y="799"/>
                    </a:lnTo>
                    <a:lnTo>
                      <a:pt x="626" y="799"/>
                    </a:lnTo>
                    <a:lnTo>
                      <a:pt x="635" y="798"/>
                    </a:lnTo>
                    <a:lnTo>
                      <a:pt x="640" y="798"/>
                    </a:lnTo>
                    <a:lnTo>
                      <a:pt x="645" y="800"/>
                    </a:lnTo>
                    <a:lnTo>
                      <a:pt x="649" y="804"/>
                    </a:lnTo>
                    <a:lnTo>
                      <a:pt x="653" y="809"/>
                    </a:lnTo>
                    <a:lnTo>
                      <a:pt x="656" y="814"/>
                    </a:lnTo>
                    <a:lnTo>
                      <a:pt x="659" y="822"/>
                    </a:lnTo>
                    <a:lnTo>
                      <a:pt x="661" y="829"/>
                    </a:lnTo>
                    <a:lnTo>
                      <a:pt x="664" y="837"/>
                    </a:lnTo>
                    <a:lnTo>
                      <a:pt x="666" y="860"/>
                    </a:lnTo>
                    <a:lnTo>
                      <a:pt x="666" y="885"/>
                    </a:lnTo>
                    <a:lnTo>
                      <a:pt x="665" y="896"/>
                    </a:lnTo>
                    <a:lnTo>
                      <a:pt x="664" y="907"/>
                    </a:lnTo>
                    <a:lnTo>
                      <a:pt x="661" y="917"/>
                    </a:lnTo>
                    <a:lnTo>
                      <a:pt x="658" y="925"/>
                    </a:lnTo>
                    <a:lnTo>
                      <a:pt x="654" y="931"/>
                    </a:lnTo>
                    <a:lnTo>
                      <a:pt x="652" y="937"/>
                    </a:lnTo>
                    <a:lnTo>
                      <a:pt x="652" y="943"/>
                    </a:lnTo>
                    <a:lnTo>
                      <a:pt x="652" y="949"/>
                    </a:lnTo>
                    <a:lnTo>
                      <a:pt x="653" y="961"/>
                    </a:lnTo>
                    <a:lnTo>
                      <a:pt x="656" y="970"/>
                    </a:lnTo>
                    <a:lnTo>
                      <a:pt x="659" y="980"/>
                    </a:lnTo>
                    <a:lnTo>
                      <a:pt x="660" y="992"/>
                    </a:lnTo>
                    <a:lnTo>
                      <a:pt x="660" y="1003"/>
                    </a:lnTo>
                    <a:lnTo>
                      <a:pt x="656" y="1015"/>
                    </a:lnTo>
                    <a:lnTo>
                      <a:pt x="652" y="1027"/>
                    </a:lnTo>
                    <a:lnTo>
                      <a:pt x="645" y="1039"/>
                    </a:lnTo>
                    <a:lnTo>
                      <a:pt x="641" y="1045"/>
                    </a:lnTo>
                    <a:lnTo>
                      <a:pt x="636" y="1050"/>
                    </a:lnTo>
                    <a:lnTo>
                      <a:pt x="631" y="1055"/>
                    </a:lnTo>
                    <a:lnTo>
                      <a:pt x="626" y="1058"/>
                    </a:lnTo>
                    <a:lnTo>
                      <a:pt x="621" y="1060"/>
                    </a:lnTo>
                    <a:lnTo>
                      <a:pt x="617" y="1063"/>
                    </a:lnTo>
                    <a:lnTo>
                      <a:pt x="612" y="1063"/>
                    </a:lnTo>
                    <a:lnTo>
                      <a:pt x="609" y="1063"/>
                    </a:lnTo>
                    <a:lnTo>
                      <a:pt x="605" y="1062"/>
                    </a:lnTo>
                    <a:lnTo>
                      <a:pt x="602" y="1059"/>
                    </a:lnTo>
                    <a:lnTo>
                      <a:pt x="598" y="1056"/>
                    </a:lnTo>
                    <a:lnTo>
                      <a:pt x="593" y="1051"/>
                    </a:lnTo>
                    <a:lnTo>
                      <a:pt x="587" y="1047"/>
                    </a:lnTo>
                    <a:lnTo>
                      <a:pt x="580" y="1044"/>
                    </a:lnTo>
                    <a:lnTo>
                      <a:pt x="572" y="1041"/>
                    </a:lnTo>
                    <a:lnTo>
                      <a:pt x="564" y="1041"/>
                    </a:lnTo>
                    <a:lnTo>
                      <a:pt x="553" y="1041"/>
                    </a:lnTo>
                    <a:lnTo>
                      <a:pt x="543" y="1043"/>
                    </a:lnTo>
                    <a:lnTo>
                      <a:pt x="533" y="1045"/>
                    </a:lnTo>
                    <a:lnTo>
                      <a:pt x="522" y="1050"/>
                    </a:lnTo>
                    <a:lnTo>
                      <a:pt x="513" y="1055"/>
                    </a:lnTo>
                    <a:lnTo>
                      <a:pt x="504" y="1060"/>
                    </a:lnTo>
                    <a:lnTo>
                      <a:pt x="496" y="1068"/>
                    </a:lnTo>
                    <a:lnTo>
                      <a:pt x="489" y="1075"/>
                    </a:lnTo>
                    <a:lnTo>
                      <a:pt x="477" y="1089"/>
                    </a:lnTo>
                    <a:lnTo>
                      <a:pt x="470" y="1101"/>
                    </a:lnTo>
                    <a:lnTo>
                      <a:pt x="464" y="1110"/>
                    </a:lnTo>
                    <a:lnTo>
                      <a:pt x="457" y="1119"/>
                    </a:lnTo>
                    <a:lnTo>
                      <a:pt x="453" y="1121"/>
                    </a:lnTo>
                    <a:lnTo>
                      <a:pt x="450" y="1125"/>
                    </a:lnTo>
                    <a:lnTo>
                      <a:pt x="446" y="1126"/>
                    </a:lnTo>
                    <a:lnTo>
                      <a:pt x="442" y="1127"/>
                    </a:lnTo>
                    <a:lnTo>
                      <a:pt x="435" y="1128"/>
                    </a:lnTo>
                    <a:lnTo>
                      <a:pt x="428" y="1132"/>
                    </a:lnTo>
                    <a:lnTo>
                      <a:pt x="420" y="1137"/>
                    </a:lnTo>
                    <a:lnTo>
                      <a:pt x="410" y="1144"/>
                    </a:lnTo>
                    <a:lnTo>
                      <a:pt x="400" y="1156"/>
                    </a:lnTo>
                    <a:lnTo>
                      <a:pt x="390" y="1167"/>
                    </a:lnTo>
                    <a:lnTo>
                      <a:pt x="382" y="1181"/>
                    </a:lnTo>
                    <a:lnTo>
                      <a:pt x="378" y="1192"/>
                    </a:lnTo>
                    <a:lnTo>
                      <a:pt x="376" y="1197"/>
                    </a:lnTo>
                    <a:lnTo>
                      <a:pt x="375" y="1201"/>
                    </a:lnTo>
                    <a:lnTo>
                      <a:pt x="372" y="1203"/>
                    </a:lnTo>
                    <a:lnTo>
                      <a:pt x="370" y="1205"/>
                    </a:lnTo>
                    <a:lnTo>
                      <a:pt x="369" y="1205"/>
                    </a:lnTo>
                    <a:lnTo>
                      <a:pt x="366" y="1205"/>
                    </a:lnTo>
                    <a:lnTo>
                      <a:pt x="364" y="1204"/>
                    </a:lnTo>
                    <a:lnTo>
                      <a:pt x="363" y="1202"/>
                    </a:lnTo>
                    <a:lnTo>
                      <a:pt x="360" y="1197"/>
                    </a:lnTo>
                    <a:lnTo>
                      <a:pt x="358" y="1189"/>
                    </a:lnTo>
                    <a:lnTo>
                      <a:pt x="356" y="1181"/>
                    </a:lnTo>
                    <a:lnTo>
                      <a:pt x="356" y="1171"/>
                    </a:lnTo>
                    <a:lnTo>
                      <a:pt x="354" y="1163"/>
                    </a:lnTo>
                    <a:lnTo>
                      <a:pt x="352" y="1157"/>
                    </a:lnTo>
                    <a:lnTo>
                      <a:pt x="351" y="1154"/>
                    </a:lnTo>
                    <a:lnTo>
                      <a:pt x="349" y="1153"/>
                    </a:lnTo>
                    <a:lnTo>
                      <a:pt x="346" y="1152"/>
                    </a:lnTo>
                    <a:lnTo>
                      <a:pt x="344" y="1152"/>
                    </a:lnTo>
                    <a:lnTo>
                      <a:pt x="338" y="1153"/>
                    </a:lnTo>
                    <a:lnTo>
                      <a:pt x="332" y="1156"/>
                    </a:lnTo>
                    <a:lnTo>
                      <a:pt x="326" y="1162"/>
                    </a:lnTo>
                    <a:lnTo>
                      <a:pt x="319" y="1169"/>
                    </a:lnTo>
                    <a:lnTo>
                      <a:pt x="310" y="1176"/>
                    </a:lnTo>
                    <a:lnTo>
                      <a:pt x="303" y="1182"/>
                    </a:lnTo>
                    <a:lnTo>
                      <a:pt x="299" y="1184"/>
                    </a:lnTo>
                    <a:lnTo>
                      <a:pt x="295" y="1185"/>
                    </a:lnTo>
                    <a:lnTo>
                      <a:pt x="291" y="1185"/>
                    </a:lnTo>
                    <a:lnTo>
                      <a:pt x="287" y="1184"/>
                    </a:lnTo>
                    <a:lnTo>
                      <a:pt x="283" y="1183"/>
                    </a:lnTo>
                    <a:lnTo>
                      <a:pt x="280" y="1181"/>
                    </a:lnTo>
                    <a:lnTo>
                      <a:pt x="277" y="1178"/>
                    </a:lnTo>
                    <a:lnTo>
                      <a:pt x="275" y="1175"/>
                    </a:lnTo>
                    <a:lnTo>
                      <a:pt x="270" y="1166"/>
                    </a:lnTo>
                    <a:lnTo>
                      <a:pt x="264" y="1153"/>
                    </a:lnTo>
                    <a:lnTo>
                      <a:pt x="262" y="1147"/>
                    </a:lnTo>
                    <a:lnTo>
                      <a:pt x="257" y="1143"/>
                    </a:lnTo>
                    <a:lnTo>
                      <a:pt x="252" y="1139"/>
                    </a:lnTo>
                    <a:lnTo>
                      <a:pt x="247" y="1137"/>
                    </a:lnTo>
                    <a:lnTo>
                      <a:pt x="243" y="1135"/>
                    </a:lnTo>
                    <a:lnTo>
                      <a:pt x="238" y="1135"/>
                    </a:lnTo>
                    <a:lnTo>
                      <a:pt x="233" y="1135"/>
                    </a:lnTo>
                    <a:lnTo>
                      <a:pt x="228" y="1137"/>
                    </a:lnTo>
                    <a:lnTo>
                      <a:pt x="224" y="1140"/>
                    </a:lnTo>
                    <a:lnTo>
                      <a:pt x="219" y="1144"/>
                    </a:lnTo>
                    <a:lnTo>
                      <a:pt x="213" y="1150"/>
                    </a:lnTo>
                    <a:lnTo>
                      <a:pt x="208" y="1156"/>
                    </a:lnTo>
                    <a:lnTo>
                      <a:pt x="196" y="1171"/>
                    </a:lnTo>
                    <a:lnTo>
                      <a:pt x="186" y="1185"/>
                    </a:lnTo>
                    <a:lnTo>
                      <a:pt x="180" y="1192"/>
                    </a:lnTo>
                    <a:lnTo>
                      <a:pt x="174" y="1197"/>
                    </a:lnTo>
                    <a:lnTo>
                      <a:pt x="169" y="1202"/>
                    </a:lnTo>
                    <a:lnTo>
                      <a:pt x="164" y="1204"/>
                    </a:lnTo>
                    <a:lnTo>
                      <a:pt x="160" y="1207"/>
                    </a:lnTo>
                    <a:lnTo>
                      <a:pt x="155" y="1207"/>
                    </a:lnTo>
                    <a:lnTo>
                      <a:pt x="150" y="1207"/>
                    </a:lnTo>
                    <a:lnTo>
                      <a:pt x="146" y="1207"/>
                    </a:lnTo>
                    <a:lnTo>
                      <a:pt x="143" y="1205"/>
                    </a:lnTo>
                    <a:lnTo>
                      <a:pt x="138" y="1203"/>
                    </a:lnTo>
                    <a:lnTo>
                      <a:pt x="135" y="1200"/>
                    </a:lnTo>
                    <a:lnTo>
                      <a:pt x="131" y="1196"/>
                    </a:lnTo>
                    <a:lnTo>
                      <a:pt x="124" y="1189"/>
                    </a:lnTo>
                    <a:lnTo>
                      <a:pt x="119" y="1181"/>
                    </a:lnTo>
                    <a:lnTo>
                      <a:pt x="114" y="1173"/>
                    </a:lnTo>
                    <a:lnTo>
                      <a:pt x="110" y="1167"/>
                    </a:lnTo>
                    <a:lnTo>
                      <a:pt x="107" y="1165"/>
                    </a:lnTo>
                    <a:lnTo>
                      <a:pt x="105" y="1164"/>
                    </a:lnTo>
                    <a:lnTo>
                      <a:pt x="104" y="1164"/>
                    </a:lnTo>
                    <a:lnTo>
                      <a:pt x="101" y="1166"/>
                    </a:lnTo>
                    <a:lnTo>
                      <a:pt x="98" y="1173"/>
                    </a:lnTo>
                    <a:lnTo>
                      <a:pt x="95" y="1183"/>
                    </a:lnTo>
                    <a:lnTo>
                      <a:pt x="93" y="1192"/>
                    </a:lnTo>
                    <a:lnTo>
                      <a:pt x="88" y="1203"/>
                    </a:lnTo>
                    <a:lnTo>
                      <a:pt x="86" y="1208"/>
                    </a:lnTo>
                    <a:lnTo>
                      <a:pt x="83" y="1210"/>
                    </a:lnTo>
                    <a:lnTo>
                      <a:pt x="80" y="1211"/>
                    </a:lnTo>
                    <a:lnTo>
                      <a:pt x="75" y="1213"/>
                    </a:lnTo>
                    <a:lnTo>
                      <a:pt x="66" y="1211"/>
                    </a:lnTo>
                    <a:lnTo>
                      <a:pt x="53" y="1208"/>
                    </a:lnTo>
                    <a:lnTo>
                      <a:pt x="45" y="1208"/>
                    </a:lnTo>
                    <a:lnTo>
                      <a:pt x="39" y="1209"/>
                    </a:lnTo>
                    <a:lnTo>
                      <a:pt x="34" y="1211"/>
                    </a:lnTo>
                    <a:lnTo>
                      <a:pt x="29" y="1216"/>
                    </a:lnTo>
                    <a:lnTo>
                      <a:pt x="19" y="1226"/>
                    </a:lnTo>
                    <a:lnTo>
                      <a:pt x="13" y="1236"/>
                    </a:lnTo>
                    <a:lnTo>
                      <a:pt x="9" y="1245"/>
                    </a:lnTo>
                    <a:lnTo>
                      <a:pt x="7" y="1251"/>
                    </a:lnTo>
                    <a:lnTo>
                      <a:pt x="7" y="1254"/>
                    </a:lnTo>
                    <a:lnTo>
                      <a:pt x="9" y="1257"/>
                    </a:lnTo>
                    <a:lnTo>
                      <a:pt x="11" y="1259"/>
                    </a:lnTo>
                    <a:lnTo>
                      <a:pt x="14" y="1263"/>
                    </a:lnTo>
                    <a:lnTo>
                      <a:pt x="23" y="1268"/>
                    </a:lnTo>
                    <a:lnTo>
                      <a:pt x="34" y="1276"/>
                    </a:lnTo>
                    <a:lnTo>
                      <a:pt x="44" y="1284"/>
                    </a:lnTo>
                    <a:lnTo>
                      <a:pt x="54" y="1293"/>
                    </a:lnTo>
                    <a:lnTo>
                      <a:pt x="58" y="1298"/>
                    </a:lnTo>
                    <a:lnTo>
                      <a:pt x="61" y="1304"/>
                    </a:lnTo>
                    <a:lnTo>
                      <a:pt x="63" y="1309"/>
                    </a:lnTo>
                    <a:lnTo>
                      <a:pt x="66" y="1314"/>
                    </a:lnTo>
                    <a:lnTo>
                      <a:pt x="67" y="1327"/>
                    </a:lnTo>
                    <a:lnTo>
                      <a:pt x="68" y="1343"/>
                    </a:lnTo>
                    <a:lnTo>
                      <a:pt x="68" y="1353"/>
                    </a:lnTo>
                    <a:lnTo>
                      <a:pt x="67" y="1359"/>
                    </a:lnTo>
                    <a:lnTo>
                      <a:pt x="66" y="1365"/>
                    </a:lnTo>
                    <a:lnTo>
                      <a:pt x="64" y="1368"/>
                    </a:lnTo>
                    <a:lnTo>
                      <a:pt x="61" y="1374"/>
                    </a:lnTo>
                    <a:lnTo>
                      <a:pt x="56" y="1383"/>
                    </a:lnTo>
                    <a:lnTo>
                      <a:pt x="54" y="1386"/>
                    </a:lnTo>
                    <a:lnTo>
                      <a:pt x="54" y="1390"/>
                    </a:lnTo>
                    <a:lnTo>
                      <a:pt x="55" y="1392"/>
                    </a:lnTo>
                    <a:lnTo>
                      <a:pt x="56" y="1394"/>
                    </a:lnTo>
                    <a:lnTo>
                      <a:pt x="60" y="1402"/>
                    </a:lnTo>
                    <a:lnTo>
                      <a:pt x="63" y="1412"/>
                    </a:lnTo>
                    <a:lnTo>
                      <a:pt x="64" y="1419"/>
                    </a:lnTo>
                    <a:lnTo>
                      <a:pt x="64" y="1427"/>
                    </a:lnTo>
                    <a:lnTo>
                      <a:pt x="63" y="1435"/>
                    </a:lnTo>
                    <a:lnTo>
                      <a:pt x="62" y="1442"/>
                    </a:lnTo>
                    <a:lnTo>
                      <a:pt x="60" y="1449"/>
                    </a:lnTo>
                    <a:lnTo>
                      <a:pt x="57" y="1456"/>
                    </a:lnTo>
                    <a:lnTo>
                      <a:pt x="54" y="1462"/>
                    </a:lnTo>
                    <a:lnTo>
                      <a:pt x="49" y="1466"/>
                    </a:lnTo>
                    <a:lnTo>
                      <a:pt x="44" y="1469"/>
                    </a:lnTo>
                    <a:lnTo>
                      <a:pt x="38" y="1473"/>
                    </a:lnTo>
                    <a:lnTo>
                      <a:pt x="32" y="1475"/>
                    </a:lnTo>
                    <a:lnTo>
                      <a:pt x="25" y="1478"/>
                    </a:lnTo>
                    <a:lnTo>
                      <a:pt x="13" y="1480"/>
                    </a:lnTo>
                    <a:lnTo>
                      <a:pt x="4" y="1484"/>
                    </a:lnTo>
                    <a:lnTo>
                      <a:pt x="3" y="1486"/>
                    </a:lnTo>
                    <a:lnTo>
                      <a:pt x="0" y="1487"/>
                    </a:lnTo>
                    <a:lnTo>
                      <a:pt x="0" y="1490"/>
                    </a:lnTo>
                    <a:lnTo>
                      <a:pt x="0" y="1492"/>
                    </a:lnTo>
                    <a:lnTo>
                      <a:pt x="1" y="1497"/>
                    </a:lnTo>
                    <a:lnTo>
                      <a:pt x="6" y="1500"/>
                    </a:lnTo>
                    <a:lnTo>
                      <a:pt x="11" y="1505"/>
                    </a:lnTo>
                    <a:lnTo>
                      <a:pt x="17" y="1510"/>
                    </a:lnTo>
                    <a:lnTo>
                      <a:pt x="20" y="1517"/>
                    </a:lnTo>
                    <a:lnTo>
                      <a:pt x="25" y="1526"/>
                    </a:lnTo>
                    <a:lnTo>
                      <a:pt x="29" y="1536"/>
                    </a:lnTo>
                    <a:lnTo>
                      <a:pt x="32" y="1544"/>
                    </a:lnTo>
                    <a:lnTo>
                      <a:pt x="35" y="1547"/>
                    </a:lnTo>
                    <a:lnTo>
                      <a:pt x="37" y="1549"/>
                    </a:lnTo>
                    <a:lnTo>
                      <a:pt x="39" y="1550"/>
                    </a:lnTo>
                    <a:lnTo>
                      <a:pt x="42" y="1551"/>
                    </a:lnTo>
                    <a:lnTo>
                      <a:pt x="45" y="1550"/>
                    </a:lnTo>
                    <a:lnTo>
                      <a:pt x="50" y="1549"/>
                    </a:lnTo>
                    <a:lnTo>
                      <a:pt x="54" y="1545"/>
                    </a:lnTo>
                    <a:lnTo>
                      <a:pt x="58" y="1538"/>
                    </a:lnTo>
                    <a:lnTo>
                      <a:pt x="63" y="1528"/>
                    </a:lnTo>
                    <a:lnTo>
                      <a:pt x="67" y="1516"/>
                    </a:lnTo>
                    <a:lnTo>
                      <a:pt x="73" y="1505"/>
                    </a:lnTo>
                    <a:lnTo>
                      <a:pt x="78" y="1497"/>
                    </a:lnTo>
                    <a:lnTo>
                      <a:pt x="85" y="1492"/>
                    </a:lnTo>
                    <a:lnTo>
                      <a:pt x="93" y="1490"/>
                    </a:lnTo>
                    <a:lnTo>
                      <a:pt x="97" y="1488"/>
                    </a:lnTo>
                    <a:lnTo>
                      <a:pt x="99" y="1488"/>
                    </a:lnTo>
                    <a:lnTo>
                      <a:pt x="102" y="1490"/>
                    </a:lnTo>
                    <a:lnTo>
                      <a:pt x="104" y="1491"/>
                    </a:lnTo>
                    <a:lnTo>
                      <a:pt x="106" y="1497"/>
                    </a:lnTo>
                    <a:lnTo>
                      <a:pt x="106" y="1506"/>
                    </a:lnTo>
                    <a:lnTo>
                      <a:pt x="106" y="1519"/>
                    </a:lnTo>
                    <a:lnTo>
                      <a:pt x="106" y="1534"/>
                    </a:lnTo>
                    <a:lnTo>
                      <a:pt x="107" y="1542"/>
                    </a:lnTo>
                    <a:lnTo>
                      <a:pt x="110" y="1548"/>
                    </a:lnTo>
                    <a:lnTo>
                      <a:pt x="113" y="1553"/>
                    </a:lnTo>
                    <a:lnTo>
                      <a:pt x="118" y="1557"/>
                    </a:lnTo>
                    <a:lnTo>
                      <a:pt x="127" y="1564"/>
                    </a:lnTo>
                    <a:lnTo>
                      <a:pt x="138" y="1568"/>
                    </a:lnTo>
                    <a:lnTo>
                      <a:pt x="148" y="1570"/>
                    </a:lnTo>
                    <a:lnTo>
                      <a:pt x="157" y="1574"/>
                    </a:lnTo>
                    <a:lnTo>
                      <a:pt x="162" y="1575"/>
                    </a:lnTo>
                    <a:lnTo>
                      <a:pt x="165" y="1578"/>
                    </a:lnTo>
                    <a:lnTo>
                      <a:pt x="169" y="1580"/>
                    </a:lnTo>
                    <a:lnTo>
                      <a:pt x="173" y="1583"/>
                    </a:lnTo>
                    <a:lnTo>
                      <a:pt x="179" y="1594"/>
                    </a:lnTo>
                    <a:lnTo>
                      <a:pt x="186" y="1610"/>
                    </a:lnTo>
                    <a:lnTo>
                      <a:pt x="188" y="1618"/>
                    </a:lnTo>
                    <a:lnTo>
                      <a:pt x="189" y="1626"/>
                    </a:lnTo>
                    <a:lnTo>
                      <a:pt x="189" y="1633"/>
                    </a:lnTo>
                    <a:lnTo>
                      <a:pt x="188" y="1639"/>
                    </a:lnTo>
                    <a:lnTo>
                      <a:pt x="186" y="1644"/>
                    </a:lnTo>
                    <a:lnTo>
                      <a:pt x="184" y="1649"/>
                    </a:lnTo>
                    <a:lnTo>
                      <a:pt x="184" y="1652"/>
                    </a:lnTo>
                    <a:lnTo>
                      <a:pt x="186" y="1657"/>
                    </a:lnTo>
                    <a:lnTo>
                      <a:pt x="189" y="1664"/>
                    </a:lnTo>
                    <a:lnTo>
                      <a:pt x="195" y="1671"/>
                    </a:lnTo>
                    <a:lnTo>
                      <a:pt x="198" y="1675"/>
                    </a:lnTo>
                    <a:lnTo>
                      <a:pt x="199" y="1679"/>
                    </a:lnTo>
                    <a:lnTo>
                      <a:pt x="200" y="1682"/>
                    </a:lnTo>
                    <a:lnTo>
                      <a:pt x="201" y="1686"/>
                    </a:lnTo>
                    <a:lnTo>
                      <a:pt x="200" y="1695"/>
                    </a:lnTo>
                    <a:lnTo>
                      <a:pt x="199" y="1706"/>
                    </a:lnTo>
                    <a:lnTo>
                      <a:pt x="198" y="1711"/>
                    </a:lnTo>
                    <a:lnTo>
                      <a:pt x="199" y="1714"/>
                    </a:lnTo>
                    <a:lnTo>
                      <a:pt x="201" y="1717"/>
                    </a:lnTo>
                    <a:lnTo>
                      <a:pt x="204" y="1719"/>
                    </a:lnTo>
                    <a:lnTo>
                      <a:pt x="206" y="1719"/>
                    </a:lnTo>
                    <a:lnTo>
                      <a:pt x="209" y="1719"/>
                    </a:lnTo>
                    <a:lnTo>
                      <a:pt x="213" y="1718"/>
                    </a:lnTo>
                    <a:lnTo>
                      <a:pt x="217" y="1717"/>
                    </a:lnTo>
                    <a:lnTo>
                      <a:pt x="224" y="1712"/>
                    </a:lnTo>
                    <a:lnTo>
                      <a:pt x="231" y="1707"/>
                    </a:lnTo>
                    <a:lnTo>
                      <a:pt x="238" y="1700"/>
                    </a:lnTo>
                    <a:lnTo>
                      <a:pt x="243" y="1694"/>
                    </a:lnTo>
                    <a:lnTo>
                      <a:pt x="247" y="1688"/>
                    </a:lnTo>
                    <a:lnTo>
                      <a:pt x="251" y="1685"/>
                    </a:lnTo>
                    <a:lnTo>
                      <a:pt x="252" y="1685"/>
                    </a:lnTo>
                    <a:lnTo>
                      <a:pt x="255" y="1686"/>
                    </a:lnTo>
                    <a:lnTo>
                      <a:pt x="257" y="1687"/>
                    </a:lnTo>
                    <a:lnTo>
                      <a:pt x="259" y="1689"/>
                    </a:lnTo>
                    <a:lnTo>
                      <a:pt x="263" y="1694"/>
                    </a:lnTo>
                    <a:lnTo>
                      <a:pt x="265" y="1699"/>
                    </a:lnTo>
                    <a:lnTo>
                      <a:pt x="267" y="1704"/>
                    </a:lnTo>
                    <a:lnTo>
                      <a:pt x="269" y="1709"/>
                    </a:lnTo>
                    <a:lnTo>
                      <a:pt x="271" y="1724"/>
                    </a:lnTo>
                    <a:lnTo>
                      <a:pt x="272" y="1739"/>
                    </a:lnTo>
                    <a:lnTo>
                      <a:pt x="274" y="1756"/>
                    </a:lnTo>
                    <a:lnTo>
                      <a:pt x="276" y="1770"/>
                    </a:lnTo>
                    <a:lnTo>
                      <a:pt x="277" y="1776"/>
                    </a:lnTo>
                    <a:lnTo>
                      <a:pt x="281" y="1782"/>
                    </a:lnTo>
                    <a:lnTo>
                      <a:pt x="284" y="1788"/>
                    </a:lnTo>
                    <a:lnTo>
                      <a:pt x="289" y="1793"/>
                    </a:lnTo>
                    <a:lnTo>
                      <a:pt x="300" y="1801"/>
                    </a:lnTo>
                    <a:lnTo>
                      <a:pt x="309" y="1805"/>
                    </a:lnTo>
                    <a:lnTo>
                      <a:pt x="314" y="1807"/>
                    </a:lnTo>
                    <a:lnTo>
                      <a:pt x="318" y="1808"/>
                    </a:lnTo>
                    <a:lnTo>
                      <a:pt x="320" y="1808"/>
                    </a:lnTo>
                    <a:lnTo>
                      <a:pt x="321" y="1807"/>
                    </a:lnTo>
                    <a:lnTo>
                      <a:pt x="322" y="1806"/>
                    </a:lnTo>
                    <a:lnTo>
                      <a:pt x="324" y="1803"/>
                    </a:lnTo>
                    <a:lnTo>
                      <a:pt x="327" y="1794"/>
                    </a:lnTo>
                    <a:lnTo>
                      <a:pt x="331" y="1789"/>
                    </a:lnTo>
                    <a:lnTo>
                      <a:pt x="333" y="1786"/>
                    </a:lnTo>
                    <a:lnTo>
                      <a:pt x="335" y="1783"/>
                    </a:lnTo>
                    <a:lnTo>
                      <a:pt x="337" y="1778"/>
                    </a:lnTo>
                    <a:lnTo>
                      <a:pt x="337" y="1772"/>
                    </a:lnTo>
                    <a:lnTo>
                      <a:pt x="338" y="1768"/>
                    </a:lnTo>
                    <a:lnTo>
                      <a:pt x="339" y="1764"/>
                    </a:lnTo>
                    <a:lnTo>
                      <a:pt x="340" y="1761"/>
                    </a:lnTo>
                    <a:lnTo>
                      <a:pt x="343" y="1758"/>
                    </a:lnTo>
                    <a:lnTo>
                      <a:pt x="346" y="1756"/>
                    </a:lnTo>
                    <a:lnTo>
                      <a:pt x="351" y="1755"/>
                    </a:lnTo>
                    <a:lnTo>
                      <a:pt x="354" y="1753"/>
                    </a:lnTo>
                    <a:lnTo>
                      <a:pt x="359" y="1751"/>
                    </a:lnTo>
                    <a:lnTo>
                      <a:pt x="362" y="1747"/>
                    </a:lnTo>
                    <a:lnTo>
                      <a:pt x="364" y="1743"/>
                    </a:lnTo>
                    <a:lnTo>
                      <a:pt x="362" y="1734"/>
                    </a:lnTo>
                    <a:lnTo>
                      <a:pt x="359" y="1724"/>
                    </a:lnTo>
                    <a:lnTo>
                      <a:pt x="358" y="1718"/>
                    </a:lnTo>
                    <a:lnTo>
                      <a:pt x="358" y="1712"/>
                    </a:lnTo>
                    <a:lnTo>
                      <a:pt x="359" y="1706"/>
                    </a:lnTo>
                    <a:lnTo>
                      <a:pt x="362" y="1701"/>
                    </a:lnTo>
                    <a:lnTo>
                      <a:pt x="370" y="1695"/>
                    </a:lnTo>
                    <a:lnTo>
                      <a:pt x="376" y="1692"/>
                    </a:lnTo>
                    <a:lnTo>
                      <a:pt x="381" y="1689"/>
                    </a:lnTo>
                    <a:lnTo>
                      <a:pt x="383" y="1687"/>
                    </a:lnTo>
                    <a:lnTo>
                      <a:pt x="385" y="1685"/>
                    </a:lnTo>
                    <a:lnTo>
                      <a:pt x="387" y="1682"/>
                    </a:lnTo>
                    <a:lnTo>
                      <a:pt x="387" y="1676"/>
                    </a:lnTo>
                    <a:lnTo>
                      <a:pt x="387" y="1668"/>
                    </a:lnTo>
                    <a:lnTo>
                      <a:pt x="387" y="1662"/>
                    </a:lnTo>
                    <a:lnTo>
                      <a:pt x="387" y="1655"/>
                    </a:lnTo>
                    <a:lnTo>
                      <a:pt x="388" y="1649"/>
                    </a:lnTo>
                    <a:lnTo>
                      <a:pt x="390" y="1644"/>
                    </a:lnTo>
                    <a:lnTo>
                      <a:pt x="396" y="1635"/>
                    </a:lnTo>
                    <a:lnTo>
                      <a:pt x="403" y="1623"/>
                    </a:lnTo>
                    <a:lnTo>
                      <a:pt x="410" y="1611"/>
                    </a:lnTo>
                    <a:lnTo>
                      <a:pt x="416" y="1602"/>
                    </a:lnTo>
                    <a:lnTo>
                      <a:pt x="421" y="1597"/>
                    </a:lnTo>
                    <a:lnTo>
                      <a:pt x="427" y="1591"/>
                    </a:lnTo>
                    <a:lnTo>
                      <a:pt x="434" y="1586"/>
                    </a:lnTo>
                    <a:lnTo>
                      <a:pt x="441" y="1583"/>
                    </a:lnTo>
                    <a:lnTo>
                      <a:pt x="456" y="1582"/>
                    </a:lnTo>
                    <a:lnTo>
                      <a:pt x="469" y="1582"/>
                    </a:lnTo>
                    <a:lnTo>
                      <a:pt x="478" y="1585"/>
                    </a:lnTo>
                    <a:lnTo>
                      <a:pt x="484" y="1586"/>
                    </a:lnTo>
                    <a:lnTo>
                      <a:pt x="485" y="1586"/>
                    </a:lnTo>
                    <a:lnTo>
                      <a:pt x="488" y="1585"/>
                    </a:lnTo>
                    <a:lnTo>
                      <a:pt x="491" y="1582"/>
                    </a:lnTo>
                    <a:lnTo>
                      <a:pt x="494" y="1580"/>
                    </a:lnTo>
                    <a:lnTo>
                      <a:pt x="497" y="1576"/>
                    </a:lnTo>
                    <a:lnTo>
                      <a:pt x="500" y="1572"/>
                    </a:lnTo>
                    <a:lnTo>
                      <a:pt x="503" y="1566"/>
                    </a:lnTo>
                    <a:lnTo>
                      <a:pt x="504" y="1560"/>
                    </a:lnTo>
                    <a:lnTo>
                      <a:pt x="507" y="1553"/>
                    </a:lnTo>
                    <a:lnTo>
                      <a:pt x="509" y="1547"/>
                    </a:lnTo>
                    <a:lnTo>
                      <a:pt x="513" y="1541"/>
                    </a:lnTo>
                    <a:lnTo>
                      <a:pt x="517" y="1536"/>
                    </a:lnTo>
                    <a:lnTo>
                      <a:pt x="523" y="1531"/>
                    </a:lnTo>
                    <a:lnTo>
                      <a:pt x="532" y="1528"/>
                    </a:lnTo>
                    <a:lnTo>
                      <a:pt x="541" y="1525"/>
                    </a:lnTo>
                    <a:lnTo>
                      <a:pt x="553" y="1523"/>
                    </a:lnTo>
                    <a:lnTo>
                      <a:pt x="576" y="1523"/>
                    </a:lnTo>
                    <a:lnTo>
                      <a:pt x="593" y="1524"/>
                    </a:lnTo>
                    <a:lnTo>
                      <a:pt x="602" y="1525"/>
                    </a:lnTo>
                    <a:lnTo>
                      <a:pt x="609" y="1525"/>
                    </a:lnTo>
                    <a:lnTo>
                      <a:pt x="616" y="1524"/>
                    </a:lnTo>
                    <a:lnTo>
                      <a:pt x="624" y="1523"/>
                    </a:lnTo>
                    <a:lnTo>
                      <a:pt x="639" y="1518"/>
                    </a:lnTo>
                    <a:lnTo>
                      <a:pt x="652" y="1517"/>
                    </a:lnTo>
                    <a:lnTo>
                      <a:pt x="659" y="1518"/>
                    </a:lnTo>
                    <a:lnTo>
                      <a:pt x="666" y="1520"/>
                    </a:lnTo>
                    <a:lnTo>
                      <a:pt x="672" y="1524"/>
                    </a:lnTo>
                    <a:lnTo>
                      <a:pt x="679" y="1530"/>
                    </a:lnTo>
                    <a:lnTo>
                      <a:pt x="698" y="1550"/>
                    </a:lnTo>
                    <a:lnTo>
                      <a:pt x="709" y="1564"/>
                    </a:lnTo>
                    <a:lnTo>
                      <a:pt x="712" y="1569"/>
                    </a:lnTo>
                    <a:lnTo>
                      <a:pt x="718" y="1572"/>
                    </a:lnTo>
                    <a:lnTo>
                      <a:pt x="724" y="1572"/>
                    </a:lnTo>
                    <a:lnTo>
                      <a:pt x="731" y="1572"/>
                    </a:lnTo>
                    <a:lnTo>
                      <a:pt x="736" y="1575"/>
                    </a:lnTo>
                    <a:lnTo>
                      <a:pt x="742" y="1578"/>
                    </a:lnTo>
                    <a:lnTo>
                      <a:pt x="747" y="1576"/>
                    </a:lnTo>
                    <a:lnTo>
                      <a:pt x="750" y="1575"/>
                    </a:lnTo>
                    <a:lnTo>
                      <a:pt x="753" y="1572"/>
                    </a:lnTo>
                    <a:lnTo>
                      <a:pt x="757" y="1567"/>
                    </a:lnTo>
                    <a:lnTo>
                      <a:pt x="761" y="1561"/>
                    </a:lnTo>
                    <a:lnTo>
                      <a:pt x="766" y="1557"/>
                    </a:lnTo>
                    <a:lnTo>
                      <a:pt x="772" y="1555"/>
                    </a:lnTo>
                    <a:lnTo>
                      <a:pt x="778" y="1554"/>
                    </a:lnTo>
                    <a:lnTo>
                      <a:pt x="786" y="1553"/>
                    </a:lnTo>
                    <a:lnTo>
                      <a:pt x="796" y="1551"/>
                    </a:lnTo>
                    <a:lnTo>
                      <a:pt x="805" y="1550"/>
                    </a:lnTo>
                    <a:lnTo>
                      <a:pt x="815" y="1547"/>
                    </a:lnTo>
                    <a:lnTo>
                      <a:pt x="820" y="1544"/>
                    </a:lnTo>
                    <a:lnTo>
                      <a:pt x="825" y="1542"/>
                    </a:lnTo>
                    <a:lnTo>
                      <a:pt x="829" y="1537"/>
                    </a:lnTo>
                    <a:lnTo>
                      <a:pt x="832" y="1532"/>
                    </a:lnTo>
                    <a:lnTo>
                      <a:pt x="835" y="1528"/>
                    </a:lnTo>
                    <a:lnTo>
                      <a:pt x="836" y="1523"/>
                    </a:lnTo>
                    <a:lnTo>
                      <a:pt x="837" y="1518"/>
                    </a:lnTo>
                    <a:lnTo>
                      <a:pt x="836" y="1513"/>
                    </a:lnTo>
                    <a:lnTo>
                      <a:pt x="835" y="1509"/>
                    </a:lnTo>
                    <a:lnTo>
                      <a:pt x="832" y="1504"/>
                    </a:lnTo>
                    <a:lnTo>
                      <a:pt x="830" y="1499"/>
                    </a:lnTo>
                    <a:lnTo>
                      <a:pt x="826" y="1496"/>
                    </a:lnTo>
                    <a:lnTo>
                      <a:pt x="818" y="1487"/>
                    </a:lnTo>
                    <a:lnTo>
                      <a:pt x="809" y="1480"/>
                    </a:lnTo>
                    <a:lnTo>
                      <a:pt x="799" y="1473"/>
                    </a:lnTo>
                    <a:lnTo>
                      <a:pt x="791" y="1466"/>
                    </a:lnTo>
                    <a:lnTo>
                      <a:pt x="785" y="1459"/>
                    </a:lnTo>
                    <a:lnTo>
                      <a:pt x="781" y="1452"/>
                    </a:lnTo>
                    <a:lnTo>
                      <a:pt x="780" y="1448"/>
                    </a:lnTo>
                    <a:lnTo>
                      <a:pt x="780" y="1444"/>
                    </a:lnTo>
                    <a:lnTo>
                      <a:pt x="781" y="1441"/>
                    </a:lnTo>
                    <a:lnTo>
                      <a:pt x="782" y="1438"/>
                    </a:lnTo>
                    <a:lnTo>
                      <a:pt x="787" y="1434"/>
                    </a:lnTo>
                    <a:lnTo>
                      <a:pt x="792" y="1431"/>
                    </a:lnTo>
                    <a:lnTo>
                      <a:pt x="794" y="1430"/>
                    </a:lnTo>
                    <a:lnTo>
                      <a:pt x="793" y="1428"/>
                    </a:lnTo>
                    <a:lnTo>
                      <a:pt x="792" y="1424"/>
                    </a:lnTo>
                    <a:lnTo>
                      <a:pt x="790" y="1421"/>
                    </a:lnTo>
                    <a:lnTo>
                      <a:pt x="784" y="1412"/>
                    </a:lnTo>
                    <a:lnTo>
                      <a:pt x="778" y="1405"/>
                    </a:lnTo>
                    <a:lnTo>
                      <a:pt x="776" y="1402"/>
                    </a:lnTo>
                    <a:lnTo>
                      <a:pt x="776" y="1398"/>
                    </a:lnTo>
                    <a:lnTo>
                      <a:pt x="776" y="1394"/>
                    </a:lnTo>
                    <a:lnTo>
                      <a:pt x="778" y="1392"/>
                    </a:lnTo>
                    <a:lnTo>
                      <a:pt x="782" y="1386"/>
                    </a:lnTo>
                    <a:lnTo>
                      <a:pt x="791" y="1380"/>
                    </a:lnTo>
                    <a:lnTo>
                      <a:pt x="797" y="1378"/>
                    </a:lnTo>
                    <a:lnTo>
                      <a:pt x="803" y="1377"/>
                    </a:lnTo>
                    <a:lnTo>
                      <a:pt x="811" y="1375"/>
                    </a:lnTo>
                    <a:lnTo>
                      <a:pt x="818" y="1377"/>
                    </a:lnTo>
                    <a:lnTo>
                      <a:pt x="826" y="1378"/>
                    </a:lnTo>
                    <a:lnTo>
                      <a:pt x="835" y="1380"/>
                    </a:lnTo>
                    <a:lnTo>
                      <a:pt x="842" y="1383"/>
                    </a:lnTo>
                    <a:lnTo>
                      <a:pt x="848" y="1386"/>
                    </a:lnTo>
                    <a:lnTo>
                      <a:pt x="853" y="1390"/>
                    </a:lnTo>
                    <a:lnTo>
                      <a:pt x="857" y="1392"/>
                    </a:lnTo>
                    <a:lnTo>
                      <a:pt x="863" y="1394"/>
                    </a:lnTo>
                    <a:lnTo>
                      <a:pt x="868" y="1394"/>
                    </a:lnTo>
                    <a:lnTo>
                      <a:pt x="872" y="1394"/>
                    </a:lnTo>
                    <a:lnTo>
                      <a:pt x="875" y="1393"/>
                    </a:lnTo>
                    <a:lnTo>
                      <a:pt x="878" y="1391"/>
                    </a:lnTo>
                    <a:lnTo>
                      <a:pt x="879" y="1386"/>
                    </a:lnTo>
                    <a:lnTo>
                      <a:pt x="881" y="1378"/>
                    </a:lnTo>
                    <a:lnTo>
                      <a:pt x="882" y="1370"/>
                    </a:lnTo>
                    <a:lnTo>
                      <a:pt x="885" y="1367"/>
                    </a:lnTo>
                    <a:lnTo>
                      <a:pt x="887" y="1365"/>
                    </a:lnTo>
                    <a:lnTo>
                      <a:pt x="891" y="1362"/>
                    </a:lnTo>
                    <a:lnTo>
                      <a:pt x="895" y="1361"/>
                    </a:lnTo>
                    <a:lnTo>
                      <a:pt x="908" y="1360"/>
                    </a:lnTo>
                    <a:lnTo>
                      <a:pt x="922" y="1360"/>
                    </a:lnTo>
                    <a:lnTo>
                      <a:pt x="929" y="1361"/>
                    </a:lnTo>
                    <a:lnTo>
                      <a:pt x="933" y="1362"/>
                    </a:lnTo>
                    <a:lnTo>
                      <a:pt x="938" y="1365"/>
                    </a:lnTo>
                    <a:lnTo>
                      <a:pt x="939" y="1367"/>
                    </a:lnTo>
                    <a:lnTo>
                      <a:pt x="943" y="1375"/>
                    </a:lnTo>
                    <a:lnTo>
                      <a:pt x="945" y="1385"/>
                    </a:lnTo>
                    <a:lnTo>
                      <a:pt x="948" y="1389"/>
                    </a:lnTo>
                    <a:lnTo>
                      <a:pt x="950" y="1392"/>
                    </a:lnTo>
                    <a:lnTo>
                      <a:pt x="952" y="1394"/>
                    </a:lnTo>
                    <a:lnTo>
                      <a:pt x="955" y="1396"/>
                    </a:lnTo>
                    <a:lnTo>
                      <a:pt x="967" y="1394"/>
                    </a:lnTo>
                    <a:lnTo>
                      <a:pt x="983" y="1394"/>
                    </a:lnTo>
                    <a:lnTo>
                      <a:pt x="1004" y="1394"/>
                    </a:lnTo>
                    <a:lnTo>
                      <a:pt x="1023" y="1394"/>
                    </a:lnTo>
                    <a:lnTo>
                      <a:pt x="1036" y="1396"/>
                    </a:lnTo>
                    <a:lnTo>
                      <a:pt x="1050" y="1398"/>
                    </a:lnTo>
                    <a:lnTo>
                      <a:pt x="1064" y="1403"/>
                    </a:lnTo>
                    <a:lnTo>
                      <a:pt x="1077" y="1410"/>
                    </a:lnTo>
                    <a:lnTo>
                      <a:pt x="1081" y="1412"/>
                    </a:lnTo>
                    <a:lnTo>
                      <a:pt x="1084" y="1415"/>
                    </a:lnTo>
                    <a:lnTo>
                      <a:pt x="1088" y="1418"/>
                    </a:lnTo>
                    <a:lnTo>
                      <a:pt x="1090" y="1424"/>
                    </a:lnTo>
                    <a:lnTo>
                      <a:pt x="1093" y="1429"/>
                    </a:lnTo>
                    <a:lnTo>
                      <a:pt x="1096" y="1434"/>
                    </a:lnTo>
                    <a:lnTo>
                      <a:pt x="1099" y="1437"/>
                    </a:lnTo>
                    <a:lnTo>
                      <a:pt x="1101" y="1438"/>
                    </a:lnTo>
                    <a:lnTo>
                      <a:pt x="1106" y="1440"/>
                    </a:lnTo>
                    <a:lnTo>
                      <a:pt x="1109" y="1442"/>
                    </a:lnTo>
                    <a:lnTo>
                      <a:pt x="1111" y="1447"/>
                    </a:lnTo>
                    <a:lnTo>
                      <a:pt x="1113" y="1450"/>
                    </a:lnTo>
                    <a:lnTo>
                      <a:pt x="1115" y="1454"/>
                    </a:lnTo>
                    <a:lnTo>
                      <a:pt x="1120" y="1455"/>
                    </a:lnTo>
                    <a:lnTo>
                      <a:pt x="1125" y="1455"/>
                    </a:lnTo>
                    <a:lnTo>
                      <a:pt x="1128" y="1453"/>
                    </a:lnTo>
                    <a:lnTo>
                      <a:pt x="1132" y="1450"/>
                    </a:lnTo>
                    <a:lnTo>
                      <a:pt x="1135" y="1448"/>
                    </a:lnTo>
                    <a:lnTo>
                      <a:pt x="1140" y="1448"/>
                    </a:lnTo>
                    <a:lnTo>
                      <a:pt x="1146" y="1450"/>
                    </a:lnTo>
                    <a:lnTo>
                      <a:pt x="1162" y="1457"/>
                    </a:lnTo>
                    <a:lnTo>
                      <a:pt x="1177" y="1462"/>
                    </a:lnTo>
                    <a:lnTo>
                      <a:pt x="1191" y="1462"/>
                    </a:lnTo>
                    <a:lnTo>
                      <a:pt x="1208" y="1461"/>
                    </a:lnTo>
                    <a:lnTo>
                      <a:pt x="1226" y="1460"/>
                    </a:lnTo>
                    <a:lnTo>
                      <a:pt x="1242" y="1459"/>
                    </a:lnTo>
                    <a:lnTo>
                      <a:pt x="1250" y="1459"/>
                    </a:lnTo>
                    <a:lnTo>
                      <a:pt x="1256" y="1460"/>
                    </a:lnTo>
                    <a:lnTo>
                      <a:pt x="1261" y="1462"/>
                    </a:lnTo>
                    <a:lnTo>
                      <a:pt x="1267" y="1465"/>
                    </a:lnTo>
                    <a:lnTo>
                      <a:pt x="1278" y="1471"/>
                    </a:lnTo>
                    <a:lnTo>
                      <a:pt x="1290" y="1476"/>
                    </a:lnTo>
                    <a:lnTo>
                      <a:pt x="1303" y="1485"/>
                    </a:lnTo>
                    <a:lnTo>
                      <a:pt x="1317" y="1493"/>
                    </a:lnTo>
                    <a:lnTo>
                      <a:pt x="1329" y="1501"/>
                    </a:lnTo>
                    <a:lnTo>
                      <a:pt x="1339" y="1510"/>
                    </a:lnTo>
                    <a:lnTo>
                      <a:pt x="1345" y="1516"/>
                    </a:lnTo>
                    <a:lnTo>
                      <a:pt x="1349" y="1519"/>
                    </a:lnTo>
                    <a:lnTo>
                      <a:pt x="1354" y="1522"/>
                    </a:lnTo>
                    <a:lnTo>
                      <a:pt x="1358" y="1522"/>
                    </a:lnTo>
                    <a:lnTo>
                      <a:pt x="1360" y="1523"/>
                    </a:lnTo>
                    <a:lnTo>
                      <a:pt x="1363" y="1523"/>
                    </a:lnTo>
                    <a:lnTo>
                      <a:pt x="1364" y="1525"/>
                    </a:lnTo>
                    <a:lnTo>
                      <a:pt x="1365" y="1528"/>
                    </a:lnTo>
                    <a:lnTo>
                      <a:pt x="1367" y="1534"/>
                    </a:lnTo>
                    <a:lnTo>
                      <a:pt x="1371" y="1542"/>
                    </a:lnTo>
                    <a:lnTo>
                      <a:pt x="1373" y="1549"/>
                    </a:lnTo>
                    <a:lnTo>
                      <a:pt x="1377" y="1555"/>
                    </a:lnTo>
                    <a:lnTo>
                      <a:pt x="1378" y="1557"/>
                    </a:lnTo>
                    <a:lnTo>
                      <a:pt x="1380" y="1559"/>
                    </a:lnTo>
                    <a:lnTo>
                      <a:pt x="1384" y="1560"/>
                    </a:lnTo>
                    <a:lnTo>
                      <a:pt x="1388" y="1560"/>
                    </a:lnTo>
                    <a:lnTo>
                      <a:pt x="1393" y="1561"/>
                    </a:lnTo>
                    <a:lnTo>
                      <a:pt x="1397" y="1563"/>
                    </a:lnTo>
                    <a:lnTo>
                      <a:pt x="1401" y="1567"/>
                    </a:lnTo>
                    <a:lnTo>
                      <a:pt x="1404" y="1572"/>
                    </a:lnTo>
                    <a:lnTo>
                      <a:pt x="1405" y="1574"/>
                    </a:lnTo>
                    <a:lnTo>
                      <a:pt x="1408" y="1575"/>
                    </a:lnTo>
                    <a:lnTo>
                      <a:pt x="1410" y="1576"/>
                    </a:lnTo>
                    <a:lnTo>
                      <a:pt x="1412" y="1576"/>
                    </a:lnTo>
                    <a:lnTo>
                      <a:pt x="1418" y="1575"/>
                    </a:lnTo>
                    <a:lnTo>
                      <a:pt x="1423" y="1572"/>
                    </a:lnTo>
                    <a:lnTo>
                      <a:pt x="1426" y="1569"/>
                    </a:lnTo>
                    <a:lnTo>
                      <a:pt x="1428" y="1567"/>
                    </a:lnTo>
                    <a:lnTo>
                      <a:pt x="1431" y="1566"/>
                    </a:lnTo>
                    <a:lnTo>
                      <a:pt x="1435" y="1564"/>
                    </a:lnTo>
                    <a:lnTo>
                      <a:pt x="1439" y="1566"/>
                    </a:lnTo>
                    <a:lnTo>
                      <a:pt x="1441" y="1567"/>
                    </a:lnTo>
                    <a:lnTo>
                      <a:pt x="1445" y="1572"/>
                    </a:lnTo>
                    <a:lnTo>
                      <a:pt x="1448" y="1578"/>
                    </a:lnTo>
                    <a:lnTo>
                      <a:pt x="1453" y="1589"/>
                    </a:lnTo>
                    <a:lnTo>
                      <a:pt x="1455" y="1600"/>
                    </a:lnTo>
                    <a:lnTo>
                      <a:pt x="1456" y="1608"/>
                    </a:lnTo>
                    <a:lnTo>
                      <a:pt x="1456" y="1617"/>
                    </a:lnTo>
                    <a:lnTo>
                      <a:pt x="1456" y="1620"/>
                    </a:lnTo>
                    <a:lnTo>
                      <a:pt x="1458" y="1622"/>
                    </a:lnTo>
                    <a:lnTo>
                      <a:pt x="1460" y="1623"/>
                    </a:lnTo>
                    <a:lnTo>
                      <a:pt x="1464" y="1623"/>
                    </a:lnTo>
                    <a:lnTo>
                      <a:pt x="1472" y="1619"/>
                    </a:lnTo>
                    <a:lnTo>
                      <a:pt x="1481" y="1613"/>
                    </a:lnTo>
                    <a:lnTo>
                      <a:pt x="1490" y="1606"/>
                    </a:lnTo>
                    <a:lnTo>
                      <a:pt x="1497" y="1598"/>
                    </a:lnTo>
                    <a:lnTo>
                      <a:pt x="1504" y="1589"/>
                    </a:lnTo>
                    <a:lnTo>
                      <a:pt x="1509" y="1582"/>
                    </a:lnTo>
                    <a:lnTo>
                      <a:pt x="1512" y="1579"/>
                    </a:lnTo>
                    <a:lnTo>
                      <a:pt x="1516" y="1576"/>
                    </a:lnTo>
                    <a:lnTo>
                      <a:pt x="1521" y="1574"/>
                    </a:lnTo>
                    <a:lnTo>
                      <a:pt x="1527" y="1573"/>
                    </a:lnTo>
                    <a:lnTo>
                      <a:pt x="1540" y="1573"/>
                    </a:lnTo>
                    <a:lnTo>
                      <a:pt x="1553" y="1575"/>
                    </a:lnTo>
                    <a:lnTo>
                      <a:pt x="1566" y="1578"/>
                    </a:lnTo>
                    <a:lnTo>
                      <a:pt x="1575" y="1581"/>
                    </a:lnTo>
                    <a:lnTo>
                      <a:pt x="1585" y="1585"/>
                    </a:lnTo>
                    <a:lnTo>
                      <a:pt x="1592" y="1588"/>
                    </a:lnTo>
                    <a:lnTo>
                      <a:pt x="1596" y="1589"/>
                    </a:lnTo>
                    <a:lnTo>
                      <a:pt x="1598" y="1589"/>
                    </a:lnTo>
                    <a:lnTo>
                      <a:pt x="1600" y="1589"/>
                    </a:lnTo>
                    <a:lnTo>
                      <a:pt x="1603" y="1588"/>
                    </a:lnTo>
                    <a:lnTo>
                      <a:pt x="1606" y="1583"/>
                    </a:lnTo>
                    <a:lnTo>
                      <a:pt x="1612" y="1575"/>
                    </a:lnTo>
                    <a:lnTo>
                      <a:pt x="1628" y="1561"/>
                    </a:lnTo>
                    <a:lnTo>
                      <a:pt x="1642" y="1547"/>
                    </a:lnTo>
                    <a:lnTo>
                      <a:pt x="1644" y="1542"/>
                    </a:lnTo>
                    <a:lnTo>
                      <a:pt x="1647" y="1537"/>
                    </a:lnTo>
                    <a:lnTo>
                      <a:pt x="1648" y="1534"/>
                    </a:lnTo>
                    <a:lnTo>
                      <a:pt x="1649" y="1529"/>
                    </a:lnTo>
                    <a:lnTo>
                      <a:pt x="1649" y="1522"/>
                    </a:lnTo>
                    <a:lnTo>
                      <a:pt x="1650" y="1516"/>
                    </a:lnTo>
                    <a:lnTo>
                      <a:pt x="1654" y="1511"/>
                    </a:lnTo>
                    <a:lnTo>
                      <a:pt x="1661" y="1506"/>
                    </a:lnTo>
                    <a:lnTo>
                      <a:pt x="1664" y="1503"/>
                    </a:lnTo>
                    <a:lnTo>
                      <a:pt x="1669" y="1500"/>
                    </a:lnTo>
                    <a:lnTo>
                      <a:pt x="1674" y="1500"/>
                    </a:lnTo>
                    <a:lnTo>
                      <a:pt x="1678" y="1501"/>
                    </a:lnTo>
                    <a:lnTo>
                      <a:pt x="1680" y="1505"/>
                    </a:lnTo>
                    <a:lnTo>
                      <a:pt x="1682" y="1509"/>
                    </a:lnTo>
                    <a:lnTo>
                      <a:pt x="1684" y="1513"/>
                    </a:lnTo>
                    <a:lnTo>
                      <a:pt x="1685" y="1518"/>
                    </a:lnTo>
                    <a:lnTo>
                      <a:pt x="1687" y="1530"/>
                    </a:lnTo>
                    <a:lnTo>
                      <a:pt x="1687" y="1543"/>
                    </a:lnTo>
                    <a:lnTo>
                      <a:pt x="1689" y="1542"/>
                    </a:lnTo>
                    <a:lnTo>
                      <a:pt x="1697" y="1536"/>
                    </a:lnTo>
                    <a:lnTo>
                      <a:pt x="1705" y="1528"/>
                    </a:lnTo>
                    <a:lnTo>
                      <a:pt x="1711" y="1518"/>
                    </a:lnTo>
                    <a:lnTo>
                      <a:pt x="1714" y="1511"/>
                    </a:lnTo>
                    <a:lnTo>
                      <a:pt x="1719" y="1504"/>
                    </a:lnTo>
                    <a:lnTo>
                      <a:pt x="1722" y="1501"/>
                    </a:lnTo>
                    <a:lnTo>
                      <a:pt x="1725" y="1500"/>
                    </a:lnTo>
                    <a:lnTo>
                      <a:pt x="1729" y="1500"/>
                    </a:lnTo>
                    <a:lnTo>
                      <a:pt x="1731" y="1504"/>
                    </a:lnTo>
                    <a:lnTo>
                      <a:pt x="1732" y="1511"/>
                    </a:lnTo>
                    <a:lnTo>
                      <a:pt x="1733" y="1524"/>
                    </a:lnTo>
                    <a:lnTo>
                      <a:pt x="1733" y="1530"/>
                    </a:lnTo>
                    <a:lnTo>
                      <a:pt x="1733" y="1537"/>
                    </a:lnTo>
                    <a:lnTo>
                      <a:pt x="1732" y="1543"/>
                    </a:lnTo>
                    <a:lnTo>
                      <a:pt x="1731" y="1548"/>
                    </a:lnTo>
                    <a:lnTo>
                      <a:pt x="1725" y="1556"/>
                    </a:lnTo>
                    <a:lnTo>
                      <a:pt x="1719" y="1563"/>
                    </a:lnTo>
                    <a:lnTo>
                      <a:pt x="1712" y="1570"/>
                    </a:lnTo>
                    <a:lnTo>
                      <a:pt x="1705" y="1575"/>
                    </a:lnTo>
                    <a:lnTo>
                      <a:pt x="1694" y="1583"/>
                    </a:lnTo>
                    <a:lnTo>
                      <a:pt x="1689" y="1589"/>
                    </a:lnTo>
                    <a:lnTo>
                      <a:pt x="1691" y="1599"/>
                    </a:lnTo>
                    <a:lnTo>
                      <a:pt x="1693" y="1608"/>
                    </a:lnTo>
                    <a:lnTo>
                      <a:pt x="1695" y="1619"/>
                    </a:lnTo>
                    <a:lnTo>
                      <a:pt x="1699" y="1630"/>
                    </a:lnTo>
                    <a:lnTo>
                      <a:pt x="1700" y="1633"/>
                    </a:lnTo>
                    <a:lnTo>
                      <a:pt x="1704" y="1635"/>
                    </a:lnTo>
                    <a:lnTo>
                      <a:pt x="1706" y="1636"/>
                    </a:lnTo>
                    <a:lnTo>
                      <a:pt x="1711" y="1633"/>
                    </a:lnTo>
                    <a:lnTo>
                      <a:pt x="1720" y="1629"/>
                    </a:lnTo>
                    <a:lnTo>
                      <a:pt x="1727" y="1627"/>
                    </a:lnTo>
                    <a:lnTo>
                      <a:pt x="1731" y="1627"/>
                    </a:lnTo>
                    <a:lnTo>
                      <a:pt x="1735" y="1629"/>
                    </a:lnTo>
                    <a:lnTo>
                      <a:pt x="1737" y="1632"/>
                    </a:lnTo>
                    <a:lnTo>
                      <a:pt x="1739" y="1636"/>
                    </a:lnTo>
                    <a:lnTo>
                      <a:pt x="1743" y="1644"/>
                    </a:lnTo>
                    <a:lnTo>
                      <a:pt x="1745" y="1649"/>
                    </a:lnTo>
                    <a:lnTo>
                      <a:pt x="1748" y="1649"/>
                    </a:lnTo>
                    <a:lnTo>
                      <a:pt x="1749" y="1649"/>
                    </a:lnTo>
                    <a:lnTo>
                      <a:pt x="1751" y="1646"/>
                    </a:lnTo>
                    <a:lnTo>
                      <a:pt x="1754" y="1644"/>
                    </a:lnTo>
                    <a:lnTo>
                      <a:pt x="1760" y="1637"/>
                    </a:lnTo>
                    <a:lnTo>
                      <a:pt x="1764" y="1635"/>
                    </a:lnTo>
                    <a:lnTo>
                      <a:pt x="1767" y="1633"/>
                    </a:lnTo>
                    <a:lnTo>
                      <a:pt x="1769" y="1635"/>
                    </a:lnTo>
                    <a:lnTo>
                      <a:pt x="1771" y="1636"/>
                    </a:lnTo>
                    <a:lnTo>
                      <a:pt x="1774" y="1637"/>
                    </a:lnTo>
                    <a:lnTo>
                      <a:pt x="1776" y="1639"/>
                    </a:lnTo>
                    <a:lnTo>
                      <a:pt x="1780" y="1639"/>
                    </a:lnTo>
                    <a:lnTo>
                      <a:pt x="1782" y="1639"/>
                    </a:lnTo>
                    <a:lnTo>
                      <a:pt x="1785" y="1637"/>
                    </a:lnTo>
                    <a:lnTo>
                      <a:pt x="1790" y="1631"/>
                    </a:lnTo>
                    <a:lnTo>
                      <a:pt x="1796" y="1622"/>
                    </a:lnTo>
                    <a:lnTo>
                      <a:pt x="1806" y="1606"/>
                    </a:lnTo>
                    <a:lnTo>
                      <a:pt x="1818" y="1587"/>
                    </a:lnTo>
                    <a:lnTo>
                      <a:pt x="1831" y="1566"/>
                    </a:lnTo>
                    <a:lnTo>
                      <a:pt x="1844" y="1548"/>
                    </a:lnTo>
                    <a:lnTo>
                      <a:pt x="1853" y="1537"/>
                    </a:lnTo>
                    <a:lnTo>
                      <a:pt x="1863" y="1525"/>
                    </a:lnTo>
                    <a:lnTo>
                      <a:pt x="1875" y="1513"/>
                    </a:lnTo>
                    <a:lnTo>
                      <a:pt x="1887" y="1500"/>
                    </a:lnTo>
                    <a:lnTo>
                      <a:pt x="1900" y="1488"/>
                    </a:lnTo>
                    <a:lnTo>
                      <a:pt x="1912" y="1478"/>
                    </a:lnTo>
                    <a:lnTo>
                      <a:pt x="1915" y="1475"/>
                    </a:lnTo>
                    <a:lnTo>
                      <a:pt x="1918" y="1475"/>
                    </a:lnTo>
                    <a:lnTo>
                      <a:pt x="1919" y="1478"/>
                    </a:lnTo>
                    <a:lnTo>
                      <a:pt x="1919" y="1484"/>
                    </a:lnTo>
                    <a:lnTo>
                      <a:pt x="1920" y="1494"/>
                    </a:lnTo>
                    <a:lnTo>
                      <a:pt x="1921" y="1506"/>
                    </a:lnTo>
                    <a:lnTo>
                      <a:pt x="1922" y="1517"/>
                    </a:lnTo>
                    <a:lnTo>
                      <a:pt x="1924" y="1526"/>
                    </a:lnTo>
                    <a:lnTo>
                      <a:pt x="1924" y="1532"/>
                    </a:lnTo>
                    <a:lnTo>
                      <a:pt x="1925" y="1536"/>
                    </a:lnTo>
                    <a:lnTo>
                      <a:pt x="1927" y="1538"/>
                    </a:lnTo>
                    <a:lnTo>
                      <a:pt x="1930" y="1539"/>
                    </a:lnTo>
                    <a:lnTo>
                      <a:pt x="1936" y="1539"/>
                    </a:lnTo>
                    <a:lnTo>
                      <a:pt x="1946" y="1538"/>
                    </a:lnTo>
                    <a:lnTo>
                      <a:pt x="1952" y="1538"/>
                    </a:lnTo>
                    <a:lnTo>
                      <a:pt x="1958" y="1538"/>
                    </a:lnTo>
                    <a:lnTo>
                      <a:pt x="1963" y="1539"/>
                    </a:lnTo>
                    <a:lnTo>
                      <a:pt x="1968" y="1541"/>
                    </a:lnTo>
                    <a:lnTo>
                      <a:pt x="1972" y="1543"/>
                    </a:lnTo>
                    <a:lnTo>
                      <a:pt x="1976" y="1545"/>
                    </a:lnTo>
                    <a:lnTo>
                      <a:pt x="1980" y="1549"/>
                    </a:lnTo>
                    <a:lnTo>
                      <a:pt x="1981" y="1554"/>
                    </a:lnTo>
                    <a:lnTo>
                      <a:pt x="1983" y="1561"/>
                    </a:lnTo>
                    <a:lnTo>
                      <a:pt x="1983" y="1567"/>
                    </a:lnTo>
                    <a:lnTo>
                      <a:pt x="1982" y="1572"/>
                    </a:lnTo>
                    <a:lnTo>
                      <a:pt x="1981" y="1578"/>
                    </a:lnTo>
                    <a:lnTo>
                      <a:pt x="1976" y="1587"/>
                    </a:lnTo>
                    <a:lnTo>
                      <a:pt x="1971" y="1594"/>
                    </a:lnTo>
                    <a:lnTo>
                      <a:pt x="1970" y="1598"/>
                    </a:lnTo>
                    <a:lnTo>
                      <a:pt x="1970" y="1601"/>
                    </a:lnTo>
                    <a:lnTo>
                      <a:pt x="1971" y="1604"/>
                    </a:lnTo>
                    <a:lnTo>
                      <a:pt x="1972" y="1607"/>
                    </a:lnTo>
                    <a:lnTo>
                      <a:pt x="1980" y="1613"/>
                    </a:lnTo>
                    <a:lnTo>
                      <a:pt x="1989" y="1618"/>
                    </a:lnTo>
                    <a:lnTo>
                      <a:pt x="1994" y="1622"/>
                    </a:lnTo>
                    <a:lnTo>
                      <a:pt x="1997" y="1626"/>
                    </a:lnTo>
                    <a:lnTo>
                      <a:pt x="2000" y="1630"/>
                    </a:lnTo>
                    <a:lnTo>
                      <a:pt x="2001" y="1635"/>
                    </a:lnTo>
                    <a:lnTo>
                      <a:pt x="2001" y="1641"/>
                    </a:lnTo>
                    <a:lnTo>
                      <a:pt x="2000" y="1645"/>
                    </a:lnTo>
                    <a:lnTo>
                      <a:pt x="1997" y="1650"/>
                    </a:lnTo>
                    <a:lnTo>
                      <a:pt x="1994" y="1654"/>
                    </a:lnTo>
                    <a:lnTo>
                      <a:pt x="1983" y="1663"/>
                    </a:lnTo>
                    <a:lnTo>
                      <a:pt x="1971" y="1676"/>
                    </a:lnTo>
                    <a:lnTo>
                      <a:pt x="1960" y="1688"/>
                    </a:lnTo>
                    <a:lnTo>
                      <a:pt x="1952" y="1698"/>
                    </a:lnTo>
                    <a:lnTo>
                      <a:pt x="1949" y="1705"/>
                    </a:lnTo>
                    <a:lnTo>
                      <a:pt x="1946" y="1712"/>
                    </a:lnTo>
                    <a:lnTo>
                      <a:pt x="1946" y="1715"/>
                    </a:lnTo>
                    <a:lnTo>
                      <a:pt x="1946" y="1719"/>
                    </a:lnTo>
                    <a:lnTo>
                      <a:pt x="1949" y="1721"/>
                    </a:lnTo>
                    <a:lnTo>
                      <a:pt x="1951" y="1723"/>
                    </a:lnTo>
                    <a:lnTo>
                      <a:pt x="1966" y="1726"/>
                    </a:lnTo>
                    <a:lnTo>
                      <a:pt x="1980" y="1731"/>
                    </a:lnTo>
                    <a:lnTo>
                      <a:pt x="1982" y="1733"/>
                    </a:lnTo>
                    <a:lnTo>
                      <a:pt x="1982" y="1736"/>
                    </a:lnTo>
                    <a:lnTo>
                      <a:pt x="1982" y="1740"/>
                    </a:lnTo>
                    <a:lnTo>
                      <a:pt x="1981" y="1744"/>
                    </a:lnTo>
                    <a:lnTo>
                      <a:pt x="1978" y="1753"/>
                    </a:lnTo>
                    <a:lnTo>
                      <a:pt x="1976" y="1764"/>
                    </a:lnTo>
                    <a:lnTo>
                      <a:pt x="1976" y="1770"/>
                    </a:lnTo>
                    <a:lnTo>
                      <a:pt x="1977" y="1776"/>
                    </a:lnTo>
                    <a:lnTo>
                      <a:pt x="1980" y="1782"/>
                    </a:lnTo>
                    <a:lnTo>
                      <a:pt x="1982" y="1787"/>
                    </a:lnTo>
                    <a:lnTo>
                      <a:pt x="1989" y="1796"/>
                    </a:lnTo>
                    <a:lnTo>
                      <a:pt x="1995" y="1802"/>
                    </a:lnTo>
                    <a:lnTo>
                      <a:pt x="2002" y="1806"/>
                    </a:lnTo>
                    <a:lnTo>
                      <a:pt x="2009" y="1806"/>
                    </a:lnTo>
                    <a:lnTo>
                      <a:pt x="2012" y="1806"/>
                    </a:lnTo>
                    <a:lnTo>
                      <a:pt x="2014" y="1805"/>
                    </a:lnTo>
                    <a:lnTo>
                      <a:pt x="2015" y="1803"/>
                    </a:lnTo>
                    <a:lnTo>
                      <a:pt x="2016" y="1801"/>
                    </a:lnTo>
                    <a:lnTo>
                      <a:pt x="2018" y="1795"/>
                    </a:lnTo>
                    <a:lnTo>
                      <a:pt x="2020" y="1790"/>
                    </a:lnTo>
                    <a:lnTo>
                      <a:pt x="2021" y="1787"/>
                    </a:lnTo>
                    <a:lnTo>
                      <a:pt x="2023" y="1786"/>
                    </a:lnTo>
                    <a:lnTo>
                      <a:pt x="2025" y="1784"/>
                    </a:lnTo>
                    <a:lnTo>
                      <a:pt x="2028" y="1783"/>
                    </a:lnTo>
                    <a:lnTo>
                      <a:pt x="2033" y="1786"/>
                    </a:lnTo>
                    <a:lnTo>
                      <a:pt x="2039" y="1790"/>
                    </a:lnTo>
                    <a:lnTo>
                      <a:pt x="2044" y="1796"/>
                    </a:lnTo>
                    <a:lnTo>
                      <a:pt x="2048" y="1803"/>
                    </a:lnTo>
                    <a:lnTo>
                      <a:pt x="2053" y="1809"/>
                    </a:lnTo>
                    <a:lnTo>
                      <a:pt x="2057" y="1814"/>
                    </a:lnTo>
                    <a:lnTo>
                      <a:pt x="2058" y="1815"/>
                    </a:lnTo>
                    <a:lnTo>
                      <a:pt x="2060" y="1815"/>
                    </a:lnTo>
                    <a:lnTo>
                      <a:pt x="2063" y="1815"/>
                    </a:lnTo>
                    <a:lnTo>
                      <a:pt x="2065" y="1814"/>
                    </a:lnTo>
                    <a:lnTo>
                      <a:pt x="2072" y="1808"/>
                    </a:lnTo>
                    <a:lnTo>
                      <a:pt x="2077" y="1806"/>
                    </a:lnTo>
                    <a:lnTo>
                      <a:pt x="2082" y="1805"/>
                    </a:lnTo>
                    <a:lnTo>
                      <a:pt x="2084" y="1806"/>
                    </a:lnTo>
                    <a:lnTo>
                      <a:pt x="2085" y="1805"/>
                    </a:lnTo>
                    <a:lnTo>
                      <a:pt x="2088" y="1797"/>
                    </a:lnTo>
                    <a:lnTo>
                      <a:pt x="2089" y="1789"/>
                    </a:lnTo>
                    <a:lnTo>
                      <a:pt x="2094" y="1781"/>
                    </a:lnTo>
                    <a:lnTo>
                      <a:pt x="2113" y="1762"/>
                    </a:lnTo>
                    <a:lnTo>
                      <a:pt x="2128" y="1746"/>
                    </a:lnTo>
                    <a:lnTo>
                      <a:pt x="2130" y="1743"/>
                    </a:lnTo>
                    <a:lnTo>
                      <a:pt x="2134" y="1739"/>
                    </a:lnTo>
                    <a:lnTo>
                      <a:pt x="2136" y="1737"/>
                    </a:lnTo>
                    <a:lnTo>
                      <a:pt x="2140" y="1734"/>
                    </a:lnTo>
                    <a:lnTo>
                      <a:pt x="2148" y="1732"/>
                    </a:lnTo>
                    <a:lnTo>
                      <a:pt x="2157" y="1730"/>
                    </a:lnTo>
                    <a:lnTo>
                      <a:pt x="2167" y="1728"/>
                    </a:lnTo>
                    <a:lnTo>
                      <a:pt x="2177" y="1727"/>
                    </a:lnTo>
                    <a:lnTo>
                      <a:pt x="2182" y="1726"/>
                    </a:lnTo>
                    <a:lnTo>
                      <a:pt x="2186" y="1724"/>
                    </a:lnTo>
                    <a:lnTo>
                      <a:pt x="2190" y="1720"/>
                    </a:lnTo>
                    <a:lnTo>
                      <a:pt x="2192" y="1714"/>
                    </a:lnTo>
                    <a:lnTo>
                      <a:pt x="2196" y="1702"/>
                    </a:lnTo>
                    <a:lnTo>
                      <a:pt x="2197" y="1690"/>
                    </a:lnTo>
                    <a:lnTo>
                      <a:pt x="2198" y="1685"/>
                    </a:lnTo>
                    <a:lnTo>
                      <a:pt x="2199" y="1680"/>
                    </a:lnTo>
                    <a:lnTo>
                      <a:pt x="2202" y="1676"/>
                    </a:lnTo>
                    <a:lnTo>
                      <a:pt x="2204" y="1674"/>
                    </a:lnTo>
                    <a:lnTo>
                      <a:pt x="2209" y="1671"/>
                    </a:lnTo>
                    <a:lnTo>
                      <a:pt x="2214" y="1671"/>
                    </a:lnTo>
                    <a:lnTo>
                      <a:pt x="2218" y="1671"/>
                    </a:lnTo>
                    <a:lnTo>
                      <a:pt x="2224" y="1671"/>
                    </a:lnTo>
                    <a:lnTo>
                      <a:pt x="2235" y="1673"/>
                    </a:lnTo>
                    <a:lnTo>
                      <a:pt x="2245" y="1676"/>
                    </a:lnTo>
                    <a:lnTo>
                      <a:pt x="2256" y="1677"/>
                    </a:lnTo>
                    <a:lnTo>
                      <a:pt x="2273" y="1679"/>
                    </a:lnTo>
                    <a:lnTo>
                      <a:pt x="2281" y="1677"/>
                    </a:lnTo>
                    <a:lnTo>
                      <a:pt x="2291" y="1676"/>
                    </a:lnTo>
                    <a:lnTo>
                      <a:pt x="2299" y="1674"/>
                    </a:lnTo>
                    <a:lnTo>
                      <a:pt x="2306" y="1671"/>
                    </a:lnTo>
                    <a:lnTo>
                      <a:pt x="2318" y="1663"/>
                    </a:lnTo>
                    <a:lnTo>
                      <a:pt x="2329" y="1654"/>
                    </a:lnTo>
                    <a:lnTo>
                      <a:pt x="2336" y="1649"/>
                    </a:lnTo>
                    <a:lnTo>
                      <a:pt x="2342" y="1645"/>
                    </a:lnTo>
                    <a:lnTo>
                      <a:pt x="2350" y="1644"/>
                    </a:lnTo>
                    <a:lnTo>
                      <a:pt x="2359" y="1645"/>
                    </a:lnTo>
                    <a:lnTo>
                      <a:pt x="2367" y="1646"/>
                    </a:lnTo>
                    <a:lnTo>
                      <a:pt x="2375" y="1648"/>
                    </a:lnTo>
                    <a:lnTo>
                      <a:pt x="2384" y="1648"/>
                    </a:lnTo>
                    <a:lnTo>
                      <a:pt x="2392" y="1646"/>
                    </a:lnTo>
                    <a:lnTo>
                      <a:pt x="2406" y="1643"/>
                    </a:lnTo>
                    <a:lnTo>
                      <a:pt x="2421" y="1638"/>
                    </a:lnTo>
                    <a:lnTo>
                      <a:pt x="2426" y="1635"/>
                    </a:lnTo>
                    <a:lnTo>
                      <a:pt x="2432" y="1631"/>
                    </a:lnTo>
                    <a:lnTo>
                      <a:pt x="2437" y="1627"/>
                    </a:lnTo>
                    <a:lnTo>
                      <a:pt x="2440" y="1625"/>
                    </a:lnTo>
                    <a:lnTo>
                      <a:pt x="2441" y="1622"/>
                    </a:lnTo>
                    <a:lnTo>
                      <a:pt x="2441" y="1619"/>
                    </a:lnTo>
                    <a:lnTo>
                      <a:pt x="2437" y="1617"/>
                    </a:lnTo>
                    <a:lnTo>
                      <a:pt x="2432" y="1616"/>
                    </a:lnTo>
                    <a:lnTo>
                      <a:pt x="2426" y="1614"/>
                    </a:lnTo>
                    <a:lnTo>
                      <a:pt x="2422" y="1612"/>
                    </a:lnTo>
                    <a:lnTo>
                      <a:pt x="2419" y="1610"/>
                    </a:lnTo>
                    <a:lnTo>
                      <a:pt x="2418" y="1607"/>
                    </a:lnTo>
                    <a:lnTo>
                      <a:pt x="2418" y="1604"/>
                    </a:lnTo>
                    <a:lnTo>
                      <a:pt x="2418" y="1601"/>
                    </a:lnTo>
                    <a:lnTo>
                      <a:pt x="2419" y="1598"/>
                    </a:lnTo>
                    <a:lnTo>
                      <a:pt x="2422" y="1595"/>
                    </a:lnTo>
                    <a:lnTo>
                      <a:pt x="2425" y="1591"/>
                    </a:lnTo>
                    <a:lnTo>
                      <a:pt x="2430" y="1588"/>
                    </a:lnTo>
                    <a:lnTo>
                      <a:pt x="2436" y="1588"/>
                    </a:lnTo>
                    <a:lnTo>
                      <a:pt x="2443" y="1591"/>
                    </a:lnTo>
                    <a:lnTo>
                      <a:pt x="2447" y="1592"/>
                    </a:lnTo>
                    <a:lnTo>
                      <a:pt x="2450" y="1593"/>
                    </a:lnTo>
                    <a:lnTo>
                      <a:pt x="2453" y="1593"/>
                    </a:lnTo>
                    <a:lnTo>
                      <a:pt x="2454" y="1592"/>
                    </a:lnTo>
                    <a:lnTo>
                      <a:pt x="2455" y="1589"/>
                    </a:lnTo>
                    <a:lnTo>
                      <a:pt x="2455" y="1587"/>
                    </a:lnTo>
                    <a:lnTo>
                      <a:pt x="2454" y="1585"/>
                    </a:lnTo>
                    <a:lnTo>
                      <a:pt x="2453" y="1581"/>
                    </a:lnTo>
                    <a:lnTo>
                      <a:pt x="2451" y="1578"/>
                    </a:lnTo>
                    <a:lnTo>
                      <a:pt x="2451" y="1574"/>
                    </a:lnTo>
                    <a:lnTo>
                      <a:pt x="2453" y="1570"/>
                    </a:lnTo>
                    <a:lnTo>
                      <a:pt x="2455" y="1568"/>
                    </a:lnTo>
                    <a:lnTo>
                      <a:pt x="2460" y="1563"/>
                    </a:lnTo>
                    <a:lnTo>
                      <a:pt x="2467" y="1560"/>
                    </a:lnTo>
                    <a:lnTo>
                      <a:pt x="2474" y="1559"/>
                    </a:lnTo>
                    <a:lnTo>
                      <a:pt x="2484" y="1560"/>
                    </a:lnTo>
                    <a:lnTo>
                      <a:pt x="2487" y="1561"/>
                    </a:lnTo>
                    <a:lnTo>
                      <a:pt x="2492" y="1563"/>
                    </a:lnTo>
                    <a:lnTo>
                      <a:pt x="2497" y="1566"/>
                    </a:lnTo>
                    <a:lnTo>
                      <a:pt x="2501" y="1569"/>
                    </a:lnTo>
                    <a:lnTo>
                      <a:pt x="2505" y="1573"/>
                    </a:lnTo>
                    <a:lnTo>
                      <a:pt x="2510" y="1574"/>
                    </a:lnTo>
                    <a:lnTo>
                      <a:pt x="2513" y="1575"/>
                    </a:lnTo>
                    <a:lnTo>
                      <a:pt x="2517" y="1574"/>
                    </a:lnTo>
                    <a:lnTo>
                      <a:pt x="2520" y="1573"/>
                    </a:lnTo>
                    <a:lnTo>
                      <a:pt x="2523" y="1569"/>
                    </a:lnTo>
                    <a:lnTo>
                      <a:pt x="2523" y="1566"/>
                    </a:lnTo>
                    <a:lnTo>
                      <a:pt x="2524" y="1561"/>
                    </a:lnTo>
                    <a:lnTo>
                      <a:pt x="2522" y="1549"/>
                    </a:lnTo>
                    <a:lnTo>
                      <a:pt x="2520" y="1536"/>
                    </a:lnTo>
                    <a:lnTo>
                      <a:pt x="2518" y="1530"/>
                    </a:lnTo>
                    <a:lnTo>
                      <a:pt x="2517" y="1524"/>
                    </a:lnTo>
                    <a:lnTo>
                      <a:pt x="2514" y="1519"/>
                    </a:lnTo>
                    <a:lnTo>
                      <a:pt x="2512" y="1517"/>
                    </a:lnTo>
                    <a:lnTo>
                      <a:pt x="2510" y="1513"/>
                    </a:lnTo>
                    <a:lnTo>
                      <a:pt x="2508" y="1511"/>
                    </a:lnTo>
                    <a:lnTo>
                      <a:pt x="2507" y="1509"/>
                    </a:lnTo>
                    <a:lnTo>
                      <a:pt x="2508" y="1507"/>
                    </a:lnTo>
                    <a:lnTo>
                      <a:pt x="2510" y="1505"/>
                    </a:lnTo>
                    <a:lnTo>
                      <a:pt x="2512" y="1504"/>
                    </a:lnTo>
                    <a:lnTo>
                      <a:pt x="2516" y="1504"/>
                    </a:lnTo>
                    <a:lnTo>
                      <a:pt x="2520" y="1504"/>
                    </a:lnTo>
                    <a:lnTo>
                      <a:pt x="2532" y="1506"/>
                    </a:lnTo>
                    <a:lnTo>
                      <a:pt x="2544" y="1510"/>
                    </a:lnTo>
                    <a:lnTo>
                      <a:pt x="2556" y="1513"/>
                    </a:lnTo>
                    <a:lnTo>
                      <a:pt x="2563" y="1518"/>
                    </a:lnTo>
                    <a:lnTo>
                      <a:pt x="2568" y="1519"/>
                    </a:lnTo>
                    <a:lnTo>
                      <a:pt x="2573" y="1520"/>
                    </a:lnTo>
                    <a:lnTo>
                      <a:pt x="2579" y="1520"/>
                    </a:lnTo>
                    <a:lnTo>
                      <a:pt x="2585" y="1520"/>
                    </a:lnTo>
                    <a:lnTo>
                      <a:pt x="2592" y="1519"/>
                    </a:lnTo>
                    <a:lnTo>
                      <a:pt x="2598" y="1517"/>
                    </a:lnTo>
                    <a:lnTo>
                      <a:pt x="2602" y="1515"/>
                    </a:lnTo>
                    <a:lnTo>
                      <a:pt x="2607" y="1511"/>
                    </a:lnTo>
                    <a:lnTo>
                      <a:pt x="2613" y="1504"/>
                    </a:lnTo>
                    <a:lnTo>
                      <a:pt x="2620" y="1493"/>
                    </a:lnTo>
                    <a:lnTo>
                      <a:pt x="2624" y="1486"/>
                    </a:lnTo>
                    <a:lnTo>
                      <a:pt x="2627" y="1476"/>
                    </a:lnTo>
                    <a:lnTo>
                      <a:pt x="2631" y="1466"/>
                    </a:lnTo>
                    <a:lnTo>
                      <a:pt x="2633" y="1453"/>
                    </a:lnTo>
                    <a:lnTo>
                      <a:pt x="2637" y="1442"/>
                    </a:lnTo>
                    <a:lnTo>
                      <a:pt x="2639" y="1436"/>
                    </a:lnTo>
                    <a:lnTo>
                      <a:pt x="2643" y="1433"/>
                    </a:lnTo>
                    <a:lnTo>
                      <a:pt x="2646" y="1430"/>
                    </a:lnTo>
                    <a:lnTo>
                      <a:pt x="2659" y="1430"/>
                    </a:lnTo>
                    <a:lnTo>
                      <a:pt x="2680" y="1429"/>
                    </a:lnTo>
                    <a:lnTo>
                      <a:pt x="2700" y="1425"/>
                    </a:lnTo>
                    <a:lnTo>
                      <a:pt x="2713" y="1423"/>
                    </a:lnTo>
                    <a:lnTo>
                      <a:pt x="2721" y="1424"/>
                    </a:lnTo>
                    <a:lnTo>
                      <a:pt x="2727" y="1425"/>
                    </a:lnTo>
                    <a:lnTo>
                      <a:pt x="2734" y="1431"/>
                    </a:lnTo>
                    <a:lnTo>
                      <a:pt x="2741" y="1438"/>
                    </a:lnTo>
                    <a:lnTo>
                      <a:pt x="2746" y="1446"/>
                    </a:lnTo>
                    <a:lnTo>
                      <a:pt x="2752" y="1452"/>
                    </a:lnTo>
                    <a:lnTo>
                      <a:pt x="2758" y="1457"/>
                    </a:lnTo>
                    <a:lnTo>
                      <a:pt x="2766" y="1463"/>
                    </a:lnTo>
                    <a:lnTo>
                      <a:pt x="2772" y="1466"/>
                    </a:lnTo>
                    <a:lnTo>
                      <a:pt x="2781" y="1468"/>
                    </a:lnTo>
                    <a:lnTo>
                      <a:pt x="2790" y="1469"/>
                    </a:lnTo>
                    <a:lnTo>
                      <a:pt x="2801" y="1469"/>
                    </a:lnTo>
                    <a:lnTo>
                      <a:pt x="2809" y="1468"/>
                    </a:lnTo>
                    <a:lnTo>
                      <a:pt x="2816" y="1467"/>
                    </a:lnTo>
                    <a:lnTo>
                      <a:pt x="2821" y="1466"/>
                    </a:lnTo>
                    <a:lnTo>
                      <a:pt x="2826" y="1465"/>
                    </a:lnTo>
                    <a:lnTo>
                      <a:pt x="2833" y="1461"/>
                    </a:lnTo>
                    <a:lnTo>
                      <a:pt x="2841" y="1457"/>
                    </a:lnTo>
                    <a:lnTo>
                      <a:pt x="2848" y="1455"/>
                    </a:lnTo>
                    <a:lnTo>
                      <a:pt x="2867" y="1427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山东"/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5546951" y="3092911"/>
                <a:ext cx="947186" cy="605146"/>
              </a:xfrm>
              <a:custGeom>
                <a:avLst/>
                <a:gdLst>
                  <a:gd name="T0" fmla="*/ 831 w 2606"/>
                  <a:gd name="T1" fmla="*/ 153 h 1671"/>
                  <a:gd name="T2" fmla="*/ 614 w 2606"/>
                  <a:gd name="T3" fmla="*/ 197 h 1671"/>
                  <a:gd name="T4" fmla="*/ 432 w 2606"/>
                  <a:gd name="T5" fmla="*/ 342 h 1671"/>
                  <a:gd name="T6" fmla="*/ 367 w 2606"/>
                  <a:gd name="T7" fmla="*/ 411 h 1671"/>
                  <a:gd name="T8" fmla="*/ 252 w 2606"/>
                  <a:gd name="T9" fmla="*/ 665 h 1671"/>
                  <a:gd name="T10" fmla="*/ 153 w 2606"/>
                  <a:gd name="T11" fmla="*/ 883 h 1671"/>
                  <a:gd name="T12" fmla="*/ 157 w 2606"/>
                  <a:gd name="T13" fmla="*/ 1075 h 1671"/>
                  <a:gd name="T14" fmla="*/ 237 w 2606"/>
                  <a:gd name="T15" fmla="*/ 1070 h 1671"/>
                  <a:gd name="T16" fmla="*/ 400 w 2606"/>
                  <a:gd name="T17" fmla="*/ 1024 h 1671"/>
                  <a:gd name="T18" fmla="*/ 286 w 2606"/>
                  <a:gd name="T19" fmla="*/ 1117 h 1671"/>
                  <a:gd name="T20" fmla="*/ 164 w 2606"/>
                  <a:gd name="T21" fmla="*/ 1251 h 1671"/>
                  <a:gd name="T22" fmla="*/ 27 w 2606"/>
                  <a:gd name="T23" fmla="*/ 1393 h 1671"/>
                  <a:gd name="T24" fmla="*/ 73 w 2606"/>
                  <a:gd name="T25" fmla="*/ 1491 h 1671"/>
                  <a:gd name="T26" fmla="*/ 213 w 2606"/>
                  <a:gd name="T27" fmla="*/ 1586 h 1671"/>
                  <a:gd name="T28" fmla="*/ 427 w 2606"/>
                  <a:gd name="T29" fmla="*/ 1633 h 1671"/>
                  <a:gd name="T30" fmla="*/ 550 w 2606"/>
                  <a:gd name="T31" fmla="*/ 1564 h 1671"/>
                  <a:gd name="T32" fmla="*/ 658 w 2606"/>
                  <a:gd name="T33" fmla="*/ 1426 h 1671"/>
                  <a:gd name="T34" fmla="*/ 701 w 2606"/>
                  <a:gd name="T35" fmla="*/ 1437 h 1671"/>
                  <a:gd name="T36" fmla="*/ 811 w 2606"/>
                  <a:gd name="T37" fmla="*/ 1602 h 1671"/>
                  <a:gd name="T38" fmla="*/ 1004 w 2606"/>
                  <a:gd name="T39" fmla="*/ 1657 h 1671"/>
                  <a:gd name="T40" fmla="*/ 1063 w 2606"/>
                  <a:gd name="T41" fmla="*/ 1579 h 1671"/>
                  <a:gd name="T42" fmla="*/ 1187 w 2606"/>
                  <a:gd name="T43" fmla="*/ 1652 h 1671"/>
                  <a:gd name="T44" fmla="*/ 1275 w 2606"/>
                  <a:gd name="T45" fmla="*/ 1602 h 1671"/>
                  <a:gd name="T46" fmla="*/ 1378 w 2606"/>
                  <a:gd name="T47" fmla="*/ 1499 h 1671"/>
                  <a:gd name="T48" fmla="*/ 1489 w 2606"/>
                  <a:gd name="T49" fmla="*/ 1343 h 1671"/>
                  <a:gd name="T50" fmla="*/ 1623 w 2606"/>
                  <a:gd name="T51" fmla="*/ 1208 h 1671"/>
                  <a:gd name="T52" fmla="*/ 1675 w 2606"/>
                  <a:gd name="T53" fmla="*/ 1085 h 1671"/>
                  <a:gd name="T54" fmla="*/ 1741 w 2606"/>
                  <a:gd name="T55" fmla="*/ 1026 h 1671"/>
                  <a:gd name="T56" fmla="*/ 1774 w 2606"/>
                  <a:gd name="T57" fmla="*/ 964 h 1671"/>
                  <a:gd name="T58" fmla="*/ 1824 w 2606"/>
                  <a:gd name="T59" fmla="*/ 913 h 1671"/>
                  <a:gd name="T60" fmla="*/ 1774 w 2606"/>
                  <a:gd name="T61" fmla="*/ 823 h 1671"/>
                  <a:gd name="T62" fmla="*/ 1847 w 2606"/>
                  <a:gd name="T63" fmla="*/ 800 h 1671"/>
                  <a:gd name="T64" fmla="*/ 1886 w 2606"/>
                  <a:gd name="T65" fmla="*/ 879 h 1671"/>
                  <a:gd name="T66" fmla="*/ 1982 w 2606"/>
                  <a:gd name="T67" fmla="*/ 800 h 1671"/>
                  <a:gd name="T68" fmla="*/ 2006 w 2606"/>
                  <a:gd name="T69" fmla="*/ 675 h 1671"/>
                  <a:gd name="T70" fmla="*/ 2040 w 2606"/>
                  <a:gd name="T71" fmla="*/ 681 h 1671"/>
                  <a:gd name="T72" fmla="*/ 1990 w 2606"/>
                  <a:gd name="T73" fmla="*/ 641 h 1671"/>
                  <a:gd name="T74" fmla="*/ 2059 w 2606"/>
                  <a:gd name="T75" fmla="*/ 628 h 1671"/>
                  <a:gd name="T76" fmla="*/ 2204 w 2606"/>
                  <a:gd name="T77" fmla="*/ 495 h 1671"/>
                  <a:gd name="T78" fmla="*/ 2241 w 2606"/>
                  <a:gd name="T79" fmla="*/ 531 h 1671"/>
                  <a:gd name="T80" fmla="*/ 2373 w 2606"/>
                  <a:gd name="T81" fmla="*/ 397 h 1671"/>
                  <a:gd name="T82" fmla="*/ 2440 w 2606"/>
                  <a:gd name="T83" fmla="*/ 381 h 1671"/>
                  <a:gd name="T84" fmla="*/ 2536 w 2606"/>
                  <a:gd name="T85" fmla="*/ 458 h 1671"/>
                  <a:gd name="T86" fmla="*/ 2541 w 2606"/>
                  <a:gd name="T87" fmla="*/ 376 h 1671"/>
                  <a:gd name="T88" fmla="*/ 2579 w 2606"/>
                  <a:gd name="T89" fmla="*/ 294 h 1671"/>
                  <a:gd name="T90" fmla="*/ 2592 w 2606"/>
                  <a:gd name="T91" fmla="*/ 187 h 1671"/>
                  <a:gd name="T92" fmla="*/ 2428 w 2606"/>
                  <a:gd name="T93" fmla="*/ 162 h 1671"/>
                  <a:gd name="T94" fmla="*/ 2347 w 2606"/>
                  <a:gd name="T95" fmla="*/ 220 h 1671"/>
                  <a:gd name="T96" fmla="*/ 2188 w 2606"/>
                  <a:gd name="T97" fmla="*/ 212 h 1671"/>
                  <a:gd name="T98" fmla="*/ 2070 w 2606"/>
                  <a:gd name="T99" fmla="*/ 138 h 1671"/>
                  <a:gd name="T100" fmla="*/ 1975 w 2606"/>
                  <a:gd name="T101" fmla="*/ 81 h 1671"/>
                  <a:gd name="T102" fmla="*/ 1761 w 2606"/>
                  <a:gd name="T103" fmla="*/ 159 h 1671"/>
                  <a:gd name="T104" fmla="*/ 1734 w 2606"/>
                  <a:gd name="T105" fmla="*/ 264 h 1671"/>
                  <a:gd name="T106" fmla="*/ 1665 w 2606"/>
                  <a:gd name="T107" fmla="*/ 376 h 1671"/>
                  <a:gd name="T108" fmla="*/ 1427 w 2606"/>
                  <a:gd name="T109" fmla="*/ 440 h 1671"/>
                  <a:gd name="T110" fmla="*/ 1344 w 2606"/>
                  <a:gd name="T111" fmla="*/ 226 h 1671"/>
                  <a:gd name="T112" fmla="*/ 1369 w 2606"/>
                  <a:gd name="T113" fmla="*/ 142 h 1671"/>
                  <a:gd name="T114" fmla="*/ 1251 w 2606"/>
                  <a:gd name="T115" fmla="*/ 4 h 1671"/>
                  <a:gd name="T116" fmla="*/ 1145 w 2606"/>
                  <a:gd name="T117" fmla="*/ 42 h 1671"/>
                  <a:gd name="T118" fmla="*/ 1023 w 2606"/>
                  <a:gd name="T119" fmla="*/ 115 h 1671"/>
                  <a:gd name="T120" fmla="*/ 961 w 2606"/>
                  <a:gd name="T121" fmla="*/ 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06" h="1671">
                    <a:moveTo>
                      <a:pt x="923" y="0"/>
                    </a:moveTo>
                    <a:lnTo>
                      <a:pt x="923" y="12"/>
                    </a:lnTo>
                    <a:lnTo>
                      <a:pt x="921" y="27"/>
                    </a:lnTo>
                    <a:lnTo>
                      <a:pt x="918" y="36"/>
                    </a:lnTo>
                    <a:lnTo>
                      <a:pt x="913" y="43"/>
                    </a:lnTo>
                    <a:lnTo>
                      <a:pt x="906" y="50"/>
                    </a:lnTo>
                    <a:lnTo>
                      <a:pt x="898" y="56"/>
                    </a:lnTo>
                    <a:lnTo>
                      <a:pt x="892" y="60"/>
                    </a:lnTo>
                    <a:lnTo>
                      <a:pt x="885" y="64"/>
                    </a:lnTo>
                    <a:lnTo>
                      <a:pt x="874" y="71"/>
                    </a:lnTo>
                    <a:lnTo>
                      <a:pt x="865" y="80"/>
                    </a:lnTo>
                    <a:lnTo>
                      <a:pt x="860" y="83"/>
                    </a:lnTo>
                    <a:lnTo>
                      <a:pt x="856" y="88"/>
                    </a:lnTo>
                    <a:lnTo>
                      <a:pt x="853" y="93"/>
                    </a:lnTo>
                    <a:lnTo>
                      <a:pt x="850" y="98"/>
                    </a:lnTo>
                    <a:lnTo>
                      <a:pt x="848" y="102"/>
                    </a:lnTo>
                    <a:lnTo>
                      <a:pt x="847" y="107"/>
                    </a:lnTo>
                    <a:lnTo>
                      <a:pt x="843" y="118"/>
                    </a:lnTo>
                    <a:lnTo>
                      <a:pt x="840" y="127"/>
                    </a:lnTo>
                    <a:lnTo>
                      <a:pt x="837" y="137"/>
                    </a:lnTo>
                    <a:lnTo>
                      <a:pt x="835" y="145"/>
                    </a:lnTo>
                    <a:lnTo>
                      <a:pt x="833" y="150"/>
                    </a:lnTo>
                    <a:lnTo>
                      <a:pt x="831" y="153"/>
                    </a:lnTo>
                    <a:lnTo>
                      <a:pt x="829" y="157"/>
                    </a:lnTo>
                    <a:lnTo>
                      <a:pt x="827" y="159"/>
                    </a:lnTo>
                    <a:lnTo>
                      <a:pt x="822" y="163"/>
                    </a:lnTo>
                    <a:lnTo>
                      <a:pt x="817" y="164"/>
                    </a:lnTo>
                    <a:lnTo>
                      <a:pt x="812" y="165"/>
                    </a:lnTo>
                    <a:lnTo>
                      <a:pt x="806" y="167"/>
                    </a:lnTo>
                    <a:lnTo>
                      <a:pt x="795" y="169"/>
                    </a:lnTo>
                    <a:lnTo>
                      <a:pt x="784" y="170"/>
                    </a:lnTo>
                    <a:lnTo>
                      <a:pt x="772" y="173"/>
                    </a:lnTo>
                    <a:lnTo>
                      <a:pt x="760" y="174"/>
                    </a:lnTo>
                    <a:lnTo>
                      <a:pt x="747" y="175"/>
                    </a:lnTo>
                    <a:lnTo>
                      <a:pt x="732" y="177"/>
                    </a:lnTo>
                    <a:lnTo>
                      <a:pt x="720" y="180"/>
                    </a:lnTo>
                    <a:lnTo>
                      <a:pt x="707" y="183"/>
                    </a:lnTo>
                    <a:lnTo>
                      <a:pt x="693" y="186"/>
                    </a:lnTo>
                    <a:lnTo>
                      <a:pt x="679" y="189"/>
                    </a:lnTo>
                    <a:lnTo>
                      <a:pt x="666" y="190"/>
                    </a:lnTo>
                    <a:lnTo>
                      <a:pt x="654" y="190"/>
                    </a:lnTo>
                    <a:lnTo>
                      <a:pt x="642" y="192"/>
                    </a:lnTo>
                    <a:lnTo>
                      <a:pt x="630" y="193"/>
                    </a:lnTo>
                    <a:lnTo>
                      <a:pt x="625" y="194"/>
                    </a:lnTo>
                    <a:lnTo>
                      <a:pt x="620" y="195"/>
                    </a:lnTo>
                    <a:lnTo>
                      <a:pt x="614" y="197"/>
                    </a:lnTo>
                    <a:lnTo>
                      <a:pt x="608" y="201"/>
                    </a:lnTo>
                    <a:lnTo>
                      <a:pt x="603" y="205"/>
                    </a:lnTo>
                    <a:lnTo>
                      <a:pt x="598" y="209"/>
                    </a:lnTo>
                    <a:lnTo>
                      <a:pt x="594" y="215"/>
                    </a:lnTo>
                    <a:lnTo>
                      <a:pt x="590" y="222"/>
                    </a:lnTo>
                    <a:lnTo>
                      <a:pt x="576" y="250"/>
                    </a:lnTo>
                    <a:lnTo>
                      <a:pt x="563" y="274"/>
                    </a:lnTo>
                    <a:lnTo>
                      <a:pt x="557" y="284"/>
                    </a:lnTo>
                    <a:lnTo>
                      <a:pt x="548" y="294"/>
                    </a:lnTo>
                    <a:lnTo>
                      <a:pt x="540" y="302"/>
                    </a:lnTo>
                    <a:lnTo>
                      <a:pt x="531" y="310"/>
                    </a:lnTo>
                    <a:lnTo>
                      <a:pt x="512" y="325"/>
                    </a:lnTo>
                    <a:lnTo>
                      <a:pt x="499" y="335"/>
                    </a:lnTo>
                    <a:lnTo>
                      <a:pt x="491" y="339"/>
                    </a:lnTo>
                    <a:lnTo>
                      <a:pt x="484" y="340"/>
                    </a:lnTo>
                    <a:lnTo>
                      <a:pt x="477" y="339"/>
                    </a:lnTo>
                    <a:lnTo>
                      <a:pt x="468" y="337"/>
                    </a:lnTo>
                    <a:lnTo>
                      <a:pt x="459" y="333"/>
                    </a:lnTo>
                    <a:lnTo>
                      <a:pt x="452" y="331"/>
                    </a:lnTo>
                    <a:lnTo>
                      <a:pt x="446" y="331"/>
                    </a:lnTo>
                    <a:lnTo>
                      <a:pt x="440" y="333"/>
                    </a:lnTo>
                    <a:lnTo>
                      <a:pt x="437" y="337"/>
                    </a:lnTo>
                    <a:lnTo>
                      <a:pt x="432" y="342"/>
                    </a:lnTo>
                    <a:lnTo>
                      <a:pt x="427" y="352"/>
                    </a:lnTo>
                    <a:lnTo>
                      <a:pt x="421" y="363"/>
                    </a:lnTo>
                    <a:lnTo>
                      <a:pt x="419" y="370"/>
                    </a:lnTo>
                    <a:lnTo>
                      <a:pt x="418" y="375"/>
                    </a:lnTo>
                    <a:lnTo>
                      <a:pt x="418" y="379"/>
                    </a:lnTo>
                    <a:lnTo>
                      <a:pt x="419" y="384"/>
                    </a:lnTo>
                    <a:lnTo>
                      <a:pt x="421" y="390"/>
                    </a:lnTo>
                    <a:lnTo>
                      <a:pt x="425" y="396"/>
                    </a:lnTo>
                    <a:lnTo>
                      <a:pt x="427" y="400"/>
                    </a:lnTo>
                    <a:lnTo>
                      <a:pt x="430" y="403"/>
                    </a:lnTo>
                    <a:lnTo>
                      <a:pt x="430" y="405"/>
                    </a:lnTo>
                    <a:lnTo>
                      <a:pt x="428" y="407"/>
                    </a:lnTo>
                    <a:lnTo>
                      <a:pt x="426" y="409"/>
                    </a:lnTo>
                    <a:lnTo>
                      <a:pt x="424" y="411"/>
                    </a:lnTo>
                    <a:lnTo>
                      <a:pt x="419" y="414"/>
                    </a:lnTo>
                    <a:lnTo>
                      <a:pt x="415" y="415"/>
                    </a:lnTo>
                    <a:lnTo>
                      <a:pt x="412" y="415"/>
                    </a:lnTo>
                    <a:lnTo>
                      <a:pt x="407" y="415"/>
                    </a:lnTo>
                    <a:lnTo>
                      <a:pt x="399" y="413"/>
                    </a:lnTo>
                    <a:lnTo>
                      <a:pt x="389" y="411"/>
                    </a:lnTo>
                    <a:lnTo>
                      <a:pt x="380" y="410"/>
                    </a:lnTo>
                    <a:lnTo>
                      <a:pt x="371" y="410"/>
                    </a:lnTo>
                    <a:lnTo>
                      <a:pt x="367" y="411"/>
                    </a:lnTo>
                    <a:lnTo>
                      <a:pt x="363" y="414"/>
                    </a:lnTo>
                    <a:lnTo>
                      <a:pt x="358" y="417"/>
                    </a:lnTo>
                    <a:lnTo>
                      <a:pt x="354" y="422"/>
                    </a:lnTo>
                    <a:lnTo>
                      <a:pt x="346" y="434"/>
                    </a:lnTo>
                    <a:lnTo>
                      <a:pt x="338" y="448"/>
                    </a:lnTo>
                    <a:lnTo>
                      <a:pt x="330" y="466"/>
                    </a:lnTo>
                    <a:lnTo>
                      <a:pt x="321" y="485"/>
                    </a:lnTo>
                    <a:lnTo>
                      <a:pt x="313" y="508"/>
                    </a:lnTo>
                    <a:lnTo>
                      <a:pt x="306" y="533"/>
                    </a:lnTo>
                    <a:lnTo>
                      <a:pt x="301" y="555"/>
                    </a:lnTo>
                    <a:lnTo>
                      <a:pt x="296" y="574"/>
                    </a:lnTo>
                    <a:lnTo>
                      <a:pt x="294" y="580"/>
                    </a:lnTo>
                    <a:lnTo>
                      <a:pt x="292" y="586"/>
                    </a:lnTo>
                    <a:lnTo>
                      <a:pt x="288" y="591"/>
                    </a:lnTo>
                    <a:lnTo>
                      <a:pt x="285" y="597"/>
                    </a:lnTo>
                    <a:lnTo>
                      <a:pt x="277" y="606"/>
                    </a:lnTo>
                    <a:lnTo>
                      <a:pt x="271" y="616"/>
                    </a:lnTo>
                    <a:lnTo>
                      <a:pt x="267" y="630"/>
                    </a:lnTo>
                    <a:lnTo>
                      <a:pt x="263" y="644"/>
                    </a:lnTo>
                    <a:lnTo>
                      <a:pt x="261" y="650"/>
                    </a:lnTo>
                    <a:lnTo>
                      <a:pt x="258" y="656"/>
                    </a:lnTo>
                    <a:lnTo>
                      <a:pt x="256" y="661"/>
                    </a:lnTo>
                    <a:lnTo>
                      <a:pt x="252" y="665"/>
                    </a:lnTo>
                    <a:lnTo>
                      <a:pt x="235" y="676"/>
                    </a:lnTo>
                    <a:lnTo>
                      <a:pt x="214" y="688"/>
                    </a:lnTo>
                    <a:lnTo>
                      <a:pt x="204" y="694"/>
                    </a:lnTo>
                    <a:lnTo>
                      <a:pt x="194" y="701"/>
                    </a:lnTo>
                    <a:lnTo>
                      <a:pt x="185" y="711"/>
                    </a:lnTo>
                    <a:lnTo>
                      <a:pt x="178" y="722"/>
                    </a:lnTo>
                    <a:lnTo>
                      <a:pt x="162" y="747"/>
                    </a:lnTo>
                    <a:lnTo>
                      <a:pt x="147" y="774"/>
                    </a:lnTo>
                    <a:lnTo>
                      <a:pt x="140" y="787"/>
                    </a:lnTo>
                    <a:lnTo>
                      <a:pt x="134" y="799"/>
                    </a:lnTo>
                    <a:lnTo>
                      <a:pt x="129" y="812"/>
                    </a:lnTo>
                    <a:lnTo>
                      <a:pt x="126" y="823"/>
                    </a:lnTo>
                    <a:lnTo>
                      <a:pt x="125" y="832"/>
                    </a:lnTo>
                    <a:lnTo>
                      <a:pt x="125" y="842"/>
                    </a:lnTo>
                    <a:lnTo>
                      <a:pt x="125" y="850"/>
                    </a:lnTo>
                    <a:lnTo>
                      <a:pt x="126" y="856"/>
                    </a:lnTo>
                    <a:lnTo>
                      <a:pt x="130" y="867"/>
                    </a:lnTo>
                    <a:lnTo>
                      <a:pt x="132" y="874"/>
                    </a:lnTo>
                    <a:lnTo>
                      <a:pt x="135" y="876"/>
                    </a:lnTo>
                    <a:lnTo>
                      <a:pt x="137" y="877"/>
                    </a:lnTo>
                    <a:lnTo>
                      <a:pt x="140" y="880"/>
                    </a:lnTo>
                    <a:lnTo>
                      <a:pt x="143" y="881"/>
                    </a:lnTo>
                    <a:lnTo>
                      <a:pt x="153" y="883"/>
                    </a:lnTo>
                    <a:lnTo>
                      <a:pt x="163" y="889"/>
                    </a:lnTo>
                    <a:lnTo>
                      <a:pt x="169" y="893"/>
                    </a:lnTo>
                    <a:lnTo>
                      <a:pt x="174" y="898"/>
                    </a:lnTo>
                    <a:lnTo>
                      <a:pt x="179" y="902"/>
                    </a:lnTo>
                    <a:lnTo>
                      <a:pt x="182" y="908"/>
                    </a:lnTo>
                    <a:lnTo>
                      <a:pt x="188" y="919"/>
                    </a:lnTo>
                    <a:lnTo>
                      <a:pt x="193" y="931"/>
                    </a:lnTo>
                    <a:lnTo>
                      <a:pt x="198" y="947"/>
                    </a:lnTo>
                    <a:lnTo>
                      <a:pt x="200" y="958"/>
                    </a:lnTo>
                    <a:lnTo>
                      <a:pt x="203" y="965"/>
                    </a:lnTo>
                    <a:lnTo>
                      <a:pt x="204" y="974"/>
                    </a:lnTo>
                    <a:lnTo>
                      <a:pt x="204" y="986"/>
                    </a:lnTo>
                    <a:lnTo>
                      <a:pt x="200" y="1001"/>
                    </a:lnTo>
                    <a:lnTo>
                      <a:pt x="197" y="1010"/>
                    </a:lnTo>
                    <a:lnTo>
                      <a:pt x="192" y="1021"/>
                    </a:lnTo>
                    <a:lnTo>
                      <a:pt x="187" y="1029"/>
                    </a:lnTo>
                    <a:lnTo>
                      <a:pt x="182" y="1035"/>
                    </a:lnTo>
                    <a:lnTo>
                      <a:pt x="173" y="1043"/>
                    </a:lnTo>
                    <a:lnTo>
                      <a:pt x="164" y="1050"/>
                    </a:lnTo>
                    <a:lnTo>
                      <a:pt x="162" y="1054"/>
                    </a:lnTo>
                    <a:lnTo>
                      <a:pt x="160" y="1060"/>
                    </a:lnTo>
                    <a:lnTo>
                      <a:pt x="159" y="1068"/>
                    </a:lnTo>
                    <a:lnTo>
                      <a:pt x="157" y="1075"/>
                    </a:lnTo>
                    <a:lnTo>
                      <a:pt x="157" y="1091"/>
                    </a:lnTo>
                    <a:lnTo>
                      <a:pt x="156" y="1106"/>
                    </a:lnTo>
                    <a:lnTo>
                      <a:pt x="157" y="1110"/>
                    </a:lnTo>
                    <a:lnTo>
                      <a:pt x="160" y="1114"/>
                    </a:lnTo>
                    <a:lnTo>
                      <a:pt x="164" y="1116"/>
                    </a:lnTo>
                    <a:lnTo>
                      <a:pt x="169" y="1116"/>
                    </a:lnTo>
                    <a:lnTo>
                      <a:pt x="174" y="1115"/>
                    </a:lnTo>
                    <a:lnTo>
                      <a:pt x="180" y="1113"/>
                    </a:lnTo>
                    <a:lnTo>
                      <a:pt x="184" y="1108"/>
                    </a:lnTo>
                    <a:lnTo>
                      <a:pt x="186" y="1101"/>
                    </a:lnTo>
                    <a:lnTo>
                      <a:pt x="187" y="1089"/>
                    </a:lnTo>
                    <a:lnTo>
                      <a:pt x="186" y="1075"/>
                    </a:lnTo>
                    <a:lnTo>
                      <a:pt x="186" y="1069"/>
                    </a:lnTo>
                    <a:lnTo>
                      <a:pt x="187" y="1063"/>
                    </a:lnTo>
                    <a:lnTo>
                      <a:pt x="189" y="1057"/>
                    </a:lnTo>
                    <a:lnTo>
                      <a:pt x="192" y="1052"/>
                    </a:lnTo>
                    <a:lnTo>
                      <a:pt x="195" y="1052"/>
                    </a:lnTo>
                    <a:lnTo>
                      <a:pt x="201" y="1053"/>
                    </a:lnTo>
                    <a:lnTo>
                      <a:pt x="207" y="1056"/>
                    </a:lnTo>
                    <a:lnTo>
                      <a:pt x="214" y="1059"/>
                    </a:lnTo>
                    <a:lnTo>
                      <a:pt x="224" y="1064"/>
                    </a:lnTo>
                    <a:lnTo>
                      <a:pt x="232" y="1069"/>
                    </a:lnTo>
                    <a:lnTo>
                      <a:pt x="237" y="1070"/>
                    </a:lnTo>
                    <a:lnTo>
                      <a:pt x="241" y="1070"/>
                    </a:lnTo>
                    <a:lnTo>
                      <a:pt x="244" y="1070"/>
                    </a:lnTo>
                    <a:lnTo>
                      <a:pt x="248" y="1068"/>
                    </a:lnTo>
                    <a:lnTo>
                      <a:pt x="256" y="1060"/>
                    </a:lnTo>
                    <a:lnTo>
                      <a:pt x="269" y="1051"/>
                    </a:lnTo>
                    <a:lnTo>
                      <a:pt x="286" y="1040"/>
                    </a:lnTo>
                    <a:lnTo>
                      <a:pt x="307" y="1029"/>
                    </a:lnTo>
                    <a:lnTo>
                      <a:pt x="327" y="1021"/>
                    </a:lnTo>
                    <a:lnTo>
                      <a:pt x="343" y="1014"/>
                    </a:lnTo>
                    <a:lnTo>
                      <a:pt x="357" y="1007"/>
                    </a:lnTo>
                    <a:lnTo>
                      <a:pt x="371" y="1000"/>
                    </a:lnTo>
                    <a:lnTo>
                      <a:pt x="386" y="991"/>
                    </a:lnTo>
                    <a:lnTo>
                      <a:pt x="396" y="987"/>
                    </a:lnTo>
                    <a:lnTo>
                      <a:pt x="405" y="984"/>
                    </a:lnTo>
                    <a:lnTo>
                      <a:pt x="409" y="984"/>
                    </a:lnTo>
                    <a:lnTo>
                      <a:pt x="412" y="986"/>
                    </a:lnTo>
                    <a:lnTo>
                      <a:pt x="413" y="986"/>
                    </a:lnTo>
                    <a:lnTo>
                      <a:pt x="413" y="988"/>
                    </a:lnTo>
                    <a:lnTo>
                      <a:pt x="413" y="989"/>
                    </a:lnTo>
                    <a:lnTo>
                      <a:pt x="412" y="999"/>
                    </a:lnTo>
                    <a:lnTo>
                      <a:pt x="407" y="1012"/>
                    </a:lnTo>
                    <a:lnTo>
                      <a:pt x="405" y="1019"/>
                    </a:lnTo>
                    <a:lnTo>
                      <a:pt x="400" y="1024"/>
                    </a:lnTo>
                    <a:lnTo>
                      <a:pt x="395" y="1027"/>
                    </a:lnTo>
                    <a:lnTo>
                      <a:pt x="389" y="1031"/>
                    </a:lnTo>
                    <a:lnTo>
                      <a:pt x="376" y="1034"/>
                    </a:lnTo>
                    <a:lnTo>
                      <a:pt x="364" y="1035"/>
                    </a:lnTo>
                    <a:lnTo>
                      <a:pt x="359" y="1038"/>
                    </a:lnTo>
                    <a:lnTo>
                      <a:pt x="356" y="1040"/>
                    </a:lnTo>
                    <a:lnTo>
                      <a:pt x="352" y="1043"/>
                    </a:lnTo>
                    <a:lnTo>
                      <a:pt x="349" y="1047"/>
                    </a:lnTo>
                    <a:lnTo>
                      <a:pt x="345" y="1052"/>
                    </a:lnTo>
                    <a:lnTo>
                      <a:pt x="344" y="1058"/>
                    </a:lnTo>
                    <a:lnTo>
                      <a:pt x="342" y="1064"/>
                    </a:lnTo>
                    <a:lnTo>
                      <a:pt x="340" y="1071"/>
                    </a:lnTo>
                    <a:lnTo>
                      <a:pt x="339" y="1077"/>
                    </a:lnTo>
                    <a:lnTo>
                      <a:pt x="336" y="1081"/>
                    </a:lnTo>
                    <a:lnTo>
                      <a:pt x="333" y="1084"/>
                    </a:lnTo>
                    <a:lnTo>
                      <a:pt x="329" y="1087"/>
                    </a:lnTo>
                    <a:lnTo>
                      <a:pt x="319" y="1089"/>
                    </a:lnTo>
                    <a:lnTo>
                      <a:pt x="310" y="1089"/>
                    </a:lnTo>
                    <a:lnTo>
                      <a:pt x="305" y="1090"/>
                    </a:lnTo>
                    <a:lnTo>
                      <a:pt x="300" y="1094"/>
                    </a:lnTo>
                    <a:lnTo>
                      <a:pt x="296" y="1098"/>
                    </a:lnTo>
                    <a:lnTo>
                      <a:pt x="293" y="1104"/>
                    </a:lnTo>
                    <a:lnTo>
                      <a:pt x="286" y="1117"/>
                    </a:lnTo>
                    <a:lnTo>
                      <a:pt x="281" y="1129"/>
                    </a:lnTo>
                    <a:lnTo>
                      <a:pt x="279" y="1134"/>
                    </a:lnTo>
                    <a:lnTo>
                      <a:pt x="276" y="1138"/>
                    </a:lnTo>
                    <a:lnTo>
                      <a:pt x="274" y="1141"/>
                    </a:lnTo>
                    <a:lnTo>
                      <a:pt x="270" y="1142"/>
                    </a:lnTo>
                    <a:lnTo>
                      <a:pt x="262" y="1145"/>
                    </a:lnTo>
                    <a:lnTo>
                      <a:pt x="252" y="1144"/>
                    </a:lnTo>
                    <a:lnTo>
                      <a:pt x="248" y="1144"/>
                    </a:lnTo>
                    <a:lnTo>
                      <a:pt x="242" y="1145"/>
                    </a:lnTo>
                    <a:lnTo>
                      <a:pt x="237" y="1146"/>
                    </a:lnTo>
                    <a:lnTo>
                      <a:pt x="232" y="1148"/>
                    </a:lnTo>
                    <a:lnTo>
                      <a:pt x="223" y="1154"/>
                    </a:lnTo>
                    <a:lnTo>
                      <a:pt x="216" y="1161"/>
                    </a:lnTo>
                    <a:lnTo>
                      <a:pt x="203" y="1172"/>
                    </a:lnTo>
                    <a:lnTo>
                      <a:pt x="189" y="1184"/>
                    </a:lnTo>
                    <a:lnTo>
                      <a:pt x="184" y="1191"/>
                    </a:lnTo>
                    <a:lnTo>
                      <a:pt x="178" y="1198"/>
                    </a:lnTo>
                    <a:lnTo>
                      <a:pt x="173" y="1204"/>
                    </a:lnTo>
                    <a:lnTo>
                      <a:pt x="168" y="1215"/>
                    </a:lnTo>
                    <a:lnTo>
                      <a:pt x="164" y="1226"/>
                    </a:lnTo>
                    <a:lnTo>
                      <a:pt x="163" y="1235"/>
                    </a:lnTo>
                    <a:lnTo>
                      <a:pt x="163" y="1243"/>
                    </a:lnTo>
                    <a:lnTo>
                      <a:pt x="164" y="1251"/>
                    </a:lnTo>
                    <a:lnTo>
                      <a:pt x="164" y="1255"/>
                    </a:lnTo>
                    <a:lnTo>
                      <a:pt x="163" y="1259"/>
                    </a:lnTo>
                    <a:lnTo>
                      <a:pt x="160" y="1264"/>
                    </a:lnTo>
                    <a:lnTo>
                      <a:pt x="155" y="1268"/>
                    </a:lnTo>
                    <a:lnTo>
                      <a:pt x="144" y="1278"/>
                    </a:lnTo>
                    <a:lnTo>
                      <a:pt x="136" y="1285"/>
                    </a:lnTo>
                    <a:lnTo>
                      <a:pt x="129" y="1290"/>
                    </a:lnTo>
                    <a:lnTo>
                      <a:pt x="124" y="1292"/>
                    </a:lnTo>
                    <a:lnTo>
                      <a:pt x="119" y="1293"/>
                    </a:lnTo>
                    <a:lnTo>
                      <a:pt x="113" y="1293"/>
                    </a:lnTo>
                    <a:lnTo>
                      <a:pt x="109" y="1295"/>
                    </a:lnTo>
                    <a:lnTo>
                      <a:pt x="100" y="1298"/>
                    </a:lnTo>
                    <a:lnTo>
                      <a:pt x="92" y="1304"/>
                    </a:lnTo>
                    <a:lnTo>
                      <a:pt x="80" y="1314"/>
                    </a:lnTo>
                    <a:lnTo>
                      <a:pt x="75" y="1319"/>
                    </a:lnTo>
                    <a:lnTo>
                      <a:pt x="72" y="1325"/>
                    </a:lnTo>
                    <a:lnTo>
                      <a:pt x="69" y="1330"/>
                    </a:lnTo>
                    <a:lnTo>
                      <a:pt x="68" y="1335"/>
                    </a:lnTo>
                    <a:lnTo>
                      <a:pt x="66" y="1344"/>
                    </a:lnTo>
                    <a:lnTo>
                      <a:pt x="62" y="1353"/>
                    </a:lnTo>
                    <a:lnTo>
                      <a:pt x="54" y="1365"/>
                    </a:lnTo>
                    <a:lnTo>
                      <a:pt x="41" y="1379"/>
                    </a:lnTo>
                    <a:lnTo>
                      <a:pt x="27" y="1393"/>
                    </a:lnTo>
                    <a:lnTo>
                      <a:pt x="17" y="1404"/>
                    </a:lnTo>
                    <a:lnTo>
                      <a:pt x="14" y="1407"/>
                    </a:lnTo>
                    <a:lnTo>
                      <a:pt x="11" y="1412"/>
                    </a:lnTo>
                    <a:lnTo>
                      <a:pt x="10" y="1418"/>
                    </a:lnTo>
                    <a:lnTo>
                      <a:pt x="10" y="1423"/>
                    </a:lnTo>
                    <a:lnTo>
                      <a:pt x="10" y="1434"/>
                    </a:lnTo>
                    <a:lnTo>
                      <a:pt x="10" y="1443"/>
                    </a:lnTo>
                    <a:lnTo>
                      <a:pt x="9" y="1449"/>
                    </a:lnTo>
                    <a:lnTo>
                      <a:pt x="8" y="1455"/>
                    </a:lnTo>
                    <a:lnTo>
                      <a:pt x="5" y="1461"/>
                    </a:lnTo>
                    <a:lnTo>
                      <a:pt x="3" y="1468"/>
                    </a:lnTo>
                    <a:lnTo>
                      <a:pt x="0" y="1474"/>
                    </a:lnTo>
                    <a:lnTo>
                      <a:pt x="0" y="1478"/>
                    </a:lnTo>
                    <a:lnTo>
                      <a:pt x="4" y="1479"/>
                    </a:lnTo>
                    <a:lnTo>
                      <a:pt x="11" y="1481"/>
                    </a:lnTo>
                    <a:lnTo>
                      <a:pt x="22" y="1485"/>
                    </a:lnTo>
                    <a:lnTo>
                      <a:pt x="34" y="1488"/>
                    </a:lnTo>
                    <a:lnTo>
                      <a:pt x="44" y="1492"/>
                    </a:lnTo>
                    <a:lnTo>
                      <a:pt x="54" y="1494"/>
                    </a:lnTo>
                    <a:lnTo>
                      <a:pt x="60" y="1494"/>
                    </a:lnTo>
                    <a:lnTo>
                      <a:pt x="65" y="1494"/>
                    </a:lnTo>
                    <a:lnTo>
                      <a:pt x="68" y="1493"/>
                    </a:lnTo>
                    <a:lnTo>
                      <a:pt x="73" y="1491"/>
                    </a:lnTo>
                    <a:lnTo>
                      <a:pt x="80" y="1487"/>
                    </a:lnTo>
                    <a:lnTo>
                      <a:pt x="87" y="1484"/>
                    </a:lnTo>
                    <a:lnTo>
                      <a:pt x="92" y="1482"/>
                    </a:lnTo>
                    <a:lnTo>
                      <a:pt x="97" y="1482"/>
                    </a:lnTo>
                    <a:lnTo>
                      <a:pt x="100" y="1484"/>
                    </a:lnTo>
                    <a:lnTo>
                      <a:pt x="105" y="1485"/>
                    </a:lnTo>
                    <a:lnTo>
                      <a:pt x="110" y="1486"/>
                    </a:lnTo>
                    <a:lnTo>
                      <a:pt x="113" y="1489"/>
                    </a:lnTo>
                    <a:lnTo>
                      <a:pt x="117" y="1493"/>
                    </a:lnTo>
                    <a:lnTo>
                      <a:pt x="122" y="1499"/>
                    </a:lnTo>
                    <a:lnTo>
                      <a:pt x="129" y="1512"/>
                    </a:lnTo>
                    <a:lnTo>
                      <a:pt x="137" y="1526"/>
                    </a:lnTo>
                    <a:lnTo>
                      <a:pt x="142" y="1533"/>
                    </a:lnTo>
                    <a:lnTo>
                      <a:pt x="147" y="1539"/>
                    </a:lnTo>
                    <a:lnTo>
                      <a:pt x="153" y="1544"/>
                    </a:lnTo>
                    <a:lnTo>
                      <a:pt x="159" y="1547"/>
                    </a:lnTo>
                    <a:lnTo>
                      <a:pt x="173" y="1549"/>
                    </a:lnTo>
                    <a:lnTo>
                      <a:pt x="188" y="1554"/>
                    </a:lnTo>
                    <a:lnTo>
                      <a:pt x="195" y="1557"/>
                    </a:lnTo>
                    <a:lnTo>
                      <a:pt x="201" y="1561"/>
                    </a:lnTo>
                    <a:lnTo>
                      <a:pt x="206" y="1567"/>
                    </a:lnTo>
                    <a:lnTo>
                      <a:pt x="210" y="1573"/>
                    </a:lnTo>
                    <a:lnTo>
                      <a:pt x="213" y="1586"/>
                    </a:lnTo>
                    <a:lnTo>
                      <a:pt x="217" y="1598"/>
                    </a:lnTo>
                    <a:lnTo>
                      <a:pt x="222" y="1611"/>
                    </a:lnTo>
                    <a:lnTo>
                      <a:pt x="226" y="1625"/>
                    </a:lnTo>
                    <a:lnTo>
                      <a:pt x="231" y="1631"/>
                    </a:lnTo>
                    <a:lnTo>
                      <a:pt x="235" y="1637"/>
                    </a:lnTo>
                    <a:lnTo>
                      <a:pt x="239" y="1642"/>
                    </a:lnTo>
                    <a:lnTo>
                      <a:pt x="245" y="1645"/>
                    </a:lnTo>
                    <a:lnTo>
                      <a:pt x="251" y="1649"/>
                    </a:lnTo>
                    <a:lnTo>
                      <a:pt x="257" y="1651"/>
                    </a:lnTo>
                    <a:lnTo>
                      <a:pt x="263" y="1652"/>
                    </a:lnTo>
                    <a:lnTo>
                      <a:pt x="269" y="1652"/>
                    </a:lnTo>
                    <a:lnTo>
                      <a:pt x="286" y="1652"/>
                    </a:lnTo>
                    <a:lnTo>
                      <a:pt x="307" y="1651"/>
                    </a:lnTo>
                    <a:lnTo>
                      <a:pt x="329" y="1650"/>
                    </a:lnTo>
                    <a:lnTo>
                      <a:pt x="345" y="1651"/>
                    </a:lnTo>
                    <a:lnTo>
                      <a:pt x="357" y="1652"/>
                    </a:lnTo>
                    <a:lnTo>
                      <a:pt x="367" y="1652"/>
                    </a:lnTo>
                    <a:lnTo>
                      <a:pt x="375" y="1650"/>
                    </a:lnTo>
                    <a:lnTo>
                      <a:pt x="384" y="1645"/>
                    </a:lnTo>
                    <a:lnTo>
                      <a:pt x="396" y="1639"/>
                    </a:lnTo>
                    <a:lnTo>
                      <a:pt x="412" y="1634"/>
                    </a:lnTo>
                    <a:lnTo>
                      <a:pt x="419" y="1633"/>
                    </a:lnTo>
                    <a:lnTo>
                      <a:pt x="427" y="1633"/>
                    </a:lnTo>
                    <a:lnTo>
                      <a:pt x="434" y="1633"/>
                    </a:lnTo>
                    <a:lnTo>
                      <a:pt x="440" y="1634"/>
                    </a:lnTo>
                    <a:lnTo>
                      <a:pt x="451" y="1638"/>
                    </a:lnTo>
                    <a:lnTo>
                      <a:pt x="462" y="1644"/>
                    </a:lnTo>
                    <a:lnTo>
                      <a:pt x="470" y="1649"/>
                    </a:lnTo>
                    <a:lnTo>
                      <a:pt x="478" y="1652"/>
                    </a:lnTo>
                    <a:lnTo>
                      <a:pt x="487" y="1656"/>
                    </a:lnTo>
                    <a:lnTo>
                      <a:pt x="491" y="1657"/>
                    </a:lnTo>
                    <a:lnTo>
                      <a:pt x="494" y="1657"/>
                    </a:lnTo>
                    <a:lnTo>
                      <a:pt x="496" y="1655"/>
                    </a:lnTo>
                    <a:lnTo>
                      <a:pt x="500" y="1650"/>
                    </a:lnTo>
                    <a:lnTo>
                      <a:pt x="504" y="1644"/>
                    </a:lnTo>
                    <a:lnTo>
                      <a:pt x="509" y="1637"/>
                    </a:lnTo>
                    <a:lnTo>
                      <a:pt x="514" y="1632"/>
                    </a:lnTo>
                    <a:lnTo>
                      <a:pt x="525" y="1624"/>
                    </a:lnTo>
                    <a:lnTo>
                      <a:pt x="538" y="1614"/>
                    </a:lnTo>
                    <a:lnTo>
                      <a:pt x="544" y="1611"/>
                    </a:lnTo>
                    <a:lnTo>
                      <a:pt x="547" y="1607"/>
                    </a:lnTo>
                    <a:lnTo>
                      <a:pt x="548" y="1601"/>
                    </a:lnTo>
                    <a:lnTo>
                      <a:pt x="547" y="1590"/>
                    </a:lnTo>
                    <a:lnTo>
                      <a:pt x="547" y="1582"/>
                    </a:lnTo>
                    <a:lnTo>
                      <a:pt x="547" y="1573"/>
                    </a:lnTo>
                    <a:lnTo>
                      <a:pt x="550" y="1564"/>
                    </a:lnTo>
                    <a:lnTo>
                      <a:pt x="553" y="1558"/>
                    </a:lnTo>
                    <a:lnTo>
                      <a:pt x="560" y="1547"/>
                    </a:lnTo>
                    <a:lnTo>
                      <a:pt x="565" y="1536"/>
                    </a:lnTo>
                    <a:lnTo>
                      <a:pt x="569" y="1524"/>
                    </a:lnTo>
                    <a:lnTo>
                      <a:pt x="571" y="1512"/>
                    </a:lnTo>
                    <a:lnTo>
                      <a:pt x="575" y="1506"/>
                    </a:lnTo>
                    <a:lnTo>
                      <a:pt x="579" y="1501"/>
                    </a:lnTo>
                    <a:lnTo>
                      <a:pt x="586" y="1497"/>
                    </a:lnTo>
                    <a:lnTo>
                      <a:pt x="596" y="1492"/>
                    </a:lnTo>
                    <a:lnTo>
                      <a:pt x="614" y="1485"/>
                    </a:lnTo>
                    <a:lnTo>
                      <a:pt x="630" y="1478"/>
                    </a:lnTo>
                    <a:lnTo>
                      <a:pt x="641" y="1473"/>
                    </a:lnTo>
                    <a:lnTo>
                      <a:pt x="654" y="1467"/>
                    </a:lnTo>
                    <a:lnTo>
                      <a:pt x="666" y="1462"/>
                    </a:lnTo>
                    <a:lnTo>
                      <a:pt x="677" y="1456"/>
                    </a:lnTo>
                    <a:lnTo>
                      <a:pt x="679" y="1455"/>
                    </a:lnTo>
                    <a:lnTo>
                      <a:pt x="680" y="1454"/>
                    </a:lnTo>
                    <a:lnTo>
                      <a:pt x="680" y="1453"/>
                    </a:lnTo>
                    <a:lnTo>
                      <a:pt x="680" y="1450"/>
                    </a:lnTo>
                    <a:lnTo>
                      <a:pt x="679" y="1447"/>
                    </a:lnTo>
                    <a:lnTo>
                      <a:pt x="676" y="1443"/>
                    </a:lnTo>
                    <a:lnTo>
                      <a:pt x="666" y="1434"/>
                    </a:lnTo>
                    <a:lnTo>
                      <a:pt x="658" y="1426"/>
                    </a:lnTo>
                    <a:lnTo>
                      <a:pt x="648" y="1415"/>
                    </a:lnTo>
                    <a:lnTo>
                      <a:pt x="636" y="1399"/>
                    </a:lnTo>
                    <a:lnTo>
                      <a:pt x="630" y="1390"/>
                    </a:lnTo>
                    <a:lnTo>
                      <a:pt x="625" y="1380"/>
                    </a:lnTo>
                    <a:lnTo>
                      <a:pt x="621" y="1372"/>
                    </a:lnTo>
                    <a:lnTo>
                      <a:pt x="617" y="1363"/>
                    </a:lnTo>
                    <a:lnTo>
                      <a:pt x="616" y="1356"/>
                    </a:lnTo>
                    <a:lnTo>
                      <a:pt x="615" y="1348"/>
                    </a:lnTo>
                    <a:lnTo>
                      <a:pt x="615" y="1341"/>
                    </a:lnTo>
                    <a:lnTo>
                      <a:pt x="616" y="1335"/>
                    </a:lnTo>
                    <a:lnTo>
                      <a:pt x="617" y="1330"/>
                    </a:lnTo>
                    <a:lnTo>
                      <a:pt x="619" y="1328"/>
                    </a:lnTo>
                    <a:lnTo>
                      <a:pt x="621" y="1329"/>
                    </a:lnTo>
                    <a:lnTo>
                      <a:pt x="625" y="1333"/>
                    </a:lnTo>
                    <a:lnTo>
                      <a:pt x="629" y="1348"/>
                    </a:lnTo>
                    <a:lnTo>
                      <a:pt x="636" y="1367"/>
                    </a:lnTo>
                    <a:lnTo>
                      <a:pt x="641" y="1378"/>
                    </a:lnTo>
                    <a:lnTo>
                      <a:pt x="648" y="1387"/>
                    </a:lnTo>
                    <a:lnTo>
                      <a:pt x="655" y="1397"/>
                    </a:lnTo>
                    <a:lnTo>
                      <a:pt x="666" y="1406"/>
                    </a:lnTo>
                    <a:lnTo>
                      <a:pt x="677" y="1416"/>
                    </a:lnTo>
                    <a:lnTo>
                      <a:pt x="689" y="1426"/>
                    </a:lnTo>
                    <a:lnTo>
                      <a:pt x="701" y="1437"/>
                    </a:lnTo>
                    <a:lnTo>
                      <a:pt x="713" y="1450"/>
                    </a:lnTo>
                    <a:lnTo>
                      <a:pt x="734" y="1474"/>
                    </a:lnTo>
                    <a:lnTo>
                      <a:pt x="751" y="1494"/>
                    </a:lnTo>
                    <a:lnTo>
                      <a:pt x="761" y="1507"/>
                    </a:lnTo>
                    <a:lnTo>
                      <a:pt x="776" y="1520"/>
                    </a:lnTo>
                    <a:lnTo>
                      <a:pt x="781" y="1527"/>
                    </a:lnTo>
                    <a:lnTo>
                      <a:pt x="787" y="1535"/>
                    </a:lnTo>
                    <a:lnTo>
                      <a:pt x="792" y="1541"/>
                    </a:lnTo>
                    <a:lnTo>
                      <a:pt x="793" y="1547"/>
                    </a:lnTo>
                    <a:lnTo>
                      <a:pt x="791" y="1556"/>
                    </a:lnTo>
                    <a:lnTo>
                      <a:pt x="785" y="1570"/>
                    </a:lnTo>
                    <a:lnTo>
                      <a:pt x="781" y="1577"/>
                    </a:lnTo>
                    <a:lnTo>
                      <a:pt x="780" y="1585"/>
                    </a:lnTo>
                    <a:lnTo>
                      <a:pt x="779" y="1587"/>
                    </a:lnTo>
                    <a:lnTo>
                      <a:pt x="779" y="1589"/>
                    </a:lnTo>
                    <a:lnTo>
                      <a:pt x="780" y="1592"/>
                    </a:lnTo>
                    <a:lnTo>
                      <a:pt x="781" y="1594"/>
                    </a:lnTo>
                    <a:lnTo>
                      <a:pt x="785" y="1598"/>
                    </a:lnTo>
                    <a:lnTo>
                      <a:pt x="789" y="1600"/>
                    </a:lnTo>
                    <a:lnTo>
                      <a:pt x="792" y="1601"/>
                    </a:lnTo>
                    <a:lnTo>
                      <a:pt x="796" y="1602"/>
                    </a:lnTo>
                    <a:lnTo>
                      <a:pt x="803" y="1602"/>
                    </a:lnTo>
                    <a:lnTo>
                      <a:pt x="811" y="1602"/>
                    </a:lnTo>
                    <a:lnTo>
                      <a:pt x="819" y="1600"/>
                    </a:lnTo>
                    <a:lnTo>
                      <a:pt x="828" y="1599"/>
                    </a:lnTo>
                    <a:lnTo>
                      <a:pt x="836" y="1599"/>
                    </a:lnTo>
                    <a:lnTo>
                      <a:pt x="843" y="1599"/>
                    </a:lnTo>
                    <a:lnTo>
                      <a:pt x="855" y="1602"/>
                    </a:lnTo>
                    <a:lnTo>
                      <a:pt x="866" y="1606"/>
                    </a:lnTo>
                    <a:lnTo>
                      <a:pt x="875" y="1611"/>
                    </a:lnTo>
                    <a:lnTo>
                      <a:pt x="885" y="1615"/>
                    </a:lnTo>
                    <a:lnTo>
                      <a:pt x="894" y="1621"/>
                    </a:lnTo>
                    <a:lnTo>
                      <a:pt x="903" y="1627"/>
                    </a:lnTo>
                    <a:lnTo>
                      <a:pt x="911" y="1634"/>
                    </a:lnTo>
                    <a:lnTo>
                      <a:pt x="919" y="1643"/>
                    </a:lnTo>
                    <a:lnTo>
                      <a:pt x="924" y="1648"/>
                    </a:lnTo>
                    <a:lnTo>
                      <a:pt x="930" y="1652"/>
                    </a:lnTo>
                    <a:lnTo>
                      <a:pt x="937" y="1655"/>
                    </a:lnTo>
                    <a:lnTo>
                      <a:pt x="943" y="1658"/>
                    </a:lnTo>
                    <a:lnTo>
                      <a:pt x="950" y="1659"/>
                    </a:lnTo>
                    <a:lnTo>
                      <a:pt x="959" y="1659"/>
                    </a:lnTo>
                    <a:lnTo>
                      <a:pt x="966" y="1659"/>
                    </a:lnTo>
                    <a:lnTo>
                      <a:pt x="974" y="1658"/>
                    </a:lnTo>
                    <a:lnTo>
                      <a:pt x="986" y="1658"/>
                    </a:lnTo>
                    <a:lnTo>
                      <a:pt x="998" y="1658"/>
                    </a:lnTo>
                    <a:lnTo>
                      <a:pt x="1004" y="1657"/>
                    </a:lnTo>
                    <a:lnTo>
                      <a:pt x="1007" y="1656"/>
                    </a:lnTo>
                    <a:lnTo>
                      <a:pt x="1010" y="1655"/>
                    </a:lnTo>
                    <a:lnTo>
                      <a:pt x="1011" y="1652"/>
                    </a:lnTo>
                    <a:lnTo>
                      <a:pt x="1011" y="1650"/>
                    </a:lnTo>
                    <a:lnTo>
                      <a:pt x="1012" y="1648"/>
                    </a:lnTo>
                    <a:lnTo>
                      <a:pt x="1012" y="1643"/>
                    </a:lnTo>
                    <a:lnTo>
                      <a:pt x="1014" y="1639"/>
                    </a:lnTo>
                    <a:lnTo>
                      <a:pt x="1018" y="1636"/>
                    </a:lnTo>
                    <a:lnTo>
                      <a:pt x="1023" y="1633"/>
                    </a:lnTo>
                    <a:lnTo>
                      <a:pt x="1026" y="1632"/>
                    </a:lnTo>
                    <a:lnTo>
                      <a:pt x="1030" y="1631"/>
                    </a:lnTo>
                    <a:lnTo>
                      <a:pt x="1033" y="1632"/>
                    </a:lnTo>
                    <a:lnTo>
                      <a:pt x="1037" y="1633"/>
                    </a:lnTo>
                    <a:lnTo>
                      <a:pt x="1038" y="1634"/>
                    </a:lnTo>
                    <a:lnTo>
                      <a:pt x="1041" y="1634"/>
                    </a:lnTo>
                    <a:lnTo>
                      <a:pt x="1042" y="1633"/>
                    </a:lnTo>
                    <a:lnTo>
                      <a:pt x="1043" y="1631"/>
                    </a:lnTo>
                    <a:lnTo>
                      <a:pt x="1047" y="1625"/>
                    </a:lnTo>
                    <a:lnTo>
                      <a:pt x="1049" y="1618"/>
                    </a:lnTo>
                    <a:lnTo>
                      <a:pt x="1054" y="1600"/>
                    </a:lnTo>
                    <a:lnTo>
                      <a:pt x="1056" y="1590"/>
                    </a:lnTo>
                    <a:lnTo>
                      <a:pt x="1058" y="1585"/>
                    </a:lnTo>
                    <a:lnTo>
                      <a:pt x="1063" y="1579"/>
                    </a:lnTo>
                    <a:lnTo>
                      <a:pt x="1068" y="1574"/>
                    </a:lnTo>
                    <a:lnTo>
                      <a:pt x="1074" y="1569"/>
                    </a:lnTo>
                    <a:lnTo>
                      <a:pt x="1081" y="1566"/>
                    </a:lnTo>
                    <a:lnTo>
                      <a:pt x="1089" y="1562"/>
                    </a:lnTo>
                    <a:lnTo>
                      <a:pt x="1096" y="1560"/>
                    </a:lnTo>
                    <a:lnTo>
                      <a:pt x="1105" y="1558"/>
                    </a:lnTo>
                    <a:lnTo>
                      <a:pt x="1114" y="1557"/>
                    </a:lnTo>
                    <a:lnTo>
                      <a:pt x="1123" y="1558"/>
                    </a:lnTo>
                    <a:lnTo>
                      <a:pt x="1131" y="1560"/>
                    </a:lnTo>
                    <a:lnTo>
                      <a:pt x="1138" y="1561"/>
                    </a:lnTo>
                    <a:lnTo>
                      <a:pt x="1145" y="1563"/>
                    </a:lnTo>
                    <a:lnTo>
                      <a:pt x="1150" y="1568"/>
                    </a:lnTo>
                    <a:lnTo>
                      <a:pt x="1154" y="1571"/>
                    </a:lnTo>
                    <a:lnTo>
                      <a:pt x="1156" y="1577"/>
                    </a:lnTo>
                    <a:lnTo>
                      <a:pt x="1157" y="1583"/>
                    </a:lnTo>
                    <a:lnTo>
                      <a:pt x="1159" y="1588"/>
                    </a:lnTo>
                    <a:lnTo>
                      <a:pt x="1163" y="1593"/>
                    </a:lnTo>
                    <a:lnTo>
                      <a:pt x="1165" y="1596"/>
                    </a:lnTo>
                    <a:lnTo>
                      <a:pt x="1171" y="1605"/>
                    </a:lnTo>
                    <a:lnTo>
                      <a:pt x="1177" y="1614"/>
                    </a:lnTo>
                    <a:lnTo>
                      <a:pt x="1181" y="1626"/>
                    </a:lnTo>
                    <a:lnTo>
                      <a:pt x="1184" y="1639"/>
                    </a:lnTo>
                    <a:lnTo>
                      <a:pt x="1187" y="1652"/>
                    </a:lnTo>
                    <a:lnTo>
                      <a:pt x="1190" y="1662"/>
                    </a:lnTo>
                    <a:lnTo>
                      <a:pt x="1193" y="1667"/>
                    </a:lnTo>
                    <a:lnTo>
                      <a:pt x="1196" y="1669"/>
                    </a:lnTo>
                    <a:lnTo>
                      <a:pt x="1200" y="1671"/>
                    </a:lnTo>
                    <a:lnTo>
                      <a:pt x="1203" y="1671"/>
                    </a:lnTo>
                    <a:lnTo>
                      <a:pt x="1208" y="1671"/>
                    </a:lnTo>
                    <a:lnTo>
                      <a:pt x="1213" y="1670"/>
                    </a:lnTo>
                    <a:lnTo>
                      <a:pt x="1217" y="1668"/>
                    </a:lnTo>
                    <a:lnTo>
                      <a:pt x="1221" y="1665"/>
                    </a:lnTo>
                    <a:lnTo>
                      <a:pt x="1228" y="1658"/>
                    </a:lnTo>
                    <a:lnTo>
                      <a:pt x="1234" y="1655"/>
                    </a:lnTo>
                    <a:lnTo>
                      <a:pt x="1243" y="1651"/>
                    </a:lnTo>
                    <a:lnTo>
                      <a:pt x="1253" y="1650"/>
                    </a:lnTo>
                    <a:lnTo>
                      <a:pt x="1258" y="1649"/>
                    </a:lnTo>
                    <a:lnTo>
                      <a:pt x="1263" y="1648"/>
                    </a:lnTo>
                    <a:lnTo>
                      <a:pt x="1266" y="1646"/>
                    </a:lnTo>
                    <a:lnTo>
                      <a:pt x="1269" y="1644"/>
                    </a:lnTo>
                    <a:lnTo>
                      <a:pt x="1271" y="1642"/>
                    </a:lnTo>
                    <a:lnTo>
                      <a:pt x="1272" y="1637"/>
                    </a:lnTo>
                    <a:lnTo>
                      <a:pt x="1274" y="1632"/>
                    </a:lnTo>
                    <a:lnTo>
                      <a:pt x="1274" y="1626"/>
                    </a:lnTo>
                    <a:lnTo>
                      <a:pt x="1274" y="1615"/>
                    </a:lnTo>
                    <a:lnTo>
                      <a:pt x="1275" y="1602"/>
                    </a:lnTo>
                    <a:lnTo>
                      <a:pt x="1275" y="1587"/>
                    </a:lnTo>
                    <a:lnTo>
                      <a:pt x="1276" y="1571"/>
                    </a:lnTo>
                    <a:lnTo>
                      <a:pt x="1277" y="1560"/>
                    </a:lnTo>
                    <a:lnTo>
                      <a:pt x="1280" y="1550"/>
                    </a:lnTo>
                    <a:lnTo>
                      <a:pt x="1283" y="1543"/>
                    </a:lnTo>
                    <a:lnTo>
                      <a:pt x="1287" y="1537"/>
                    </a:lnTo>
                    <a:lnTo>
                      <a:pt x="1294" y="1530"/>
                    </a:lnTo>
                    <a:lnTo>
                      <a:pt x="1301" y="1525"/>
                    </a:lnTo>
                    <a:lnTo>
                      <a:pt x="1308" y="1522"/>
                    </a:lnTo>
                    <a:lnTo>
                      <a:pt x="1314" y="1519"/>
                    </a:lnTo>
                    <a:lnTo>
                      <a:pt x="1321" y="1518"/>
                    </a:lnTo>
                    <a:lnTo>
                      <a:pt x="1328" y="1518"/>
                    </a:lnTo>
                    <a:lnTo>
                      <a:pt x="1335" y="1518"/>
                    </a:lnTo>
                    <a:lnTo>
                      <a:pt x="1341" y="1519"/>
                    </a:lnTo>
                    <a:lnTo>
                      <a:pt x="1350" y="1522"/>
                    </a:lnTo>
                    <a:lnTo>
                      <a:pt x="1357" y="1523"/>
                    </a:lnTo>
                    <a:lnTo>
                      <a:pt x="1363" y="1523"/>
                    </a:lnTo>
                    <a:lnTo>
                      <a:pt x="1370" y="1522"/>
                    </a:lnTo>
                    <a:lnTo>
                      <a:pt x="1375" y="1520"/>
                    </a:lnTo>
                    <a:lnTo>
                      <a:pt x="1378" y="1518"/>
                    </a:lnTo>
                    <a:lnTo>
                      <a:pt x="1381" y="1514"/>
                    </a:lnTo>
                    <a:lnTo>
                      <a:pt x="1382" y="1510"/>
                    </a:lnTo>
                    <a:lnTo>
                      <a:pt x="1378" y="1499"/>
                    </a:lnTo>
                    <a:lnTo>
                      <a:pt x="1372" y="1488"/>
                    </a:lnTo>
                    <a:lnTo>
                      <a:pt x="1371" y="1482"/>
                    </a:lnTo>
                    <a:lnTo>
                      <a:pt x="1371" y="1476"/>
                    </a:lnTo>
                    <a:lnTo>
                      <a:pt x="1372" y="1472"/>
                    </a:lnTo>
                    <a:lnTo>
                      <a:pt x="1377" y="1466"/>
                    </a:lnTo>
                    <a:lnTo>
                      <a:pt x="1388" y="1454"/>
                    </a:lnTo>
                    <a:lnTo>
                      <a:pt x="1398" y="1442"/>
                    </a:lnTo>
                    <a:lnTo>
                      <a:pt x="1402" y="1435"/>
                    </a:lnTo>
                    <a:lnTo>
                      <a:pt x="1406" y="1428"/>
                    </a:lnTo>
                    <a:lnTo>
                      <a:pt x="1408" y="1419"/>
                    </a:lnTo>
                    <a:lnTo>
                      <a:pt x="1409" y="1410"/>
                    </a:lnTo>
                    <a:lnTo>
                      <a:pt x="1409" y="1393"/>
                    </a:lnTo>
                    <a:lnTo>
                      <a:pt x="1408" y="1379"/>
                    </a:lnTo>
                    <a:lnTo>
                      <a:pt x="1410" y="1374"/>
                    </a:lnTo>
                    <a:lnTo>
                      <a:pt x="1413" y="1369"/>
                    </a:lnTo>
                    <a:lnTo>
                      <a:pt x="1417" y="1367"/>
                    </a:lnTo>
                    <a:lnTo>
                      <a:pt x="1426" y="1365"/>
                    </a:lnTo>
                    <a:lnTo>
                      <a:pt x="1444" y="1361"/>
                    </a:lnTo>
                    <a:lnTo>
                      <a:pt x="1460" y="1358"/>
                    </a:lnTo>
                    <a:lnTo>
                      <a:pt x="1467" y="1355"/>
                    </a:lnTo>
                    <a:lnTo>
                      <a:pt x="1474" y="1352"/>
                    </a:lnTo>
                    <a:lnTo>
                      <a:pt x="1482" y="1348"/>
                    </a:lnTo>
                    <a:lnTo>
                      <a:pt x="1489" y="1343"/>
                    </a:lnTo>
                    <a:lnTo>
                      <a:pt x="1498" y="1336"/>
                    </a:lnTo>
                    <a:lnTo>
                      <a:pt x="1509" y="1330"/>
                    </a:lnTo>
                    <a:lnTo>
                      <a:pt x="1516" y="1328"/>
                    </a:lnTo>
                    <a:lnTo>
                      <a:pt x="1522" y="1327"/>
                    </a:lnTo>
                    <a:lnTo>
                      <a:pt x="1529" y="1327"/>
                    </a:lnTo>
                    <a:lnTo>
                      <a:pt x="1537" y="1327"/>
                    </a:lnTo>
                    <a:lnTo>
                      <a:pt x="1554" y="1330"/>
                    </a:lnTo>
                    <a:lnTo>
                      <a:pt x="1568" y="1334"/>
                    </a:lnTo>
                    <a:lnTo>
                      <a:pt x="1573" y="1329"/>
                    </a:lnTo>
                    <a:lnTo>
                      <a:pt x="1577" y="1325"/>
                    </a:lnTo>
                    <a:lnTo>
                      <a:pt x="1579" y="1319"/>
                    </a:lnTo>
                    <a:lnTo>
                      <a:pt x="1581" y="1315"/>
                    </a:lnTo>
                    <a:lnTo>
                      <a:pt x="1583" y="1299"/>
                    </a:lnTo>
                    <a:lnTo>
                      <a:pt x="1581" y="1280"/>
                    </a:lnTo>
                    <a:lnTo>
                      <a:pt x="1581" y="1271"/>
                    </a:lnTo>
                    <a:lnTo>
                      <a:pt x="1583" y="1262"/>
                    </a:lnTo>
                    <a:lnTo>
                      <a:pt x="1585" y="1254"/>
                    </a:lnTo>
                    <a:lnTo>
                      <a:pt x="1589" y="1247"/>
                    </a:lnTo>
                    <a:lnTo>
                      <a:pt x="1599" y="1236"/>
                    </a:lnTo>
                    <a:lnTo>
                      <a:pt x="1609" y="1227"/>
                    </a:lnTo>
                    <a:lnTo>
                      <a:pt x="1617" y="1220"/>
                    </a:lnTo>
                    <a:lnTo>
                      <a:pt x="1622" y="1211"/>
                    </a:lnTo>
                    <a:lnTo>
                      <a:pt x="1623" y="1208"/>
                    </a:lnTo>
                    <a:lnTo>
                      <a:pt x="1624" y="1205"/>
                    </a:lnTo>
                    <a:lnTo>
                      <a:pt x="1627" y="1203"/>
                    </a:lnTo>
                    <a:lnTo>
                      <a:pt x="1629" y="1202"/>
                    </a:lnTo>
                    <a:lnTo>
                      <a:pt x="1634" y="1202"/>
                    </a:lnTo>
                    <a:lnTo>
                      <a:pt x="1639" y="1202"/>
                    </a:lnTo>
                    <a:lnTo>
                      <a:pt x="1641" y="1202"/>
                    </a:lnTo>
                    <a:lnTo>
                      <a:pt x="1642" y="1202"/>
                    </a:lnTo>
                    <a:lnTo>
                      <a:pt x="1644" y="1199"/>
                    </a:lnTo>
                    <a:lnTo>
                      <a:pt x="1646" y="1197"/>
                    </a:lnTo>
                    <a:lnTo>
                      <a:pt x="1647" y="1189"/>
                    </a:lnTo>
                    <a:lnTo>
                      <a:pt x="1648" y="1177"/>
                    </a:lnTo>
                    <a:lnTo>
                      <a:pt x="1648" y="1161"/>
                    </a:lnTo>
                    <a:lnTo>
                      <a:pt x="1648" y="1142"/>
                    </a:lnTo>
                    <a:lnTo>
                      <a:pt x="1648" y="1126"/>
                    </a:lnTo>
                    <a:lnTo>
                      <a:pt x="1649" y="1115"/>
                    </a:lnTo>
                    <a:lnTo>
                      <a:pt x="1650" y="1111"/>
                    </a:lnTo>
                    <a:lnTo>
                      <a:pt x="1652" y="1107"/>
                    </a:lnTo>
                    <a:lnTo>
                      <a:pt x="1655" y="1102"/>
                    </a:lnTo>
                    <a:lnTo>
                      <a:pt x="1658" y="1098"/>
                    </a:lnTo>
                    <a:lnTo>
                      <a:pt x="1661" y="1094"/>
                    </a:lnTo>
                    <a:lnTo>
                      <a:pt x="1666" y="1090"/>
                    </a:lnTo>
                    <a:lnTo>
                      <a:pt x="1671" y="1088"/>
                    </a:lnTo>
                    <a:lnTo>
                      <a:pt x="1675" y="1085"/>
                    </a:lnTo>
                    <a:lnTo>
                      <a:pt x="1680" y="1085"/>
                    </a:lnTo>
                    <a:lnTo>
                      <a:pt x="1685" y="1087"/>
                    </a:lnTo>
                    <a:lnTo>
                      <a:pt x="1690" y="1088"/>
                    </a:lnTo>
                    <a:lnTo>
                      <a:pt x="1696" y="1090"/>
                    </a:lnTo>
                    <a:lnTo>
                      <a:pt x="1702" y="1092"/>
                    </a:lnTo>
                    <a:lnTo>
                      <a:pt x="1707" y="1094"/>
                    </a:lnTo>
                    <a:lnTo>
                      <a:pt x="1712" y="1095"/>
                    </a:lnTo>
                    <a:lnTo>
                      <a:pt x="1718" y="1094"/>
                    </a:lnTo>
                    <a:lnTo>
                      <a:pt x="1724" y="1092"/>
                    </a:lnTo>
                    <a:lnTo>
                      <a:pt x="1730" y="1089"/>
                    </a:lnTo>
                    <a:lnTo>
                      <a:pt x="1736" y="1085"/>
                    </a:lnTo>
                    <a:lnTo>
                      <a:pt x="1741" y="1082"/>
                    </a:lnTo>
                    <a:lnTo>
                      <a:pt x="1744" y="1078"/>
                    </a:lnTo>
                    <a:lnTo>
                      <a:pt x="1748" y="1073"/>
                    </a:lnTo>
                    <a:lnTo>
                      <a:pt x="1749" y="1070"/>
                    </a:lnTo>
                    <a:lnTo>
                      <a:pt x="1748" y="1066"/>
                    </a:lnTo>
                    <a:lnTo>
                      <a:pt x="1743" y="1059"/>
                    </a:lnTo>
                    <a:lnTo>
                      <a:pt x="1737" y="1051"/>
                    </a:lnTo>
                    <a:lnTo>
                      <a:pt x="1735" y="1045"/>
                    </a:lnTo>
                    <a:lnTo>
                      <a:pt x="1734" y="1040"/>
                    </a:lnTo>
                    <a:lnTo>
                      <a:pt x="1734" y="1035"/>
                    </a:lnTo>
                    <a:lnTo>
                      <a:pt x="1737" y="1029"/>
                    </a:lnTo>
                    <a:lnTo>
                      <a:pt x="1741" y="1026"/>
                    </a:lnTo>
                    <a:lnTo>
                      <a:pt x="1744" y="1024"/>
                    </a:lnTo>
                    <a:lnTo>
                      <a:pt x="1748" y="1022"/>
                    </a:lnTo>
                    <a:lnTo>
                      <a:pt x="1751" y="1024"/>
                    </a:lnTo>
                    <a:lnTo>
                      <a:pt x="1759" y="1027"/>
                    </a:lnTo>
                    <a:lnTo>
                      <a:pt x="1763" y="1032"/>
                    </a:lnTo>
                    <a:lnTo>
                      <a:pt x="1766" y="1033"/>
                    </a:lnTo>
                    <a:lnTo>
                      <a:pt x="1768" y="1034"/>
                    </a:lnTo>
                    <a:lnTo>
                      <a:pt x="1770" y="1034"/>
                    </a:lnTo>
                    <a:lnTo>
                      <a:pt x="1773" y="1033"/>
                    </a:lnTo>
                    <a:lnTo>
                      <a:pt x="1775" y="1032"/>
                    </a:lnTo>
                    <a:lnTo>
                      <a:pt x="1778" y="1028"/>
                    </a:lnTo>
                    <a:lnTo>
                      <a:pt x="1779" y="1024"/>
                    </a:lnTo>
                    <a:lnTo>
                      <a:pt x="1780" y="1018"/>
                    </a:lnTo>
                    <a:lnTo>
                      <a:pt x="1782" y="1005"/>
                    </a:lnTo>
                    <a:lnTo>
                      <a:pt x="1782" y="994"/>
                    </a:lnTo>
                    <a:lnTo>
                      <a:pt x="1782" y="989"/>
                    </a:lnTo>
                    <a:lnTo>
                      <a:pt x="1781" y="984"/>
                    </a:lnTo>
                    <a:lnTo>
                      <a:pt x="1780" y="981"/>
                    </a:lnTo>
                    <a:lnTo>
                      <a:pt x="1779" y="977"/>
                    </a:lnTo>
                    <a:lnTo>
                      <a:pt x="1776" y="974"/>
                    </a:lnTo>
                    <a:lnTo>
                      <a:pt x="1775" y="970"/>
                    </a:lnTo>
                    <a:lnTo>
                      <a:pt x="1774" y="966"/>
                    </a:lnTo>
                    <a:lnTo>
                      <a:pt x="1774" y="964"/>
                    </a:lnTo>
                    <a:lnTo>
                      <a:pt x="1775" y="961"/>
                    </a:lnTo>
                    <a:lnTo>
                      <a:pt x="1776" y="959"/>
                    </a:lnTo>
                    <a:lnTo>
                      <a:pt x="1779" y="958"/>
                    </a:lnTo>
                    <a:lnTo>
                      <a:pt x="1782" y="957"/>
                    </a:lnTo>
                    <a:lnTo>
                      <a:pt x="1798" y="956"/>
                    </a:lnTo>
                    <a:lnTo>
                      <a:pt x="1812" y="955"/>
                    </a:lnTo>
                    <a:lnTo>
                      <a:pt x="1818" y="953"/>
                    </a:lnTo>
                    <a:lnTo>
                      <a:pt x="1824" y="952"/>
                    </a:lnTo>
                    <a:lnTo>
                      <a:pt x="1830" y="950"/>
                    </a:lnTo>
                    <a:lnTo>
                      <a:pt x="1835" y="947"/>
                    </a:lnTo>
                    <a:lnTo>
                      <a:pt x="1838" y="944"/>
                    </a:lnTo>
                    <a:lnTo>
                      <a:pt x="1843" y="938"/>
                    </a:lnTo>
                    <a:lnTo>
                      <a:pt x="1845" y="932"/>
                    </a:lnTo>
                    <a:lnTo>
                      <a:pt x="1848" y="926"/>
                    </a:lnTo>
                    <a:lnTo>
                      <a:pt x="1848" y="920"/>
                    </a:lnTo>
                    <a:lnTo>
                      <a:pt x="1847" y="915"/>
                    </a:lnTo>
                    <a:lnTo>
                      <a:pt x="1845" y="914"/>
                    </a:lnTo>
                    <a:lnTo>
                      <a:pt x="1844" y="913"/>
                    </a:lnTo>
                    <a:lnTo>
                      <a:pt x="1842" y="912"/>
                    </a:lnTo>
                    <a:lnTo>
                      <a:pt x="1839" y="913"/>
                    </a:lnTo>
                    <a:lnTo>
                      <a:pt x="1833" y="913"/>
                    </a:lnTo>
                    <a:lnTo>
                      <a:pt x="1829" y="914"/>
                    </a:lnTo>
                    <a:lnTo>
                      <a:pt x="1824" y="913"/>
                    </a:lnTo>
                    <a:lnTo>
                      <a:pt x="1820" y="913"/>
                    </a:lnTo>
                    <a:lnTo>
                      <a:pt x="1818" y="911"/>
                    </a:lnTo>
                    <a:lnTo>
                      <a:pt x="1817" y="909"/>
                    </a:lnTo>
                    <a:lnTo>
                      <a:pt x="1817" y="906"/>
                    </a:lnTo>
                    <a:lnTo>
                      <a:pt x="1819" y="902"/>
                    </a:lnTo>
                    <a:lnTo>
                      <a:pt x="1823" y="895"/>
                    </a:lnTo>
                    <a:lnTo>
                      <a:pt x="1824" y="888"/>
                    </a:lnTo>
                    <a:lnTo>
                      <a:pt x="1824" y="884"/>
                    </a:lnTo>
                    <a:lnTo>
                      <a:pt x="1823" y="881"/>
                    </a:lnTo>
                    <a:lnTo>
                      <a:pt x="1820" y="879"/>
                    </a:lnTo>
                    <a:lnTo>
                      <a:pt x="1818" y="876"/>
                    </a:lnTo>
                    <a:lnTo>
                      <a:pt x="1811" y="875"/>
                    </a:lnTo>
                    <a:lnTo>
                      <a:pt x="1803" y="874"/>
                    </a:lnTo>
                    <a:lnTo>
                      <a:pt x="1798" y="874"/>
                    </a:lnTo>
                    <a:lnTo>
                      <a:pt x="1793" y="874"/>
                    </a:lnTo>
                    <a:lnTo>
                      <a:pt x="1790" y="871"/>
                    </a:lnTo>
                    <a:lnTo>
                      <a:pt x="1786" y="869"/>
                    </a:lnTo>
                    <a:lnTo>
                      <a:pt x="1782" y="864"/>
                    </a:lnTo>
                    <a:lnTo>
                      <a:pt x="1780" y="858"/>
                    </a:lnTo>
                    <a:lnTo>
                      <a:pt x="1778" y="850"/>
                    </a:lnTo>
                    <a:lnTo>
                      <a:pt x="1775" y="840"/>
                    </a:lnTo>
                    <a:lnTo>
                      <a:pt x="1774" y="831"/>
                    </a:lnTo>
                    <a:lnTo>
                      <a:pt x="1774" y="823"/>
                    </a:lnTo>
                    <a:lnTo>
                      <a:pt x="1775" y="814"/>
                    </a:lnTo>
                    <a:lnTo>
                      <a:pt x="1776" y="808"/>
                    </a:lnTo>
                    <a:lnTo>
                      <a:pt x="1779" y="804"/>
                    </a:lnTo>
                    <a:lnTo>
                      <a:pt x="1784" y="800"/>
                    </a:lnTo>
                    <a:lnTo>
                      <a:pt x="1790" y="798"/>
                    </a:lnTo>
                    <a:lnTo>
                      <a:pt x="1795" y="797"/>
                    </a:lnTo>
                    <a:lnTo>
                      <a:pt x="1801" y="795"/>
                    </a:lnTo>
                    <a:lnTo>
                      <a:pt x="1806" y="798"/>
                    </a:lnTo>
                    <a:lnTo>
                      <a:pt x="1811" y="800"/>
                    </a:lnTo>
                    <a:lnTo>
                      <a:pt x="1813" y="804"/>
                    </a:lnTo>
                    <a:lnTo>
                      <a:pt x="1817" y="814"/>
                    </a:lnTo>
                    <a:lnTo>
                      <a:pt x="1820" y="823"/>
                    </a:lnTo>
                    <a:lnTo>
                      <a:pt x="1823" y="826"/>
                    </a:lnTo>
                    <a:lnTo>
                      <a:pt x="1825" y="829"/>
                    </a:lnTo>
                    <a:lnTo>
                      <a:pt x="1829" y="830"/>
                    </a:lnTo>
                    <a:lnTo>
                      <a:pt x="1832" y="830"/>
                    </a:lnTo>
                    <a:lnTo>
                      <a:pt x="1835" y="829"/>
                    </a:lnTo>
                    <a:lnTo>
                      <a:pt x="1837" y="824"/>
                    </a:lnTo>
                    <a:lnTo>
                      <a:pt x="1838" y="819"/>
                    </a:lnTo>
                    <a:lnTo>
                      <a:pt x="1839" y="813"/>
                    </a:lnTo>
                    <a:lnTo>
                      <a:pt x="1842" y="807"/>
                    </a:lnTo>
                    <a:lnTo>
                      <a:pt x="1845" y="801"/>
                    </a:lnTo>
                    <a:lnTo>
                      <a:pt x="1847" y="800"/>
                    </a:lnTo>
                    <a:lnTo>
                      <a:pt x="1849" y="798"/>
                    </a:lnTo>
                    <a:lnTo>
                      <a:pt x="1851" y="797"/>
                    </a:lnTo>
                    <a:lnTo>
                      <a:pt x="1855" y="797"/>
                    </a:lnTo>
                    <a:lnTo>
                      <a:pt x="1861" y="798"/>
                    </a:lnTo>
                    <a:lnTo>
                      <a:pt x="1866" y="799"/>
                    </a:lnTo>
                    <a:lnTo>
                      <a:pt x="1869" y="802"/>
                    </a:lnTo>
                    <a:lnTo>
                      <a:pt x="1872" y="806"/>
                    </a:lnTo>
                    <a:lnTo>
                      <a:pt x="1873" y="811"/>
                    </a:lnTo>
                    <a:lnTo>
                      <a:pt x="1874" y="814"/>
                    </a:lnTo>
                    <a:lnTo>
                      <a:pt x="1874" y="819"/>
                    </a:lnTo>
                    <a:lnTo>
                      <a:pt x="1874" y="824"/>
                    </a:lnTo>
                    <a:lnTo>
                      <a:pt x="1870" y="832"/>
                    </a:lnTo>
                    <a:lnTo>
                      <a:pt x="1866" y="842"/>
                    </a:lnTo>
                    <a:lnTo>
                      <a:pt x="1861" y="850"/>
                    </a:lnTo>
                    <a:lnTo>
                      <a:pt x="1856" y="857"/>
                    </a:lnTo>
                    <a:lnTo>
                      <a:pt x="1854" y="863"/>
                    </a:lnTo>
                    <a:lnTo>
                      <a:pt x="1854" y="871"/>
                    </a:lnTo>
                    <a:lnTo>
                      <a:pt x="1854" y="875"/>
                    </a:lnTo>
                    <a:lnTo>
                      <a:pt x="1855" y="879"/>
                    </a:lnTo>
                    <a:lnTo>
                      <a:pt x="1857" y="881"/>
                    </a:lnTo>
                    <a:lnTo>
                      <a:pt x="1860" y="882"/>
                    </a:lnTo>
                    <a:lnTo>
                      <a:pt x="1870" y="882"/>
                    </a:lnTo>
                    <a:lnTo>
                      <a:pt x="1886" y="879"/>
                    </a:lnTo>
                    <a:lnTo>
                      <a:pt x="1894" y="876"/>
                    </a:lnTo>
                    <a:lnTo>
                      <a:pt x="1902" y="874"/>
                    </a:lnTo>
                    <a:lnTo>
                      <a:pt x="1910" y="870"/>
                    </a:lnTo>
                    <a:lnTo>
                      <a:pt x="1916" y="867"/>
                    </a:lnTo>
                    <a:lnTo>
                      <a:pt x="1926" y="858"/>
                    </a:lnTo>
                    <a:lnTo>
                      <a:pt x="1936" y="850"/>
                    </a:lnTo>
                    <a:lnTo>
                      <a:pt x="1940" y="846"/>
                    </a:lnTo>
                    <a:lnTo>
                      <a:pt x="1946" y="843"/>
                    </a:lnTo>
                    <a:lnTo>
                      <a:pt x="1951" y="840"/>
                    </a:lnTo>
                    <a:lnTo>
                      <a:pt x="1957" y="840"/>
                    </a:lnTo>
                    <a:lnTo>
                      <a:pt x="1970" y="840"/>
                    </a:lnTo>
                    <a:lnTo>
                      <a:pt x="1982" y="842"/>
                    </a:lnTo>
                    <a:lnTo>
                      <a:pt x="1988" y="842"/>
                    </a:lnTo>
                    <a:lnTo>
                      <a:pt x="1993" y="842"/>
                    </a:lnTo>
                    <a:lnTo>
                      <a:pt x="1995" y="840"/>
                    </a:lnTo>
                    <a:lnTo>
                      <a:pt x="1998" y="839"/>
                    </a:lnTo>
                    <a:lnTo>
                      <a:pt x="1999" y="837"/>
                    </a:lnTo>
                    <a:lnTo>
                      <a:pt x="1998" y="835"/>
                    </a:lnTo>
                    <a:lnTo>
                      <a:pt x="1996" y="830"/>
                    </a:lnTo>
                    <a:lnTo>
                      <a:pt x="1995" y="826"/>
                    </a:lnTo>
                    <a:lnTo>
                      <a:pt x="1990" y="817"/>
                    </a:lnTo>
                    <a:lnTo>
                      <a:pt x="1987" y="808"/>
                    </a:lnTo>
                    <a:lnTo>
                      <a:pt x="1982" y="800"/>
                    </a:lnTo>
                    <a:lnTo>
                      <a:pt x="1977" y="788"/>
                    </a:lnTo>
                    <a:lnTo>
                      <a:pt x="1976" y="781"/>
                    </a:lnTo>
                    <a:lnTo>
                      <a:pt x="1975" y="776"/>
                    </a:lnTo>
                    <a:lnTo>
                      <a:pt x="1975" y="770"/>
                    </a:lnTo>
                    <a:lnTo>
                      <a:pt x="1975" y="767"/>
                    </a:lnTo>
                    <a:lnTo>
                      <a:pt x="1981" y="761"/>
                    </a:lnTo>
                    <a:lnTo>
                      <a:pt x="1987" y="757"/>
                    </a:lnTo>
                    <a:lnTo>
                      <a:pt x="1990" y="755"/>
                    </a:lnTo>
                    <a:lnTo>
                      <a:pt x="1992" y="753"/>
                    </a:lnTo>
                    <a:lnTo>
                      <a:pt x="1993" y="749"/>
                    </a:lnTo>
                    <a:lnTo>
                      <a:pt x="1992" y="744"/>
                    </a:lnTo>
                    <a:lnTo>
                      <a:pt x="1987" y="735"/>
                    </a:lnTo>
                    <a:lnTo>
                      <a:pt x="1980" y="725"/>
                    </a:lnTo>
                    <a:lnTo>
                      <a:pt x="1977" y="720"/>
                    </a:lnTo>
                    <a:lnTo>
                      <a:pt x="1976" y="715"/>
                    </a:lnTo>
                    <a:lnTo>
                      <a:pt x="1975" y="707"/>
                    </a:lnTo>
                    <a:lnTo>
                      <a:pt x="1976" y="699"/>
                    </a:lnTo>
                    <a:lnTo>
                      <a:pt x="1980" y="691"/>
                    </a:lnTo>
                    <a:lnTo>
                      <a:pt x="1983" y="686"/>
                    </a:lnTo>
                    <a:lnTo>
                      <a:pt x="1987" y="681"/>
                    </a:lnTo>
                    <a:lnTo>
                      <a:pt x="1992" y="679"/>
                    </a:lnTo>
                    <a:lnTo>
                      <a:pt x="2000" y="676"/>
                    </a:lnTo>
                    <a:lnTo>
                      <a:pt x="2006" y="675"/>
                    </a:lnTo>
                    <a:lnTo>
                      <a:pt x="2009" y="676"/>
                    </a:lnTo>
                    <a:lnTo>
                      <a:pt x="2012" y="678"/>
                    </a:lnTo>
                    <a:lnTo>
                      <a:pt x="2014" y="680"/>
                    </a:lnTo>
                    <a:lnTo>
                      <a:pt x="2017" y="682"/>
                    </a:lnTo>
                    <a:lnTo>
                      <a:pt x="2020" y="691"/>
                    </a:lnTo>
                    <a:lnTo>
                      <a:pt x="2023" y="699"/>
                    </a:lnTo>
                    <a:lnTo>
                      <a:pt x="2024" y="709"/>
                    </a:lnTo>
                    <a:lnTo>
                      <a:pt x="2026" y="715"/>
                    </a:lnTo>
                    <a:lnTo>
                      <a:pt x="2030" y="719"/>
                    </a:lnTo>
                    <a:lnTo>
                      <a:pt x="2034" y="723"/>
                    </a:lnTo>
                    <a:lnTo>
                      <a:pt x="2037" y="724"/>
                    </a:lnTo>
                    <a:lnTo>
                      <a:pt x="2039" y="724"/>
                    </a:lnTo>
                    <a:lnTo>
                      <a:pt x="2042" y="724"/>
                    </a:lnTo>
                    <a:lnTo>
                      <a:pt x="2044" y="724"/>
                    </a:lnTo>
                    <a:lnTo>
                      <a:pt x="2046" y="723"/>
                    </a:lnTo>
                    <a:lnTo>
                      <a:pt x="2047" y="720"/>
                    </a:lnTo>
                    <a:lnTo>
                      <a:pt x="2047" y="717"/>
                    </a:lnTo>
                    <a:lnTo>
                      <a:pt x="2047" y="713"/>
                    </a:lnTo>
                    <a:lnTo>
                      <a:pt x="2045" y="703"/>
                    </a:lnTo>
                    <a:lnTo>
                      <a:pt x="2040" y="693"/>
                    </a:lnTo>
                    <a:lnTo>
                      <a:pt x="2039" y="688"/>
                    </a:lnTo>
                    <a:lnTo>
                      <a:pt x="2039" y="684"/>
                    </a:lnTo>
                    <a:lnTo>
                      <a:pt x="2040" y="681"/>
                    </a:lnTo>
                    <a:lnTo>
                      <a:pt x="2044" y="679"/>
                    </a:lnTo>
                    <a:lnTo>
                      <a:pt x="2049" y="676"/>
                    </a:lnTo>
                    <a:lnTo>
                      <a:pt x="2052" y="673"/>
                    </a:lnTo>
                    <a:lnTo>
                      <a:pt x="2056" y="671"/>
                    </a:lnTo>
                    <a:lnTo>
                      <a:pt x="2059" y="667"/>
                    </a:lnTo>
                    <a:lnTo>
                      <a:pt x="2062" y="662"/>
                    </a:lnTo>
                    <a:lnTo>
                      <a:pt x="2064" y="659"/>
                    </a:lnTo>
                    <a:lnTo>
                      <a:pt x="2064" y="655"/>
                    </a:lnTo>
                    <a:lnTo>
                      <a:pt x="2064" y="653"/>
                    </a:lnTo>
                    <a:lnTo>
                      <a:pt x="2063" y="650"/>
                    </a:lnTo>
                    <a:lnTo>
                      <a:pt x="2061" y="647"/>
                    </a:lnTo>
                    <a:lnTo>
                      <a:pt x="2057" y="646"/>
                    </a:lnTo>
                    <a:lnTo>
                      <a:pt x="2052" y="643"/>
                    </a:lnTo>
                    <a:lnTo>
                      <a:pt x="2043" y="640"/>
                    </a:lnTo>
                    <a:lnTo>
                      <a:pt x="2034" y="636"/>
                    </a:lnTo>
                    <a:lnTo>
                      <a:pt x="2030" y="636"/>
                    </a:lnTo>
                    <a:lnTo>
                      <a:pt x="2024" y="636"/>
                    </a:lnTo>
                    <a:lnTo>
                      <a:pt x="2018" y="637"/>
                    </a:lnTo>
                    <a:lnTo>
                      <a:pt x="2012" y="638"/>
                    </a:lnTo>
                    <a:lnTo>
                      <a:pt x="2001" y="642"/>
                    </a:lnTo>
                    <a:lnTo>
                      <a:pt x="1994" y="643"/>
                    </a:lnTo>
                    <a:lnTo>
                      <a:pt x="1992" y="643"/>
                    </a:lnTo>
                    <a:lnTo>
                      <a:pt x="1990" y="641"/>
                    </a:lnTo>
                    <a:lnTo>
                      <a:pt x="1990" y="638"/>
                    </a:lnTo>
                    <a:lnTo>
                      <a:pt x="1990" y="634"/>
                    </a:lnTo>
                    <a:lnTo>
                      <a:pt x="1992" y="629"/>
                    </a:lnTo>
                    <a:lnTo>
                      <a:pt x="1993" y="624"/>
                    </a:lnTo>
                    <a:lnTo>
                      <a:pt x="1995" y="618"/>
                    </a:lnTo>
                    <a:lnTo>
                      <a:pt x="1999" y="612"/>
                    </a:lnTo>
                    <a:lnTo>
                      <a:pt x="2002" y="608"/>
                    </a:lnTo>
                    <a:lnTo>
                      <a:pt x="2007" y="604"/>
                    </a:lnTo>
                    <a:lnTo>
                      <a:pt x="2012" y="602"/>
                    </a:lnTo>
                    <a:lnTo>
                      <a:pt x="2018" y="600"/>
                    </a:lnTo>
                    <a:lnTo>
                      <a:pt x="2027" y="598"/>
                    </a:lnTo>
                    <a:lnTo>
                      <a:pt x="2037" y="598"/>
                    </a:lnTo>
                    <a:lnTo>
                      <a:pt x="2043" y="599"/>
                    </a:lnTo>
                    <a:lnTo>
                      <a:pt x="2047" y="603"/>
                    </a:lnTo>
                    <a:lnTo>
                      <a:pt x="2049" y="604"/>
                    </a:lnTo>
                    <a:lnTo>
                      <a:pt x="2049" y="608"/>
                    </a:lnTo>
                    <a:lnTo>
                      <a:pt x="2049" y="610"/>
                    </a:lnTo>
                    <a:lnTo>
                      <a:pt x="2049" y="613"/>
                    </a:lnTo>
                    <a:lnTo>
                      <a:pt x="2047" y="618"/>
                    </a:lnTo>
                    <a:lnTo>
                      <a:pt x="2049" y="621"/>
                    </a:lnTo>
                    <a:lnTo>
                      <a:pt x="2050" y="623"/>
                    </a:lnTo>
                    <a:lnTo>
                      <a:pt x="2052" y="625"/>
                    </a:lnTo>
                    <a:lnTo>
                      <a:pt x="2059" y="628"/>
                    </a:lnTo>
                    <a:lnTo>
                      <a:pt x="2068" y="627"/>
                    </a:lnTo>
                    <a:lnTo>
                      <a:pt x="2076" y="623"/>
                    </a:lnTo>
                    <a:lnTo>
                      <a:pt x="2088" y="616"/>
                    </a:lnTo>
                    <a:lnTo>
                      <a:pt x="2093" y="612"/>
                    </a:lnTo>
                    <a:lnTo>
                      <a:pt x="2097" y="608"/>
                    </a:lnTo>
                    <a:lnTo>
                      <a:pt x="2101" y="603"/>
                    </a:lnTo>
                    <a:lnTo>
                      <a:pt x="2103" y="599"/>
                    </a:lnTo>
                    <a:lnTo>
                      <a:pt x="2106" y="592"/>
                    </a:lnTo>
                    <a:lnTo>
                      <a:pt x="2109" y="587"/>
                    </a:lnTo>
                    <a:lnTo>
                      <a:pt x="2119" y="583"/>
                    </a:lnTo>
                    <a:lnTo>
                      <a:pt x="2141" y="572"/>
                    </a:lnTo>
                    <a:lnTo>
                      <a:pt x="2150" y="568"/>
                    </a:lnTo>
                    <a:lnTo>
                      <a:pt x="2160" y="564"/>
                    </a:lnTo>
                    <a:lnTo>
                      <a:pt x="2172" y="559"/>
                    </a:lnTo>
                    <a:lnTo>
                      <a:pt x="2184" y="554"/>
                    </a:lnTo>
                    <a:lnTo>
                      <a:pt x="2189" y="550"/>
                    </a:lnTo>
                    <a:lnTo>
                      <a:pt x="2193" y="547"/>
                    </a:lnTo>
                    <a:lnTo>
                      <a:pt x="2195" y="542"/>
                    </a:lnTo>
                    <a:lnTo>
                      <a:pt x="2197" y="537"/>
                    </a:lnTo>
                    <a:lnTo>
                      <a:pt x="2200" y="524"/>
                    </a:lnTo>
                    <a:lnTo>
                      <a:pt x="2203" y="510"/>
                    </a:lnTo>
                    <a:lnTo>
                      <a:pt x="2203" y="502"/>
                    </a:lnTo>
                    <a:lnTo>
                      <a:pt x="2204" y="495"/>
                    </a:lnTo>
                    <a:lnTo>
                      <a:pt x="2206" y="491"/>
                    </a:lnTo>
                    <a:lnTo>
                      <a:pt x="2207" y="487"/>
                    </a:lnTo>
                    <a:lnTo>
                      <a:pt x="2208" y="485"/>
                    </a:lnTo>
                    <a:lnTo>
                      <a:pt x="2210" y="485"/>
                    </a:lnTo>
                    <a:lnTo>
                      <a:pt x="2221" y="489"/>
                    </a:lnTo>
                    <a:lnTo>
                      <a:pt x="2232" y="492"/>
                    </a:lnTo>
                    <a:lnTo>
                      <a:pt x="2238" y="490"/>
                    </a:lnTo>
                    <a:lnTo>
                      <a:pt x="2244" y="487"/>
                    </a:lnTo>
                    <a:lnTo>
                      <a:pt x="2246" y="486"/>
                    </a:lnTo>
                    <a:lnTo>
                      <a:pt x="2248" y="485"/>
                    </a:lnTo>
                    <a:lnTo>
                      <a:pt x="2252" y="485"/>
                    </a:lnTo>
                    <a:lnTo>
                      <a:pt x="2253" y="487"/>
                    </a:lnTo>
                    <a:lnTo>
                      <a:pt x="2256" y="489"/>
                    </a:lnTo>
                    <a:lnTo>
                      <a:pt x="2256" y="491"/>
                    </a:lnTo>
                    <a:lnTo>
                      <a:pt x="2256" y="492"/>
                    </a:lnTo>
                    <a:lnTo>
                      <a:pt x="2254" y="493"/>
                    </a:lnTo>
                    <a:lnTo>
                      <a:pt x="2251" y="498"/>
                    </a:lnTo>
                    <a:lnTo>
                      <a:pt x="2247" y="507"/>
                    </a:lnTo>
                    <a:lnTo>
                      <a:pt x="2244" y="516"/>
                    </a:lnTo>
                    <a:lnTo>
                      <a:pt x="2241" y="522"/>
                    </a:lnTo>
                    <a:lnTo>
                      <a:pt x="2240" y="524"/>
                    </a:lnTo>
                    <a:lnTo>
                      <a:pt x="2240" y="527"/>
                    </a:lnTo>
                    <a:lnTo>
                      <a:pt x="2241" y="531"/>
                    </a:lnTo>
                    <a:lnTo>
                      <a:pt x="2244" y="536"/>
                    </a:lnTo>
                    <a:lnTo>
                      <a:pt x="2246" y="540"/>
                    </a:lnTo>
                    <a:lnTo>
                      <a:pt x="2248" y="541"/>
                    </a:lnTo>
                    <a:lnTo>
                      <a:pt x="2252" y="542"/>
                    </a:lnTo>
                    <a:lnTo>
                      <a:pt x="2254" y="541"/>
                    </a:lnTo>
                    <a:lnTo>
                      <a:pt x="2261" y="540"/>
                    </a:lnTo>
                    <a:lnTo>
                      <a:pt x="2266" y="537"/>
                    </a:lnTo>
                    <a:lnTo>
                      <a:pt x="2272" y="534"/>
                    </a:lnTo>
                    <a:lnTo>
                      <a:pt x="2277" y="529"/>
                    </a:lnTo>
                    <a:lnTo>
                      <a:pt x="2280" y="522"/>
                    </a:lnTo>
                    <a:lnTo>
                      <a:pt x="2285" y="515"/>
                    </a:lnTo>
                    <a:lnTo>
                      <a:pt x="2291" y="499"/>
                    </a:lnTo>
                    <a:lnTo>
                      <a:pt x="2296" y="490"/>
                    </a:lnTo>
                    <a:lnTo>
                      <a:pt x="2301" y="482"/>
                    </a:lnTo>
                    <a:lnTo>
                      <a:pt x="2311" y="470"/>
                    </a:lnTo>
                    <a:lnTo>
                      <a:pt x="2322" y="454"/>
                    </a:lnTo>
                    <a:lnTo>
                      <a:pt x="2333" y="440"/>
                    </a:lnTo>
                    <a:lnTo>
                      <a:pt x="2342" y="424"/>
                    </a:lnTo>
                    <a:lnTo>
                      <a:pt x="2352" y="410"/>
                    </a:lnTo>
                    <a:lnTo>
                      <a:pt x="2357" y="405"/>
                    </a:lnTo>
                    <a:lnTo>
                      <a:pt x="2361" y="401"/>
                    </a:lnTo>
                    <a:lnTo>
                      <a:pt x="2367" y="398"/>
                    </a:lnTo>
                    <a:lnTo>
                      <a:pt x="2373" y="397"/>
                    </a:lnTo>
                    <a:lnTo>
                      <a:pt x="2376" y="398"/>
                    </a:lnTo>
                    <a:lnTo>
                      <a:pt x="2379" y="400"/>
                    </a:lnTo>
                    <a:lnTo>
                      <a:pt x="2382" y="402"/>
                    </a:lnTo>
                    <a:lnTo>
                      <a:pt x="2383" y="404"/>
                    </a:lnTo>
                    <a:lnTo>
                      <a:pt x="2386" y="411"/>
                    </a:lnTo>
                    <a:lnTo>
                      <a:pt x="2390" y="420"/>
                    </a:lnTo>
                    <a:lnTo>
                      <a:pt x="2392" y="428"/>
                    </a:lnTo>
                    <a:lnTo>
                      <a:pt x="2396" y="436"/>
                    </a:lnTo>
                    <a:lnTo>
                      <a:pt x="2399" y="444"/>
                    </a:lnTo>
                    <a:lnTo>
                      <a:pt x="2404" y="448"/>
                    </a:lnTo>
                    <a:lnTo>
                      <a:pt x="2410" y="449"/>
                    </a:lnTo>
                    <a:lnTo>
                      <a:pt x="2415" y="451"/>
                    </a:lnTo>
                    <a:lnTo>
                      <a:pt x="2420" y="448"/>
                    </a:lnTo>
                    <a:lnTo>
                      <a:pt x="2423" y="446"/>
                    </a:lnTo>
                    <a:lnTo>
                      <a:pt x="2427" y="442"/>
                    </a:lnTo>
                    <a:lnTo>
                      <a:pt x="2430" y="439"/>
                    </a:lnTo>
                    <a:lnTo>
                      <a:pt x="2431" y="434"/>
                    </a:lnTo>
                    <a:lnTo>
                      <a:pt x="2433" y="430"/>
                    </a:lnTo>
                    <a:lnTo>
                      <a:pt x="2433" y="416"/>
                    </a:lnTo>
                    <a:lnTo>
                      <a:pt x="2434" y="397"/>
                    </a:lnTo>
                    <a:lnTo>
                      <a:pt x="2435" y="389"/>
                    </a:lnTo>
                    <a:lnTo>
                      <a:pt x="2439" y="382"/>
                    </a:lnTo>
                    <a:lnTo>
                      <a:pt x="2440" y="381"/>
                    </a:lnTo>
                    <a:lnTo>
                      <a:pt x="2443" y="379"/>
                    </a:lnTo>
                    <a:lnTo>
                      <a:pt x="2446" y="378"/>
                    </a:lnTo>
                    <a:lnTo>
                      <a:pt x="2449" y="379"/>
                    </a:lnTo>
                    <a:lnTo>
                      <a:pt x="2453" y="382"/>
                    </a:lnTo>
                    <a:lnTo>
                      <a:pt x="2456" y="385"/>
                    </a:lnTo>
                    <a:lnTo>
                      <a:pt x="2458" y="389"/>
                    </a:lnTo>
                    <a:lnTo>
                      <a:pt x="2459" y="394"/>
                    </a:lnTo>
                    <a:lnTo>
                      <a:pt x="2459" y="405"/>
                    </a:lnTo>
                    <a:lnTo>
                      <a:pt x="2459" y="419"/>
                    </a:lnTo>
                    <a:lnTo>
                      <a:pt x="2458" y="432"/>
                    </a:lnTo>
                    <a:lnTo>
                      <a:pt x="2458" y="444"/>
                    </a:lnTo>
                    <a:lnTo>
                      <a:pt x="2458" y="449"/>
                    </a:lnTo>
                    <a:lnTo>
                      <a:pt x="2460" y="454"/>
                    </a:lnTo>
                    <a:lnTo>
                      <a:pt x="2461" y="458"/>
                    </a:lnTo>
                    <a:lnTo>
                      <a:pt x="2465" y="461"/>
                    </a:lnTo>
                    <a:lnTo>
                      <a:pt x="2471" y="465"/>
                    </a:lnTo>
                    <a:lnTo>
                      <a:pt x="2478" y="466"/>
                    </a:lnTo>
                    <a:lnTo>
                      <a:pt x="2485" y="466"/>
                    </a:lnTo>
                    <a:lnTo>
                      <a:pt x="2492" y="466"/>
                    </a:lnTo>
                    <a:lnTo>
                      <a:pt x="2506" y="464"/>
                    </a:lnTo>
                    <a:lnTo>
                      <a:pt x="2516" y="461"/>
                    </a:lnTo>
                    <a:lnTo>
                      <a:pt x="2525" y="460"/>
                    </a:lnTo>
                    <a:lnTo>
                      <a:pt x="2536" y="458"/>
                    </a:lnTo>
                    <a:lnTo>
                      <a:pt x="2542" y="457"/>
                    </a:lnTo>
                    <a:lnTo>
                      <a:pt x="2547" y="454"/>
                    </a:lnTo>
                    <a:lnTo>
                      <a:pt x="2553" y="451"/>
                    </a:lnTo>
                    <a:lnTo>
                      <a:pt x="2560" y="446"/>
                    </a:lnTo>
                    <a:lnTo>
                      <a:pt x="2562" y="444"/>
                    </a:lnTo>
                    <a:lnTo>
                      <a:pt x="2565" y="440"/>
                    </a:lnTo>
                    <a:lnTo>
                      <a:pt x="2566" y="438"/>
                    </a:lnTo>
                    <a:lnTo>
                      <a:pt x="2566" y="434"/>
                    </a:lnTo>
                    <a:lnTo>
                      <a:pt x="2566" y="428"/>
                    </a:lnTo>
                    <a:lnTo>
                      <a:pt x="2565" y="421"/>
                    </a:lnTo>
                    <a:lnTo>
                      <a:pt x="2563" y="415"/>
                    </a:lnTo>
                    <a:lnTo>
                      <a:pt x="2562" y="408"/>
                    </a:lnTo>
                    <a:lnTo>
                      <a:pt x="2562" y="402"/>
                    </a:lnTo>
                    <a:lnTo>
                      <a:pt x="2565" y="396"/>
                    </a:lnTo>
                    <a:lnTo>
                      <a:pt x="2574" y="378"/>
                    </a:lnTo>
                    <a:lnTo>
                      <a:pt x="2579" y="366"/>
                    </a:lnTo>
                    <a:lnTo>
                      <a:pt x="2579" y="365"/>
                    </a:lnTo>
                    <a:lnTo>
                      <a:pt x="2576" y="364"/>
                    </a:lnTo>
                    <a:lnTo>
                      <a:pt x="2574" y="365"/>
                    </a:lnTo>
                    <a:lnTo>
                      <a:pt x="2569" y="366"/>
                    </a:lnTo>
                    <a:lnTo>
                      <a:pt x="2560" y="370"/>
                    </a:lnTo>
                    <a:lnTo>
                      <a:pt x="2548" y="375"/>
                    </a:lnTo>
                    <a:lnTo>
                      <a:pt x="2541" y="376"/>
                    </a:lnTo>
                    <a:lnTo>
                      <a:pt x="2536" y="376"/>
                    </a:lnTo>
                    <a:lnTo>
                      <a:pt x="2531" y="376"/>
                    </a:lnTo>
                    <a:lnTo>
                      <a:pt x="2528" y="375"/>
                    </a:lnTo>
                    <a:lnTo>
                      <a:pt x="2524" y="372"/>
                    </a:lnTo>
                    <a:lnTo>
                      <a:pt x="2522" y="369"/>
                    </a:lnTo>
                    <a:lnTo>
                      <a:pt x="2522" y="363"/>
                    </a:lnTo>
                    <a:lnTo>
                      <a:pt x="2522" y="357"/>
                    </a:lnTo>
                    <a:lnTo>
                      <a:pt x="2523" y="350"/>
                    </a:lnTo>
                    <a:lnTo>
                      <a:pt x="2525" y="342"/>
                    </a:lnTo>
                    <a:lnTo>
                      <a:pt x="2528" y="337"/>
                    </a:lnTo>
                    <a:lnTo>
                      <a:pt x="2532" y="332"/>
                    </a:lnTo>
                    <a:lnTo>
                      <a:pt x="2537" y="327"/>
                    </a:lnTo>
                    <a:lnTo>
                      <a:pt x="2543" y="325"/>
                    </a:lnTo>
                    <a:lnTo>
                      <a:pt x="2550" y="322"/>
                    </a:lnTo>
                    <a:lnTo>
                      <a:pt x="2557" y="321"/>
                    </a:lnTo>
                    <a:lnTo>
                      <a:pt x="2562" y="320"/>
                    </a:lnTo>
                    <a:lnTo>
                      <a:pt x="2566" y="319"/>
                    </a:lnTo>
                    <a:lnTo>
                      <a:pt x="2568" y="316"/>
                    </a:lnTo>
                    <a:lnTo>
                      <a:pt x="2571" y="315"/>
                    </a:lnTo>
                    <a:lnTo>
                      <a:pt x="2573" y="310"/>
                    </a:lnTo>
                    <a:lnTo>
                      <a:pt x="2575" y="304"/>
                    </a:lnTo>
                    <a:lnTo>
                      <a:pt x="2578" y="300"/>
                    </a:lnTo>
                    <a:lnTo>
                      <a:pt x="2579" y="294"/>
                    </a:lnTo>
                    <a:lnTo>
                      <a:pt x="2579" y="291"/>
                    </a:lnTo>
                    <a:lnTo>
                      <a:pt x="2578" y="288"/>
                    </a:lnTo>
                    <a:lnTo>
                      <a:pt x="2576" y="285"/>
                    </a:lnTo>
                    <a:lnTo>
                      <a:pt x="2575" y="282"/>
                    </a:lnTo>
                    <a:lnTo>
                      <a:pt x="2569" y="274"/>
                    </a:lnTo>
                    <a:lnTo>
                      <a:pt x="2563" y="265"/>
                    </a:lnTo>
                    <a:lnTo>
                      <a:pt x="2559" y="257"/>
                    </a:lnTo>
                    <a:lnTo>
                      <a:pt x="2556" y="249"/>
                    </a:lnTo>
                    <a:lnTo>
                      <a:pt x="2556" y="245"/>
                    </a:lnTo>
                    <a:lnTo>
                      <a:pt x="2559" y="240"/>
                    </a:lnTo>
                    <a:lnTo>
                      <a:pt x="2561" y="237"/>
                    </a:lnTo>
                    <a:lnTo>
                      <a:pt x="2565" y="232"/>
                    </a:lnTo>
                    <a:lnTo>
                      <a:pt x="2573" y="225"/>
                    </a:lnTo>
                    <a:lnTo>
                      <a:pt x="2579" y="220"/>
                    </a:lnTo>
                    <a:lnTo>
                      <a:pt x="2594" y="213"/>
                    </a:lnTo>
                    <a:lnTo>
                      <a:pt x="2605" y="207"/>
                    </a:lnTo>
                    <a:lnTo>
                      <a:pt x="2606" y="205"/>
                    </a:lnTo>
                    <a:lnTo>
                      <a:pt x="2606" y="202"/>
                    </a:lnTo>
                    <a:lnTo>
                      <a:pt x="2605" y="199"/>
                    </a:lnTo>
                    <a:lnTo>
                      <a:pt x="2604" y="196"/>
                    </a:lnTo>
                    <a:lnTo>
                      <a:pt x="2599" y="192"/>
                    </a:lnTo>
                    <a:lnTo>
                      <a:pt x="2594" y="188"/>
                    </a:lnTo>
                    <a:lnTo>
                      <a:pt x="2592" y="187"/>
                    </a:lnTo>
                    <a:lnTo>
                      <a:pt x="2588" y="187"/>
                    </a:lnTo>
                    <a:lnTo>
                      <a:pt x="2585" y="187"/>
                    </a:lnTo>
                    <a:lnTo>
                      <a:pt x="2580" y="188"/>
                    </a:lnTo>
                    <a:lnTo>
                      <a:pt x="2571" y="193"/>
                    </a:lnTo>
                    <a:lnTo>
                      <a:pt x="2561" y="199"/>
                    </a:lnTo>
                    <a:lnTo>
                      <a:pt x="2553" y="205"/>
                    </a:lnTo>
                    <a:lnTo>
                      <a:pt x="2544" y="209"/>
                    </a:lnTo>
                    <a:lnTo>
                      <a:pt x="2540" y="212"/>
                    </a:lnTo>
                    <a:lnTo>
                      <a:pt x="2535" y="213"/>
                    </a:lnTo>
                    <a:lnTo>
                      <a:pt x="2530" y="213"/>
                    </a:lnTo>
                    <a:lnTo>
                      <a:pt x="2525" y="213"/>
                    </a:lnTo>
                    <a:lnTo>
                      <a:pt x="2513" y="213"/>
                    </a:lnTo>
                    <a:lnTo>
                      <a:pt x="2500" y="212"/>
                    </a:lnTo>
                    <a:lnTo>
                      <a:pt x="2488" y="212"/>
                    </a:lnTo>
                    <a:lnTo>
                      <a:pt x="2479" y="213"/>
                    </a:lnTo>
                    <a:lnTo>
                      <a:pt x="2471" y="212"/>
                    </a:lnTo>
                    <a:lnTo>
                      <a:pt x="2464" y="209"/>
                    </a:lnTo>
                    <a:lnTo>
                      <a:pt x="2458" y="206"/>
                    </a:lnTo>
                    <a:lnTo>
                      <a:pt x="2454" y="200"/>
                    </a:lnTo>
                    <a:lnTo>
                      <a:pt x="2448" y="190"/>
                    </a:lnTo>
                    <a:lnTo>
                      <a:pt x="2439" y="175"/>
                    </a:lnTo>
                    <a:lnTo>
                      <a:pt x="2434" y="168"/>
                    </a:lnTo>
                    <a:lnTo>
                      <a:pt x="2428" y="162"/>
                    </a:lnTo>
                    <a:lnTo>
                      <a:pt x="2423" y="157"/>
                    </a:lnTo>
                    <a:lnTo>
                      <a:pt x="2418" y="155"/>
                    </a:lnTo>
                    <a:lnTo>
                      <a:pt x="2409" y="152"/>
                    </a:lnTo>
                    <a:lnTo>
                      <a:pt x="2397" y="151"/>
                    </a:lnTo>
                    <a:lnTo>
                      <a:pt x="2386" y="152"/>
                    </a:lnTo>
                    <a:lnTo>
                      <a:pt x="2377" y="153"/>
                    </a:lnTo>
                    <a:lnTo>
                      <a:pt x="2372" y="156"/>
                    </a:lnTo>
                    <a:lnTo>
                      <a:pt x="2368" y="161"/>
                    </a:lnTo>
                    <a:lnTo>
                      <a:pt x="2365" y="165"/>
                    </a:lnTo>
                    <a:lnTo>
                      <a:pt x="2362" y="171"/>
                    </a:lnTo>
                    <a:lnTo>
                      <a:pt x="2361" y="178"/>
                    </a:lnTo>
                    <a:lnTo>
                      <a:pt x="2360" y="184"/>
                    </a:lnTo>
                    <a:lnTo>
                      <a:pt x="2360" y="192"/>
                    </a:lnTo>
                    <a:lnTo>
                      <a:pt x="2361" y="197"/>
                    </a:lnTo>
                    <a:lnTo>
                      <a:pt x="2361" y="202"/>
                    </a:lnTo>
                    <a:lnTo>
                      <a:pt x="2361" y="207"/>
                    </a:lnTo>
                    <a:lnTo>
                      <a:pt x="2360" y="211"/>
                    </a:lnTo>
                    <a:lnTo>
                      <a:pt x="2359" y="214"/>
                    </a:lnTo>
                    <a:lnTo>
                      <a:pt x="2358" y="216"/>
                    </a:lnTo>
                    <a:lnTo>
                      <a:pt x="2355" y="218"/>
                    </a:lnTo>
                    <a:lnTo>
                      <a:pt x="2353" y="219"/>
                    </a:lnTo>
                    <a:lnTo>
                      <a:pt x="2349" y="220"/>
                    </a:lnTo>
                    <a:lnTo>
                      <a:pt x="2347" y="220"/>
                    </a:lnTo>
                    <a:lnTo>
                      <a:pt x="2345" y="219"/>
                    </a:lnTo>
                    <a:lnTo>
                      <a:pt x="2342" y="218"/>
                    </a:lnTo>
                    <a:lnTo>
                      <a:pt x="2340" y="216"/>
                    </a:lnTo>
                    <a:lnTo>
                      <a:pt x="2335" y="212"/>
                    </a:lnTo>
                    <a:lnTo>
                      <a:pt x="2330" y="206"/>
                    </a:lnTo>
                    <a:lnTo>
                      <a:pt x="2328" y="203"/>
                    </a:lnTo>
                    <a:lnTo>
                      <a:pt x="2324" y="202"/>
                    </a:lnTo>
                    <a:lnTo>
                      <a:pt x="2321" y="201"/>
                    </a:lnTo>
                    <a:lnTo>
                      <a:pt x="2316" y="201"/>
                    </a:lnTo>
                    <a:lnTo>
                      <a:pt x="2311" y="201"/>
                    </a:lnTo>
                    <a:lnTo>
                      <a:pt x="2307" y="202"/>
                    </a:lnTo>
                    <a:lnTo>
                      <a:pt x="2301" y="203"/>
                    </a:lnTo>
                    <a:lnTo>
                      <a:pt x="2296" y="206"/>
                    </a:lnTo>
                    <a:lnTo>
                      <a:pt x="2284" y="212"/>
                    </a:lnTo>
                    <a:lnTo>
                      <a:pt x="2267" y="216"/>
                    </a:lnTo>
                    <a:lnTo>
                      <a:pt x="2250" y="221"/>
                    </a:lnTo>
                    <a:lnTo>
                      <a:pt x="2235" y="225"/>
                    </a:lnTo>
                    <a:lnTo>
                      <a:pt x="2225" y="226"/>
                    </a:lnTo>
                    <a:lnTo>
                      <a:pt x="2215" y="225"/>
                    </a:lnTo>
                    <a:lnTo>
                      <a:pt x="2204" y="222"/>
                    </a:lnTo>
                    <a:lnTo>
                      <a:pt x="2195" y="220"/>
                    </a:lnTo>
                    <a:lnTo>
                      <a:pt x="2191" y="216"/>
                    </a:lnTo>
                    <a:lnTo>
                      <a:pt x="2188" y="212"/>
                    </a:lnTo>
                    <a:lnTo>
                      <a:pt x="2182" y="205"/>
                    </a:lnTo>
                    <a:lnTo>
                      <a:pt x="2177" y="197"/>
                    </a:lnTo>
                    <a:lnTo>
                      <a:pt x="2171" y="189"/>
                    </a:lnTo>
                    <a:lnTo>
                      <a:pt x="2166" y="182"/>
                    </a:lnTo>
                    <a:lnTo>
                      <a:pt x="2162" y="176"/>
                    </a:lnTo>
                    <a:lnTo>
                      <a:pt x="2157" y="171"/>
                    </a:lnTo>
                    <a:lnTo>
                      <a:pt x="2152" y="169"/>
                    </a:lnTo>
                    <a:lnTo>
                      <a:pt x="2147" y="169"/>
                    </a:lnTo>
                    <a:lnTo>
                      <a:pt x="2144" y="169"/>
                    </a:lnTo>
                    <a:lnTo>
                      <a:pt x="2140" y="169"/>
                    </a:lnTo>
                    <a:lnTo>
                      <a:pt x="2133" y="173"/>
                    </a:lnTo>
                    <a:lnTo>
                      <a:pt x="2126" y="176"/>
                    </a:lnTo>
                    <a:lnTo>
                      <a:pt x="2119" y="178"/>
                    </a:lnTo>
                    <a:lnTo>
                      <a:pt x="2110" y="178"/>
                    </a:lnTo>
                    <a:lnTo>
                      <a:pt x="2099" y="176"/>
                    </a:lnTo>
                    <a:lnTo>
                      <a:pt x="2083" y="171"/>
                    </a:lnTo>
                    <a:lnTo>
                      <a:pt x="2080" y="169"/>
                    </a:lnTo>
                    <a:lnTo>
                      <a:pt x="2076" y="167"/>
                    </a:lnTo>
                    <a:lnTo>
                      <a:pt x="2074" y="164"/>
                    </a:lnTo>
                    <a:lnTo>
                      <a:pt x="2072" y="161"/>
                    </a:lnTo>
                    <a:lnTo>
                      <a:pt x="2071" y="153"/>
                    </a:lnTo>
                    <a:lnTo>
                      <a:pt x="2070" y="145"/>
                    </a:lnTo>
                    <a:lnTo>
                      <a:pt x="2070" y="138"/>
                    </a:lnTo>
                    <a:lnTo>
                      <a:pt x="2070" y="131"/>
                    </a:lnTo>
                    <a:lnTo>
                      <a:pt x="2069" y="127"/>
                    </a:lnTo>
                    <a:lnTo>
                      <a:pt x="2068" y="125"/>
                    </a:lnTo>
                    <a:lnTo>
                      <a:pt x="2066" y="123"/>
                    </a:lnTo>
                    <a:lnTo>
                      <a:pt x="2064" y="121"/>
                    </a:lnTo>
                    <a:lnTo>
                      <a:pt x="2058" y="120"/>
                    </a:lnTo>
                    <a:lnTo>
                      <a:pt x="2052" y="119"/>
                    </a:lnTo>
                    <a:lnTo>
                      <a:pt x="2046" y="120"/>
                    </a:lnTo>
                    <a:lnTo>
                      <a:pt x="2040" y="121"/>
                    </a:lnTo>
                    <a:lnTo>
                      <a:pt x="2034" y="123"/>
                    </a:lnTo>
                    <a:lnTo>
                      <a:pt x="2028" y="123"/>
                    </a:lnTo>
                    <a:lnTo>
                      <a:pt x="2024" y="123"/>
                    </a:lnTo>
                    <a:lnTo>
                      <a:pt x="2018" y="121"/>
                    </a:lnTo>
                    <a:lnTo>
                      <a:pt x="2013" y="119"/>
                    </a:lnTo>
                    <a:lnTo>
                      <a:pt x="2009" y="117"/>
                    </a:lnTo>
                    <a:lnTo>
                      <a:pt x="2005" y="112"/>
                    </a:lnTo>
                    <a:lnTo>
                      <a:pt x="2001" y="107"/>
                    </a:lnTo>
                    <a:lnTo>
                      <a:pt x="1995" y="96"/>
                    </a:lnTo>
                    <a:lnTo>
                      <a:pt x="1989" y="86"/>
                    </a:lnTo>
                    <a:lnTo>
                      <a:pt x="1987" y="85"/>
                    </a:lnTo>
                    <a:lnTo>
                      <a:pt x="1984" y="82"/>
                    </a:lnTo>
                    <a:lnTo>
                      <a:pt x="1980" y="82"/>
                    </a:lnTo>
                    <a:lnTo>
                      <a:pt x="1975" y="81"/>
                    </a:lnTo>
                    <a:lnTo>
                      <a:pt x="1964" y="82"/>
                    </a:lnTo>
                    <a:lnTo>
                      <a:pt x="1956" y="83"/>
                    </a:lnTo>
                    <a:lnTo>
                      <a:pt x="1946" y="85"/>
                    </a:lnTo>
                    <a:lnTo>
                      <a:pt x="1933" y="87"/>
                    </a:lnTo>
                    <a:lnTo>
                      <a:pt x="1920" y="89"/>
                    </a:lnTo>
                    <a:lnTo>
                      <a:pt x="1908" y="92"/>
                    </a:lnTo>
                    <a:lnTo>
                      <a:pt x="1899" y="96"/>
                    </a:lnTo>
                    <a:lnTo>
                      <a:pt x="1889" y="104"/>
                    </a:lnTo>
                    <a:lnTo>
                      <a:pt x="1881" y="111"/>
                    </a:lnTo>
                    <a:lnTo>
                      <a:pt x="1872" y="118"/>
                    </a:lnTo>
                    <a:lnTo>
                      <a:pt x="1862" y="125"/>
                    </a:lnTo>
                    <a:lnTo>
                      <a:pt x="1854" y="129"/>
                    </a:lnTo>
                    <a:lnTo>
                      <a:pt x="1845" y="130"/>
                    </a:lnTo>
                    <a:lnTo>
                      <a:pt x="1839" y="131"/>
                    </a:lnTo>
                    <a:lnTo>
                      <a:pt x="1826" y="132"/>
                    </a:lnTo>
                    <a:lnTo>
                      <a:pt x="1813" y="137"/>
                    </a:lnTo>
                    <a:lnTo>
                      <a:pt x="1798" y="142"/>
                    </a:lnTo>
                    <a:lnTo>
                      <a:pt x="1780" y="144"/>
                    </a:lnTo>
                    <a:lnTo>
                      <a:pt x="1775" y="145"/>
                    </a:lnTo>
                    <a:lnTo>
                      <a:pt x="1770" y="148"/>
                    </a:lnTo>
                    <a:lnTo>
                      <a:pt x="1767" y="150"/>
                    </a:lnTo>
                    <a:lnTo>
                      <a:pt x="1765" y="153"/>
                    </a:lnTo>
                    <a:lnTo>
                      <a:pt x="1761" y="159"/>
                    </a:lnTo>
                    <a:lnTo>
                      <a:pt x="1759" y="164"/>
                    </a:lnTo>
                    <a:lnTo>
                      <a:pt x="1757" y="165"/>
                    </a:lnTo>
                    <a:lnTo>
                      <a:pt x="1759" y="167"/>
                    </a:lnTo>
                    <a:lnTo>
                      <a:pt x="1760" y="168"/>
                    </a:lnTo>
                    <a:lnTo>
                      <a:pt x="1761" y="169"/>
                    </a:lnTo>
                    <a:lnTo>
                      <a:pt x="1767" y="171"/>
                    </a:lnTo>
                    <a:lnTo>
                      <a:pt x="1774" y="171"/>
                    </a:lnTo>
                    <a:lnTo>
                      <a:pt x="1782" y="173"/>
                    </a:lnTo>
                    <a:lnTo>
                      <a:pt x="1791" y="176"/>
                    </a:lnTo>
                    <a:lnTo>
                      <a:pt x="1793" y="178"/>
                    </a:lnTo>
                    <a:lnTo>
                      <a:pt x="1795" y="182"/>
                    </a:lnTo>
                    <a:lnTo>
                      <a:pt x="1797" y="184"/>
                    </a:lnTo>
                    <a:lnTo>
                      <a:pt x="1798" y="188"/>
                    </a:lnTo>
                    <a:lnTo>
                      <a:pt x="1797" y="193"/>
                    </a:lnTo>
                    <a:lnTo>
                      <a:pt x="1794" y="197"/>
                    </a:lnTo>
                    <a:lnTo>
                      <a:pt x="1791" y="205"/>
                    </a:lnTo>
                    <a:lnTo>
                      <a:pt x="1786" y="212"/>
                    </a:lnTo>
                    <a:lnTo>
                      <a:pt x="1776" y="225"/>
                    </a:lnTo>
                    <a:lnTo>
                      <a:pt x="1767" y="234"/>
                    </a:lnTo>
                    <a:lnTo>
                      <a:pt x="1757" y="241"/>
                    </a:lnTo>
                    <a:lnTo>
                      <a:pt x="1749" y="249"/>
                    </a:lnTo>
                    <a:lnTo>
                      <a:pt x="1741" y="256"/>
                    </a:lnTo>
                    <a:lnTo>
                      <a:pt x="1734" y="264"/>
                    </a:lnTo>
                    <a:lnTo>
                      <a:pt x="1727" y="274"/>
                    </a:lnTo>
                    <a:lnTo>
                      <a:pt x="1718" y="281"/>
                    </a:lnTo>
                    <a:lnTo>
                      <a:pt x="1709" y="287"/>
                    </a:lnTo>
                    <a:lnTo>
                      <a:pt x="1698" y="293"/>
                    </a:lnTo>
                    <a:lnTo>
                      <a:pt x="1685" y="297"/>
                    </a:lnTo>
                    <a:lnTo>
                      <a:pt x="1671" y="302"/>
                    </a:lnTo>
                    <a:lnTo>
                      <a:pt x="1665" y="304"/>
                    </a:lnTo>
                    <a:lnTo>
                      <a:pt x="1660" y="307"/>
                    </a:lnTo>
                    <a:lnTo>
                      <a:pt x="1655" y="309"/>
                    </a:lnTo>
                    <a:lnTo>
                      <a:pt x="1653" y="313"/>
                    </a:lnTo>
                    <a:lnTo>
                      <a:pt x="1650" y="316"/>
                    </a:lnTo>
                    <a:lnTo>
                      <a:pt x="1650" y="320"/>
                    </a:lnTo>
                    <a:lnTo>
                      <a:pt x="1652" y="322"/>
                    </a:lnTo>
                    <a:lnTo>
                      <a:pt x="1653" y="326"/>
                    </a:lnTo>
                    <a:lnTo>
                      <a:pt x="1658" y="332"/>
                    </a:lnTo>
                    <a:lnTo>
                      <a:pt x="1662" y="337"/>
                    </a:lnTo>
                    <a:lnTo>
                      <a:pt x="1667" y="345"/>
                    </a:lnTo>
                    <a:lnTo>
                      <a:pt x="1671" y="354"/>
                    </a:lnTo>
                    <a:lnTo>
                      <a:pt x="1672" y="359"/>
                    </a:lnTo>
                    <a:lnTo>
                      <a:pt x="1672" y="364"/>
                    </a:lnTo>
                    <a:lnTo>
                      <a:pt x="1671" y="369"/>
                    </a:lnTo>
                    <a:lnTo>
                      <a:pt x="1668" y="371"/>
                    </a:lnTo>
                    <a:lnTo>
                      <a:pt x="1665" y="376"/>
                    </a:lnTo>
                    <a:lnTo>
                      <a:pt x="1661" y="379"/>
                    </a:lnTo>
                    <a:lnTo>
                      <a:pt x="1659" y="385"/>
                    </a:lnTo>
                    <a:lnTo>
                      <a:pt x="1655" y="394"/>
                    </a:lnTo>
                    <a:lnTo>
                      <a:pt x="1649" y="404"/>
                    </a:lnTo>
                    <a:lnTo>
                      <a:pt x="1641" y="415"/>
                    </a:lnTo>
                    <a:lnTo>
                      <a:pt x="1636" y="420"/>
                    </a:lnTo>
                    <a:lnTo>
                      <a:pt x="1630" y="424"/>
                    </a:lnTo>
                    <a:lnTo>
                      <a:pt x="1625" y="427"/>
                    </a:lnTo>
                    <a:lnTo>
                      <a:pt x="1620" y="428"/>
                    </a:lnTo>
                    <a:lnTo>
                      <a:pt x="1606" y="430"/>
                    </a:lnTo>
                    <a:lnTo>
                      <a:pt x="1589" y="434"/>
                    </a:lnTo>
                    <a:lnTo>
                      <a:pt x="1568" y="438"/>
                    </a:lnTo>
                    <a:lnTo>
                      <a:pt x="1551" y="440"/>
                    </a:lnTo>
                    <a:lnTo>
                      <a:pt x="1532" y="442"/>
                    </a:lnTo>
                    <a:lnTo>
                      <a:pt x="1510" y="445"/>
                    </a:lnTo>
                    <a:lnTo>
                      <a:pt x="1491" y="446"/>
                    </a:lnTo>
                    <a:lnTo>
                      <a:pt x="1478" y="447"/>
                    </a:lnTo>
                    <a:lnTo>
                      <a:pt x="1466" y="448"/>
                    </a:lnTo>
                    <a:lnTo>
                      <a:pt x="1452" y="448"/>
                    </a:lnTo>
                    <a:lnTo>
                      <a:pt x="1445" y="448"/>
                    </a:lnTo>
                    <a:lnTo>
                      <a:pt x="1438" y="447"/>
                    </a:lnTo>
                    <a:lnTo>
                      <a:pt x="1432" y="445"/>
                    </a:lnTo>
                    <a:lnTo>
                      <a:pt x="1427" y="440"/>
                    </a:lnTo>
                    <a:lnTo>
                      <a:pt x="1423" y="435"/>
                    </a:lnTo>
                    <a:lnTo>
                      <a:pt x="1421" y="433"/>
                    </a:lnTo>
                    <a:lnTo>
                      <a:pt x="1417" y="430"/>
                    </a:lnTo>
                    <a:lnTo>
                      <a:pt x="1414" y="429"/>
                    </a:lnTo>
                    <a:lnTo>
                      <a:pt x="1406" y="426"/>
                    </a:lnTo>
                    <a:lnTo>
                      <a:pt x="1396" y="419"/>
                    </a:lnTo>
                    <a:lnTo>
                      <a:pt x="1383" y="410"/>
                    </a:lnTo>
                    <a:lnTo>
                      <a:pt x="1370" y="402"/>
                    </a:lnTo>
                    <a:lnTo>
                      <a:pt x="1364" y="398"/>
                    </a:lnTo>
                    <a:lnTo>
                      <a:pt x="1358" y="394"/>
                    </a:lnTo>
                    <a:lnTo>
                      <a:pt x="1352" y="388"/>
                    </a:lnTo>
                    <a:lnTo>
                      <a:pt x="1347" y="382"/>
                    </a:lnTo>
                    <a:lnTo>
                      <a:pt x="1344" y="371"/>
                    </a:lnTo>
                    <a:lnTo>
                      <a:pt x="1339" y="353"/>
                    </a:lnTo>
                    <a:lnTo>
                      <a:pt x="1337" y="333"/>
                    </a:lnTo>
                    <a:lnTo>
                      <a:pt x="1334" y="309"/>
                    </a:lnTo>
                    <a:lnTo>
                      <a:pt x="1333" y="285"/>
                    </a:lnTo>
                    <a:lnTo>
                      <a:pt x="1333" y="264"/>
                    </a:lnTo>
                    <a:lnTo>
                      <a:pt x="1333" y="255"/>
                    </a:lnTo>
                    <a:lnTo>
                      <a:pt x="1334" y="246"/>
                    </a:lnTo>
                    <a:lnTo>
                      <a:pt x="1337" y="239"/>
                    </a:lnTo>
                    <a:lnTo>
                      <a:pt x="1338" y="233"/>
                    </a:lnTo>
                    <a:lnTo>
                      <a:pt x="1344" y="226"/>
                    </a:lnTo>
                    <a:lnTo>
                      <a:pt x="1348" y="219"/>
                    </a:lnTo>
                    <a:lnTo>
                      <a:pt x="1354" y="213"/>
                    </a:lnTo>
                    <a:lnTo>
                      <a:pt x="1359" y="208"/>
                    </a:lnTo>
                    <a:lnTo>
                      <a:pt x="1364" y="203"/>
                    </a:lnTo>
                    <a:lnTo>
                      <a:pt x="1368" y="200"/>
                    </a:lnTo>
                    <a:lnTo>
                      <a:pt x="1370" y="196"/>
                    </a:lnTo>
                    <a:lnTo>
                      <a:pt x="1371" y="192"/>
                    </a:lnTo>
                    <a:lnTo>
                      <a:pt x="1372" y="184"/>
                    </a:lnTo>
                    <a:lnTo>
                      <a:pt x="1373" y="180"/>
                    </a:lnTo>
                    <a:lnTo>
                      <a:pt x="1375" y="177"/>
                    </a:lnTo>
                    <a:lnTo>
                      <a:pt x="1377" y="176"/>
                    </a:lnTo>
                    <a:lnTo>
                      <a:pt x="1378" y="175"/>
                    </a:lnTo>
                    <a:lnTo>
                      <a:pt x="1381" y="174"/>
                    </a:lnTo>
                    <a:lnTo>
                      <a:pt x="1383" y="174"/>
                    </a:lnTo>
                    <a:lnTo>
                      <a:pt x="1384" y="171"/>
                    </a:lnTo>
                    <a:lnTo>
                      <a:pt x="1385" y="169"/>
                    </a:lnTo>
                    <a:lnTo>
                      <a:pt x="1385" y="165"/>
                    </a:lnTo>
                    <a:lnTo>
                      <a:pt x="1384" y="162"/>
                    </a:lnTo>
                    <a:lnTo>
                      <a:pt x="1383" y="158"/>
                    </a:lnTo>
                    <a:lnTo>
                      <a:pt x="1382" y="155"/>
                    </a:lnTo>
                    <a:lnTo>
                      <a:pt x="1379" y="151"/>
                    </a:lnTo>
                    <a:lnTo>
                      <a:pt x="1373" y="148"/>
                    </a:lnTo>
                    <a:lnTo>
                      <a:pt x="1369" y="142"/>
                    </a:lnTo>
                    <a:lnTo>
                      <a:pt x="1366" y="139"/>
                    </a:lnTo>
                    <a:lnTo>
                      <a:pt x="1365" y="136"/>
                    </a:lnTo>
                    <a:lnTo>
                      <a:pt x="1364" y="132"/>
                    </a:lnTo>
                    <a:lnTo>
                      <a:pt x="1363" y="127"/>
                    </a:lnTo>
                    <a:lnTo>
                      <a:pt x="1363" y="124"/>
                    </a:lnTo>
                    <a:lnTo>
                      <a:pt x="1360" y="118"/>
                    </a:lnTo>
                    <a:lnTo>
                      <a:pt x="1358" y="113"/>
                    </a:lnTo>
                    <a:lnTo>
                      <a:pt x="1356" y="108"/>
                    </a:lnTo>
                    <a:lnTo>
                      <a:pt x="1348" y="100"/>
                    </a:lnTo>
                    <a:lnTo>
                      <a:pt x="1341" y="93"/>
                    </a:lnTo>
                    <a:lnTo>
                      <a:pt x="1334" y="86"/>
                    </a:lnTo>
                    <a:lnTo>
                      <a:pt x="1328" y="77"/>
                    </a:lnTo>
                    <a:lnTo>
                      <a:pt x="1324" y="69"/>
                    </a:lnTo>
                    <a:lnTo>
                      <a:pt x="1320" y="61"/>
                    </a:lnTo>
                    <a:lnTo>
                      <a:pt x="1314" y="52"/>
                    </a:lnTo>
                    <a:lnTo>
                      <a:pt x="1307" y="41"/>
                    </a:lnTo>
                    <a:lnTo>
                      <a:pt x="1299" y="29"/>
                    </a:lnTo>
                    <a:lnTo>
                      <a:pt x="1291" y="19"/>
                    </a:lnTo>
                    <a:lnTo>
                      <a:pt x="1283" y="13"/>
                    </a:lnTo>
                    <a:lnTo>
                      <a:pt x="1274" y="8"/>
                    </a:lnTo>
                    <a:lnTo>
                      <a:pt x="1264" y="6"/>
                    </a:lnTo>
                    <a:lnTo>
                      <a:pt x="1255" y="4"/>
                    </a:lnTo>
                    <a:lnTo>
                      <a:pt x="1251" y="4"/>
                    </a:lnTo>
                    <a:lnTo>
                      <a:pt x="1246" y="4"/>
                    </a:lnTo>
                    <a:lnTo>
                      <a:pt x="1242" y="5"/>
                    </a:lnTo>
                    <a:lnTo>
                      <a:pt x="1238" y="6"/>
                    </a:lnTo>
                    <a:lnTo>
                      <a:pt x="1234" y="8"/>
                    </a:lnTo>
                    <a:lnTo>
                      <a:pt x="1231" y="11"/>
                    </a:lnTo>
                    <a:lnTo>
                      <a:pt x="1228" y="14"/>
                    </a:lnTo>
                    <a:lnTo>
                      <a:pt x="1226" y="19"/>
                    </a:lnTo>
                    <a:lnTo>
                      <a:pt x="1224" y="29"/>
                    </a:lnTo>
                    <a:lnTo>
                      <a:pt x="1220" y="39"/>
                    </a:lnTo>
                    <a:lnTo>
                      <a:pt x="1218" y="45"/>
                    </a:lnTo>
                    <a:lnTo>
                      <a:pt x="1215" y="50"/>
                    </a:lnTo>
                    <a:lnTo>
                      <a:pt x="1212" y="54"/>
                    </a:lnTo>
                    <a:lnTo>
                      <a:pt x="1207" y="58"/>
                    </a:lnTo>
                    <a:lnTo>
                      <a:pt x="1198" y="63"/>
                    </a:lnTo>
                    <a:lnTo>
                      <a:pt x="1192" y="68"/>
                    </a:lnTo>
                    <a:lnTo>
                      <a:pt x="1184" y="70"/>
                    </a:lnTo>
                    <a:lnTo>
                      <a:pt x="1180" y="70"/>
                    </a:lnTo>
                    <a:lnTo>
                      <a:pt x="1173" y="57"/>
                    </a:lnTo>
                    <a:lnTo>
                      <a:pt x="1162" y="41"/>
                    </a:lnTo>
                    <a:lnTo>
                      <a:pt x="1157" y="39"/>
                    </a:lnTo>
                    <a:lnTo>
                      <a:pt x="1154" y="39"/>
                    </a:lnTo>
                    <a:lnTo>
                      <a:pt x="1149" y="41"/>
                    </a:lnTo>
                    <a:lnTo>
                      <a:pt x="1145" y="42"/>
                    </a:lnTo>
                    <a:lnTo>
                      <a:pt x="1137" y="47"/>
                    </a:lnTo>
                    <a:lnTo>
                      <a:pt x="1129" y="52"/>
                    </a:lnTo>
                    <a:lnTo>
                      <a:pt x="1119" y="57"/>
                    </a:lnTo>
                    <a:lnTo>
                      <a:pt x="1110" y="61"/>
                    </a:lnTo>
                    <a:lnTo>
                      <a:pt x="1098" y="62"/>
                    </a:lnTo>
                    <a:lnTo>
                      <a:pt x="1088" y="61"/>
                    </a:lnTo>
                    <a:lnTo>
                      <a:pt x="1074" y="50"/>
                    </a:lnTo>
                    <a:lnTo>
                      <a:pt x="1063" y="41"/>
                    </a:lnTo>
                    <a:lnTo>
                      <a:pt x="1060" y="42"/>
                    </a:lnTo>
                    <a:lnTo>
                      <a:pt x="1058" y="44"/>
                    </a:lnTo>
                    <a:lnTo>
                      <a:pt x="1057" y="48"/>
                    </a:lnTo>
                    <a:lnTo>
                      <a:pt x="1056" y="52"/>
                    </a:lnTo>
                    <a:lnTo>
                      <a:pt x="1056" y="62"/>
                    </a:lnTo>
                    <a:lnTo>
                      <a:pt x="1056" y="73"/>
                    </a:lnTo>
                    <a:lnTo>
                      <a:pt x="1055" y="82"/>
                    </a:lnTo>
                    <a:lnTo>
                      <a:pt x="1052" y="92"/>
                    </a:lnTo>
                    <a:lnTo>
                      <a:pt x="1048" y="100"/>
                    </a:lnTo>
                    <a:lnTo>
                      <a:pt x="1043" y="108"/>
                    </a:lnTo>
                    <a:lnTo>
                      <a:pt x="1041" y="111"/>
                    </a:lnTo>
                    <a:lnTo>
                      <a:pt x="1038" y="112"/>
                    </a:lnTo>
                    <a:lnTo>
                      <a:pt x="1035" y="114"/>
                    </a:lnTo>
                    <a:lnTo>
                      <a:pt x="1031" y="114"/>
                    </a:lnTo>
                    <a:lnTo>
                      <a:pt x="1023" y="115"/>
                    </a:lnTo>
                    <a:lnTo>
                      <a:pt x="1016" y="114"/>
                    </a:lnTo>
                    <a:lnTo>
                      <a:pt x="1009" y="113"/>
                    </a:lnTo>
                    <a:lnTo>
                      <a:pt x="1003" y="111"/>
                    </a:lnTo>
                    <a:lnTo>
                      <a:pt x="999" y="110"/>
                    </a:lnTo>
                    <a:lnTo>
                      <a:pt x="997" y="108"/>
                    </a:lnTo>
                    <a:lnTo>
                      <a:pt x="995" y="105"/>
                    </a:lnTo>
                    <a:lnTo>
                      <a:pt x="994" y="101"/>
                    </a:lnTo>
                    <a:lnTo>
                      <a:pt x="994" y="99"/>
                    </a:lnTo>
                    <a:lnTo>
                      <a:pt x="997" y="95"/>
                    </a:lnTo>
                    <a:lnTo>
                      <a:pt x="999" y="93"/>
                    </a:lnTo>
                    <a:lnTo>
                      <a:pt x="1003" y="90"/>
                    </a:lnTo>
                    <a:lnTo>
                      <a:pt x="1006" y="88"/>
                    </a:lnTo>
                    <a:lnTo>
                      <a:pt x="1010" y="83"/>
                    </a:lnTo>
                    <a:lnTo>
                      <a:pt x="1011" y="79"/>
                    </a:lnTo>
                    <a:lnTo>
                      <a:pt x="1012" y="71"/>
                    </a:lnTo>
                    <a:lnTo>
                      <a:pt x="1012" y="66"/>
                    </a:lnTo>
                    <a:lnTo>
                      <a:pt x="1010" y="61"/>
                    </a:lnTo>
                    <a:lnTo>
                      <a:pt x="1006" y="57"/>
                    </a:lnTo>
                    <a:lnTo>
                      <a:pt x="1000" y="55"/>
                    </a:lnTo>
                    <a:lnTo>
                      <a:pt x="992" y="52"/>
                    </a:lnTo>
                    <a:lnTo>
                      <a:pt x="981" y="51"/>
                    </a:lnTo>
                    <a:lnTo>
                      <a:pt x="969" y="51"/>
                    </a:lnTo>
                    <a:lnTo>
                      <a:pt x="961" y="51"/>
                    </a:lnTo>
                    <a:lnTo>
                      <a:pt x="957" y="51"/>
                    </a:lnTo>
                    <a:lnTo>
                      <a:pt x="955" y="50"/>
                    </a:lnTo>
                    <a:lnTo>
                      <a:pt x="955" y="49"/>
                    </a:lnTo>
                    <a:lnTo>
                      <a:pt x="955" y="48"/>
                    </a:lnTo>
                    <a:lnTo>
                      <a:pt x="956" y="45"/>
                    </a:lnTo>
                    <a:lnTo>
                      <a:pt x="959" y="43"/>
                    </a:lnTo>
                    <a:lnTo>
                      <a:pt x="963" y="41"/>
                    </a:lnTo>
                    <a:lnTo>
                      <a:pt x="968" y="39"/>
                    </a:lnTo>
                    <a:lnTo>
                      <a:pt x="974" y="37"/>
                    </a:lnTo>
                    <a:lnTo>
                      <a:pt x="978" y="33"/>
                    </a:lnTo>
                    <a:lnTo>
                      <a:pt x="979" y="30"/>
                    </a:lnTo>
                    <a:lnTo>
                      <a:pt x="980" y="26"/>
                    </a:lnTo>
                    <a:lnTo>
                      <a:pt x="978" y="23"/>
                    </a:lnTo>
                    <a:lnTo>
                      <a:pt x="975" y="19"/>
                    </a:lnTo>
                    <a:lnTo>
                      <a:pt x="972" y="17"/>
                    </a:lnTo>
                    <a:lnTo>
                      <a:pt x="966" y="14"/>
                    </a:lnTo>
                    <a:lnTo>
                      <a:pt x="955" y="11"/>
                    </a:lnTo>
                    <a:lnTo>
                      <a:pt x="944" y="6"/>
                    </a:lnTo>
                    <a:lnTo>
                      <a:pt x="934" y="3"/>
                    </a:lnTo>
                    <a:lnTo>
                      <a:pt x="923" y="0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安徽"/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5573261" y="3671747"/>
                <a:ext cx="644612" cy="828787"/>
              </a:xfrm>
              <a:custGeom>
                <a:avLst/>
                <a:gdLst>
                  <a:gd name="T0" fmla="*/ 1649 w 1769"/>
                  <a:gd name="T1" fmla="*/ 1386 h 2242"/>
                  <a:gd name="T2" fmla="*/ 1461 w 1769"/>
                  <a:gd name="T3" fmla="*/ 1420 h 2242"/>
                  <a:gd name="T4" fmla="*/ 1473 w 1769"/>
                  <a:gd name="T5" fmla="*/ 1325 h 2242"/>
                  <a:gd name="T6" fmla="*/ 1439 w 1769"/>
                  <a:gd name="T7" fmla="*/ 1249 h 2242"/>
                  <a:gd name="T8" fmla="*/ 1392 w 1769"/>
                  <a:gd name="T9" fmla="*/ 1223 h 2242"/>
                  <a:gd name="T10" fmla="*/ 1288 w 1769"/>
                  <a:gd name="T11" fmla="*/ 1146 h 2242"/>
                  <a:gd name="T12" fmla="*/ 1360 w 1769"/>
                  <a:gd name="T13" fmla="*/ 1005 h 2242"/>
                  <a:gd name="T14" fmla="*/ 1344 w 1769"/>
                  <a:gd name="T15" fmla="*/ 878 h 2242"/>
                  <a:gd name="T16" fmla="*/ 1471 w 1769"/>
                  <a:gd name="T17" fmla="*/ 840 h 2242"/>
                  <a:gd name="T18" fmla="*/ 1553 w 1769"/>
                  <a:gd name="T19" fmla="*/ 767 h 2242"/>
                  <a:gd name="T20" fmla="*/ 1424 w 1769"/>
                  <a:gd name="T21" fmla="*/ 673 h 2242"/>
                  <a:gd name="T22" fmla="*/ 1371 w 1769"/>
                  <a:gd name="T23" fmla="*/ 774 h 2242"/>
                  <a:gd name="T24" fmla="*/ 1205 w 1769"/>
                  <a:gd name="T25" fmla="*/ 692 h 2242"/>
                  <a:gd name="T26" fmla="*/ 1137 w 1769"/>
                  <a:gd name="T27" fmla="*/ 604 h 2242"/>
                  <a:gd name="T28" fmla="*/ 1087 w 1769"/>
                  <a:gd name="T29" fmla="*/ 525 h 2242"/>
                  <a:gd name="T30" fmla="*/ 1130 w 1769"/>
                  <a:gd name="T31" fmla="*/ 414 h 2242"/>
                  <a:gd name="T32" fmla="*/ 997 w 1769"/>
                  <a:gd name="T33" fmla="*/ 364 h 2242"/>
                  <a:gd name="T34" fmla="*/ 950 w 1769"/>
                  <a:gd name="T35" fmla="*/ 270 h 2242"/>
                  <a:gd name="T36" fmla="*/ 873 w 1769"/>
                  <a:gd name="T37" fmla="*/ 247 h 2242"/>
                  <a:gd name="T38" fmla="*/ 730 w 1769"/>
                  <a:gd name="T39" fmla="*/ 208 h 2242"/>
                  <a:gd name="T40" fmla="*/ 648 w 1769"/>
                  <a:gd name="T41" fmla="*/ 99 h 2242"/>
                  <a:gd name="T42" fmla="*/ 482 w 1769"/>
                  <a:gd name="T43" fmla="*/ 0 h 2242"/>
                  <a:gd name="T44" fmla="*/ 456 w 1769"/>
                  <a:gd name="T45" fmla="*/ 137 h 2242"/>
                  <a:gd name="T46" fmla="*/ 553 w 1769"/>
                  <a:gd name="T47" fmla="*/ 232 h 2242"/>
                  <a:gd name="T48" fmla="*/ 519 w 1769"/>
                  <a:gd name="T49" fmla="*/ 357 h 2242"/>
                  <a:gd name="T50" fmla="*/ 391 w 1769"/>
                  <a:gd name="T51" fmla="*/ 371 h 2242"/>
                  <a:gd name="T52" fmla="*/ 284 w 1769"/>
                  <a:gd name="T53" fmla="*/ 272 h 2242"/>
                  <a:gd name="T54" fmla="*/ 230 w 1769"/>
                  <a:gd name="T55" fmla="*/ 364 h 2242"/>
                  <a:gd name="T56" fmla="*/ 235 w 1769"/>
                  <a:gd name="T57" fmla="*/ 488 h 2242"/>
                  <a:gd name="T58" fmla="*/ 147 w 1769"/>
                  <a:gd name="T59" fmla="*/ 617 h 2242"/>
                  <a:gd name="T60" fmla="*/ 12 w 1769"/>
                  <a:gd name="T61" fmla="*/ 694 h 2242"/>
                  <a:gd name="T62" fmla="*/ 37 w 1769"/>
                  <a:gd name="T63" fmla="*/ 796 h 2242"/>
                  <a:gd name="T64" fmla="*/ 106 w 1769"/>
                  <a:gd name="T65" fmla="*/ 902 h 2242"/>
                  <a:gd name="T66" fmla="*/ 193 w 1769"/>
                  <a:gd name="T67" fmla="*/ 941 h 2242"/>
                  <a:gd name="T68" fmla="*/ 311 w 1769"/>
                  <a:gd name="T69" fmla="*/ 959 h 2242"/>
                  <a:gd name="T70" fmla="*/ 366 w 1769"/>
                  <a:gd name="T71" fmla="*/ 944 h 2242"/>
                  <a:gd name="T72" fmla="*/ 383 w 1769"/>
                  <a:gd name="T73" fmla="*/ 1211 h 2242"/>
                  <a:gd name="T74" fmla="*/ 232 w 1769"/>
                  <a:gd name="T75" fmla="*/ 1329 h 2242"/>
                  <a:gd name="T76" fmla="*/ 261 w 1769"/>
                  <a:gd name="T77" fmla="*/ 1514 h 2242"/>
                  <a:gd name="T78" fmla="*/ 391 w 1769"/>
                  <a:gd name="T79" fmla="*/ 1542 h 2242"/>
                  <a:gd name="T80" fmla="*/ 406 w 1769"/>
                  <a:gd name="T81" fmla="*/ 1657 h 2242"/>
                  <a:gd name="T82" fmla="*/ 371 w 1769"/>
                  <a:gd name="T83" fmla="*/ 1763 h 2242"/>
                  <a:gd name="T84" fmla="*/ 415 w 1769"/>
                  <a:gd name="T85" fmla="*/ 1878 h 2242"/>
                  <a:gd name="T86" fmla="*/ 495 w 1769"/>
                  <a:gd name="T87" fmla="*/ 2046 h 2242"/>
                  <a:gd name="T88" fmla="*/ 580 w 1769"/>
                  <a:gd name="T89" fmla="*/ 2122 h 2242"/>
                  <a:gd name="T90" fmla="*/ 750 w 1769"/>
                  <a:gd name="T91" fmla="*/ 2007 h 2242"/>
                  <a:gd name="T92" fmla="*/ 740 w 1769"/>
                  <a:gd name="T93" fmla="*/ 2123 h 2242"/>
                  <a:gd name="T94" fmla="*/ 804 w 1769"/>
                  <a:gd name="T95" fmla="*/ 2201 h 2242"/>
                  <a:gd name="T96" fmla="*/ 872 w 1769"/>
                  <a:gd name="T97" fmla="*/ 2095 h 2242"/>
                  <a:gd name="T98" fmla="*/ 967 w 1769"/>
                  <a:gd name="T99" fmla="*/ 2084 h 2242"/>
                  <a:gd name="T100" fmla="*/ 1103 w 1769"/>
                  <a:gd name="T101" fmla="*/ 2191 h 2242"/>
                  <a:gd name="T102" fmla="*/ 1263 w 1769"/>
                  <a:gd name="T103" fmla="*/ 2188 h 2242"/>
                  <a:gd name="T104" fmla="*/ 1359 w 1769"/>
                  <a:gd name="T105" fmla="*/ 2189 h 2242"/>
                  <a:gd name="T106" fmla="*/ 1427 w 1769"/>
                  <a:gd name="T107" fmla="*/ 2137 h 2242"/>
                  <a:gd name="T108" fmla="*/ 1523 w 1769"/>
                  <a:gd name="T109" fmla="*/ 1998 h 2242"/>
                  <a:gd name="T110" fmla="*/ 1539 w 1769"/>
                  <a:gd name="T111" fmla="*/ 1883 h 2242"/>
                  <a:gd name="T112" fmla="*/ 1587 w 1769"/>
                  <a:gd name="T113" fmla="*/ 1817 h 2242"/>
                  <a:gd name="T114" fmla="*/ 1703 w 1769"/>
                  <a:gd name="T115" fmla="*/ 1778 h 2242"/>
                  <a:gd name="T116" fmla="*/ 1671 w 1769"/>
                  <a:gd name="T117" fmla="*/ 1673 h 2242"/>
                  <a:gd name="T118" fmla="*/ 1729 w 1769"/>
                  <a:gd name="T119" fmla="*/ 1612 h 2242"/>
                  <a:gd name="T120" fmla="*/ 1766 w 1769"/>
                  <a:gd name="T121" fmla="*/ 1444 h 2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9" h="2242">
                    <a:moveTo>
                      <a:pt x="1750" y="1441"/>
                    </a:moveTo>
                    <a:lnTo>
                      <a:pt x="1743" y="1437"/>
                    </a:lnTo>
                    <a:lnTo>
                      <a:pt x="1736" y="1432"/>
                    </a:lnTo>
                    <a:lnTo>
                      <a:pt x="1731" y="1430"/>
                    </a:lnTo>
                    <a:lnTo>
                      <a:pt x="1725" y="1429"/>
                    </a:lnTo>
                    <a:lnTo>
                      <a:pt x="1718" y="1430"/>
                    </a:lnTo>
                    <a:lnTo>
                      <a:pt x="1711" y="1431"/>
                    </a:lnTo>
                    <a:lnTo>
                      <a:pt x="1695" y="1433"/>
                    </a:lnTo>
                    <a:lnTo>
                      <a:pt x="1682" y="1435"/>
                    </a:lnTo>
                    <a:lnTo>
                      <a:pt x="1676" y="1433"/>
                    </a:lnTo>
                    <a:lnTo>
                      <a:pt x="1673" y="1431"/>
                    </a:lnTo>
                    <a:lnTo>
                      <a:pt x="1671" y="1429"/>
                    </a:lnTo>
                    <a:lnTo>
                      <a:pt x="1668" y="1424"/>
                    </a:lnTo>
                    <a:lnTo>
                      <a:pt x="1666" y="1414"/>
                    </a:lnTo>
                    <a:lnTo>
                      <a:pt x="1666" y="1404"/>
                    </a:lnTo>
                    <a:lnTo>
                      <a:pt x="1666" y="1393"/>
                    </a:lnTo>
                    <a:lnTo>
                      <a:pt x="1665" y="1386"/>
                    </a:lnTo>
                    <a:lnTo>
                      <a:pt x="1663" y="1383"/>
                    </a:lnTo>
                    <a:lnTo>
                      <a:pt x="1662" y="1382"/>
                    </a:lnTo>
                    <a:lnTo>
                      <a:pt x="1661" y="1381"/>
                    </a:lnTo>
                    <a:lnTo>
                      <a:pt x="1660" y="1381"/>
                    </a:lnTo>
                    <a:lnTo>
                      <a:pt x="1649" y="1386"/>
                    </a:lnTo>
                    <a:lnTo>
                      <a:pt x="1635" y="1395"/>
                    </a:lnTo>
                    <a:lnTo>
                      <a:pt x="1630" y="1397"/>
                    </a:lnTo>
                    <a:lnTo>
                      <a:pt x="1625" y="1398"/>
                    </a:lnTo>
                    <a:lnTo>
                      <a:pt x="1622" y="1397"/>
                    </a:lnTo>
                    <a:lnTo>
                      <a:pt x="1617" y="1397"/>
                    </a:lnTo>
                    <a:lnTo>
                      <a:pt x="1610" y="1393"/>
                    </a:lnTo>
                    <a:lnTo>
                      <a:pt x="1600" y="1388"/>
                    </a:lnTo>
                    <a:lnTo>
                      <a:pt x="1596" y="1386"/>
                    </a:lnTo>
                    <a:lnTo>
                      <a:pt x="1592" y="1386"/>
                    </a:lnTo>
                    <a:lnTo>
                      <a:pt x="1590" y="1387"/>
                    </a:lnTo>
                    <a:lnTo>
                      <a:pt x="1587" y="1389"/>
                    </a:lnTo>
                    <a:lnTo>
                      <a:pt x="1581" y="1397"/>
                    </a:lnTo>
                    <a:lnTo>
                      <a:pt x="1573" y="1404"/>
                    </a:lnTo>
                    <a:lnTo>
                      <a:pt x="1566" y="1407"/>
                    </a:lnTo>
                    <a:lnTo>
                      <a:pt x="1558" y="1411"/>
                    </a:lnTo>
                    <a:lnTo>
                      <a:pt x="1547" y="1412"/>
                    </a:lnTo>
                    <a:lnTo>
                      <a:pt x="1535" y="1414"/>
                    </a:lnTo>
                    <a:lnTo>
                      <a:pt x="1512" y="1416"/>
                    </a:lnTo>
                    <a:lnTo>
                      <a:pt x="1496" y="1418"/>
                    </a:lnTo>
                    <a:lnTo>
                      <a:pt x="1483" y="1419"/>
                    </a:lnTo>
                    <a:lnTo>
                      <a:pt x="1468" y="1420"/>
                    </a:lnTo>
                    <a:lnTo>
                      <a:pt x="1461" y="1420"/>
                    </a:lnTo>
                    <a:lnTo>
                      <a:pt x="1455" y="1419"/>
                    </a:lnTo>
                    <a:lnTo>
                      <a:pt x="1452" y="1418"/>
                    </a:lnTo>
                    <a:lnTo>
                      <a:pt x="1449" y="1416"/>
                    </a:lnTo>
                    <a:lnTo>
                      <a:pt x="1447" y="1410"/>
                    </a:lnTo>
                    <a:lnTo>
                      <a:pt x="1442" y="1404"/>
                    </a:lnTo>
                    <a:lnTo>
                      <a:pt x="1438" y="1399"/>
                    </a:lnTo>
                    <a:lnTo>
                      <a:pt x="1430" y="1394"/>
                    </a:lnTo>
                    <a:lnTo>
                      <a:pt x="1428" y="1391"/>
                    </a:lnTo>
                    <a:lnTo>
                      <a:pt x="1427" y="1388"/>
                    </a:lnTo>
                    <a:lnTo>
                      <a:pt x="1426" y="1385"/>
                    </a:lnTo>
                    <a:lnTo>
                      <a:pt x="1427" y="1381"/>
                    </a:lnTo>
                    <a:lnTo>
                      <a:pt x="1428" y="1379"/>
                    </a:lnTo>
                    <a:lnTo>
                      <a:pt x="1430" y="1375"/>
                    </a:lnTo>
                    <a:lnTo>
                      <a:pt x="1434" y="1373"/>
                    </a:lnTo>
                    <a:lnTo>
                      <a:pt x="1438" y="1372"/>
                    </a:lnTo>
                    <a:lnTo>
                      <a:pt x="1445" y="1369"/>
                    </a:lnTo>
                    <a:lnTo>
                      <a:pt x="1452" y="1364"/>
                    </a:lnTo>
                    <a:lnTo>
                      <a:pt x="1459" y="1359"/>
                    </a:lnTo>
                    <a:lnTo>
                      <a:pt x="1465" y="1348"/>
                    </a:lnTo>
                    <a:lnTo>
                      <a:pt x="1468" y="1341"/>
                    </a:lnTo>
                    <a:lnTo>
                      <a:pt x="1472" y="1334"/>
                    </a:lnTo>
                    <a:lnTo>
                      <a:pt x="1473" y="1325"/>
                    </a:lnTo>
                    <a:lnTo>
                      <a:pt x="1476" y="1317"/>
                    </a:lnTo>
                    <a:lnTo>
                      <a:pt x="1477" y="1301"/>
                    </a:lnTo>
                    <a:lnTo>
                      <a:pt x="1477" y="1291"/>
                    </a:lnTo>
                    <a:lnTo>
                      <a:pt x="1477" y="1279"/>
                    </a:lnTo>
                    <a:lnTo>
                      <a:pt x="1476" y="1262"/>
                    </a:lnTo>
                    <a:lnTo>
                      <a:pt x="1474" y="1254"/>
                    </a:lnTo>
                    <a:lnTo>
                      <a:pt x="1472" y="1247"/>
                    </a:lnTo>
                    <a:lnTo>
                      <a:pt x="1471" y="1244"/>
                    </a:lnTo>
                    <a:lnTo>
                      <a:pt x="1468" y="1242"/>
                    </a:lnTo>
                    <a:lnTo>
                      <a:pt x="1466" y="1241"/>
                    </a:lnTo>
                    <a:lnTo>
                      <a:pt x="1465" y="1240"/>
                    </a:lnTo>
                    <a:lnTo>
                      <a:pt x="1460" y="1240"/>
                    </a:lnTo>
                    <a:lnTo>
                      <a:pt x="1457" y="1241"/>
                    </a:lnTo>
                    <a:lnTo>
                      <a:pt x="1454" y="1243"/>
                    </a:lnTo>
                    <a:lnTo>
                      <a:pt x="1452" y="1247"/>
                    </a:lnTo>
                    <a:lnTo>
                      <a:pt x="1449" y="1249"/>
                    </a:lnTo>
                    <a:lnTo>
                      <a:pt x="1448" y="1253"/>
                    </a:lnTo>
                    <a:lnTo>
                      <a:pt x="1446" y="1254"/>
                    </a:lnTo>
                    <a:lnTo>
                      <a:pt x="1443" y="1255"/>
                    </a:lnTo>
                    <a:lnTo>
                      <a:pt x="1441" y="1254"/>
                    </a:lnTo>
                    <a:lnTo>
                      <a:pt x="1440" y="1252"/>
                    </a:lnTo>
                    <a:lnTo>
                      <a:pt x="1439" y="1249"/>
                    </a:lnTo>
                    <a:lnTo>
                      <a:pt x="1438" y="1246"/>
                    </a:lnTo>
                    <a:lnTo>
                      <a:pt x="1436" y="1238"/>
                    </a:lnTo>
                    <a:lnTo>
                      <a:pt x="1435" y="1230"/>
                    </a:lnTo>
                    <a:lnTo>
                      <a:pt x="1434" y="1228"/>
                    </a:lnTo>
                    <a:lnTo>
                      <a:pt x="1432" y="1227"/>
                    </a:lnTo>
                    <a:lnTo>
                      <a:pt x="1429" y="1228"/>
                    </a:lnTo>
                    <a:lnTo>
                      <a:pt x="1427" y="1230"/>
                    </a:lnTo>
                    <a:lnTo>
                      <a:pt x="1420" y="1237"/>
                    </a:lnTo>
                    <a:lnTo>
                      <a:pt x="1413" y="1246"/>
                    </a:lnTo>
                    <a:lnTo>
                      <a:pt x="1409" y="1250"/>
                    </a:lnTo>
                    <a:lnTo>
                      <a:pt x="1405" y="1253"/>
                    </a:lnTo>
                    <a:lnTo>
                      <a:pt x="1401" y="1254"/>
                    </a:lnTo>
                    <a:lnTo>
                      <a:pt x="1397" y="1255"/>
                    </a:lnTo>
                    <a:lnTo>
                      <a:pt x="1395" y="1255"/>
                    </a:lnTo>
                    <a:lnTo>
                      <a:pt x="1391" y="1254"/>
                    </a:lnTo>
                    <a:lnTo>
                      <a:pt x="1389" y="1252"/>
                    </a:lnTo>
                    <a:lnTo>
                      <a:pt x="1388" y="1248"/>
                    </a:lnTo>
                    <a:lnTo>
                      <a:pt x="1386" y="1243"/>
                    </a:lnTo>
                    <a:lnTo>
                      <a:pt x="1386" y="1240"/>
                    </a:lnTo>
                    <a:lnTo>
                      <a:pt x="1388" y="1236"/>
                    </a:lnTo>
                    <a:lnTo>
                      <a:pt x="1389" y="1231"/>
                    </a:lnTo>
                    <a:lnTo>
                      <a:pt x="1392" y="1223"/>
                    </a:lnTo>
                    <a:lnTo>
                      <a:pt x="1394" y="1215"/>
                    </a:lnTo>
                    <a:lnTo>
                      <a:pt x="1394" y="1211"/>
                    </a:lnTo>
                    <a:lnTo>
                      <a:pt x="1392" y="1208"/>
                    </a:lnTo>
                    <a:lnTo>
                      <a:pt x="1389" y="1205"/>
                    </a:lnTo>
                    <a:lnTo>
                      <a:pt x="1385" y="1204"/>
                    </a:lnTo>
                    <a:lnTo>
                      <a:pt x="1376" y="1202"/>
                    </a:lnTo>
                    <a:lnTo>
                      <a:pt x="1363" y="1202"/>
                    </a:lnTo>
                    <a:lnTo>
                      <a:pt x="1354" y="1202"/>
                    </a:lnTo>
                    <a:lnTo>
                      <a:pt x="1347" y="1200"/>
                    </a:lnTo>
                    <a:lnTo>
                      <a:pt x="1341" y="1198"/>
                    </a:lnTo>
                    <a:lnTo>
                      <a:pt x="1336" y="1194"/>
                    </a:lnTo>
                    <a:lnTo>
                      <a:pt x="1333" y="1191"/>
                    </a:lnTo>
                    <a:lnTo>
                      <a:pt x="1329" y="1186"/>
                    </a:lnTo>
                    <a:lnTo>
                      <a:pt x="1328" y="1179"/>
                    </a:lnTo>
                    <a:lnTo>
                      <a:pt x="1327" y="1172"/>
                    </a:lnTo>
                    <a:lnTo>
                      <a:pt x="1326" y="1167"/>
                    </a:lnTo>
                    <a:lnTo>
                      <a:pt x="1323" y="1164"/>
                    </a:lnTo>
                    <a:lnTo>
                      <a:pt x="1320" y="1160"/>
                    </a:lnTo>
                    <a:lnTo>
                      <a:pt x="1314" y="1158"/>
                    </a:lnTo>
                    <a:lnTo>
                      <a:pt x="1306" y="1154"/>
                    </a:lnTo>
                    <a:lnTo>
                      <a:pt x="1296" y="1150"/>
                    </a:lnTo>
                    <a:lnTo>
                      <a:pt x="1288" y="1146"/>
                    </a:lnTo>
                    <a:lnTo>
                      <a:pt x="1282" y="1141"/>
                    </a:lnTo>
                    <a:lnTo>
                      <a:pt x="1278" y="1136"/>
                    </a:lnTo>
                    <a:lnTo>
                      <a:pt x="1276" y="1133"/>
                    </a:lnTo>
                    <a:lnTo>
                      <a:pt x="1275" y="1128"/>
                    </a:lnTo>
                    <a:lnTo>
                      <a:pt x="1275" y="1124"/>
                    </a:lnTo>
                    <a:lnTo>
                      <a:pt x="1276" y="1116"/>
                    </a:lnTo>
                    <a:lnTo>
                      <a:pt x="1278" y="1108"/>
                    </a:lnTo>
                    <a:lnTo>
                      <a:pt x="1278" y="1098"/>
                    </a:lnTo>
                    <a:lnTo>
                      <a:pt x="1278" y="1090"/>
                    </a:lnTo>
                    <a:lnTo>
                      <a:pt x="1276" y="1083"/>
                    </a:lnTo>
                    <a:lnTo>
                      <a:pt x="1273" y="1079"/>
                    </a:lnTo>
                    <a:lnTo>
                      <a:pt x="1273" y="1078"/>
                    </a:lnTo>
                    <a:lnTo>
                      <a:pt x="1275" y="1076"/>
                    </a:lnTo>
                    <a:lnTo>
                      <a:pt x="1277" y="1073"/>
                    </a:lnTo>
                    <a:lnTo>
                      <a:pt x="1282" y="1071"/>
                    </a:lnTo>
                    <a:lnTo>
                      <a:pt x="1290" y="1065"/>
                    </a:lnTo>
                    <a:lnTo>
                      <a:pt x="1302" y="1057"/>
                    </a:lnTo>
                    <a:lnTo>
                      <a:pt x="1316" y="1046"/>
                    </a:lnTo>
                    <a:lnTo>
                      <a:pt x="1332" y="1035"/>
                    </a:lnTo>
                    <a:lnTo>
                      <a:pt x="1344" y="1025"/>
                    </a:lnTo>
                    <a:lnTo>
                      <a:pt x="1353" y="1015"/>
                    </a:lnTo>
                    <a:lnTo>
                      <a:pt x="1360" y="1005"/>
                    </a:lnTo>
                    <a:lnTo>
                      <a:pt x="1365" y="998"/>
                    </a:lnTo>
                    <a:lnTo>
                      <a:pt x="1369" y="990"/>
                    </a:lnTo>
                    <a:lnTo>
                      <a:pt x="1373" y="982"/>
                    </a:lnTo>
                    <a:lnTo>
                      <a:pt x="1375" y="978"/>
                    </a:lnTo>
                    <a:lnTo>
                      <a:pt x="1375" y="973"/>
                    </a:lnTo>
                    <a:lnTo>
                      <a:pt x="1376" y="969"/>
                    </a:lnTo>
                    <a:lnTo>
                      <a:pt x="1375" y="965"/>
                    </a:lnTo>
                    <a:lnTo>
                      <a:pt x="1373" y="956"/>
                    </a:lnTo>
                    <a:lnTo>
                      <a:pt x="1372" y="944"/>
                    </a:lnTo>
                    <a:lnTo>
                      <a:pt x="1372" y="932"/>
                    </a:lnTo>
                    <a:lnTo>
                      <a:pt x="1372" y="919"/>
                    </a:lnTo>
                    <a:lnTo>
                      <a:pt x="1371" y="907"/>
                    </a:lnTo>
                    <a:lnTo>
                      <a:pt x="1370" y="899"/>
                    </a:lnTo>
                    <a:lnTo>
                      <a:pt x="1367" y="895"/>
                    </a:lnTo>
                    <a:lnTo>
                      <a:pt x="1366" y="891"/>
                    </a:lnTo>
                    <a:lnTo>
                      <a:pt x="1363" y="890"/>
                    </a:lnTo>
                    <a:lnTo>
                      <a:pt x="1359" y="889"/>
                    </a:lnTo>
                    <a:lnTo>
                      <a:pt x="1353" y="888"/>
                    </a:lnTo>
                    <a:lnTo>
                      <a:pt x="1348" y="885"/>
                    </a:lnTo>
                    <a:lnTo>
                      <a:pt x="1346" y="884"/>
                    </a:lnTo>
                    <a:lnTo>
                      <a:pt x="1345" y="882"/>
                    </a:lnTo>
                    <a:lnTo>
                      <a:pt x="1344" y="878"/>
                    </a:lnTo>
                    <a:lnTo>
                      <a:pt x="1342" y="875"/>
                    </a:lnTo>
                    <a:lnTo>
                      <a:pt x="1339" y="864"/>
                    </a:lnTo>
                    <a:lnTo>
                      <a:pt x="1333" y="851"/>
                    </a:lnTo>
                    <a:lnTo>
                      <a:pt x="1332" y="846"/>
                    </a:lnTo>
                    <a:lnTo>
                      <a:pt x="1332" y="843"/>
                    </a:lnTo>
                    <a:lnTo>
                      <a:pt x="1333" y="839"/>
                    </a:lnTo>
                    <a:lnTo>
                      <a:pt x="1334" y="837"/>
                    </a:lnTo>
                    <a:lnTo>
                      <a:pt x="1338" y="836"/>
                    </a:lnTo>
                    <a:lnTo>
                      <a:pt x="1341" y="834"/>
                    </a:lnTo>
                    <a:lnTo>
                      <a:pt x="1346" y="834"/>
                    </a:lnTo>
                    <a:lnTo>
                      <a:pt x="1352" y="834"/>
                    </a:lnTo>
                    <a:lnTo>
                      <a:pt x="1363" y="834"/>
                    </a:lnTo>
                    <a:lnTo>
                      <a:pt x="1373" y="832"/>
                    </a:lnTo>
                    <a:lnTo>
                      <a:pt x="1384" y="830"/>
                    </a:lnTo>
                    <a:lnTo>
                      <a:pt x="1394" y="828"/>
                    </a:lnTo>
                    <a:lnTo>
                      <a:pt x="1408" y="827"/>
                    </a:lnTo>
                    <a:lnTo>
                      <a:pt x="1426" y="827"/>
                    </a:lnTo>
                    <a:lnTo>
                      <a:pt x="1435" y="828"/>
                    </a:lnTo>
                    <a:lnTo>
                      <a:pt x="1445" y="830"/>
                    </a:lnTo>
                    <a:lnTo>
                      <a:pt x="1452" y="832"/>
                    </a:lnTo>
                    <a:lnTo>
                      <a:pt x="1459" y="833"/>
                    </a:lnTo>
                    <a:lnTo>
                      <a:pt x="1471" y="840"/>
                    </a:lnTo>
                    <a:lnTo>
                      <a:pt x="1484" y="849"/>
                    </a:lnTo>
                    <a:lnTo>
                      <a:pt x="1496" y="859"/>
                    </a:lnTo>
                    <a:lnTo>
                      <a:pt x="1505" y="869"/>
                    </a:lnTo>
                    <a:lnTo>
                      <a:pt x="1511" y="876"/>
                    </a:lnTo>
                    <a:lnTo>
                      <a:pt x="1517" y="881"/>
                    </a:lnTo>
                    <a:lnTo>
                      <a:pt x="1521" y="882"/>
                    </a:lnTo>
                    <a:lnTo>
                      <a:pt x="1523" y="883"/>
                    </a:lnTo>
                    <a:lnTo>
                      <a:pt x="1526" y="883"/>
                    </a:lnTo>
                    <a:lnTo>
                      <a:pt x="1527" y="883"/>
                    </a:lnTo>
                    <a:lnTo>
                      <a:pt x="1529" y="881"/>
                    </a:lnTo>
                    <a:lnTo>
                      <a:pt x="1533" y="876"/>
                    </a:lnTo>
                    <a:lnTo>
                      <a:pt x="1535" y="870"/>
                    </a:lnTo>
                    <a:lnTo>
                      <a:pt x="1539" y="862"/>
                    </a:lnTo>
                    <a:lnTo>
                      <a:pt x="1543" y="850"/>
                    </a:lnTo>
                    <a:lnTo>
                      <a:pt x="1549" y="837"/>
                    </a:lnTo>
                    <a:lnTo>
                      <a:pt x="1553" y="830"/>
                    </a:lnTo>
                    <a:lnTo>
                      <a:pt x="1555" y="824"/>
                    </a:lnTo>
                    <a:lnTo>
                      <a:pt x="1556" y="817"/>
                    </a:lnTo>
                    <a:lnTo>
                      <a:pt x="1558" y="811"/>
                    </a:lnTo>
                    <a:lnTo>
                      <a:pt x="1556" y="797"/>
                    </a:lnTo>
                    <a:lnTo>
                      <a:pt x="1555" y="783"/>
                    </a:lnTo>
                    <a:lnTo>
                      <a:pt x="1553" y="767"/>
                    </a:lnTo>
                    <a:lnTo>
                      <a:pt x="1549" y="751"/>
                    </a:lnTo>
                    <a:lnTo>
                      <a:pt x="1548" y="744"/>
                    </a:lnTo>
                    <a:lnTo>
                      <a:pt x="1545" y="738"/>
                    </a:lnTo>
                    <a:lnTo>
                      <a:pt x="1540" y="732"/>
                    </a:lnTo>
                    <a:lnTo>
                      <a:pt x="1535" y="729"/>
                    </a:lnTo>
                    <a:lnTo>
                      <a:pt x="1523" y="721"/>
                    </a:lnTo>
                    <a:lnTo>
                      <a:pt x="1512" y="717"/>
                    </a:lnTo>
                    <a:lnTo>
                      <a:pt x="1503" y="713"/>
                    </a:lnTo>
                    <a:lnTo>
                      <a:pt x="1493" y="707"/>
                    </a:lnTo>
                    <a:lnTo>
                      <a:pt x="1489" y="704"/>
                    </a:lnTo>
                    <a:lnTo>
                      <a:pt x="1485" y="700"/>
                    </a:lnTo>
                    <a:lnTo>
                      <a:pt x="1482" y="696"/>
                    </a:lnTo>
                    <a:lnTo>
                      <a:pt x="1479" y="692"/>
                    </a:lnTo>
                    <a:lnTo>
                      <a:pt x="1474" y="683"/>
                    </a:lnTo>
                    <a:lnTo>
                      <a:pt x="1470" y="676"/>
                    </a:lnTo>
                    <a:lnTo>
                      <a:pt x="1467" y="674"/>
                    </a:lnTo>
                    <a:lnTo>
                      <a:pt x="1465" y="673"/>
                    </a:lnTo>
                    <a:lnTo>
                      <a:pt x="1461" y="671"/>
                    </a:lnTo>
                    <a:lnTo>
                      <a:pt x="1458" y="671"/>
                    </a:lnTo>
                    <a:lnTo>
                      <a:pt x="1446" y="671"/>
                    </a:lnTo>
                    <a:lnTo>
                      <a:pt x="1432" y="671"/>
                    </a:lnTo>
                    <a:lnTo>
                      <a:pt x="1424" y="673"/>
                    </a:lnTo>
                    <a:lnTo>
                      <a:pt x="1417" y="675"/>
                    </a:lnTo>
                    <a:lnTo>
                      <a:pt x="1411" y="677"/>
                    </a:lnTo>
                    <a:lnTo>
                      <a:pt x="1407" y="682"/>
                    </a:lnTo>
                    <a:lnTo>
                      <a:pt x="1403" y="688"/>
                    </a:lnTo>
                    <a:lnTo>
                      <a:pt x="1402" y="694"/>
                    </a:lnTo>
                    <a:lnTo>
                      <a:pt x="1401" y="701"/>
                    </a:lnTo>
                    <a:lnTo>
                      <a:pt x="1401" y="707"/>
                    </a:lnTo>
                    <a:lnTo>
                      <a:pt x="1401" y="713"/>
                    </a:lnTo>
                    <a:lnTo>
                      <a:pt x="1398" y="718"/>
                    </a:lnTo>
                    <a:lnTo>
                      <a:pt x="1396" y="721"/>
                    </a:lnTo>
                    <a:lnTo>
                      <a:pt x="1391" y="725"/>
                    </a:lnTo>
                    <a:lnTo>
                      <a:pt x="1386" y="727"/>
                    </a:lnTo>
                    <a:lnTo>
                      <a:pt x="1384" y="731"/>
                    </a:lnTo>
                    <a:lnTo>
                      <a:pt x="1383" y="734"/>
                    </a:lnTo>
                    <a:lnTo>
                      <a:pt x="1383" y="739"/>
                    </a:lnTo>
                    <a:lnTo>
                      <a:pt x="1384" y="750"/>
                    </a:lnTo>
                    <a:lnTo>
                      <a:pt x="1385" y="761"/>
                    </a:lnTo>
                    <a:lnTo>
                      <a:pt x="1385" y="764"/>
                    </a:lnTo>
                    <a:lnTo>
                      <a:pt x="1383" y="768"/>
                    </a:lnTo>
                    <a:lnTo>
                      <a:pt x="1380" y="770"/>
                    </a:lnTo>
                    <a:lnTo>
                      <a:pt x="1378" y="773"/>
                    </a:lnTo>
                    <a:lnTo>
                      <a:pt x="1371" y="774"/>
                    </a:lnTo>
                    <a:lnTo>
                      <a:pt x="1363" y="775"/>
                    </a:lnTo>
                    <a:lnTo>
                      <a:pt x="1352" y="775"/>
                    </a:lnTo>
                    <a:lnTo>
                      <a:pt x="1338" y="776"/>
                    </a:lnTo>
                    <a:lnTo>
                      <a:pt x="1322" y="778"/>
                    </a:lnTo>
                    <a:lnTo>
                      <a:pt x="1310" y="777"/>
                    </a:lnTo>
                    <a:lnTo>
                      <a:pt x="1301" y="776"/>
                    </a:lnTo>
                    <a:lnTo>
                      <a:pt x="1288" y="776"/>
                    </a:lnTo>
                    <a:lnTo>
                      <a:pt x="1277" y="777"/>
                    </a:lnTo>
                    <a:lnTo>
                      <a:pt x="1269" y="780"/>
                    </a:lnTo>
                    <a:lnTo>
                      <a:pt x="1262" y="782"/>
                    </a:lnTo>
                    <a:lnTo>
                      <a:pt x="1256" y="782"/>
                    </a:lnTo>
                    <a:lnTo>
                      <a:pt x="1249" y="780"/>
                    </a:lnTo>
                    <a:lnTo>
                      <a:pt x="1243" y="775"/>
                    </a:lnTo>
                    <a:lnTo>
                      <a:pt x="1234" y="767"/>
                    </a:lnTo>
                    <a:lnTo>
                      <a:pt x="1222" y="756"/>
                    </a:lnTo>
                    <a:lnTo>
                      <a:pt x="1212" y="743"/>
                    </a:lnTo>
                    <a:lnTo>
                      <a:pt x="1205" y="731"/>
                    </a:lnTo>
                    <a:lnTo>
                      <a:pt x="1200" y="723"/>
                    </a:lnTo>
                    <a:lnTo>
                      <a:pt x="1197" y="714"/>
                    </a:lnTo>
                    <a:lnTo>
                      <a:pt x="1197" y="707"/>
                    </a:lnTo>
                    <a:lnTo>
                      <a:pt x="1197" y="701"/>
                    </a:lnTo>
                    <a:lnTo>
                      <a:pt x="1205" y="692"/>
                    </a:lnTo>
                    <a:lnTo>
                      <a:pt x="1209" y="680"/>
                    </a:lnTo>
                    <a:lnTo>
                      <a:pt x="1201" y="667"/>
                    </a:lnTo>
                    <a:lnTo>
                      <a:pt x="1190" y="650"/>
                    </a:lnTo>
                    <a:lnTo>
                      <a:pt x="1186" y="637"/>
                    </a:lnTo>
                    <a:lnTo>
                      <a:pt x="1183" y="625"/>
                    </a:lnTo>
                    <a:lnTo>
                      <a:pt x="1181" y="614"/>
                    </a:lnTo>
                    <a:lnTo>
                      <a:pt x="1178" y="592"/>
                    </a:lnTo>
                    <a:lnTo>
                      <a:pt x="1177" y="585"/>
                    </a:lnTo>
                    <a:lnTo>
                      <a:pt x="1176" y="579"/>
                    </a:lnTo>
                    <a:lnTo>
                      <a:pt x="1174" y="574"/>
                    </a:lnTo>
                    <a:lnTo>
                      <a:pt x="1171" y="569"/>
                    </a:lnTo>
                    <a:lnTo>
                      <a:pt x="1168" y="567"/>
                    </a:lnTo>
                    <a:lnTo>
                      <a:pt x="1164" y="565"/>
                    </a:lnTo>
                    <a:lnTo>
                      <a:pt x="1161" y="563"/>
                    </a:lnTo>
                    <a:lnTo>
                      <a:pt x="1157" y="563"/>
                    </a:lnTo>
                    <a:lnTo>
                      <a:pt x="1153" y="566"/>
                    </a:lnTo>
                    <a:lnTo>
                      <a:pt x="1150" y="569"/>
                    </a:lnTo>
                    <a:lnTo>
                      <a:pt x="1146" y="576"/>
                    </a:lnTo>
                    <a:lnTo>
                      <a:pt x="1144" y="584"/>
                    </a:lnTo>
                    <a:lnTo>
                      <a:pt x="1142" y="592"/>
                    </a:lnTo>
                    <a:lnTo>
                      <a:pt x="1139" y="598"/>
                    </a:lnTo>
                    <a:lnTo>
                      <a:pt x="1137" y="604"/>
                    </a:lnTo>
                    <a:lnTo>
                      <a:pt x="1133" y="606"/>
                    </a:lnTo>
                    <a:lnTo>
                      <a:pt x="1127" y="610"/>
                    </a:lnTo>
                    <a:lnTo>
                      <a:pt x="1120" y="611"/>
                    </a:lnTo>
                    <a:lnTo>
                      <a:pt x="1113" y="612"/>
                    </a:lnTo>
                    <a:lnTo>
                      <a:pt x="1106" y="612"/>
                    </a:lnTo>
                    <a:lnTo>
                      <a:pt x="1100" y="612"/>
                    </a:lnTo>
                    <a:lnTo>
                      <a:pt x="1098" y="611"/>
                    </a:lnTo>
                    <a:lnTo>
                      <a:pt x="1095" y="609"/>
                    </a:lnTo>
                    <a:lnTo>
                      <a:pt x="1094" y="604"/>
                    </a:lnTo>
                    <a:lnTo>
                      <a:pt x="1092" y="598"/>
                    </a:lnTo>
                    <a:lnTo>
                      <a:pt x="1089" y="592"/>
                    </a:lnTo>
                    <a:lnTo>
                      <a:pt x="1086" y="587"/>
                    </a:lnTo>
                    <a:lnTo>
                      <a:pt x="1081" y="581"/>
                    </a:lnTo>
                    <a:lnTo>
                      <a:pt x="1080" y="576"/>
                    </a:lnTo>
                    <a:lnTo>
                      <a:pt x="1079" y="573"/>
                    </a:lnTo>
                    <a:lnTo>
                      <a:pt x="1077" y="568"/>
                    </a:lnTo>
                    <a:lnTo>
                      <a:pt x="1079" y="565"/>
                    </a:lnTo>
                    <a:lnTo>
                      <a:pt x="1080" y="556"/>
                    </a:lnTo>
                    <a:lnTo>
                      <a:pt x="1081" y="547"/>
                    </a:lnTo>
                    <a:lnTo>
                      <a:pt x="1081" y="537"/>
                    </a:lnTo>
                    <a:lnTo>
                      <a:pt x="1083" y="530"/>
                    </a:lnTo>
                    <a:lnTo>
                      <a:pt x="1087" y="525"/>
                    </a:lnTo>
                    <a:lnTo>
                      <a:pt x="1092" y="519"/>
                    </a:lnTo>
                    <a:lnTo>
                      <a:pt x="1095" y="516"/>
                    </a:lnTo>
                    <a:lnTo>
                      <a:pt x="1096" y="512"/>
                    </a:lnTo>
                    <a:lnTo>
                      <a:pt x="1098" y="510"/>
                    </a:lnTo>
                    <a:lnTo>
                      <a:pt x="1099" y="506"/>
                    </a:lnTo>
                    <a:lnTo>
                      <a:pt x="1098" y="498"/>
                    </a:lnTo>
                    <a:lnTo>
                      <a:pt x="1096" y="488"/>
                    </a:lnTo>
                    <a:lnTo>
                      <a:pt x="1095" y="477"/>
                    </a:lnTo>
                    <a:lnTo>
                      <a:pt x="1096" y="466"/>
                    </a:lnTo>
                    <a:lnTo>
                      <a:pt x="1098" y="459"/>
                    </a:lnTo>
                    <a:lnTo>
                      <a:pt x="1099" y="455"/>
                    </a:lnTo>
                    <a:lnTo>
                      <a:pt x="1103" y="455"/>
                    </a:lnTo>
                    <a:lnTo>
                      <a:pt x="1111" y="458"/>
                    </a:lnTo>
                    <a:lnTo>
                      <a:pt x="1117" y="459"/>
                    </a:lnTo>
                    <a:lnTo>
                      <a:pt x="1125" y="460"/>
                    </a:lnTo>
                    <a:lnTo>
                      <a:pt x="1132" y="460"/>
                    </a:lnTo>
                    <a:lnTo>
                      <a:pt x="1136" y="459"/>
                    </a:lnTo>
                    <a:lnTo>
                      <a:pt x="1136" y="448"/>
                    </a:lnTo>
                    <a:lnTo>
                      <a:pt x="1133" y="434"/>
                    </a:lnTo>
                    <a:lnTo>
                      <a:pt x="1132" y="427"/>
                    </a:lnTo>
                    <a:lnTo>
                      <a:pt x="1131" y="421"/>
                    </a:lnTo>
                    <a:lnTo>
                      <a:pt x="1130" y="414"/>
                    </a:lnTo>
                    <a:lnTo>
                      <a:pt x="1132" y="406"/>
                    </a:lnTo>
                    <a:lnTo>
                      <a:pt x="1134" y="399"/>
                    </a:lnTo>
                    <a:lnTo>
                      <a:pt x="1137" y="391"/>
                    </a:lnTo>
                    <a:lnTo>
                      <a:pt x="1139" y="383"/>
                    </a:lnTo>
                    <a:lnTo>
                      <a:pt x="1139" y="374"/>
                    </a:lnTo>
                    <a:lnTo>
                      <a:pt x="1139" y="370"/>
                    </a:lnTo>
                    <a:lnTo>
                      <a:pt x="1138" y="364"/>
                    </a:lnTo>
                    <a:lnTo>
                      <a:pt x="1137" y="360"/>
                    </a:lnTo>
                    <a:lnTo>
                      <a:pt x="1136" y="357"/>
                    </a:lnTo>
                    <a:lnTo>
                      <a:pt x="1132" y="353"/>
                    </a:lnTo>
                    <a:lnTo>
                      <a:pt x="1128" y="351"/>
                    </a:lnTo>
                    <a:lnTo>
                      <a:pt x="1124" y="351"/>
                    </a:lnTo>
                    <a:lnTo>
                      <a:pt x="1117" y="351"/>
                    </a:lnTo>
                    <a:lnTo>
                      <a:pt x="1108" y="352"/>
                    </a:lnTo>
                    <a:lnTo>
                      <a:pt x="1099" y="354"/>
                    </a:lnTo>
                    <a:lnTo>
                      <a:pt x="1088" y="357"/>
                    </a:lnTo>
                    <a:lnTo>
                      <a:pt x="1077" y="358"/>
                    </a:lnTo>
                    <a:lnTo>
                      <a:pt x="1060" y="361"/>
                    </a:lnTo>
                    <a:lnTo>
                      <a:pt x="1045" y="364"/>
                    </a:lnTo>
                    <a:lnTo>
                      <a:pt x="1030" y="364"/>
                    </a:lnTo>
                    <a:lnTo>
                      <a:pt x="1012" y="364"/>
                    </a:lnTo>
                    <a:lnTo>
                      <a:pt x="997" y="364"/>
                    </a:lnTo>
                    <a:lnTo>
                      <a:pt x="988" y="362"/>
                    </a:lnTo>
                    <a:lnTo>
                      <a:pt x="985" y="360"/>
                    </a:lnTo>
                    <a:lnTo>
                      <a:pt x="982" y="358"/>
                    </a:lnTo>
                    <a:lnTo>
                      <a:pt x="982" y="355"/>
                    </a:lnTo>
                    <a:lnTo>
                      <a:pt x="981" y="351"/>
                    </a:lnTo>
                    <a:lnTo>
                      <a:pt x="982" y="340"/>
                    </a:lnTo>
                    <a:lnTo>
                      <a:pt x="983" y="330"/>
                    </a:lnTo>
                    <a:lnTo>
                      <a:pt x="985" y="320"/>
                    </a:lnTo>
                    <a:lnTo>
                      <a:pt x="986" y="310"/>
                    </a:lnTo>
                    <a:lnTo>
                      <a:pt x="986" y="307"/>
                    </a:lnTo>
                    <a:lnTo>
                      <a:pt x="983" y="304"/>
                    </a:lnTo>
                    <a:lnTo>
                      <a:pt x="981" y="303"/>
                    </a:lnTo>
                    <a:lnTo>
                      <a:pt x="977" y="303"/>
                    </a:lnTo>
                    <a:lnTo>
                      <a:pt x="973" y="303"/>
                    </a:lnTo>
                    <a:lnTo>
                      <a:pt x="969" y="303"/>
                    </a:lnTo>
                    <a:lnTo>
                      <a:pt x="964" y="302"/>
                    </a:lnTo>
                    <a:lnTo>
                      <a:pt x="961" y="301"/>
                    </a:lnTo>
                    <a:lnTo>
                      <a:pt x="956" y="295"/>
                    </a:lnTo>
                    <a:lnTo>
                      <a:pt x="954" y="290"/>
                    </a:lnTo>
                    <a:lnTo>
                      <a:pt x="951" y="283"/>
                    </a:lnTo>
                    <a:lnTo>
                      <a:pt x="951" y="273"/>
                    </a:lnTo>
                    <a:lnTo>
                      <a:pt x="950" y="270"/>
                    </a:lnTo>
                    <a:lnTo>
                      <a:pt x="949" y="265"/>
                    </a:lnTo>
                    <a:lnTo>
                      <a:pt x="947" y="263"/>
                    </a:lnTo>
                    <a:lnTo>
                      <a:pt x="944" y="260"/>
                    </a:lnTo>
                    <a:lnTo>
                      <a:pt x="942" y="259"/>
                    </a:lnTo>
                    <a:lnTo>
                      <a:pt x="938" y="259"/>
                    </a:lnTo>
                    <a:lnTo>
                      <a:pt x="934" y="260"/>
                    </a:lnTo>
                    <a:lnTo>
                      <a:pt x="930" y="260"/>
                    </a:lnTo>
                    <a:lnTo>
                      <a:pt x="922" y="263"/>
                    </a:lnTo>
                    <a:lnTo>
                      <a:pt x="914" y="263"/>
                    </a:lnTo>
                    <a:lnTo>
                      <a:pt x="911" y="261"/>
                    </a:lnTo>
                    <a:lnTo>
                      <a:pt x="909" y="259"/>
                    </a:lnTo>
                    <a:lnTo>
                      <a:pt x="906" y="255"/>
                    </a:lnTo>
                    <a:lnTo>
                      <a:pt x="904" y="251"/>
                    </a:lnTo>
                    <a:lnTo>
                      <a:pt x="903" y="246"/>
                    </a:lnTo>
                    <a:lnTo>
                      <a:pt x="900" y="242"/>
                    </a:lnTo>
                    <a:lnTo>
                      <a:pt x="898" y="240"/>
                    </a:lnTo>
                    <a:lnTo>
                      <a:pt x="895" y="239"/>
                    </a:lnTo>
                    <a:lnTo>
                      <a:pt x="892" y="239"/>
                    </a:lnTo>
                    <a:lnTo>
                      <a:pt x="887" y="239"/>
                    </a:lnTo>
                    <a:lnTo>
                      <a:pt x="884" y="241"/>
                    </a:lnTo>
                    <a:lnTo>
                      <a:pt x="878" y="244"/>
                    </a:lnTo>
                    <a:lnTo>
                      <a:pt x="873" y="247"/>
                    </a:lnTo>
                    <a:lnTo>
                      <a:pt x="867" y="248"/>
                    </a:lnTo>
                    <a:lnTo>
                      <a:pt x="862" y="250"/>
                    </a:lnTo>
                    <a:lnTo>
                      <a:pt x="857" y="250"/>
                    </a:lnTo>
                    <a:lnTo>
                      <a:pt x="854" y="248"/>
                    </a:lnTo>
                    <a:lnTo>
                      <a:pt x="850" y="246"/>
                    </a:lnTo>
                    <a:lnTo>
                      <a:pt x="848" y="242"/>
                    </a:lnTo>
                    <a:lnTo>
                      <a:pt x="846" y="239"/>
                    </a:lnTo>
                    <a:lnTo>
                      <a:pt x="843" y="234"/>
                    </a:lnTo>
                    <a:lnTo>
                      <a:pt x="841" y="231"/>
                    </a:lnTo>
                    <a:lnTo>
                      <a:pt x="838" y="229"/>
                    </a:lnTo>
                    <a:lnTo>
                      <a:pt x="835" y="228"/>
                    </a:lnTo>
                    <a:lnTo>
                      <a:pt x="824" y="228"/>
                    </a:lnTo>
                    <a:lnTo>
                      <a:pt x="811" y="232"/>
                    </a:lnTo>
                    <a:lnTo>
                      <a:pt x="803" y="233"/>
                    </a:lnTo>
                    <a:lnTo>
                      <a:pt x="794" y="233"/>
                    </a:lnTo>
                    <a:lnTo>
                      <a:pt x="785" y="232"/>
                    </a:lnTo>
                    <a:lnTo>
                      <a:pt x="775" y="229"/>
                    </a:lnTo>
                    <a:lnTo>
                      <a:pt x="766" y="226"/>
                    </a:lnTo>
                    <a:lnTo>
                      <a:pt x="756" y="222"/>
                    </a:lnTo>
                    <a:lnTo>
                      <a:pt x="747" y="217"/>
                    </a:lnTo>
                    <a:lnTo>
                      <a:pt x="739" y="213"/>
                    </a:lnTo>
                    <a:lnTo>
                      <a:pt x="730" y="208"/>
                    </a:lnTo>
                    <a:lnTo>
                      <a:pt x="724" y="203"/>
                    </a:lnTo>
                    <a:lnTo>
                      <a:pt x="721" y="198"/>
                    </a:lnTo>
                    <a:lnTo>
                      <a:pt x="718" y="195"/>
                    </a:lnTo>
                    <a:lnTo>
                      <a:pt x="716" y="187"/>
                    </a:lnTo>
                    <a:lnTo>
                      <a:pt x="715" y="179"/>
                    </a:lnTo>
                    <a:lnTo>
                      <a:pt x="712" y="170"/>
                    </a:lnTo>
                    <a:lnTo>
                      <a:pt x="708" y="162"/>
                    </a:lnTo>
                    <a:lnTo>
                      <a:pt x="703" y="152"/>
                    </a:lnTo>
                    <a:lnTo>
                      <a:pt x="697" y="144"/>
                    </a:lnTo>
                    <a:lnTo>
                      <a:pt x="695" y="139"/>
                    </a:lnTo>
                    <a:lnTo>
                      <a:pt x="693" y="135"/>
                    </a:lnTo>
                    <a:lnTo>
                      <a:pt x="693" y="131"/>
                    </a:lnTo>
                    <a:lnTo>
                      <a:pt x="693" y="126"/>
                    </a:lnTo>
                    <a:lnTo>
                      <a:pt x="693" y="116"/>
                    </a:lnTo>
                    <a:lnTo>
                      <a:pt x="693" y="106"/>
                    </a:lnTo>
                    <a:lnTo>
                      <a:pt x="692" y="102"/>
                    </a:lnTo>
                    <a:lnTo>
                      <a:pt x="690" y="99"/>
                    </a:lnTo>
                    <a:lnTo>
                      <a:pt x="686" y="97"/>
                    </a:lnTo>
                    <a:lnTo>
                      <a:pt x="681" y="96"/>
                    </a:lnTo>
                    <a:lnTo>
                      <a:pt x="671" y="97"/>
                    </a:lnTo>
                    <a:lnTo>
                      <a:pt x="655" y="99"/>
                    </a:lnTo>
                    <a:lnTo>
                      <a:pt x="648" y="99"/>
                    </a:lnTo>
                    <a:lnTo>
                      <a:pt x="642" y="97"/>
                    </a:lnTo>
                    <a:lnTo>
                      <a:pt x="636" y="95"/>
                    </a:lnTo>
                    <a:lnTo>
                      <a:pt x="632" y="93"/>
                    </a:lnTo>
                    <a:lnTo>
                      <a:pt x="624" y="86"/>
                    </a:lnTo>
                    <a:lnTo>
                      <a:pt x="618" y="77"/>
                    </a:lnTo>
                    <a:lnTo>
                      <a:pt x="615" y="72"/>
                    </a:lnTo>
                    <a:lnTo>
                      <a:pt x="611" y="70"/>
                    </a:lnTo>
                    <a:lnTo>
                      <a:pt x="607" y="69"/>
                    </a:lnTo>
                    <a:lnTo>
                      <a:pt x="602" y="68"/>
                    </a:lnTo>
                    <a:lnTo>
                      <a:pt x="591" y="67"/>
                    </a:lnTo>
                    <a:lnTo>
                      <a:pt x="578" y="67"/>
                    </a:lnTo>
                    <a:lnTo>
                      <a:pt x="566" y="65"/>
                    </a:lnTo>
                    <a:lnTo>
                      <a:pt x="555" y="62"/>
                    </a:lnTo>
                    <a:lnTo>
                      <a:pt x="551" y="59"/>
                    </a:lnTo>
                    <a:lnTo>
                      <a:pt x="546" y="56"/>
                    </a:lnTo>
                    <a:lnTo>
                      <a:pt x="542" y="52"/>
                    </a:lnTo>
                    <a:lnTo>
                      <a:pt x="539" y="49"/>
                    </a:lnTo>
                    <a:lnTo>
                      <a:pt x="528" y="38"/>
                    </a:lnTo>
                    <a:lnTo>
                      <a:pt x="514" y="23"/>
                    </a:lnTo>
                    <a:lnTo>
                      <a:pt x="500" y="9"/>
                    </a:lnTo>
                    <a:lnTo>
                      <a:pt x="488" y="1"/>
                    </a:lnTo>
                    <a:lnTo>
                      <a:pt x="482" y="0"/>
                    </a:lnTo>
                    <a:lnTo>
                      <a:pt x="476" y="1"/>
                    </a:lnTo>
                    <a:lnTo>
                      <a:pt x="470" y="4"/>
                    </a:lnTo>
                    <a:lnTo>
                      <a:pt x="463" y="7"/>
                    </a:lnTo>
                    <a:lnTo>
                      <a:pt x="450" y="17"/>
                    </a:lnTo>
                    <a:lnTo>
                      <a:pt x="439" y="26"/>
                    </a:lnTo>
                    <a:lnTo>
                      <a:pt x="432" y="34"/>
                    </a:lnTo>
                    <a:lnTo>
                      <a:pt x="425" y="44"/>
                    </a:lnTo>
                    <a:lnTo>
                      <a:pt x="420" y="55"/>
                    </a:lnTo>
                    <a:lnTo>
                      <a:pt x="415" y="65"/>
                    </a:lnTo>
                    <a:lnTo>
                      <a:pt x="412" y="76"/>
                    </a:lnTo>
                    <a:lnTo>
                      <a:pt x="410" y="84"/>
                    </a:lnTo>
                    <a:lnTo>
                      <a:pt x="412" y="90"/>
                    </a:lnTo>
                    <a:lnTo>
                      <a:pt x="414" y="97"/>
                    </a:lnTo>
                    <a:lnTo>
                      <a:pt x="416" y="105"/>
                    </a:lnTo>
                    <a:lnTo>
                      <a:pt x="421" y="112"/>
                    </a:lnTo>
                    <a:lnTo>
                      <a:pt x="426" y="118"/>
                    </a:lnTo>
                    <a:lnTo>
                      <a:pt x="431" y="124"/>
                    </a:lnTo>
                    <a:lnTo>
                      <a:pt x="435" y="127"/>
                    </a:lnTo>
                    <a:lnTo>
                      <a:pt x="440" y="130"/>
                    </a:lnTo>
                    <a:lnTo>
                      <a:pt x="445" y="131"/>
                    </a:lnTo>
                    <a:lnTo>
                      <a:pt x="451" y="133"/>
                    </a:lnTo>
                    <a:lnTo>
                      <a:pt x="456" y="137"/>
                    </a:lnTo>
                    <a:lnTo>
                      <a:pt x="460" y="140"/>
                    </a:lnTo>
                    <a:lnTo>
                      <a:pt x="470" y="149"/>
                    </a:lnTo>
                    <a:lnTo>
                      <a:pt x="478" y="160"/>
                    </a:lnTo>
                    <a:lnTo>
                      <a:pt x="483" y="165"/>
                    </a:lnTo>
                    <a:lnTo>
                      <a:pt x="489" y="168"/>
                    </a:lnTo>
                    <a:lnTo>
                      <a:pt x="495" y="169"/>
                    </a:lnTo>
                    <a:lnTo>
                      <a:pt x="502" y="169"/>
                    </a:lnTo>
                    <a:lnTo>
                      <a:pt x="516" y="165"/>
                    </a:lnTo>
                    <a:lnTo>
                      <a:pt x="529" y="160"/>
                    </a:lnTo>
                    <a:lnTo>
                      <a:pt x="534" y="158"/>
                    </a:lnTo>
                    <a:lnTo>
                      <a:pt x="538" y="156"/>
                    </a:lnTo>
                    <a:lnTo>
                      <a:pt x="541" y="156"/>
                    </a:lnTo>
                    <a:lnTo>
                      <a:pt x="544" y="156"/>
                    </a:lnTo>
                    <a:lnTo>
                      <a:pt x="546" y="159"/>
                    </a:lnTo>
                    <a:lnTo>
                      <a:pt x="547" y="163"/>
                    </a:lnTo>
                    <a:lnTo>
                      <a:pt x="547" y="170"/>
                    </a:lnTo>
                    <a:lnTo>
                      <a:pt x="546" y="181"/>
                    </a:lnTo>
                    <a:lnTo>
                      <a:pt x="546" y="192"/>
                    </a:lnTo>
                    <a:lnTo>
                      <a:pt x="546" y="203"/>
                    </a:lnTo>
                    <a:lnTo>
                      <a:pt x="548" y="213"/>
                    </a:lnTo>
                    <a:lnTo>
                      <a:pt x="551" y="222"/>
                    </a:lnTo>
                    <a:lnTo>
                      <a:pt x="553" y="232"/>
                    </a:lnTo>
                    <a:lnTo>
                      <a:pt x="558" y="240"/>
                    </a:lnTo>
                    <a:lnTo>
                      <a:pt x="564" y="246"/>
                    </a:lnTo>
                    <a:lnTo>
                      <a:pt x="570" y="252"/>
                    </a:lnTo>
                    <a:lnTo>
                      <a:pt x="577" y="258"/>
                    </a:lnTo>
                    <a:lnTo>
                      <a:pt x="582" y="264"/>
                    </a:lnTo>
                    <a:lnTo>
                      <a:pt x="585" y="270"/>
                    </a:lnTo>
                    <a:lnTo>
                      <a:pt x="588" y="277"/>
                    </a:lnTo>
                    <a:lnTo>
                      <a:pt x="591" y="290"/>
                    </a:lnTo>
                    <a:lnTo>
                      <a:pt x="592" y="305"/>
                    </a:lnTo>
                    <a:lnTo>
                      <a:pt x="594" y="313"/>
                    </a:lnTo>
                    <a:lnTo>
                      <a:pt x="592" y="317"/>
                    </a:lnTo>
                    <a:lnTo>
                      <a:pt x="590" y="320"/>
                    </a:lnTo>
                    <a:lnTo>
                      <a:pt x="588" y="322"/>
                    </a:lnTo>
                    <a:lnTo>
                      <a:pt x="579" y="323"/>
                    </a:lnTo>
                    <a:lnTo>
                      <a:pt x="569" y="324"/>
                    </a:lnTo>
                    <a:lnTo>
                      <a:pt x="561" y="327"/>
                    </a:lnTo>
                    <a:lnTo>
                      <a:pt x="554" y="330"/>
                    </a:lnTo>
                    <a:lnTo>
                      <a:pt x="546" y="334"/>
                    </a:lnTo>
                    <a:lnTo>
                      <a:pt x="538" y="340"/>
                    </a:lnTo>
                    <a:lnTo>
                      <a:pt x="531" y="346"/>
                    </a:lnTo>
                    <a:lnTo>
                      <a:pt x="523" y="351"/>
                    </a:lnTo>
                    <a:lnTo>
                      <a:pt x="519" y="357"/>
                    </a:lnTo>
                    <a:lnTo>
                      <a:pt x="515" y="362"/>
                    </a:lnTo>
                    <a:lnTo>
                      <a:pt x="511" y="371"/>
                    </a:lnTo>
                    <a:lnTo>
                      <a:pt x="507" y="377"/>
                    </a:lnTo>
                    <a:lnTo>
                      <a:pt x="504" y="379"/>
                    </a:lnTo>
                    <a:lnTo>
                      <a:pt x="501" y="381"/>
                    </a:lnTo>
                    <a:lnTo>
                      <a:pt x="496" y="383"/>
                    </a:lnTo>
                    <a:lnTo>
                      <a:pt x="490" y="385"/>
                    </a:lnTo>
                    <a:lnTo>
                      <a:pt x="478" y="389"/>
                    </a:lnTo>
                    <a:lnTo>
                      <a:pt x="468" y="395"/>
                    </a:lnTo>
                    <a:lnTo>
                      <a:pt x="456" y="401"/>
                    </a:lnTo>
                    <a:lnTo>
                      <a:pt x="443" y="408"/>
                    </a:lnTo>
                    <a:lnTo>
                      <a:pt x="435" y="410"/>
                    </a:lnTo>
                    <a:lnTo>
                      <a:pt x="428" y="411"/>
                    </a:lnTo>
                    <a:lnTo>
                      <a:pt x="422" y="410"/>
                    </a:lnTo>
                    <a:lnTo>
                      <a:pt x="416" y="406"/>
                    </a:lnTo>
                    <a:lnTo>
                      <a:pt x="412" y="403"/>
                    </a:lnTo>
                    <a:lnTo>
                      <a:pt x="406" y="398"/>
                    </a:lnTo>
                    <a:lnTo>
                      <a:pt x="402" y="392"/>
                    </a:lnTo>
                    <a:lnTo>
                      <a:pt x="397" y="387"/>
                    </a:lnTo>
                    <a:lnTo>
                      <a:pt x="395" y="381"/>
                    </a:lnTo>
                    <a:lnTo>
                      <a:pt x="393" y="376"/>
                    </a:lnTo>
                    <a:lnTo>
                      <a:pt x="391" y="371"/>
                    </a:lnTo>
                    <a:lnTo>
                      <a:pt x="390" y="365"/>
                    </a:lnTo>
                    <a:lnTo>
                      <a:pt x="388" y="359"/>
                    </a:lnTo>
                    <a:lnTo>
                      <a:pt x="387" y="354"/>
                    </a:lnTo>
                    <a:lnTo>
                      <a:pt x="383" y="349"/>
                    </a:lnTo>
                    <a:lnTo>
                      <a:pt x="378" y="346"/>
                    </a:lnTo>
                    <a:lnTo>
                      <a:pt x="370" y="340"/>
                    </a:lnTo>
                    <a:lnTo>
                      <a:pt x="364" y="334"/>
                    </a:lnTo>
                    <a:lnTo>
                      <a:pt x="359" y="326"/>
                    </a:lnTo>
                    <a:lnTo>
                      <a:pt x="356" y="314"/>
                    </a:lnTo>
                    <a:lnTo>
                      <a:pt x="353" y="308"/>
                    </a:lnTo>
                    <a:lnTo>
                      <a:pt x="351" y="303"/>
                    </a:lnTo>
                    <a:lnTo>
                      <a:pt x="347" y="298"/>
                    </a:lnTo>
                    <a:lnTo>
                      <a:pt x="343" y="296"/>
                    </a:lnTo>
                    <a:lnTo>
                      <a:pt x="334" y="294"/>
                    </a:lnTo>
                    <a:lnTo>
                      <a:pt x="327" y="292"/>
                    </a:lnTo>
                    <a:lnTo>
                      <a:pt x="320" y="292"/>
                    </a:lnTo>
                    <a:lnTo>
                      <a:pt x="313" y="291"/>
                    </a:lnTo>
                    <a:lnTo>
                      <a:pt x="306" y="290"/>
                    </a:lnTo>
                    <a:lnTo>
                      <a:pt x="300" y="286"/>
                    </a:lnTo>
                    <a:lnTo>
                      <a:pt x="295" y="280"/>
                    </a:lnTo>
                    <a:lnTo>
                      <a:pt x="289" y="275"/>
                    </a:lnTo>
                    <a:lnTo>
                      <a:pt x="284" y="272"/>
                    </a:lnTo>
                    <a:lnTo>
                      <a:pt x="280" y="270"/>
                    </a:lnTo>
                    <a:lnTo>
                      <a:pt x="274" y="269"/>
                    </a:lnTo>
                    <a:lnTo>
                      <a:pt x="265" y="269"/>
                    </a:lnTo>
                    <a:lnTo>
                      <a:pt x="256" y="270"/>
                    </a:lnTo>
                    <a:lnTo>
                      <a:pt x="248" y="272"/>
                    </a:lnTo>
                    <a:lnTo>
                      <a:pt x="239" y="276"/>
                    </a:lnTo>
                    <a:lnTo>
                      <a:pt x="232" y="282"/>
                    </a:lnTo>
                    <a:lnTo>
                      <a:pt x="226" y="288"/>
                    </a:lnTo>
                    <a:lnTo>
                      <a:pt x="220" y="294"/>
                    </a:lnTo>
                    <a:lnTo>
                      <a:pt x="216" y="302"/>
                    </a:lnTo>
                    <a:lnTo>
                      <a:pt x="213" y="310"/>
                    </a:lnTo>
                    <a:lnTo>
                      <a:pt x="211" y="317"/>
                    </a:lnTo>
                    <a:lnTo>
                      <a:pt x="210" y="326"/>
                    </a:lnTo>
                    <a:lnTo>
                      <a:pt x="210" y="333"/>
                    </a:lnTo>
                    <a:lnTo>
                      <a:pt x="211" y="339"/>
                    </a:lnTo>
                    <a:lnTo>
                      <a:pt x="213" y="343"/>
                    </a:lnTo>
                    <a:lnTo>
                      <a:pt x="216" y="348"/>
                    </a:lnTo>
                    <a:lnTo>
                      <a:pt x="219" y="352"/>
                    </a:lnTo>
                    <a:lnTo>
                      <a:pt x="223" y="354"/>
                    </a:lnTo>
                    <a:lnTo>
                      <a:pt x="225" y="357"/>
                    </a:lnTo>
                    <a:lnTo>
                      <a:pt x="229" y="360"/>
                    </a:lnTo>
                    <a:lnTo>
                      <a:pt x="230" y="364"/>
                    </a:lnTo>
                    <a:lnTo>
                      <a:pt x="230" y="367"/>
                    </a:lnTo>
                    <a:lnTo>
                      <a:pt x="230" y="372"/>
                    </a:lnTo>
                    <a:lnTo>
                      <a:pt x="229" y="376"/>
                    </a:lnTo>
                    <a:lnTo>
                      <a:pt x="227" y="380"/>
                    </a:lnTo>
                    <a:lnTo>
                      <a:pt x="226" y="384"/>
                    </a:lnTo>
                    <a:lnTo>
                      <a:pt x="221" y="392"/>
                    </a:lnTo>
                    <a:lnTo>
                      <a:pt x="219" y="399"/>
                    </a:lnTo>
                    <a:lnTo>
                      <a:pt x="218" y="408"/>
                    </a:lnTo>
                    <a:lnTo>
                      <a:pt x="219" y="416"/>
                    </a:lnTo>
                    <a:lnTo>
                      <a:pt x="220" y="428"/>
                    </a:lnTo>
                    <a:lnTo>
                      <a:pt x="218" y="440"/>
                    </a:lnTo>
                    <a:lnTo>
                      <a:pt x="218" y="446"/>
                    </a:lnTo>
                    <a:lnTo>
                      <a:pt x="219" y="450"/>
                    </a:lnTo>
                    <a:lnTo>
                      <a:pt x="223" y="456"/>
                    </a:lnTo>
                    <a:lnTo>
                      <a:pt x="226" y="462"/>
                    </a:lnTo>
                    <a:lnTo>
                      <a:pt x="232" y="471"/>
                    </a:lnTo>
                    <a:lnTo>
                      <a:pt x="237" y="479"/>
                    </a:lnTo>
                    <a:lnTo>
                      <a:pt x="239" y="483"/>
                    </a:lnTo>
                    <a:lnTo>
                      <a:pt x="239" y="485"/>
                    </a:lnTo>
                    <a:lnTo>
                      <a:pt x="239" y="487"/>
                    </a:lnTo>
                    <a:lnTo>
                      <a:pt x="239" y="488"/>
                    </a:lnTo>
                    <a:lnTo>
                      <a:pt x="235" y="488"/>
                    </a:lnTo>
                    <a:lnTo>
                      <a:pt x="229" y="488"/>
                    </a:lnTo>
                    <a:lnTo>
                      <a:pt x="218" y="488"/>
                    </a:lnTo>
                    <a:lnTo>
                      <a:pt x="207" y="490"/>
                    </a:lnTo>
                    <a:lnTo>
                      <a:pt x="196" y="492"/>
                    </a:lnTo>
                    <a:lnTo>
                      <a:pt x="186" y="494"/>
                    </a:lnTo>
                    <a:lnTo>
                      <a:pt x="181" y="497"/>
                    </a:lnTo>
                    <a:lnTo>
                      <a:pt x="176" y="499"/>
                    </a:lnTo>
                    <a:lnTo>
                      <a:pt x="172" y="503"/>
                    </a:lnTo>
                    <a:lnTo>
                      <a:pt x="167" y="507"/>
                    </a:lnTo>
                    <a:lnTo>
                      <a:pt x="151" y="518"/>
                    </a:lnTo>
                    <a:lnTo>
                      <a:pt x="142" y="524"/>
                    </a:lnTo>
                    <a:lnTo>
                      <a:pt x="139" y="528"/>
                    </a:lnTo>
                    <a:lnTo>
                      <a:pt x="138" y="534"/>
                    </a:lnTo>
                    <a:lnTo>
                      <a:pt x="138" y="542"/>
                    </a:lnTo>
                    <a:lnTo>
                      <a:pt x="138" y="550"/>
                    </a:lnTo>
                    <a:lnTo>
                      <a:pt x="141" y="568"/>
                    </a:lnTo>
                    <a:lnTo>
                      <a:pt x="144" y="582"/>
                    </a:lnTo>
                    <a:lnTo>
                      <a:pt x="148" y="594"/>
                    </a:lnTo>
                    <a:lnTo>
                      <a:pt x="149" y="605"/>
                    </a:lnTo>
                    <a:lnTo>
                      <a:pt x="148" y="610"/>
                    </a:lnTo>
                    <a:lnTo>
                      <a:pt x="148" y="613"/>
                    </a:lnTo>
                    <a:lnTo>
                      <a:pt x="147" y="617"/>
                    </a:lnTo>
                    <a:lnTo>
                      <a:pt x="144" y="620"/>
                    </a:lnTo>
                    <a:lnTo>
                      <a:pt x="141" y="625"/>
                    </a:lnTo>
                    <a:lnTo>
                      <a:pt x="138" y="631"/>
                    </a:lnTo>
                    <a:lnTo>
                      <a:pt x="137" y="639"/>
                    </a:lnTo>
                    <a:lnTo>
                      <a:pt x="137" y="648"/>
                    </a:lnTo>
                    <a:lnTo>
                      <a:pt x="137" y="656"/>
                    </a:lnTo>
                    <a:lnTo>
                      <a:pt x="137" y="666"/>
                    </a:lnTo>
                    <a:lnTo>
                      <a:pt x="136" y="670"/>
                    </a:lnTo>
                    <a:lnTo>
                      <a:pt x="133" y="675"/>
                    </a:lnTo>
                    <a:lnTo>
                      <a:pt x="130" y="680"/>
                    </a:lnTo>
                    <a:lnTo>
                      <a:pt x="125" y="683"/>
                    </a:lnTo>
                    <a:lnTo>
                      <a:pt x="113" y="692"/>
                    </a:lnTo>
                    <a:lnTo>
                      <a:pt x="100" y="699"/>
                    </a:lnTo>
                    <a:lnTo>
                      <a:pt x="86" y="705"/>
                    </a:lnTo>
                    <a:lnTo>
                      <a:pt x="70" y="708"/>
                    </a:lnTo>
                    <a:lnTo>
                      <a:pt x="62" y="710"/>
                    </a:lnTo>
                    <a:lnTo>
                      <a:pt x="55" y="710"/>
                    </a:lnTo>
                    <a:lnTo>
                      <a:pt x="48" y="708"/>
                    </a:lnTo>
                    <a:lnTo>
                      <a:pt x="41" y="706"/>
                    </a:lnTo>
                    <a:lnTo>
                      <a:pt x="28" y="701"/>
                    </a:lnTo>
                    <a:lnTo>
                      <a:pt x="17" y="695"/>
                    </a:lnTo>
                    <a:lnTo>
                      <a:pt x="12" y="694"/>
                    </a:lnTo>
                    <a:lnTo>
                      <a:pt x="9" y="694"/>
                    </a:lnTo>
                    <a:lnTo>
                      <a:pt x="5" y="696"/>
                    </a:lnTo>
                    <a:lnTo>
                      <a:pt x="4" y="700"/>
                    </a:lnTo>
                    <a:lnTo>
                      <a:pt x="3" y="705"/>
                    </a:lnTo>
                    <a:lnTo>
                      <a:pt x="3" y="710"/>
                    </a:lnTo>
                    <a:lnTo>
                      <a:pt x="3" y="715"/>
                    </a:lnTo>
                    <a:lnTo>
                      <a:pt x="4" y="721"/>
                    </a:lnTo>
                    <a:lnTo>
                      <a:pt x="5" y="733"/>
                    </a:lnTo>
                    <a:lnTo>
                      <a:pt x="5" y="744"/>
                    </a:lnTo>
                    <a:lnTo>
                      <a:pt x="4" y="756"/>
                    </a:lnTo>
                    <a:lnTo>
                      <a:pt x="2" y="765"/>
                    </a:lnTo>
                    <a:lnTo>
                      <a:pt x="0" y="770"/>
                    </a:lnTo>
                    <a:lnTo>
                      <a:pt x="0" y="775"/>
                    </a:lnTo>
                    <a:lnTo>
                      <a:pt x="2" y="781"/>
                    </a:lnTo>
                    <a:lnTo>
                      <a:pt x="3" y="786"/>
                    </a:lnTo>
                    <a:lnTo>
                      <a:pt x="5" y="790"/>
                    </a:lnTo>
                    <a:lnTo>
                      <a:pt x="10" y="794"/>
                    </a:lnTo>
                    <a:lnTo>
                      <a:pt x="15" y="796"/>
                    </a:lnTo>
                    <a:lnTo>
                      <a:pt x="21" y="799"/>
                    </a:lnTo>
                    <a:lnTo>
                      <a:pt x="28" y="799"/>
                    </a:lnTo>
                    <a:lnTo>
                      <a:pt x="32" y="797"/>
                    </a:lnTo>
                    <a:lnTo>
                      <a:pt x="37" y="796"/>
                    </a:lnTo>
                    <a:lnTo>
                      <a:pt x="42" y="794"/>
                    </a:lnTo>
                    <a:lnTo>
                      <a:pt x="49" y="790"/>
                    </a:lnTo>
                    <a:lnTo>
                      <a:pt x="57" y="787"/>
                    </a:lnTo>
                    <a:lnTo>
                      <a:pt x="62" y="787"/>
                    </a:lnTo>
                    <a:lnTo>
                      <a:pt x="67" y="788"/>
                    </a:lnTo>
                    <a:lnTo>
                      <a:pt x="72" y="790"/>
                    </a:lnTo>
                    <a:lnTo>
                      <a:pt x="76" y="793"/>
                    </a:lnTo>
                    <a:lnTo>
                      <a:pt x="86" y="799"/>
                    </a:lnTo>
                    <a:lnTo>
                      <a:pt x="93" y="806"/>
                    </a:lnTo>
                    <a:lnTo>
                      <a:pt x="97" y="812"/>
                    </a:lnTo>
                    <a:lnTo>
                      <a:pt x="100" y="820"/>
                    </a:lnTo>
                    <a:lnTo>
                      <a:pt x="101" y="831"/>
                    </a:lnTo>
                    <a:lnTo>
                      <a:pt x="100" y="843"/>
                    </a:lnTo>
                    <a:lnTo>
                      <a:pt x="98" y="859"/>
                    </a:lnTo>
                    <a:lnTo>
                      <a:pt x="94" y="877"/>
                    </a:lnTo>
                    <a:lnTo>
                      <a:pt x="91" y="888"/>
                    </a:lnTo>
                    <a:lnTo>
                      <a:pt x="91" y="893"/>
                    </a:lnTo>
                    <a:lnTo>
                      <a:pt x="94" y="894"/>
                    </a:lnTo>
                    <a:lnTo>
                      <a:pt x="100" y="895"/>
                    </a:lnTo>
                    <a:lnTo>
                      <a:pt x="103" y="897"/>
                    </a:lnTo>
                    <a:lnTo>
                      <a:pt x="105" y="900"/>
                    </a:lnTo>
                    <a:lnTo>
                      <a:pt x="106" y="902"/>
                    </a:lnTo>
                    <a:lnTo>
                      <a:pt x="106" y="907"/>
                    </a:lnTo>
                    <a:lnTo>
                      <a:pt x="106" y="914"/>
                    </a:lnTo>
                    <a:lnTo>
                      <a:pt x="109" y="920"/>
                    </a:lnTo>
                    <a:lnTo>
                      <a:pt x="110" y="922"/>
                    </a:lnTo>
                    <a:lnTo>
                      <a:pt x="112" y="925"/>
                    </a:lnTo>
                    <a:lnTo>
                      <a:pt x="116" y="925"/>
                    </a:lnTo>
                    <a:lnTo>
                      <a:pt x="119" y="926"/>
                    </a:lnTo>
                    <a:lnTo>
                      <a:pt x="128" y="926"/>
                    </a:lnTo>
                    <a:lnTo>
                      <a:pt x="132" y="927"/>
                    </a:lnTo>
                    <a:lnTo>
                      <a:pt x="135" y="928"/>
                    </a:lnTo>
                    <a:lnTo>
                      <a:pt x="137" y="932"/>
                    </a:lnTo>
                    <a:lnTo>
                      <a:pt x="139" y="935"/>
                    </a:lnTo>
                    <a:lnTo>
                      <a:pt x="143" y="939"/>
                    </a:lnTo>
                    <a:lnTo>
                      <a:pt x="145" y="940"/>
                    </a:lnTo>
                    <a:lnTo>
                      <a:pt x="149" y="941"/>
                    </a:lnTo>
                    <a:lnTo>
                      <a:pt x="152" y="941"/>
                    </a:lnTo>
                    <a:lnTo>
                      <a:pt x="157" y="940"/>
                    </a:lnTo>
                    <a:lnTo>
                      <a:pt x="167" y="938"/>
                    </a:lnTo>
                    <a:lnTo>
                      <a:pt x="177" y="937"/>
                    </a:lnTo>
                    <a:lnTo>
                      <a:pt x="182" y="938"/>
                    </a:lnTo>
                    <a:lnTo>
                      <a:pt x="188" y="939"/>
                    </a:lnTo>
                    <a:lnTo>
                      <a:pt x="193" y="941"/>
                    </a:lnTo>
                    <a:lnTo>
                      <a:pt x="199" y="945"/>
                    </a:lnTo>
                    <a:lnTo>
                      <a:pt x="208" y="957"/>
                    </a:lnTo>
                    <a:lnTo>
                      <a:pt x="218" y="969"/>
                    </a:lnTo>
                    <a:lnTo>
                      <a:pt x="227" y="979"/>
                    </a:lnTo>
                    <a:lnTo>
                      <a:pt x="233" y="988"/>
                    </a:lnTo>
                    <a:lnTo>
                      <a:pt x="238" y="991"/>
                    </a:lnTo>
                    <a:lnTo>
                      <a:pt x="243" y="992"/>
                    </a:lnTo>
                    <a:lnTo>
                      <a:pt x="250" y="995"/>
                    </a:lnTo>
                    <a:lnTo>
                      <a:pt x="256" y="996"/>
                    </a:lnTo>
                    <a:lnTo>
                      <a:pt x="263" y="995"/>
                    </a:lnTo>
                    <a:lnTo>
                      <a:pt x="270" y="994"/>
                    </a:lnTo>
                    <a:lnTo>
                      <a:pt x="275" y="991"/>
                    </a:lnTo>
                    <a:lnTo>
                      <a:pt x="280" y="988"/>
                    </a:lnTo>
                    <a:lnTo>
                      <a:pt x="284" y="979"/>
                    </a:lnTo>
                    <a:lnTo>
                      <a:pt x="288" y="971"/>
                    </a:lnTo>
                    <a:lnTo>
                      <a:pt x="289" y="967"/>
                    </a:lnTo>
                    <a:lnTo>
                      <a:pt x="292" y="965"/>
                    </a:lnTo>
                    <a:lnTo>
                      <a:pt x="295" y="963"/>
                    </a:lnTo>
                    <a:lnTo>
                      <a:pt x="299" y="960"/>
                    </a:lnTo>
                    <a:lnTo>
                      <a:pt x="303" y="959"/>
                    </a:lnTo>
                    <a:lnTo>
                      <a:pt x="307" y="958"/>
                    </a:lnTo>
                    <a:lnTo>
                      <a:pt x="311" y="959"/>
                    </a:lnTo>
                    <a:lnTo>
                      <a:pt x="313" y="960"/>
                    </a:lnTo>
                    <a:lnTo>
                      <a:pt x="319" y="963"/>
                    </a:lnTo>
                    <a:lnTo>
                      <a:pt x="326" y="964"/>
                    </a:lnTo>
                    <a:lnTo>
                      <a:pt x="330" y="963"/>
                    </a:lnTo>
                    <a:lnTo>
                      <a:pt x="333" y="962"/>
                    </a:lnTo>
                    <a:lnTo>
                      <a:pt x="336" y="960"/>
                    </a:lnTo>
                    <a:lnTo>
                      <a:pt x="337" y="958"/>
                    </a:lnTo>
                    <a:lnTo>
                      <a:pt x="340" y="952"/>
                    </a:lnTo>
                    <a:lnTo>
                      <a:pt x="345" y="945"/>
                    </a:lnTo>
                    <a:lnTo>
                      <a:pt x="349" y="937"/>
                    </a:lnTo>
                    <a:lnTo>
                      <a:pt x="355" y="928"/>
                    </a:lnTo>
                    <a:lnTo>
                      <a:pt x="361" y="920"/>
                    </a:lnTo>
                    <a:lnTo>
                      <a:pt x="368" y="913"/>
                    </a:lnTo>
                    <a:lnTo>
                      <a:pt x="372" y="908"/>
                    </a:lnTo>
                    <a:lnTo>
                      <a:pt x="378" y="907"/>
                    </a:lnTo>
                    <a:lnTo>
                      <a:pt x="380" y="907"/>
                    </a:lnTo>
                    <a:lnTo>
                      <a:pt x="380" y="908"/>
                    </a:lnTo>
                    <a:lnTo>
                      <a:pt x="378" y="909"/>
                    </a:lnTo>
                    <a:lnTo>
                      <a:pt x="378" y="913"/>
                    </a:lnTo>
                    <a:lnTo>
                      <a:pt x="375" y="919"/>
                    </a:lnTo>
                    <a:lnTo>
                      <a:pt x="372" y="926"/>
                    </a:lnTo>
                    <a:lnTo>
                      <a:pt x="366" y="944"/>
                    </a:lnTo>
                    <a:lnTo>
                      <a:pt x="362" y="958"/>
                    </a:lnTo>
                    <a:lnTo>
                      <a:pt x="361" y="963"/>
                    </a:lnTo>
                    <a:lnTo>
                      <a:pt x="361" y="966"/>
                    </a:lnTo>
                    <a:lnTo>
                      <a:pt x="362" y="971"/>
                    </a:lnTo>
                    <a:lnTo>
                      <a:pt x="363" y="976"/>
                    </a:lnTo>
                    <a:lnTo>
                      <a:pt x="365" y="986"/>
                    </a:lnTo>
                    <a:lnTo>
                      <a:pt x="368" y="998"/>
                    </a:lnTo>
                    <a:lnTo>
                      <a:pt x="370" y="1010"/>
                    </a:lnTo>
                    <a:lnTo>
                      <a:pt x="372" y="1023"/>
                    </a:lnTo>
                    <a:lnTo>
                      <a:pt x="375" y="1041"/>
                    </a:lnTo>
                    <a:lnTo>
                      <a:pt x="376" y="1057"/>
                    </a:lnTo>
                    <a:lnTo>
                      <a:pt x="378" y="1070"/>
                    </a:lnTo>
                    <a:lnTo>
                      <a:pt x="381" y="1084"/>
                    </a:lnTo>
                    <a:lnTo>
                      <a:pt x="383" y="1102"/>
                    </a:lnTo>
                    <a:lnTo>
                      <a:pt x="385" y="1126"/>
                    </a:lnTo>
                    <a:lnTo>
                      <a:pt x="389" y="1149"/>
                    </a:lnTo>
                    <a:lnTo>
                      <a:pt x="391" y="1167"/>
                    </a:lnTo>
                    <a:lnTo>
                      <a:pt x="393" y="1179"/>
                    </a:lnTo>
                    <a:lnTo>
                      <a:pt x="391" y="1190"/>
                    </a:lnTo>
                    <a:lnTo>
                      <a:pt x="388" y="1199"/>
                    </a:lnTo>
                    <a:lnTo>
                      <a:pt x="384" y="1208"/>
                    </a:lnTo>
                    <a:lnTo>
                      <a:pt x="383" y="1211"/>
                    </a:lnTo>
                    <a:lnTo>
                      <a:pt x="383" y="1216"/>
                    </a:lnTo>
                    <a:lnTo>
                      <a:pt x="383" y="1221"/>
                    </a:lnTo>
                    <a:lnTo>
                      <a:pt x="384" y="1227"/>
                    </a:lnTo>
                    <a:lnTo>
                      <a:pt x="385" y="1238"/>
                    </a:lnTo>
                    <a:lnTo>
                      <a:pt x="387" y="1248"/>
                    </a:lnTo>
                    <a:lnTo>
                      <a:pt x="385" y="1252"/>
                    </a:lnTo>
                    <a:lnTo>
                      <a:pt x="382" y="1255"/>
                    </a:lnTo>
                    <a:lnTo>
                      <a:pt x="378" y="1257"/>
                    </a:lnTo>
                    <a:lnTo>
                      <a:pt x="372" y="1259"/>
                    </a:lnTo>
                    <a:lnTo>
                      <a:pt x="358" y="1262"/>
                    </a:lnTo>
                    <a:lnTo>
                      <a:pt x="342" y="1266"/>
                    </a:lnTo>
                    <a:lnTo>
                      <a:pt x="324" y="1272"/>
                    </a:lnTo>
                    <a:lnTo>
                      <a:pt x="307" y="1278"/>
                    </a:lnTo>
                    <a:lnTo>
                      <a:pt x="292" y="1285"/>
                    </a:lnTo>
                    <a:lnTo>
                      <a:pt x="276" y="1291"/>
                    </a:lnTo>
                    <a:lnTo>
                      <a:pt x="269" y="1294"/>
                    </a:lnTo>
                    <a:lnTo>
                      <a:pt x="262" y="1298"/>
                    </a:lnTo>
                    <a:lnTo>
                      <a:pt x="256" y="1304"/>
                    </a:lnTo>
                    <a:lnTo>
                      <a:pt x="249" y="1310"/>
                    </a:lnTo>
                    <a:lnTo>
                      <a:pt x="243" y="1316"/>
                    </a:lnTo>
                    <a:lnTo>
                      <a:pt x="237" y="1323"/>
                    </a:lnTo>
                    <a:lnTo>
                      <a:pt x="232" y="1329"/>
                    </a:lnTo>
                    <a:lnTo>
                      <a:pt x="229" y="1336"/>
                    </a:lnTo>
                    <a:lnTo>
                      <a:pt x="221" y="1351"/>
                    </a:lnTo>
                    <a:lnTo>
                      <a:pt x="217" y="1372"/>
                    </a:lnTo>
                    <a:lnTo>
                      <a:pt x="212" y="1391"/>
                    </a:lnTo>
                    <a:lnTo>
                      <a:pt x="211" y="1406"/>
                    </a:lnTo>
                    <a:lnTo>
                      <a:pt x="207" y="1423"/>
                    </a:lnTo>
                    <a:lnTo>
                      <a:pt x="205" y="1439"/>
                    </a:lnTo>
                    <a:lnTo>
                      <a:pt x="205" y="1444"/>
                    </a:lnTo>
                    <a:lnTo>
                      <a:pt x="206" y="1449"/>
                    </a:lnTo>
                    <a:lnTo>
                      <a:pt x="208" y="1452"/>
                    </a:lnTo>
                    <a:lnTo>
                      <a:pt x="211" y="1456"/>
                    </a:lnTo>
                    <a:lnTo>
                      <a:pt x="214" y="1458"/>
                    </a:lnTo>
                    <a:lnTo>
                      <a:pt x="218" y="1460"/>
                    </a:lnTo>
                    <a:lnTo>
                      <a:pt x="223" y="1461"/>
                    </a:lnTo>
                    <a:lnTo>
                      <a:pt x="229" y="1462"/>
                    </a:lnTo>
                    <a:lnTo>
                      <a:pt x="233" y="1463"/>
                    </a:lnTo>
                    <a:lnTo>
                      <a:pt x="237" y="1467"/>
                    </a:lnTo>
                    <a:lnTo>
                      <a:pt x="239" y="1470"/>
                    </a:lnTo>
                    <a:lnTo>
                      <a:pt x="242" y="1476"/>
                    </a:lnTo>
                    <a:lnTo>
                      <a:pt x="246" y="1488"/>
                    </a:lnTo>
                    <a:lnTo>
                      <a:pt x="252" y="1502"/>
                    </a:lnTo>
                    <a:lnTo>
                      <a:pt x="261" y="1514"/>
                    </a:lnTo>
                    <a:lnTo>
                      <a:pt x="268" y="1525"/>
                    </a:lnTo>
                    <a:lnTo>
                      <a:pt x="273" y="1530"/>
                    </a:lnTo>
                    <a:lnTo>
                      <a:pt x="276" y="1532"/>
                    </a:lnTo>
                    <a:lnTo>
                      <a:pt x="281" y="1533"/>
                    </a:lnTo>
                    <a:lnTo>
                      <a:pt x="284" y="1532"/>
                    </a:lnTo>
                    <a:lnTo>
                      <a:pt x="300" y="1521"/>
                    </a:lnTo>
                    <a:lnTo>
                      <a:pt x="314" y="1514"/>
                    </a:lnTo>
                    <a:lnTo>
                      <a:pt x="318" y="1514"/>
                    </a:lnTo>
                    <a:lnTo>
                      <a:pt x="320" y="1514"/>
                    </a:lnTo>
                    <a:lnTo>
                      <a:pt x="322" y="1517"/>
                    </a:lnTo>
                    <a:lnTo>
                      <a:pt x="326" y="1519"/>
                    </a:lnTo>
                    <a:lnTo>
                      <a:pt x="331" y="1527"/>
                    </a:lnTo>
                    <a:lnTo>
                      <a:pt x="338" y="1537"/>
                    </a:lnTo>
                    <a:lnTo>
                      <a:pt x="342" y="1540"/>
                    </a:lnTo>
                    <a:lnTo>
                      <a:pt x="345" y="1543"/>
                    </a:lnTo>
                    <a:lnTo>
                      <a:pt x="350" y="1545"/>
                    </a:lnTo>
                    <a:lnTo>
                      <a:pt x="353" y="1545"/>
                    </a:lnTo>
                    <a:lnTo>
                      <a:pt x="364" y="1544"/>
                    </a:lnTo>
                    <a:lnTo>
                      <a:pt x="375" y="1540"/>
                    </a:lnTo>
                    <a:lnTo>
                      <a:pt x="381" y="1539"/>
                    </a:lnTo>
                    <a:lnTo>
                      <a:pt x="387" y="1540"/>
                    </a:lnTo>
                    <a:lnTo>
                      <a:pt x="391" y="1542"/>
                    </a:lnTo>
                    <a:lnTo>
                      <a:pt x="395" y="1544"/>
                    </a:lnTo>
                    <a:lnTo>
                      <a:pt x="402" y="1552"/>
                    </a:lnTo>
                    <a:lnTo>
                      <a:pt x="408" y="1562"/>
                    </a:lnTo>
                    <a:lnTo>
                      <a:pt x="410" y="1567"/>
                    </a:lnTo>
                    <a:lnTo>
                      <a:pt x="414" y="1571"/>
                    </a:lnTo>
                    <a:lnTo>
                      <a:pt x="419" y="1575"/>
                    </a:lnTo>
                    <a:lnTo>
                      <a:pt x="424" y="1578"/>
                    </a:lnTo>
                    <a:lnTo>
                      <a:pt x="433" y="1584"/>
                    </a:lnTo>
                    <a:lnTo>
                      <a:pt x="443" y="1587"/>
                    </a:lnTo>
                    <a:lnTo>
                      <a:pt x="452" y="1590"/>
                    </a:lnTo>
                    <a:lnTo>
                      <a:pt x="460" y="1594"/>
                    </a:lnTo>
                    <a:lnTo>
                      <a:pt x="463" y="1597"/>
                    </a:lnTo>
                    <a:lnTo>
                      <a:pt x="464" y="1600"/>
                    </a:lnTo>
                    <a:lnTo>
                      <a:pt x="464" y="1603"/>
                    </a:lnTo>
                    <a:lnTo>
                      <a:pt x="463" y="1607"/>
                    </a:lnTo>
                    <a:lnTo>
                      <a:pt x="457" y="1614"/>
                    </a:lnTo>
                    <a:lnTo>
                      <a:pt x="447" y="1624"/>
                    </a:lnTo>
                    <a:lnTo>
                      <a:pt x="437" y="1633"/>
                    </a:lnTo>
                    <a:lnTo>
                      <a:pt x="427" y="1644"/>
                    </a:lnTo>
                    <a:lnTo>
                      <a:pt x="420" y="1651"/>
                    </a:lnTo>
                    <a:lnTo>
                      <a:pt x="413" y="1654"/>
                    </a:lnTo>
                    <a:lnTo>
                      <a:pt x="406" y="1657"/>
                    </a:lnTo>
                    <a:lnTo>
                      <a:pt x="396" y="1660"/>
                    </a:lnTo>
                    <a:lnTo>
                      <a:pt x="393" y="1663"/>
                    </a:lnTo>
                    <a:lnTo>
                      <a:pt x="390" y="1666"/>
                    </a:lnTo>
                    <a:lnTo>
                      <a:pt x="389" y="1669"/>
                    </a:lnTo>
                    <a:lnTo>
                      <a:pt x="388" y="1672"/>
                    </a:lnTo>
                    <a:lnTo>
                      <a:pt x="389" y="1681"/>
                    </a:lnTo>
                    <a:lnTo>
                      <a:pt x="390" y="1689"/>
                    </a:lnTo>
                    <a:lnTo>
                      <a:pt x="389" y="1696"/>
                    </a:lnTo>
                    <a:lnTo>
                      <a:pt x="387" y="1701"/>
                    </a:lnTo>
                    <a:lnTo>
                      <a:pt x="382" y="1706"/>
                    </a:lnTo>
                    <a:lnTo>
                      <a:pt x="375" y="1712"/>
                    </a:lnTo>
                    <a:lnTo>
                      <a:pt x="371" y="1715"/>
                    </a:lnTo>
                    <a:lnTo>
                      <a:pt x="369" y="1719"/>
                    </a:lnTo>
                    <a:lnTo>
                      <a:pt x="366" y="1722"/>
                    </a:lnTo>
                    <a:lnTo>
                      <a:pt x="364" y="1726"/>
                    </a:lnTo>
                    <a:lnTo>
                      <a:pt x="363" y="1731"/>
                    </a:lnTo>
                    <a:lnTo>
                      <a:pt x="363" y="1735"/>
                    </a:lnTo>
                    <a:lnTo>
                      <a:pt x="363" y="1741"/>
                    </a:lnTo>
                    <a:lnTo>
                      <a:pt x="364" y="1747"/>
                    </a:lnTo>
                    <a:lnTo>
                      <a:pt x="366" y="1753"/>
                    </a:lnTo>
                    <a:lnTo>
                      <a:pt x="368" y="1758"/>
                    </a:lnTo>
                    <a:lnTo>
                      <a:pt x="371" y="1763"/>
                    </a:lnTo>
                    <a:lnTo>
                      <a:pt x="375" y="1767"/>
                    </a:lnTo>
                    <a:lnTo>
                      <a:pt x="378" y="1771"/>
                    </a:lnTo>
                    <a:lnTo>
                      <a:pt x="382" y="1775"/>
                    </a:lnTo>
                    <a:lnTo>
                      <a:pt x="385" y="1777"/>
                    </a:lnTo>
                    <a:lnTo>
                      <a:pt x="390" y="1778"/>
                    </a:lnTo>
                    <a:lnTo>
                      <a:pt x="396" y="1780"/>
                    </a:lnTo>
                    <a:lnTo>
                      <a:pt x="401" y="1784"/>
                    </a:lnTo>
                    <a:lnTo>
                      <a:pt x="403" y="1790"/>
                    </a:lnTo>
                    <a:lnTo>
                      <a:pt x="406" y="1798"/>
                    </a:lnTo>
                    <a:lnTo>
                      <a:pt x="406" y="1807"/>
                    </a:lnTo>
                    <a:lnTo>
                      <a:pt x="407" y="1816"/>
                    </a:lnTo>
                    <a:lnTo>
                      <a:pt x="408" y="1821"/>
                    </a:lnTo>
                    <a:lnTo>
                      <a:pt x="410" y="1826"/>
                    </a:lnTo>
                    <a:lnTo>
                      <a:pt x="413" y="1830"/>
                    </a:lnTo>
                    <a:lnTo>
                      <a:pt x="416" y="1835"/>
                    </a:lnTo>
                    <a:lnTo>
                      <a:pt x="420" y="1840"/>
                    </a:lnTo>
                    <a:lnTo>
                      <a:pt x="422" y="1845"/>
                    </a:lnTo>
                    <a:lnTo>
                      <a:pt x="422" y="1849"/>
                    </a:lnTo>
                    <a:lnTo>
                      <a:pt x="422" y="1853"/>
                    </a:lnTo>
                    <a:lnTo>
                      <a:pt x="420" y="1862"/>
                    </a:lnTo>
                    <a:lnTo>
                      <a:pt x="416" y="1872"/>
                    </a:lnTo>
                    <a:lnTo>
                      <a:pt x="415" y="1878"/>
                    </a:lnTo>
                    <a:lnTo>
                      <a:pt x="414" y="1884"/>
                    </a:lnTo>
                    <a:lnTo>
                      <a:pt x="414" y="1890"/>
                    </a:lnTo>
                    <a:lnTo>
                      <a:pt x="415" y="1895"/>
                    </a:lnTo>
                    <a:lnTo>
                      <a:pt x="416" y="1900"/>
                    </a:lnTo>
                    <a:lnTo>
                      <a:pt x="418" y="1905"/>
                    </a:lnTo>
                    <a:lnTo>
                      <a:pt x="420" y="1909"/>
                    </a:lnTo>
                    <a:lnTo>
                      <a:pt x="424" y="1911"/>
                    </a:lnTo>
                    <a:lnTo>
                      <a:pt x="439" y="1916"/>
                    </a:lnTo>
                    <a:lnTo>
                      <a:pt x="454" y="1923"/>
                    </a:lnTo>
                    <a:lnTo>
                      <a:pt x="463" y="1933"/>
                    </a:lnTo>
                    <a:lnTo>
                      <a:pt x="473" y="1947"/>
                    </a:lnTo>
                    <a:lnTo>
                      <a:pt x="479" y="1955"/>
                    </a:lnTo>
                    <a:lnTo>
                      <a:pt x="485" y="1965"/>
                    </a:lnTo>
                    <a:lnTo>
                      <a:pt x="489" y="1975"/>
                    </a:lnTo>
                    <a:lnTo>
                      <a:pt x="492" y="1985"/>
                    </a:lnTo>
                    <a:lnTo>
                      <a:pt x="494" y="1994"/>
                    </a:lnTo>
                    <a:lnTo>
                      <a:pt x="495" y="2004"/>
                    </a:lnTo>
                    <a:lnTo>
                      <a:pt x="495" y="2013"/>
                    </a:lnTo>
                    <a:lnTo>
                      <a:pt x="495" y="2022"/>
                    </a:lnTo>
                    <a:lnTo>
                      <a:pt x="495" y="2030"/>
                    </a:lnTo>
                    <a:lnTo>
                      <a:pt x="495" y="2038"/>
                    </a:lnTo>
                    <a:lnTo>
                      <a:pt x="495" y="2046"/>
                    </a:lnTo>
                    <a:lnTo>
                      <a:pt x="497" y="2054"/>
                    </a:lnTo>
                    <a:lnTo>
                      <a:pt x="500" y="2065"/>
                    </a:lnTo>
                    <a:lnTo>
                      <a:pt x="503" y="2076"/>
                    </a:lnTo>
                    <a:lnTo>
                      <a:pt x="506" y="2089"/>
                    </a:lnTo>
                    <a:lnTo>
                      <a:pt x="508" y="2104"/>
                    </a:lnTo>
                    <a:lnTo>
                      <a:pt x="509" y="2107"/>
                    </a:lnTo>
                    <a:lnTo>
                      <a:pt x="511" y="2112"/>
                    </a:lnTo>
                    <a:lnTo>
                      <a:pt x="513" y="2114"/>
                    </a:lnTo>
                    <a:lnTo>
                      <a:pt x="516" y="2117"/>
                    </a:lnTo>
                    <a:lnTo>
                      <a:pt x="519" y="2118"/>
                    </a:lnTo>
                    <a:lnTo>
                      <a:pt x="522" y="2118"/>
                    </a:lnTo>
                    <a:lnTo>
                      <a:pt x="527" y="2118"/>
                    </a:lnTo>
                    <a:lnTo>
                      <a:pt x="532" y="2117"/>
                    </a:lnTo>
                    <a:lnTo>
                      <a:pt x="541" y="2116"/>
                    </a:lnTo>
                    <a:lnTo>
                      <a:pt x="550" y="2117"/>
                    </a:lnTo>
                    <a:lnTo>
                      <a:pt x="557" y="2119"/>
                    </a:lnTo>
                    <a:lnTo>
                      <a:pt x="563" y="2122"/>
                    </a:lnTo>
                    <a:lnTo>
                      <a:pt x="567" y="2124"/>
                    </a:lnTo>
                    <a:lnTo>
                      <a:pt x="573" y="2124"/>
                    </a:lnTo>
                    <a:lnTo>
                      <a:pt x="576" y="2124"/>
                    </a:lnTo>
                    <a:lnTo>
                      <a:pt x="578" y="2123"/>
                    </a:lnTo>
                    <a:lnTo>
                      <a:pt x="580" y="2122"/>
                    </a:lnTo>
                    <a:lnTo>
                      <a:pt x="583" y="2118"/>
                    </a:lnTo>
                    <a:lnTo>
                      <a:pt x="591" y="2111"/>
                    </a:lnTo>
                    <a:lnTo>
                      <a:pt x="599" y="2103"/>
                    </a:lnTo>
                    <a:lnTo>
                      <a:pt x="608" y="2095"/>
                    </a:lnTo>
                    <a:lnTo>
                      <a:pt x="617" y="2089"/>
                    </a:lnTo>
                    <a:lnTo>
                      <a:pt x="628" y="2082"/>
                    </a:lnTo>
                    <a:lnTo>
                      <a:pt x="638" y="2078"/>
                    </a:lnTo>
                    <a:lnTo>
                      <a:pt x="647" y="2073"/>
                    </a:lnTo>
                    <a:lnTo>
                      <a:pt x="657" y="2068"/>
                    </a:lnTo>
                    <a:lnTo>
                      <a:pt x="664" y="2065"/>
                    </a:lnTo>
                    <a:lnTo>
                      <a:pt x="671" y="2059"/>
                    </a:lnTo>
                    <a:lnTo>
                      <a:pt x="676" y="2050"/>
                    </a:lnTo>
                    <a:lnTo>
                      <a:pt x="681" y="2042"/>
                    </a:lnTo>
                    <a:lnTo>
                      <a:pt x="686" y="2034"/>
                    </a:lnTo>
                    <a:lnTo>
                      <a:pt x="693" y="2025"/>
                    </a:lnTo>
                    <a:lnTo>
                      <a:pt x="701" y="2018"/>
                    </a:lnTo>
                    <a:lnTo>
                      <a:pt x="710" y="2012"/>
                    </a:lnTo>
                    <a:lnTo>
                      <a:pt x="723" y="2005"/>
                    </a:lnTo>
                    <a:lnTo>
                      <a:pt x="735" y="2002"/>
                    </a:lnTo>
                    <a:lnTo>
                      <a:pt x="740" y="2002"/>
                    </a:lnTo>
                    <a:lnTo>
                      <a:pt x="744" y="2003"/>
                    </a:lnTo>
                    <a:lnTo>
                      <a:pt x="750" y="2007"/>
                    </a:lnTo>
                    <a:lnTo>
                      <a:pt x="755" y="2015"/>
                    </a:lnTo>
                    <a:lnTo>
                      <a:pt x="761" y="2023"/>
                    </a:lnTo>
                    <a:lnTo>
                      <a:pt x="769" y="2030"/>
                    </a:lnTo>
                    <a:lnTo>
                      <a:pt x="774" y="2032"/>
                    </a:lnTo>
                    <a:lnTo>
                      <a:pt x="780" y="2035"/>
                    </a:lnTo>
                    <a:lnTo>
                      <a:pt x="786" y="2035"/>
                    </a:lnTo>
                    <a:lnTo>
                      <a:pt x="791" y="2035"/>
                    </a:lnTo>
                    <a:lnTo>
                      <a:pt x="794" y="2036"/>
                    </a:lnTo>
                    <a:lnTo>
                      <a:pt x="798" y="2037"/>
                    </a:lnTo>
                    <a:lnTo>
                      <a:pt x="800" y="2040"/>
                    </a:lnTo>
                    <a:lnTo>
                      <a:pt x="802" y="2043"/>
                    </a:lnTo>
                    <a:lnTo>
                      <a:pt x="803" y="2053"/>
                    </a:lnTo>
                    <a:lnTo>
                      <a:pt x="802" y="2062"/>
                    </a:lnTo>
                    <a:lnTo>
                      <a:pt x="798" y="2072"/>
                    </a:lnTo>
                    <a:lnTo>
                      <a:pt x="793" y="2080"/>
                    </a:lnTo>
                    <a:lnTo>
                      <a:pt x="786" y="2088"/>
                    </a:lnTo>
                    <a:lnTo>
                      <a:pt x="779" y="2097"/>
                    </a:lnTo>
                    <a:lnTo>
                      <a:pt x="771" y="2104"/>
                    </a:lnTo>
                    <a:lnTo>
                      <a:pt x="762" y="2110"/>
                    </a:lnTo>
                    <a:lnTo>
                      <a:pt x="753" y="2114"/>
                    </a:lnTo>
                    <a:lnTo>
                      <a:pt x="743" y="2119"/>
                    </a:lnTo>
                    <a:lnTo>
                      <a:pt x="740" y="2123"/>
                    </a:lnTo>
                    <a:lnTo>
                      <a:pt x="735" y="2126"/>
                    </a:lnTo>
                    <a:lnTo>
                      <a:pt x="733" y="2131"/>
                    </a:lnTo>
                    <a:lnTo>
                      <a:pt x="729" y="2136"/>
                    </a:lnTo>
                    <a:lnTo>
                      <a:pt x="725" y="2148"/>
                    </a:lnTo>
                    <a:lnTo>
                      <a:pt x="721" y="2161"/>
                    </a:lnTo>
                    <a:lnTo>
                      <a:pt x="717" y="2173"/>
                    </a:lnTo>
                    <a:lnTo>
                      <a:pt x="715" y="2181"/>
                    </a:lnTo>
                    <a:lnTo>
                      <a:pt x="715" y="2183"/>
                    </a:lnTo>
                    <a:lnTo>
                      <a:pt x="715" y="2186"/>
                    </a:lnTo>
                    <a:lnTo>
                      <a:pt x="716" y="2189"/>
                    </a:lnTo>
                    <a:lnTo>
                      <a:pt x="717" y="2192"/>
                    </a:lnTo>
                    <a:lnTo>
                      <a:pt x="723" y="2198"/>
                    </a:lnTo>
                    <a:lnTo>
                      <a:pt x="731" y="2204"/>
                    </a:lnTo>
                    <a:lnTo>
                      <a:pt x="736" y="2207"/>
                    </a:lnTo>
                    <a:lnTo>
                      <a:pt x="742" y="2208"/>
                    </a:lnTo>
                    <a:lnTo>
                      <a:pt x="749" y="2210"/>
                    </a:lnTo>
                    <a:lnTo>
                      <a:pt x="756" y="2211"/>
                    </a:lnTo>
                    <a:lnTo>
                      <a:pt x="769" y="2212"/>
                    </a:lnTo>
                    <a:lnTo>
                      <a:pt x="780" y="2211"/>
                    </a:lnTo>
                    <a:lnTo>
                      <a:pt x="787" y="2210"/>
                    </a:lnTo>
                    <a:lnTo>
                      <a:pt x="797" y="2206"/>
                    </a:lnTo>
                    <a:lnTo>
                      <a:pt x="804" y="2201"/>
                    </a:lnTo>
                    <a:lnTo>
                      <a:pt x="812" y="2193"/>
                    </a:lnTo>
                    <a:lnTo>
                      <a:pt x="821" y="2182"/>
                    </a:lnTo>
                    <a:lnTo>
                      <a:pt x="832" y="2171"/>
                    </a:lnTo>
                    <a:lnTo>
                      <a:pt x="838" y="2166"/>
                    </a:lnTo>
                    <a:lnTo>
                      <a:pt x="846" y="2162"/>
                    </a:lnTo>
                    <a:lnTo>
                      <a:pt x="851" y="2158"/>
                    </a:lnTo>
                    <a:lnTo>
                      <a:pt x="857" y="2156"/>
                    </a:lnTo>
                    <a:lnTo>
                      <a:pt x="867" y="2154"/>
                    </a:lnTo>
                    <a:lnTo>
                      <a:pt x="874" y="2150"/>
                    </a:lnTo>
                    <a:lnTo>
                      <a:pt x="878" y="2148"/>
                    </a:lnTo>
                    <a:lnTo>
                      <a:pt x="880" y="2144"/>
                    </a:lnTo>
                    <a:lnTo>
                      <a:pt x="882" y="2141"/>
                    </a:lnTo>
                    <a:lnTo>
                      <a:pt x="885" y="2136"/>
                    </a:lnTo>
                    <a:lnTo>
                      <a:pt x="886" y="2126"/>
                    </a:lnTo>
                    <a:lnTo>
                      <a:pt x="886" y="2116"/>
                    </a:lnTo>
                    <a:lnTo>
                      <a:pt x="886" y="2112"/>
                    </a:lnTo>
                    <a:lnTo>
                      <a:pt x="884" y="2109"/>
                    </a:lnTo>
                    <a:lnTo>
                      <a:pt x="881" y="2105"/>
                    </a:lnTo>
                    <a:lnTo>
                      <a:pt x="879" y="2103"/>
                    </a:lnTo>
                    <a:lnTo>
                      <a:pt x="875" y="2101"/>
                    </a:lnTo>
                    <a:lnTo>
                      <a:pt x="873" y="2098"/>
                    </a:lnTo>
                    <a:lnTo>
                      <a:pt x="872" y="2095"/>
                    </a:lnTo>
                    <a:lnTo>
                      <a:pt x="871" y="2092"/>
                    </a:lnTo>
                    <a:lnTo>
                      <a:pt x="871" y="2088"/>
                    </a:lnTo>
                    <a:lnTo>
                      <a:pt x="871" y="2085"/>
                    </a:lnTo>
                    <a:lnTo>
                      <a:pt x="873" y="2081"/>
                    </a:lnTo>
                    <a:lnTo>
                      <a:pt x="874" y="2079"/>
                    </a:lnTo>
                    <a:lnTo>
                      <a:pt x="887" y="2062"/>
                    </a:lnTo>
                    <a:lnTo>
                      <a:pt x="900" y="2049"/>
                    </a:lnTo>
                    <a:lnTo>
                      <a:pt x="904" y="2047"/>
                    </a:lnTo>
                    <a:lnTo>
                      <a:pt x="907" y="2046"/>
                    </a:lnTo>
                    <a:lnTo>
                      <a:pt x="912" y="2046"/>
                    </a:lnTo>
                    <a:lnTo>
                      <a:pt x="916" y="2046"/>
                    </a:lnTo>
                    <a:lnTo>
                      <a:pt x="920" y="2047"/>
                    </a:lnTo>
                    <a:lnTo>
                      <a:pt x="924" y="2048"/>
                    </a:lnTo>
                    <a:lnTo>
                      <a:pt x="928" y="2051"/>
                    </a:lnTo>
                    <a:lnTo>
                      <a:pt x="931" y="2056"/>
                    </a:lnTo>
                    <a:lnTo>
                      <a:pt x="936" y="2066"/>
                    </a:lnTo>
                    <a:lnTo>
                      <a:pt x="939" y="2074"/>
                    </a:lnTo>
                    <a:lnTo>
                      <a:pt x="942" y="2078"/>
                    </a:lnTo>
                    <a:lnTo>
                      <a:pt x="944" y="2081"/>
                    </a:lnTo>
                    <a:lnTo>
                      <a:pt x="949" y="2082"/>
                    </a:lnTo>
                    <a:lnTo>
                      <a:pt x="954" y="2084"/>
                    </a:lnTo>
                    <a:lnTo>
                      <a:pt x="967" y="2084"/>
                    </a:lnTo>
                    <a:lnTo>
                      <a:pt x="977" y="2084"/>
                    </a:lnTo>
                    <a:lnTo>
                      <a:pt x="983" y="2085"/>
                    </a:lnTo>
                    <a:lnTo>
                      <a:pt x="988" y="2087"/>
                    </a:lnTo>
                    <a:lnTo>
                      <a:pt x="993" y="2091"/>
                    </a:lnTo>
                    <a:lnTo>
                      <a:pt x="998" y="2097"/>
                    </a:lnTo>
                    <a:lnTo>
                      <a:pt x="1008" y="2111"/>
                    </a:lnTo>
                    <a:lnTo>
                      <a:pt x="1020" y="2130"/>
                    </a:lnTo>
                    <a:lnTo>
                      <a:pt x="1032" y="2149"/>
                    </a:lnTo>
                    <a:lnTo>
                      <a:pt x="1040" y="2164"/>
                    </a:lnTo>
                    <a:lnTo>
                      <a:pt x="1046" y="2176"/>
                    </a:lnTo>
                    <a:lnTo>
                      <a:pt x="1054" y="2183"/>
                    </a:lnTo>
                    <a:lnTo>
                      <a:pt x="1056" y="2186"/>
                    </a:lnTo>
                    <a:lnTo>
                      <a:pt x="1061" y="2186"/>
                    </a:lnTo>
                    <a:lnTo>
                      <a:pt x="1065" y="2186"/>
                    </a:lnTo>
                    <a:lnTo>
                      <a:pt x="1070" y="2185"/>
                    </a:lnTo>
                    <a:lnTo>
                      <a:pt x="1081" y="2180"/>
                    </a:lnTo>
                    <a:lnTo>
                      <a:pt x="1089" y="2179"/>
                    </a:lnTo>
                    <a:lnTo>
                      <a:pt x="1092" y="2179"/>
                    </a:lnTo>
                    <a:lnTo>
                      <a:pt x="1095" y="2180"/>
                    </a:lnTo>
                    <a:lnTo>
                      <a:pt x="1098" y="2182"/>
                    </a:lnTo>
                    <a:lnTo>
                      <a:pt x="1100" y="2186"/>
                    </a:lnTo>
                    <a:lnTo>
                      <a:pt x="1103" y="2191"/>
                    </a:lnTo>
                    <a:lnTo>
                      <a:pt x="1106" y="2193"/>
                    </a:lnTo>
                    <a:lnTo>
                      <a:pt x="1109" y="2195"/>
                    </a:lnTo>
                    <a:lnTo>
                      <a:pt x="1113" y="2195"/>
                    </a:lnTo>
                    <a:lnTo>
                      <a:pt x="1120" y="2195"/>
                    </a:lnTo>
                    <a:lnTo>
                      <a:pt x="1127" y="2193"/>
                    </a:lnTo>
                    <a:lnTo>
                      <a:pt x="1136" y="2191"/>
                    </a:lnTo>
                    <a:lnTo>
                      <a:pt x="1145" y="2189"/>
                    </a:lnTo>
                    <a:lnTo>
                      <a:pt x="1155" y="2189"/>
                    </a:lnTo>
                    <a:lnTo>
                      <a:pt x="1164" y="2192"/>
                    </a:lnTo>
                    <a:lnTo>
                      <a:pt x="1169" y="2193"/>
                    </a:lnTo>
                    <a:lnTo>
                      <a:pt x="1174" y="2193"/>
                    </a:lnTo>
                    <a:lnTo>
                      <a:pt x="1178" y="2193"/>
                    </a:lnTo>
                    <a:lnTo>
                      <a:pt x="1183" y="2193"/>
                    </a:lnTo>
                    <a:lnTo>
                      <a:pt x="1191" y="2191"/>
                    </a:lnTo>
                    <a:lnTo>
                      <a:pt x="1200" y="2186"/>
                    </a:lnTo>
                    <a:lnTo>
                      <a:pt x="1209" y="2182"/>
                    </a:lnTo>
                    <a:lnTo>
                      <a:pt x="1220" y="2179"/>
                    </a:lnTo>
                    <a:lnTo>
                      <a:pt x="1226" y="2179"/>
                    </a:lnTo>
                    <a:lnTo>
                      <a:pt x="1233" y="2179"/>
                    </a:lnTo>
                    <a:lnTo>
                      <a:pt x="1241" y="2180"/>
                    </a:lnTo>
                    <a:lnTo>
                      <a:pt x="1249" y="2182"/>
                    </a:lnTo>
                    <a:lnTo>
                      <a:pt x="1263" y="2188"/>
                    </a:lnTo>
                    <a:lnTo>
                      <a:pt x="1273" y="2193"/>
                    </a:lnTo>
                    <a:lnTo>
                      <a:pt x="1277" y="2195"/>
                    </a:lnTo>
                    <a:lnTo>
                      <a:pt x="1279" y="2199"/>
                    </a:lnTo>
                    <a:lnTo>
                      <a:pt x="1282" y="2202"/>
                    </a:lnTo>
                    <a:lnTo>
                      <a:pt x="1282" y="2208"/>
                    </a:lnTo>
                    <a:lnTo>
                      <a:pt x="1283" y="2219"/>
                    </a:lnTo>
                    <a:lnTo>
                      <a:pt x="1284" y="2227"/>
                    </a:lnTo>
                    <a:lnTo>
                      <a:pt x="1285" y="2231"/>
                    </a:lnTo>
                    <a:lnTo>
                      <a:pt x="1288" y="2234"/>
                    </a:lnTo>
                    <a:lnTo>
                      <a:pt x="1291" y="2237"/>
                    </a:lnTo>
                    <a:lnTo>
                      <a:pt x="1296" y="2239"/>
                    </a:lnTo>
                    <a:lnTo>
                      <a:pt x="1307" y="2242"/>
                    </a:lnTo>
                    <a:lnTo>
                      <a:pt x="1313" y="2242"/>
                    </a:lnTo>
                    <a:lnTo>
                      <a:pt x="1317" y="2239"/>
                    </a:lnTo>
                    <a:lnTo>
                      <a:pt x="1326" y="2234"/>
                    </a:lnTo>
                    <a:lnTo>
                      <a:pt x="1334" y="2227"/>
                    </a:lnTo>
                    <a:lnTo>
                      <a:pt x="1342" y="2218"/>
                    </a:lnTo>
                    <a:lnTo>
                      <a:pt x="1350" y="2206"/>
                    </a:lnTo>
                    <a:lnTo>
                      <a:pt x="1353" y="2198"/>
                    </a:lnTo>
                    <a:lnTo>
                      <a:pt x="1354" y="2194"/>
                    </a:lnTo>
                    <a:lnTo>
                      <a:pt x="1357" y="2192"/>
                    </a:lnTo>
                    <a:lnTo>
                      <a:pt x="1359" y="2189"/>
                    </a:lnTo>
                    <a:lnTo>
                      <a:pt x="1363" y="2187"/>
                    </a:lnTo>
                    <a:lnTo>
                      <a:pt x="1366" y="2186"/>
                    </a:lnTo>
                    <a:lnTo>
                      <a:pt x="1370" y="2185"/>
                    </a:lnTo>
                    <a:lnTo>
                      <a:pt x="1375" y="2183"/>
                    </a:lnTo>
                    <a:lnTo>
                      <a:pt x="1380" y="2183"/>
                    </a:lnTo>
                    <a:lnTo>
                      <a:pt x="1389" y="2183"/>
                    </a:lnTo>
                    <a:lnTo>
                      <a:pt x="1396" y="2181"/>
                    </a:lnTo>
                    <a:lnTo>
                      <a:pt x="1399" y="2177"/>
                    </a:lnTo>
                    <a:lnTo>
                      <a:pt x="1402" y="2174"/>
                    </a:lnTo>
                    <a:lnTo>
                      <a:pt x="1404" y="2170"/>
                    </a:lnTo>
                    <a:lnTo>
                      <a:pt x="1408" y="2168"/>
                    </a:lnTo>
                    <a:lnTo>
                      <a:pt x="1413" y="2167"/>
                    </a:lnTo>
                    <a:lnTo>
                      <a:pt x="1417" y="2167"/>
                    </a:lnTo>
                    <a:lnTo>
                      <a:pt x="1422" y="2166"/>
                    </a:lnTo>
                    <a:lnTo>
                      <a:pt x="1424" y="2163"/>
                    </a:lnTo>
                    <a:lnTo>
                      <a:pt x="1426" y="2161"/>
                    </a:lnTo>
                    <a:lnTo>
                      <a:pt x="1427" y="2158"/>
                    </a:lnTo>
                    <a:lnTo>
                      <a:pt x="1427" y="2155"/>
                    </a:lnTo>
                    <a:lnTo>
                      <a:pt x="1426" y="2151"/>
                    </a:lnTo>
                    <a:lnTo>
                      <a:pt x="1426" y="2147"/>
                    </a:lnTo>
                    <a:lnTo>
                      <a:pt x="1426" y="2142"/>
                    </a:lnTo>
                    <a:lnTo>
                      <a:pt x="1427" y="2137"/>
                    </a:lnTo>
                    <a:lnTo>
                      <a:pt x="1429" y="2132"/>
                    </a:lnTo>
                    <a:lnTo>
                      <a:pt x="1433" y="2129"/>
                    </a:lnTo>
                    <a:lnTo>
                      <a:pt x="1438" y="2125"/>
                    </a:lnTo>
                    <a:lnTo>
                      <a:pt x="1443" y="2122"/>
                    </a:lnTo>
                    <a:lnTo>
                      <a:pt x="1449" y="2118"/>
                    </a:lnTo>
                    <a:lnTo>
                      <a:pt x="1457" y="2114"/>
                    </a:lnTo>
                    <a:lnTo>
                      <a:pt x="1465" y="2111"/>
                    </a:lnTo>
                    <a:lnTo>
                      <a:pt x="1472" y="2106"/>
                    </a:lnTo>
                    <a:lnTo>
                      <a:pt x="1479" y="2100"/>
                    </a:lnTo>
                    <a:lnTo>
                      <a:pt x="1486" y="2094"/>
                    </a:lnTo>
                    <a:lnTo>
                      <a:pt x="1491" y="2088"/>
                    </a:lnTo>
                    <a:lnTo>
                      <a:pt x="1495" y="2082"/>
                    </a:lnTo>
                    <a:lnTo>
                      <a:pt x="1495" y="2076"/>
                    </a:lnTo>
                    <a:lnTo>
                      <a:pt x="1493" y="2066"/>
                    </a:lnTo>
                    <a:lnTo>
                      <a:pt x="1492" y="2054"/>
                    </a:lnTo>
                    <a:lnTo>
                      <a:pt x="1493" y="2049"/>
                    </a:lnTo>
                    <a:lnTo>
                      <a:pt x="1493" y="2043"/>
                    </a:lnTo>
                    <a:lnTo>
                      <a:pt x="1496" y="2038"/>
                    </a:lnTo>
                    <a:lnTo>
                      <a:pt x="1498" y="2034"/>
                    </a:lnTo>
                    <a:lnTo>
                      <a:pt x="1512" y="2018"/>
                    </a:lnTo>
                    <a:lnTo>
                      <a:pt x="1522" y="2005"/>
                    </a:lnTo>
                    <a:lnTo>
                      <a:pt x="1523" y="1998"/>
                    </a:lnTo>
                    <a:lnTo>
                      <a:pt x="1527" y="1993"/>
                    </a:lnTo>
                    <a:lnTo>
                      <a:pt x="1530" y="1988"/>
                    </a:lnTo>
                    <a:lnTo>
                      <a:pt x="1534" y="1986"/>
                    </a:lnTo>
                    <a:lnTo>
                      <a:pt x="1537" y="1983"/>
                    </a:lnTo>
                    <a:lnTo>
                      <a:pt x="1540" y="1978"/>
                    </a:lnTo>
                    <a:lnTo>
                      <a:pt x="1541" y="1969"/>
                    </a:lnTo>
                    <a:lnTo>
                      <a:pt x="1540" y="1959"/>
                    </a:lnTo>
                    <a:lnTo>
                      <a:pt x="1536" y="1948"/>
                    </a:lnTo>
                    <a:lnTo>
                      <a:pt x="1529" y="1936"/>
                    </a:lnTo>
                    <a:lnTo>
                      <a:pt x="1526" y="1931"/>
                    </a:lnTo>
                    <a:lnTo>
                      <a:pt x="1523" y="1925"/>
                    </a:lnTo>
                    <a:lnTo>
                      <a:pt x="1521" y="1921"/>
                    </a:lnTo>
                    <a:lnTo>
                      <a:pt x="1520" y="1915"/>
                    </a:lnTo>
                    <a:lnTo>
                      <a:pt x="1521" y="1904"/>
                    </a:lnTo>
                    <a:lnTo>
                      <a:pt x="1522" y="1896"/>
                    </a:lnTo>
                    <a:lnTo>
                      <a:pt x="1524" y="1892"/>
                    </a:lnTo>
                    <a:lnTo>
                      <a:pt x="1526" y="1890"/>
                    </a:lnTo>
                    <a:lnTo>
                      <a:pt x="1528" y="1887"/>
                    </a:lnTo>
                    <a:lnTo>
                      <a:pt x="1531" y="1886"/>
                    </a:lnTo>
                    <a:lnTo>
                      <a:pt x="1534" y="1886"/>
                    </a:lnTo>
                    <a:lnTo>
                      <a:pt x="1536" y="1884"/>
                    </a:lnTo>
                    <a:lnTo>
                      <a:pt x="1539" y="1883"/>
                    </a:lnTo>
                    <a:lnTo>
                      <a:pt x="1540" y="1879"/>
                    </a:lnTo>
                    <a:lnTo>
                      <a:pt x="1541" y="1877"/>
                    </a:lnTo>
                    <a:lnTo>
                      <a:pt x="1541" y="1873"/>
                    </a:lnTo>
                    <a:lnTo>
                      <a:pt x="1540" y="1870"/>
                    </a:lnTo>
                    <a:lnTo>
                      <a:pt x="1537" y="1866"/>
                    </a:lnTo>
                    <a:lnTo>
                      <a:pt x="1533" y="1860"/>
                    </a:lnTo>
                    <a:lnTo>
                      <a:pt x="1528" y="1853"/>
                    </a:lnTo>
                    <a:lnTo>
                      <a:pt x="1526" y="1849"/>
                    </a:lnTo>
                    <a:lnTo>
                      <a:pt x="1524" y="1846"/>
                    </a:lnTo>
                    <a:lnTo>
                      <a:pt x="1524" y="1840"/>
                    </a:lnTo>
                    <a:lnTo>
                      <a:pt x="1524" y="1835"/>
                    </a:lnTo>
                    <a:lnTo>
                      <a:pt x="1526" y="1828"/>
                    </a:lnTo>
                    <a:lnTo>
                      <a:pt x="1528" y="1822"/>
                    </a:lnTo>
                    <a:lnTo>
                      <a:pt x="1530" y="1817"/>
                    </a:lnTo>
                    <a:lnTo>
                      <a:pt x="1535" y="1813"/>
                    </a:lnTo>
                    <a:lnTo>
                      <a:pt x="1540" y="1809"/>
                    </a:lnTo>
                    <a:lnTo>
                      <a:pt x="1546" y="1807"/>
                    </a:lnTo>
                    <a:lnTo>
                      <a:pt x="1550" y="1805"/>
                    </a:lnTo>
                    <a:lnTo>
                      <a:pt x="1556" y="1808"/>
                    </a:lnTo>
                    <a:lnTo>
                      <a:pt x="1567" y="1813"/>
                    </a:lnTo>
                    <a:lnTo>
                      <a:pt x="1578" y="1816"/>
                    </a:lnTo>
                    <a:lnTo>
                      <a:pt x="1587" y="1817"/>
                    </a:lnTo>
                    <a:lnTo>
                      <a:pt x="1597" y="1817"/>
                    </a:lnTo>
                    <a:lnTo>
                      <a:pt x="1606" y="1816"/>
                    </a:lnTo>
                    <a:lnTo>
                      <a:pt x="1616" y="1816"/>
                    </a:lnTo>
                    <a:lnTo>
                      <a:pt x="1624" y="1818"/>
                    </a:lnTo>
                    <a:lnTo>
                      <a:pt x="1632" y="1822"/>
                    </a:lnTo>
                    <a:lnTo>
                      <a:pt x="1641" y="1826"/>
                    </a:lnTo>
                    <a:lnTo>
                      <a:pt x="1647" y="1827"/>
                    </a:lnTo>
                    <a:lnTo>
                      <a:pt x="1650" y="1827"/>
                    </a:lnTo>
                    <a:lnTo>
                      <a:pt x="1653" y="1826"/>
                    </a:lnTo>
                    <a:lnTo>
                      <a:pt x="1655" y="1822"/>
                    </a:lnTo>
                    <a:lnTo>
                      <a:pt x="1657" y="1817"/>
                    </a:lnTo>
                    <a:lnTo>
                      <a:pt x="1660" y="1809"/>
                    </a:lnTo>
                    <a:lnTo>
                      <a:pt x="1663" y="1801"/>
                    </a:lnTo>
                    <a:lnTo>
                      <a:pt x="1667" y="1798"/>
                    </a:lnTo>
                    <a:lnTo>
                      <a:pt x="1671" y="1796"/>
                    </a:lnTo>
                    <a:lnTo>
                      <a:pt x="1676" y="1794"/>
                    </a:lnTo>
                    <a:lnTo>
                      <a:pt x="1682" y="1792"/>
                    </a:lnTo>
                    <a:lnTo>
                      <a:pt x="1694" y="1789"/>
                    </a:lnTo>
                    <a:lnTo>
                      <a:pt x="1701" y="1786"/>
                    </a:lnTo>
                    <a:lnTo>
                      <a:pt x="1703" y="1784"/>
                    </a:lnTo>
                    <a:lnTo>
                      <a:pt x="1703" y="1782"/>
                    </a:lnTo>
                    <a:lnTo>
                      <a:pt x="1703" y="1778"/>
                    </a:lnTo>
                    <a:lnTo>
                      <a:pt x="1703" y="1773"/>
                    </a:lnTo>
                    <a:lnTo>
                      <a:pt x="1700" y="1760"/>
                    </a:lnTo>
                    <a:lnTo>
                      <a:pt x="1697" y="1747"/>
                    </a:lnTo>
                    <a:lnTo>
                      <a:pt x="1694" y="1740"/>
                    </a:lnTo>
                    <a:lnTo>
                      <a:pt x="1692" y="1735"/>
                    </a:lnTo>
                    <a:lnTo>
                      <a:pt x="1688" y="1731"/>
                    </a:lnTo>
                    <a:lnTo>
                      <a:pt x="1685" y="1728"/>
                    </a:lnTo>
                    <a:lnTo>
                      <a:pt x="1667" y="1722"/>
                    </a:lnTo>
                    <a:lnTo>
                      <a:pt x="1652" y="1716"/>
                    </a:lnTo>
                    <a:lnTo>
                      <a:pt x="1648" y="1713"/>
                    </a:lnTo>
                    <a:lnTo>
                      <a:pt x="1646" y="1707"/>
                    </a:lnTo>
                    <a:lnTo>
                      <a:pt x="1643" y="1701"/>
                    </a:lnTo>
                    <a:lnTo>
                      <a:pt x="1642" y="1695"/>
                    </a:lnTo>
                    <a:lnTo>
                      <a:pt x="1642" y="1688"/>
                    </a:lnTo>
                    <a:lnTo>
                      <a:pt x="1643" y="1683"/>
                    </a:lnTo>
                    <a:lnTo>
                      <a:pt x="1643" y="1681"/>
                    </a:lnTo>
                    <a:lnTo>
                      <a:pt x="1646" y="1679"/>
                    </a:lnTo>
                    <a:lnTo>
                      <a:pt x="1647" y="1678"/>
                    </a:lnTo>
                    <a:lnTo>
                      <a:pt x="1649" y="1677"/>
                    </a:lnTo>
                    <a:lnTo>
                      <a:pt x="1657" y="1676"/>
                    </a:lnTo>
                    <a:lnTo>
                      <a:pt x="1667" y="1675"/>
                    </a:lnTo>
                    <a:lnTo>
                      <a:pt x="1671" y="1673"/>
                    </a:lnTo>
                    <a:lnTo>
                      <a:pt x="1674" y="1671"/>
                    </a:lnTo>
                    <a:lnTo>
                      <a:pt x="1678" y="1668"/>
                    </a:lnTo>
                    <a:lnTo>
                      <a:pt x="1680" y="1664"/>
                    </a:lnTo>
                    <a:lnTo>
                      <a:pt x="1684" y="1656"/>
                    </a:lnTo>
                    <a:lnTo>
                      <a:pt x="1687" y="1650"/>
                    </a:lnTo>
                    <a:lnTo>
                      <a:pt x="1691" y="1649"/>
                    </a:lnTo>
                    <a:lnTo>
                      <a:pt x="1693" y="1649"/>
                    </a:lnTo>
                    <a:lnTo>
                      <a:pt x="1697" y="1650"/>
                    </a:lnTo>
                    <a:lnTo>
                      <a:pt x="1701" y="1652"/>
                    </a:lnTo>
                    <a:lnTo>
                      <a:pt x="1705" y="1656"/>
                    </a:lnTo>
                    <a:lnTo>
                      <a:pt x="1709" y="1657"/>
                    </a:lnTo>
                    <a:lnTo>
                      <a:pt x="1712" y="1658"/>
                    </a:lnTo>
                    <a:lnTo>
                      <a:pt x="1716" y="1658"/>
                    </a:lnTo>
                    <a:lnTo>
                      <a:pt x="1718" y="1657"/>
                    </a:lnTo>
                    <a:lnTo>
                      <a:pt x="1720" y="1656"/>
                    </a:lnTo>
                    <a:lnTo>
                      <a:pt x="1722" y="1653"/>
                    </a:lnTo>
                    <a:lnTo>
                      <a:pt x="1724" y="1651"/>
                    </a:lnTo>
                    <a:lnTo>
                      <a:pt x="1729" y="1644"/>
                    </a:lnTo>
                    <a:lnTo>
                      <a:pt x="1731" y="1635"/>
                    </a:lnTo>
                    <a:lnTo>
                      <a:pt x="1731" y="1627"/>
                    </a:lnTo>
                    <a:lnTo>
                      <a:pt x="1731" y="1619"/>
                    </a:lnTo>
                    <a:lnTo>
                      <a:pt x="1729" y="1612"/>
                    </a:lnTo>
                    <a:lnTo>
                      <a:pt x="1728" y="1605"/>
                    </a:lnTo>
                    <a:lnTo>
                      <a:pt x="1729" y="1602"/>
                    </a:lnTo>
                    <a:lnTo>
                      <a:pt x="1730" y="1600"/>
                    </a:lnTo>
                    <a:lnTo>
                      <a:pt x="1732" y="1599"/>
                    </a:lnTo>
                    <a:lnTo>
                      <a:pt x="1737" y="1599"/>
                    </a:lnTo>
                    <a:lnTo>
                      <a:pt x="1741" y="1597"/>
                    </a:lnTo>
                    <a:lnTo>
                      <a:pt x="1744" y="1597"/>
                    </a:lnTo>
                    <a:lnTo>
                      <a:pt x="1748" y="1595"/>
                    </a:lnTo>
                    <a:lnTo>
                      <a:pt x="1749" y="1593"/>
                    </a:lnTo>
                    <a:lnTo>
                      <a:pt x="1753" y="1586"/>
                    </a:lnTo>
                    <a:lnTo>
                      <a:pt x="1753" y="1576"/>
                    </a:lnTo>
                    <a:lnTo>
                      <a:pt x="1753" y="1563"/>
                    </a:lnTo>
                    <a:lnTo>
                      <a:pt x="1753" y="1549"/>
                    </a:lnTo>
                    <a:lnTo>
                      <a:pt x="1754" y="1534"/>
                    </a:lnTo>
                    <a:lnTo>
                      <a:pt x="1756" y="1524"/>
                    </a:lnTo>
                    <a:lnTo>
                      <a:pt x="1761" y="1513"/>
                    </a:lnTo>
                    <a:lnTo>
                      <a:pt x="1764" y="1499"/>
                    </a:lnTo>
                    <a:lnTo>
                      <a:pt x="1768" y="1484"/>
                    </a:lnTo>
                    <a:lnTo>
                      <a:pt x="1769" y="1473"/>
                    </a:lnTo>
                    <a:lnTo>
                      <a:pt x="1768" y="1458"/>
                    </a:lnTo>
                    <a:lnTo>
                      <a:pt x="1767" y="1446"/>
                    </a:lnTo>
                    <a:lnTo>
                      <a:pt x="1766" y="1444"/>
                    </a:lnTo>
                    <a:lnTo>
                      <a:pt x="1766" y="1442"/>
                    </a:lnTo>
                    <a:lnTo>
                      <a:pt x="1764" y="1442"/>
                    </a:lnTo>
                    <a:lnTo>
                      <a:pt x="1763" y="1442"/>
                    </a:lnTo>
                    <a:lnTo>
                      <a:pt x="1758" y="1443"/>
                    </a:lnTo>
                    <a:lnTo>
                      <a:pt x="1750" y="144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山西"/>
              <p:cNvSpPr/>
              <p:nvPr>
                <p:custDataLst>
                  <p:tags r:id="rId24"/>
                </p:custDataLst>
              </p:nvPr>
            </p:nvSpPr>
            <p:spPr bwMode="auto">
              <a:xfrm>
                <a:off x="4968115" y="2711406"/>
                <a:ext cx="513059" cy="999807"/>
              </a:xfrm>
              <a:custGeom>
                <a:avLst/>
                <a:gdLst>
                  <a:gd name="T0" fmla="*/ 4 w 1396"/>
                  <a:gd name="T1" fmla="*/ 2572 h 2738"/>
                  <a:gd name="T2" fmla="*/ 107 w 1396"/>
                  <a:gd name="T3" fmla="*/ 2294 h 2738"/>
                  <a:gd name="T4" fmla="*/ 76 w 1396"/>
                  <a:gd name="T5" fmla="*/ 2117 h 2738"/>
                  <a:gd name="T6" fmla="*/ 65 w 1396"/>
                  <a:gd name="T7" fmla="*/ 1925 h 2738"/>
                  <a:gd name="T8" fmla="*/ 56 w 1396"/>
                  <a:gd name="T9" fmla="*/ 1806 h 2738"/>
                  <a:gd name="T10" fmla="*/ 45 w 1396"/>
                  <a:gd name="T11" fmla="*/ 1717 h 2738"/>
                  <a:gd name="T12" fmla="*/ 136 w 1396"/>
                  <a:gd name="T13" fmla="*/ 1551 h 2738"/>
                  <a:gd name="T14" fmla="*/ 164 w 1396"/>
                  <a:gd name="T15" fmla="*/ 1462 h 2738"/>
                  <a:gd name="T16" fmla="*/ 149 w 1396"/>
                  <a:gd name="T17" fmla="*/ 1362 h 2738"/>
                  <a:gd name="T18" fmla="*/ 77 w 1396"/>
                  <a:gd name="T19" fmla="*/ 1263 h 2738"/>
                  <a:gd name="T20" fmla="*/ 90 w 1396"/>
                  <a:gd name="T21" fmla="*/ 1128 h 2738"/>
                  <a:gd name="T22" fmla="*/ 163 w 1396"/>
                  <a:gd name="T23" fmla="*/ 1049 h 2738"/>
                  <a:gd name="T24" fmla="*/ 222 w 1396"/>
                  <a:gd name="T25" fmla="*/ 898 h 2738"/>
                  <a:gd name="T26" fmla="*/ 251 w 1396"/>
                  <a:gd name="T27" fmla="*/ 792 h 2738"/>
                  <a:gd name="T28" fmla="*/ 326 w 1396"/>
                  <a:gd name="T29" fmla="*/ 674 h 2738"/>
                  <a:gd name="T30" fmla="*/ 264 w 1396"/>
                  <a:gd name="T31" fmla="*/ 632 h 2738"/>
                  <a:gd name="T32" fmla="*/ 363 w 1396"/>
                  <a:gd name="T33" fmla="*/ 584 h 2738"/>
                  <a:gd name="T34" fmla="*/ 385 w 1396"/>
                  <a:gd name="T35" fmla="*/ 513 h 2738"/>
                  <a:gd name="T36" fmla="*/ 541 w 1396"/>
                  <a:gd name="T37" fmla="*/ 521 h 2738"/>
                  <a:gd name="T38" fmla="*/ 625 w 1396"/>
                  <a:gd name="T39" fmla="*/ 322 h 2738"/>
                  <a:gd name="T40" fmla="*/ 775 w 1396"/>
                  <a:gd name="T41" fmla="*/ 268 h 2738"/>
                  <a:gd name="T42" fmla="*/ 877 w 1396"/>
                  <a:gd name="T43" fmla="*/ 189 h 2738"/>
                  <a:gd name="T44" fmla="*/ 1096 w 1396"/>
                  <a:gd name="T45" fmla="*/ 164 h 2738"/>
                  <a:gd name="T46" fmla="*/ 1218 w 1396"/>
                  <a:gd name="T47" fmla="*/ 60 h 2738"/>
                  <a:gd name="T48" fmla="*/ 1290 w 1396"/>
                  <a:gd name="T49" fmla="*/ 78 h 2738"/>
                  <a:gd name="T50" fmla="*/ 1355 w 1396"/>
                  <a:gd name="T51" fmla="*/ 164 h 2738"/>
                  <a:gd name="T52" fmla="*/ 1318 w 1396"/>
                  <a:gd name="T53" fmla="*/ 216 h 2738"/>
                  <a:gd name="T54" fmla="*/ 1236 w 1396"/>
                  <a:gd name="T55" fmla="*/ 290 h 2738"/>
                  <a:gd name="T56" fmla="*/ 1197 w 1396"/>
                  <a:gd name="T57" fmla="*/ 317 h 2738"/>
                  <a:gd name="T58" fmla="*/ 1249 w 1396"/>
                  <a:gd name="T59" fmla="*/ 368 h 2738"/>
                  <a:gd name="T60" fmla="*/ 1352 w 1396"/>
                  <a:gd name="T61" fmla="*/ 456 h 2738"/>
                  <a:gd name="T62" fmla="*/ 1387 w 1396"/>
                  <a:gd name="T63" fmla="*/ 564 h 2738"/>
                  <a:gd name="T64" fmla="*/ 1372 w 1396"/>
                  <a:gd name="T65" fmla="*/ 687 h 2738"/>
                  <a:gd name="T66" fmla="*/ 1314 w 1396"/>
                  <a:gd name="T67" fmla="*/ 735 h 2738"/>
                  <a:gd name="T68" fmla="*/ 1229 w 1396"/>
                  <a:gd name="T69" fmla="*/ 715 h 2738"/>
                  <a:gd name="T70" fmla="*/ 1176 w 1396"/>
                  <a:gd name="T71" fmla="*/ 841 h 2738"/>
                  <a:gd name="T72" fmla="*/ 1136 w 1396"/>
                  <a:gd name="T73" fmla="*/ 922 h 2738"/>
                  <a:gd name="T74" fmla="*/ 1091 w 1396"/>
                  <a:gd name="T75" fmla="*/ 1018 h 2738"/>
                  <a:gd name="T76" fmla="*/ 1131 w 1396"/>
                  <a:gd name="T77" fmla="*/ 1126 h 2738"/>
                  <a:gd name="T78" fmla="*/ 1189 w 1396"/>
                  <a:gd name="T79" fmla="*/ 1145 h 2738"/>
                  <a:gd name="T80" fmla="*/ 1234 w 1396"/>
                  <a:gd name="T81" fmla="*/ 1276 h 2738"/>
                  <a:gd name="T82" fmla="*/ 1253 w 1396"/>
                  <a:gd name="T83" fmla="*/ 1336 h 2738"/>
                  <a:gd name="T84" fmla="*/ 1278 w 1396"/>
                  <a:gd name="T85" fmla="*/ 1444 h 2738"/>
                  <a:gd name="T86" fmla="*/ 1184 w 1396"/>
                  <a:gd name="T87" fmla="*/ 1615 h 2738"/>
                  <a:gd name="T88" fmla="*/ 1157 w 1396"/>
                  <a:gd name="T89" fmla="*/ 1717 h 2738"/>
                  <a:gd name="T90" fmla="*/ 1097 w 1396"/>
                  <a:gd name="T91" fmla="*/ 1796 h 2738"/>
                  <a:gd name="T92" fmla="*/ 1150 w 1396"/>
                  <a:gd name="T93" fmla="*/ 1888 h 2738"/>
                  <a:gd name="T94" fmla="*/ 1170 w 1396"/>
                  <a:gd name="T95" fmla="*/ 2048 h 2738"/>
                  <a:gd name="T96" fmla="*/ 1157 w 1396"/>
                  <a:gd name="T97" fmla="*/ 2114 h 2738"/>
                  <a:gd name="T98" fmla="*/ 1148 w 1396"/>
                  <a:gd name="T99" fmla="*/ 2199 h 2738"/>
                  <a:gd name="T100" fmla="*/ 1092 w 1396"/>
                  <a:gd name="T101" fmla="*/ 2320 h 2738"/>
                  <a:gd name="T102" fmla="*/ 1039 w 1396"/>
                  <a:gd name="T103" fmla="*/ 2349 h 2738"/>
                  <a:gd name="T104" fmla="*/ 959 w 1396"/>
                  <a:gd name="T105" fmla="*/ 2390 h 2738"/>
                  <a:gd name="T106" fmla="*/ 892 w 1396"/>
                  <a:gd name="T107" fmla="*/ 2430 h 2738"/>
                  <a:gd name="T108" fmla="*/ 816 w 1396"/>
                  <a:gd name="T109" fmla="*/ 2442 h 2738"/>
                  <a:gd name="T110" fmla="*/ 661 w 1396"/>
                  <a:gd name="T111" fmla="*/ 2430 h 2738"/>
                  <a:gd name="T112" fmla="*/ 618 w 1396"/>
                  <a:gd name="T113" fmla="*/ 2508 h 2738"/>
                  <a:gd name="T114" fmla="*/ 541 w 1396"/>
                  <a:gd name="T115" fmla="*/ 2525 h 2738"/>
                  <a:gd name="T116" fmla="*/ 446 w 1396"/>
                  <a:gd name="T117" fmla="*/ 2620 h 2738"/>
                  <a:gd name="T118" fmla="*/ 266 w 1396"/>
                  <a:gd name="T119" fmla="*/ 2676 h 2738"/>
                  <a:gd name="T120" fmla="*/ 131 w 1396"/>
                  <a:gd name="T121" fmla="*/ 2735 h 2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96" h="2738">
                    <a:moveTo>
                      <a:pt x="39" y="2738"/>
                    </a:moveTo>
                    <a:lnTo>
                      <a:pt x="33" y="2738"/>
                    </a:lnTo>
                    <a:lnTo>
                      <a:pt x="27" y="2736"/>
                    </a:lnTo>
                    <a:lnTo>
                      <a:pt x="21" y="2735"/>
                    </a:lnTo>
                    <a:lnTo>
                      <a:pt x="18" y="2731"/>
                    </a:lnTo>
                    <a:lnTo>
                      <a:pt x="13" y="2725"/>
                    </a:lnTo>
                    <a:lnTo>
                      <a:pt x="10" y="2719"/>
                    </a:lnTo>
                    <a:lnTo>
                      <a:pt x="7" y="2711"/>
                    </a:lnTo>
                    <a:lnTo>
                      <a:pt x="5" y="2704"/>
                    </a:lnTo>
                    <a:lnTo>
                      <a:pt x="1" y="2687"/>
                    </a:lnTo>
                    <a:lnTo>
                      <a:pt x="0" y="2673"/>
                    </a:lnTo>
                    <a:lnTo>
                      <a:pt x="0" y="2660"/>
                    </a:lnTo>
                    <a:lnTo>
                      <a:pt x="0" y="2642"/>
                    </a:lnTo>
                    <a:lnTo>
                      <a:pt x="0" y="2623"/>
                    </a:lnTo>
                    <a:lnTo>
                      <a:pt x="0" y="2605"/>
                    </a:lnTo>
                    <a:lnTo>
                      <a:pt x="1" y="2588"/>
                    </a:lnTo>
                    <a:lnTo>
                      <a:pt x="4" y="2572"/>
                    </a:lnTo>
                    <a:lnTo>
                      <a:pt x="7" y="2557"/>
                    </a:lnTo>
                    <a:lnTo>
                      <a:pt x="12" y="2544"/>
                    </a:lnTo>
                    <a:lnTo>
                      <a:pt x="18" y="2531"/>
                    </a:lnTo>
                    <a:lnTo>
                      <a:pt x="21" y="2518"/>
                    </a:lnTo>
                    <a:lnTo>
                      <a:pt x="24" y="2505"/>
                    </a:lnTo>
                    <a:lnTo>
                      <a:pt x="24" y="2493"/>
                    </a:lnTo>
                    <a:lnTo>
                      <a:pt x="26" y="2480"/>
                    </a:lnTo>
                    <a:lnTo>
                      <a:pt x="30" y="2465"/>
                    </a:lnTo>
                    <a:lnTo>
                      <a:pt x="35" y="2448"/>
                    </a:lnTo>
                    <a:lnTo>
                      <a:pt x="40" y="2435"/>
                    </a:lnTo>
                    <a:lnTo>
                      <a:pt x="49" y="2423"/>
                    </a:lnTo>
                    <a:lnTo>
                      <a:pt x="59" y="2408"/>
                    </a:lnTo>
                    <a:lnTo>
                      <a:pt x="71" y="2390"/>
                    </a:lnTo>
                    <a:lnTo>
                      <a:pt x="81" y="2371"/>
                    </a:lnTo>
                    <a:lnTo>
                      <a:pt x="90" y="2348"/>
                    </a:lnTo>
                    <a:lnTo>
                      <a:pt x="100" y="2320"/>
                    </a:lnTo>
                    <a:lnTo>
                      <a:pt x="107" y="2294"/>
                    </a:lnTo>
                    <a:lnTo>
                      <a:pt x="109" y="2276"/>
                    </a:lnTo>
                    <a:lnTo>
                      <a:pt x="108" y="2262"/>
                    </a:lnTo>
                    <a:lnTo>
                      <a:pt x="107" y="2240"/>
                    </a:lnTo>
                    <a:lnTo>
                      <a:pt x="105" y="2218"/>
                    </a:lnTo>
                    <a:lnTo>
                      <a:pt x="103" y="2200"/>
                    </a:lnTo>
                    <a:lnTo>
                      <a:pt x="102" y="2193"/>
                    </a:lnTo>
                    <a:lnTo>
                      <a:pt x="101" y="2188"/>
                    </a:lnTo>
                    <a:lnTo>
                      <a:pt x="100" y="2184"/>
                    </a:lnTo>
                    <a:lnTo>
                      <a:pt x="99" y="2181"/>
                    </a:lnTo>
                    <a:lnTo>
                      <a:pt x="94" y="2177"/>
                    </a:lnTo>
                    <a:lnTo>
                      <a:pt x="89" y="2174"/>
                    </a:lnTo>
                    <a:lnTo>
                      <a:pt x="84" y="2168"/>
                    </a:lnTo>
                    <a:lnTo>
                      <a:pt x="82" y="2158"/>
                    </a:lnTo>
                    <a:lnTo>
                      <a:pt x="81" y="2149"/>
                    </a:lnTo>
                    <a:lnTo>
                      <a:pt x="80" y="2137"/>
                    </a:lnTo>
                    <a:lnTo>
                      <a:pt x="78" y="2126"/>
                    </a:lnTo>
                    <a:lnTo>
                      <a:pt x="76" y="2117"/>
                    </a:lnTo>
                    <a:lnTo>
                      <a:pt x="73" y="2107"/>
                    </a:lnTo>
                    <a:lnTo>
                      <a:pt x="68" y="2094"/>
                    </a:lnTo>
                    <a:lnTo>
                      <a:pt x="64" y="2082"/>
                    </a:lnTo>
                    <a:lnTo>
                      <a:pt x="62" y="2069"/>
                    </a:lnTo>
                    <a:lnTo>
                      <a:pt x="59" y="2057"/>
                    </a:lnTo>
                    <a:lnTo>
                      <a:pt x="58" y="2043"/>
                    </a:lnTo>
                    <a:lnTo>
                      <a:pt x="59" y="2029"/>
                    </a:lnTo>
                    <a:lnTo>
                      <a:pt x="62" y="2013"/>
                    </a:lnTo>
                    <a:lnTo>
                      <a:pt x="65" y="1999"/>
                    </a:lnTo>
                    <a:lnTo>
                      <a:pt x="69" y="1986"/>
                    </a:lnTo>
                    <a:lnTo>
                      <a:pt x="70" y="1980"/>
                    </a:lnTo>
                    <a:lnTo>
                      <a:pt x="71" y="1973"/>
                    </a:lnTo>
                    <a:lnTo>
                      <a:pt x="71" y="1966"/>
                    </a:lnTo>
                    <a:lnTo>
                      <a:pt x="70" y="1960"/>
                    </a:lnTo>
                    <a:lnTo>
                      <a:pt x="69" y="1947"/>
                    </a:lnTo>
                    <a:lnTo>
                      <a:pt x="67" y="1935"/>
                    </a:lnTo>
                    <a:lnTo>
                      <a:pt x="65" y="1925"/>
                    </a:lnTo>
                    <a:lnTo>
                      <a:pt x="65" y="1916"/>
                    </a:lnTo>
                    <a:lnTo>
                      <a:pt x="68" y="1907"/>
                    </a:lnTo>
                    <a:lnTo>
                      <a:pt x="70" y="1898"/>
                    </a:lnTo>
                    <a:lnTo>
                      <a:pt x="73" y="1888"/>
                    </a:lnTo>
                    <a:lnTo>
                      <a:pt x="73" y="1876"/>
                    </a:lnTo>
                    <a:lnTo>
                      <a:pt x="71" y="1872"/>
                    </a:lnTo>
                    <a:lnTo>
                      <a:pt x="70" y="1866"/>
                    </a:lnTo>
                    <a:lnTo>
                      <a:pt x="68" y="1861"/>
                    </a:lnTo>
                    <a:lnTo>
                      <a:pt x="65" y="1856"/>
                    </a:lnTo>
                    <a:lnTo>
                      <a:pt x="61" y="1847"/>
                    </a:lnTo>
                    <a:lnTo>
                      <a:pt x="58" y="1838"/>
                    </a:lnTo>
                    <a:lnTo>
                      <a:pt x="58" y="1830"/>
                    </a:lnTo>
                    <a:lnTo>
                      <a:pt x="58" y="1821"/>
                    </a:lnTo>
                    <a:lnTo>
                      <a:pt x="59" y="1816"/>
                    </a:lnTo>
                    <a:lnTo>
                      <a:pt x="58" y="1812"/>
                    </a:lnTo>
                    <a:lnTo>
                      <a:pt x="57" y="1810"/>
                    </a:lnTo>
                    <a:lnTo>
                      <a:pt x="56" y="1806"/>
                    </a:lnTo>
                    <a:lnTo>
                      <a:pt x="51" y="1803"/>
                    </a:lnTo>
                    <a:lnTo>
                      <a:pt x="45" y="1799"/>
                    </a:lnTo>
                    <a:lnTo>
                      <a:pt x="43" y="1798"/>
                    </a:lnTo>
                    <a:lnTo>
                      <a:pt x="42" y="1796"/>
                    </a:lnTo>
                    <a:lnTo>
                      <a:pt x="40" y="1793"/>
                    </a:lnTo>
                    <a:lnTo>
                      <a:pt x="40" y="1791"/>
                    </a:lnTo>
                    <a:lnTo>
                      <a:pt x="42" y="1784"/>
                    </a:lnTo>
                    <a:lnTo>
                      <a:pt x="45" y="1777"/>
                    </a:lnTo>
                    <a:lnTo>
                      <a:pt x="48" y="1769"/>
                    </a:lnTo>
                    <a:lnTo>
                      <a:pt x="48" y="1762"/>
                    </a:lnTo>
                    <a:lnTo>
                      <a:pt x="45" y="1755"/>
                    </a:lnTo>
                    <a:lnTo>
                      <a:pt x="43" y="1749"/>
                    </a:lnTo>
                    <a:lnTo>
                      <a:pt x="40" y="1745"/>
                    </a:lnTo>
                    <a:lnTo>
                      <a:pt x="40" y="1740"/>
                    </a:lnTo>
                    <a:lnTo>
                      <a:pt x="42" y="1734"/>
                    </a:lnTo>
                    <a:lnTo>
                      <a:pt x="44" y="1727"/>
                    </a:lnTo>
                    <a:lnTo>
                      <a:pt x="45" y="1717"/>
                    </a:lnTo>
                    <a:lnTo>
                      <a:pt x="44" y="1710"/>
                    </a:lnTo>
                    <a:lnTo>
                      <a:pt x="43" y="1703"/>
                    </a:lnTo>
                    <a:lnTo>
                      <a:pt x="40" y="1696"/>
                    </a:lnTo>
                    <a:lnTo>
                      <a:pt x="38" y="1690"/>
                    </a:lnTo>
                    <a:lnTo>
                      <a:pt x="38" y="1684"/>
                    </a:lnTo>
                    <a:lnTo>
                      <a:pt x="40" y="1678"/>
                    </a:lnTo>
                    <a:lnTo>
                      <a:pt x="44" y="1672"/>
                    </a:lnTo>
                    <a:lnTo>
                      <a:pt x="50" y="1666"/>
                    </a:lnTo>
                    <a:lnTo>
                      <a:pt x="59" y="1657"/>
                    </a:lnTo>
                    <a:lnTo>
                      <a:pt x="70" y="1646"/>
                    </a:lnTo>
                    <a:lnTo>
                      <a:pt x="81" y="1635"/>
                    </a:lnTo>
                    <a:lnTo>
                      <a:pt x="90" y="1622"/>
                    </a:lnTo>
                    <a:lnTo>
                      <a:pt x="100" y="1608"/>
                    </a:lnTo>
                    <a:lnTo>
                      <a:pt x="108" y="1595"/>
                    </a:lnTo>
                    <a:lnTo>
                      <a:pt x="114" y="1584"/>
                    </a:lnTo>
                    <a:lnTo>
                      <a:pt x="126" y="1567"/>
                    </a:lnTo>
                    <a:lnTo>
                      <a:pt x="136" y="1551"/>
                    </a:lnTo>
                    <a:lnTo>
                      <a:pt x="137" y="1542"/>
                    </a:lnTo>
                    <a:lnTo>
                      <a:pt x="136" y="1537"/>
                    </a:lnTo>
                    <a:lnTo>
                      <a:pt x="133" y="1532"/>
                    </a:lnTo>
                    <a:lnTo>
                      <a:pt x="128" y="1527"/>
                    </a:lnTo>
                    <a:lnTo>
                      <a:pt x="125" y="1520"/>
                    </a:lnTo>
                    <a:lnTo>
                      <a:pt x="121" y="1514"/>
                    </a:lnTo>
                    <a:lnTo>
                      <a:pt x="119" y="1507"/>
                    </a:lnTo>
                    <a:lnTo>
                      <a:pt x="119" y="1501"/>
                    </a:lnTo>
                    <a:lnTo>
                      <a:pt x="120" y="1498"/>
                    </a:lnTo>
                    <a:lnTo>
                      <a:pt x="121" y="1496"/>
                    </a:lnTo>
                    <a:lnTo>
                      <a:pt x="125" y="1495"/>
                    </a:lnTo>
                    <a:lnTo>
                      <a:pt x="127" y="1493"/>
                    </a:lnTo>
                    <a:lnTo>
                      <a:pt x="136" y="1488"/>
                    </a:lnTo>
                    <a:lnTo>
                      <a:pt x="145" y="1482"/>
                    </a:lnTo>
                    <a:lnTo>
                      <a:pt x="155" y="1475"/>
                    </a:lnTo>
                    <a:lnTo>
                      <a:pt x="162" y="1466"/>
                    </a:lnTo>
                    <a:lnTo>
                      <a:pt x="164" y="1462"/>
                    </a:lnTo>
                    <a:lnTo>
                      <a:pt x="166" y="1457"/>
                    </a:lnTo>
                    <a:lnTo>
                      <a:pt x="169" y="1452"/>
                    </a:lnTo>
                    <a:lnTo>
                      <a:pt x="170" y="1447"/>
                    </a:lnTo>
                    <a:lnTo>
                      <a:pt x="171" y="1437"/>
                    </a:lnTo>
                    <a:lnTo>
                      <a:pt x="171" y="1426"/>
                    </a:lnTo>
                    <a:lnTo>
                      <a:pt x="170" y="1415"/>
                    </a:lnTo>
                    <a:lnTo>
                      <a:pt x="169" y="1405"/>
                    </a:lnTo>
                    <a:lnTo>
                      <a:pt x="168" y="1399"/>
                    </a:lnTo>
                    <a:lnTo>
                      <a:pt x="165" y="1395"/>
                    </a:lnTo>
                    <a:lnTo>
                      <a:pt x="163" y="1391"/>
                    </a:lnTo>
                    <a:lnTo>
                      <a:pt x="161" y="1388"/>
                    </a:lnTo>
                    <a:lnTo>
                      <a:pt x="156" y="1383"/>
                    </a:lnTo>
                    <a:lnTo>
                      <a:pt x="151" y="1380"/>
                    </a:lnTo>
                    <a:lnTo>
                      <a:pt x="147" y="1376"/>
                    </a:lnTo>
                    <a:lnTo>
                      <a:pt x="145" y="1371"/>
                    </a:lnTo>
                    <a:lnTo>
                      <a:pt x="146" y="1368"/>
                    </a:lnTo>
                    <a:lnTo>
                      <a:pt x="149" y="1362"/>
                    </a:lnTo>
                    <a:lnTo>
                      <a:pt x="150" y="1358"/>
                    </a:lnTo>
                    <a:lnTo>
                      <a:pt x="151" y="1355"/>
                    </a:lnTo>
                    <a:lnTo>
                      <a:pt x="150" y="1352"/>
                    </a:lnTo>
                    <a:lnTo>
                      <a:pt x="150" y="1349"/>
                    </a:lnTo>
                    <a:lnTo>
                      <a:pt x="146" y="1344"/>
                    </a:lnTo>
                    <a:lnTo>
                      <a:pt x="143" y="1342"/>
                    </a:lnTo>
                    <a:lnTo>
                      <a:pt x="138" y="1339"/>
                    </a:lnTo>
                    <a:lnTo>
                      <a:pt x="133" y="1338"/>
                    </a:lnTo>
                    <a:lnTo>
                      <a:pt x="128" y="1334"/>
                    </a:lnTo>
                    <a:lnTo>
                      <a:pt x="125" y="1328"/>
                    </a:lnTo>
                    <a:lnTo>
                      <a:pt x="119" y="1313"/>
                    </a:lnTo>
                    <a:lnTo>
                      <a:pt x="111" y="1295"/>
                    </a:lnTo>
                    <a:lnTo>
                      <a:pt x="105" y="1287"/>
                    </a:lnTo>
                    <a:lnTo>
                      <a:pt x="96" y="1279"/>
                    </a:lnTo>
                    <a:lnTo>
                      <a:pt x="88" y="1273"/>
                    </a:lnTo>
                    <a:lnTo>
                      <a:pt x="81" y="1267"/>
                    </a:lnTo>
                    <a:lnTo>
                      <a:pt x="77" y="1263"/>
                    </a:lnTo>
                    <a:lnTo>
                      <a:pt x="75" y="1261"/>
                    </a:lnTo>
                    <a:lnTo>
                      <a:pt x="74" y="1257"/>
                    </a:lnTo>
                    <a:lnTo>
                      <a:pt x="73" y="1254"/>
                    </a:lnTo>
                    <a:lnTo>
                      <a:pt x="73" y="1245"/>
                    </a:lnTo>
                    <a:lnTo>
                      <a:pt x="73" y="1236"/>
                    </a:lnTo>
                    <a:lnTo>
                      <a:pt x="74" y="1223"/>
                    </a:lnTo>
                    <a:lnTo>
                      <a:pt x="75" y="1208"/>
                    </a:lnTo>
                    <a:lnTo>
                      <a:pt x="75" y="1193"/>
                    </a:lnTo>
                    <a:lnTo>
                      <a:pt x="74" y="1181"/>
                    </a:lnTo>
                    <a:lnTo>
                      <a:pt x="74" y="1172"/>
                    </a:lnTo>
                    <a:lnTo>
                      <a:pt x="75" y="1164"/>
                    </a:lnTo>
                    <a:lnTo>
                      <a:pt x="78" y="1157"/>
                    </a:lnTo>
                    <a:lnTo>
                      <a:pt x="82" y="1151"/>
                    </a:lnTo>
                    <a:lnTo>
                      <a:pt x="86" y="1147"/>
                    </a:lnTo>
                    <a:lnTo>
                      <a:pt x="88" y="1141"/>
                    </a:lnTo>
                    <a:lnTo>
                      <a:pt x="89" y="1135"/>
                    </a:lnTo>
                    <a:lnTo>
                      <a:pt x="90" y="1128"/>
                    </a:lnTo>
                    <a:lnTo>
                      <a:pt x="90" y="1124"/>
                    </a:lnTo>
                    <a:lnTo>
                      <a:pt x="92" y="1120"/>
                    </a:lnTo>
                    <a:lnTo>
                      <a:pt x="93" y="1118"/>
                    </a:lnTo>
                    <a:lnTo>
                      <a:pt x="95" y="1116"/>
                    </a:lnTo>
                    <a:lnTo>
                      <a:pt x="101" y="1112"/>
                    </a:lnTo>
                    <a:lnTo>
                      <a:pt x="108" y="1111"/>
                    </a:lnTo>
                    <a:lnTo>
                      <a:pt x="117" y="1109"/>
                    </a:lnTo>
                    <a:lnTo>
                      <a:pt x="122" y="1105"/>
                    </a:lnTo>
                    <a:lnTo>
                      <a:pt x="130" y="1100"/>
                    </a:lnTo>
                    <a:lnTo>
                      <a:pt x="136" y="1094"/>
                    </a:lnTo>
                    <a:lnTo>
                      <a:pt x="141" y="1087"/>
                    </a:lnTo>
                    <a:lnTo>
                      <a:pt x="149" y="1078"/>
                    </a:lnTo>
                    <a:lnTo>
                      <a:pt x="153" y="1068"/>
                    </a:lnTo>
                    <a:lnTo>
                      <a:pt x="156" y="1061"/>
                    </a:lnTo>
                    <a:lnTo>
                      <a:pt x="157" y="1056"/>
                    </a:lnTo>
                    <a:lnTo>
                      <a:pt x="159" y="1053"/>
                    </a:lnTo>
                    <a:lnTo>
                      <a:pt x="163" y="1049"/>
                    </a:lnTo>
                    <a:lnTo>
                      <a:pt x="168" y="1048"/>
                    </a:lnTo>
                    <a:lnTo>
                      <a:pt x="172" y="1047"/>
                    </a:lnTo>
                    <a:lnTo>
                      <a:pt x="177" y="1044"/>
                    </a:lnTo>
                    <a:lnTo>
                      <a:pt x="183" y="1041"/>
                    </a:lnTo>
                    <a:lnTo>
                      <a:pt x="189" y="1033"/>
                    </a:lnTo>
                    <a:lnTo>
                      <a:pt x="194" y="1024"/>
                    </a:lnTo>
                    <a:lnTo>
                      <a:pt x="197" y="1015"/>
                    </a:lnTo>
                    <a:lnTo>
                      <a:pt x="199" y="1006"/>
                    </a:lnTo>
                    <a:lnTo>
                      <a:pt x="199" y="996"/>
                    </a:lnTo>
                    <a:lnTo>
                      <a:pt x="200" y="984"/>
                    </a:lnTo>
                    <a:lnTo>
                      <a:pt x="201" y="970"/>
                    </a:lnTo>
                    <a:lnTo>
                      <a:pt x="204" y="956"/>
                    </a:lnTo>
                    <a:lnTo>
                      <a:pt x="209" y="943"/>
                    </a:lnTo>
                    <a:lnTo>
                      <a:pt x="213" y="933"/>
                    </a:lnTo>
                    <a:lnTo>
                      <a:pt x="216" y="922"/>
                    </a:lnTo>
                    <a:lnTo>
                      <a:pt x="219" y="911"/>
                    </a:lnTo>
                    <a:lnTo>
                      <a:pt x="222" y="898"/>
                    </a:lnTo>
                    <a:lnTo>
                      <a:pt x="226" y="886"/>
                    </a:lnTo>
                    <a:lnTo>
                      <a:pt x="233" y="876"/>
                    </a:lnTo>
                    <a:lnTo>
                      <a:pt x="239" y="866"/>
                    </a:lnTo>
                    <a:lnTo>
                      <a:pt x="244" y="857"/>
                    </a:lnTo>
                    <a:lnTo>
                      <a:pt x="245" y="852"/>
                    </a:lnTo>
                    <a:lnTo>
                      <a:pt x="246" y="847"/>
                    </a:lnTo>
                    <a:lnTo>
                      <a:pt x="246" y="842"/>
                    </a:lnTo>
                    <a:lnTo>
                      <a:pt x="245" y="836"/>
                    </a:lnTo>
                    <a:lnTo>
                      <a:pt x="243" y="827"/>
                    </a:lnTo>
                    <a:lnTo>
                      <a:pt x="240" y="819"/>
                    </a:lnTo>
                    <a:lnTo>
                      <a:pt x="238" y="811"/>
                    </a:lnTo>
                    <a:lnTo>
                      <a:pt x="237" y="806"/>
                    </a:lnTo>
                    <a:lnTo>
                      <a:pt x="238" y="803"/>
                    </a:lnTo>
                    <a:lnTo>
                      <a:pt x="239" y="801"/>
                    </a:lnTo>
                    <a:lnTo>
                      <a:pt x="240" y="798"/>
                    </a:lnTo>
                    <a:lnTo>
                      <a:pt x="243" y="797"/>
                    </a:lnTo>
                    <a:lnTo>
                      <a:pt x="251" y="792"/>
                    </a:lnTo>
                    <a:lnTo>
                      <a:pt x="262" y="787"/>
                    </a:lnTo>
                    <a:lnTo>
                      <a:pt x="271" y="781"/>
                    </a:lnTo>
                    <a:lnTo>
                      <a:pt x="278" y="773"/>
                    </a:lnTo>
                    <a:lnTo>
                      <a:pt x="283" y="767"/>
                    </a:lnTo>
                    <a:lnTo>
                      <a:pt x="287" y="758"/>
                    </a:lnTo>
                    <a:lnTo>
                      <a:pt x="288" y="748"/>
                    </a:lnTo>
                    <a:lnTo>
                      <a:pt x="289" y="738"/>
                    </a:lnTo>
                    <a:lnTo>
                      <a:pt x="290" y="727"/>
                    </a:lnTo>
                    <a:lnTo>
                      <a:pt x="291" y="715"/>
                    </a:lnTo>
                    <a:lnTo>
                      <a:pt x="295" y="703"/>
                    </a:lnTo>
                    <a:lnTo>
                      <a:pt x="300" y="691"/>
                    </a:lnTo>
                    <a:lnTo>
                      <a:pt x="302" y="687"/>
                    </a:lnTo>
                    <a:lnTo>
                      <a:pt x="306" y="683"/>
                    </a:lnTo>
                    <a:lnTo>
                      <a:pt x="309" y="681"/>
                    </a:lnTo>
                    <a:lnTo>
                      <a:pt x="313" y="680"/>
                    </a:lnTo>
                    <a:lnTo>
                      <a:pt x="320" y="677"/>
                    </a:lnTo>
                    <a:lnTo>
                      <a:pt x="326" y="674"/>
                    </a:lnTo>
                    <a:lnTo>
                      <a:pt x="328" y="671"/>
                    </a:lnTo>
                    <a:lnTo>
                      <a:pt x="329" y="669"/>
                    </a:lnTo>
                    <a:lnTo>
                      <a:pt x="329" y="665"/>
                    </a:lnTo>
                    <a:lnTo>
                      <a:pt x="329" y="662"/>
                    </a:lnTo>
                    <a:lnTo>
                      <a:pt x="326" y="653"/>
                    </a:lnTo>
                    <a:lnTo>
                      <a:pt x="321" y="646"/>
                    </a:lnTo>
                    <a:lnTo>
                      <a:pt x="316" y="641"/>
                    </a:lnTo>
                    <a:lnTo>
                      <a:pt x="311" y="639"/>
                    </a:lnTo>
                    <a:lnTo>
                      <a:pt x="306" y="638"/>
                    </a:lnTo>
                    <a:lnTo>
                      <a:pt x="297" y="638"/>
                    </a:lnTo>
                    <a:lnTo>
                      <a:pt x="288" y="639"/>
                    </a:lnTo>
                    <a:lnTo>
                      <a:pt x="278" y="640"/>
                    </a:lnTo>
                    <a:lnTo>
                      <a:pt x="273" y="639"/>
                    </a:lnTo>
                    <a:lnTo>
                      <a:pt x="270" y="639"/>
                    </a:lnTo>
                    <a:lnTo>
                      <a:pt x="267" y="638"/>
                    </a:lnTo>
                    <a:lnTo>
                      <a:pt x="265" y="636"/>
                    </a:lnTo>
                    <a:lnTo>
                      <a:pt x="264" y="632"/>
                    </a:lnTo>
                    <a:lnTo>
                      <a:pt x="264" y="628"/>
                    </a:lnTo>
                    <a:lnTo>
                      <a:pt x="266" y="626"/>
                    </a:lnTo>
                    <a:lnTo>
                      <a:pt x="267" y="625"/>
                    </a:lnTo>
                    <a:lnTo>
                      <a:pt x="273" y="620"/>
                    </a:lnTo>
                    <a:lnTo>
                      <a:pt x="279" y="615"/>
                    </a:lnTo>
                    <a:lnTo>
                      <a:pt x="292" y="613"/>
                    </a:lnTo>
                    <a:lnTo>
                      <a:pt x="307" y="612"/>
                    </a:lnTo>
                    <a:lnTo>
                      <a:pt x="322" y="612"/>
                    </a:lnTo>
                    <a:lnTo>
                      <a:pt x="336" y="612"/>
                    </a:lnTo>
                    <a:lnTo>
                      <a:pt x="342" y="612"/>
                    </a:lnTo>
                    <a:lnTo>
                      <a:pt x="347" y="612"/>
                    </a:lnTo>
                    <a:lnTo>
                      <a:pt x="351" y="611"/>
                    </a:lnTo>
                    <a:lnTo>
                      <a:pt x="353" y="609"/>
                    </a:lnTo>
                    <a:lnTo>
                      <a:pt x="355" y="605"/>
                    </a:lnTo>
                    <a:lnTo>
                      <a:pt x="358" y="596"/>
                    </a:lnTo>
                    <a:lnTo>
                      <a:pt x="360" y="589"/>
                    </a:lnTo>
                    <a:lnTo>
                      <a:pt x="363" y="584"/>
                    </a:lnTo>
                    <a:lnTo>
                      <a:pt x="367" y="581"/>
                    </a:lnTo>
                    <a:lnTo>
                      <a:pt x="373" y="577"/>
                    </a:lnTo>
                    <a:lnTo>
                      <a:pt x="376" y="575"/>
                    </a:lnTo>
                    <a:lnTo>
                      <a:pt x="378" y="573"/>
                    </a:lnTo>
                    <a:lnTo>
                      <a:pt x="380" y="570"/>
                    </a:lnTo>
                    <a:lnTo>
                      <a:pt x="382" y="567"/>
                    </a:lnTo>
                    <a:lnTo>
                      <a:pt x="383" y="561"/>
                    </a:lnTo>
                    <a:lnTo>
                      <a:pt x="383" y="554"/>
                    </a:lnTo>
                    <a:lnTo>
                      <a:pt x="380" y="542"/>
                    </a:lnTo>
                    <a:lnTo>
                      <a:pt x="379" y="535"/>
                    </a:lnTo>
                    <a:lnTo>
                      <a:pt x="379" y="530"/>
                    </a:lnTo>
                    <a:lnTo>
                      <a:pt x="377" y="524"/>
                    </a:lnTo>
                    <a:lnTo>
                      <a:pt x="377" y="520"/>
                    </a:lnTo>
                    <a:lnTo>
                      <a:pt x="377" y="518"/>
                    </a:lnTo>
                    <a:lnTo>
                      <a:pt x="378" y="516"/>
                    </a:lnTo>
                    <a:lnTo>
                      <a:pt x="380" y="513"/>
                    </a:lnTo>
                    <a:lnTo>
                      <a:pt x="385" y="513"/>
                    </a:lnTo>
                    <a:lnTo>
                      <a:pt x="392" y="513"/>
                    </a:lnTo>
                    <a:lnTo>
                      <a:pt x="401" y="514"/>
                    </a:lnTo>
                    <a:lnTo>
                      <a:pt x="410" y="517"/>
                    </a:lnTo>
                    <a:lnTo>
                      <a:pt x="432" y="521"/>
                    </a:lnTo>
                    <a:lnTo>
                      <a:pt x="452" y="526"/>
                    </a:lnTo>
                    <a:lnTo>
                      <a:pt x="462" y="526"/>
                    </a:lnTo>
                    <a:lnTo>
                      <a:pt x="474" y="525"/>
                    </a:lnTo>
                    <a:lnTo>
                      <a:pt x="480" y="525"/>
                    </a:lnTo>
                    <a:lnTo>
                      <a:pt x="486" y="525"/>
                    </a:lnTo>
                    <a:lnTo>
                      <a:pt x="492" y="526"/>
                    </a:lnTo>
                    <a:lnTo>
                      <a:pt x="497" y="529"/>
                    </a:lnTo>
                    <a:lnTo>
                      <a:pt x="504" y="529"/>
                    </a:lnTo>
                    <a:lnTo>
                      <a:pt x="514" y="527"/>
                    </a:lnTo>
                    <a:lnTo>
                      <a:pt x="524" y="525"/>
                    </a:lnTo>
                    <a:lnTo>
                      <a:pt x="531" y="524"/>
                    </a:lnTo>
                    <a:lnTo>
                      <a:pt x="536" y="524"/>
                    </a:lnTo>
                    <a:lnTo>
                      <a:pt x="541" y="521"/>
                    </a:lnTo>
                    <a:lnTo>
                      <a:pt x="546" y="520"/>
                    </a:lnTo>
                    <a:lnTo>
                      <a:pt x="549" y="517"/>
                    </a:lnTo>
                    <a:lnTo>
                      <a:pt x="552" y="513"/>
                    </a:lnTo>
                    <a:lnTo>
                      <a:pt x="555" y="510"/>
                    </a:lnTo>
                    <a:lnTo>
                      <a:pt x="556" y="505"/>
                    </a:lnTo>
                    <a:lnTo>
                      <a:pt x="558" y="500"/>
                    </a:lnTo>
                    <a:lnTo>
                      <a:pt x="560" y="488"/>
                    </a:lnTo>
                    <a:lnTo>
                      <a:pt x="565" y="477"/>
                    </a:lnTo>
                    <a:lnTo>
                      <a:pt x="568" y="469"/>
                    </a:lnTo>
                    <a:lnTo>
                      <a:pt x="571" y="462"/>
                    </a:lnTo>
                    <a:lnTo>
                      <a:pt x="573" y="450"/>
                    </a:lnTo>
                    <a:lnTo>
                      <a:pt x="578" y="437"/>
                    </a:lnTo>
                    <a:lnTo>
                      <a:pt x="581" y="425"/>
                    </a:lnTo>
                    <a:lnTo>
                      <a:pt x="586" y="413"/>
                    </a:lnTo>
                    <a:lnTo>
                      <a:pt x="596" y="388"/>
                    </a:lnTo>
                    <a:lnTo>
                      <a:pt x="610" y="355"/>
                    </a:lnTo>
                    <a:lnTo>
                      <a:pt x="625" y="322"/>
                    </a:lnTo>
                    <a:lnTo>
                      <a:pt x="637" y="294"/>
                    </a:lnTo>
                    <a:lnTo>
                      <a:pt x="646" y="271"/>
                    </a:lnTo>
                    <a:lnTo>
                      <a:pt x="655" y="247"/>
                    </a:lnTo>
                    <a:lnTo>
                      <a:pt x="661" y="237"/>
                    </a:lnTo>
                    <a:lnTo>
                      <a:pt x="668" y="229"/>
                    </a:lnTo>
                    <a:lnTo>
                      <a:pt x="673" y="225"/>
                    </a:lnTo>
                    <a:lnTo>
                      <a:pt x="676" y="223"/>
                    </a:lnTo>
                    <a:lnTo>
                      <a:pt x="682" y="221"/>
                    </a:lnTo>
                    <a:lnTo>
                      <a:pt x="688" y="220"/>
                    </a:lnTo>
                    <a:lnTo>
                      <a:pt x="694" y="220"/>
                    </a:lnTo>
                    <a:lnTo>
                      <a:pt x="700" y="221"/>
                    </a:lnTo>
                    <a:lnTo>
                      <a:pt x="706" y="222"/>
                    </a:lnTo>
                    <a:lnTo>
                      <a:pt x="713" y="224"/>
                    </a:lnTo>
                    <a:lnTo>
                      <a:pt x="725" y="230"/>
                    </a:lnTo>
                    <a:lnTo>
                      <a:pt x="737" y="237"/>
                    </a:lnTo>
                    <a:lnTo>
                      <a:pt x="758" y="254"/>
                    </a:lnTo>
                    <a:lnTo>
                      <a:pt x="775" y="268"/>
                    </a:lnTo>
                    <a:lnTo>
                      <a:pt x="779" y="271"/>
                    </a:lnTo>
                    <a:lnTo>
                      <a:pt x="782" y="273"/>
                    </a:lnTo>
                    <a:lnTo>
                      <a:pt x="787" y="274"/>
                    </a:lnTo>
                    <a:lnTo>
                      <a:pt x="792" y="274"/>
                    </a:lnTo>
                    <a:lnTo>
                      <a:pt x="801" y="274"/>
                    </a:lnTo>
                    <a:lnTo>
                      <a:pt x="811" y="272"/>
                    </a:lnTo>
                    <a:lnTo>
                      <a:pt x="820" y="268"/>
                    </a:lnTo>
                    <a:lnTo>
                      <a:pt x="829" y="262"/>
                    </a:lnTo>
                    <a:lnTo>
                      <a:pt x="836" y="255"/>
                    </a:lnTo>
                    <a:lnTo>
                      <a:pt x="840" y="248"/>
                    </a:lnTo>
                    <a:lnTo>
                      <a:pt x="846" y="229"/>
                    </a:lnTo>
                    <a:lnTo>
                      <a:pt x="856" y="210"/>
                    </a:lnTo>
                    <a:lnTo>
                      <a:pt x="858" y="205"/>
                    </a:lnTo>
                    <a:lnTo>
                      <a:pt x="862" y="201"/>
                    </a:lnTo>
                    <a:lnTo>
                      <a:pt x="867" y="196"/>
                    </a:lnTo>
                    <a:lnTo>
                      <a:pt x="871" y="192"/>
                    </a:lnTo>
                    <a:lnTo>
                      <a:pt x="877" y="189"/>
                    </a:lnTo>
                    <a:lnTo>
                      <a:pt x="884" y="185"/>
                    </a:lnTo>
                    <a:lnTo>
                      <a:pt x="893" y="183"/>
                    </a:lnTo>
                    <a:lnTo>
                      <a:pt x="901" y="180"/>
                    </a:lnTo>
                    <a:lnTo>
                      <a:pt x="919" y="178"/>
                    </a:lnTo>
                    <a:lnTo>
                      <a:pt x="932" y="177"/>
                    </a:lnTo>
                    <a:lnTo>
                      <a:pt x="944" y="177"/>
                    </a:lnTo>
                    <a:lnTo>
                      <a:pt x="953" y="178"/>
                    </a:lnTo>
                    <a:lnTo>
                      <a:pt x="974" y="180"/>
                    </a:lnTo>
                    <a:lnTo>
                      <a:pt x="1000" y="183"/>
                    </a:lnTo>
                    <a:lnTo>
                      <a:pt x="1019" y="184"/>
                    </a:lnTo>
                    <a:lnTo>
                      <a:pt x="1038" y="185"/>
                    </a:lnTo>
                    <a:lnTo>
                      <a:pt x="1047" y="185"/>
                    </a:lnTo>
                    <a:lnTo>
                      <a:pt x="1056" y="185"/>
                    </a:lnTo>
                    <a:lnTo>
                      <a:pt x="1064" y="184"/>
                    </a:lnTo>
                    <a:lnTo>
                      <a:pt x="1071" y="183"/>
                    </a:lnTo>
                    <a:lnTo>
                      <a:pt x="1084" y="174"/>
                    </a:lnTo>
                    <a:lnTo>
                      <a:pt x="1096" y="164"/>
                    </a:lnTo>
                    <a:lnTo>
                      <a:pt x="1100" y="160"/>
                    </a:lnTo>
                    <a:lnTo>
                      <a:pt x="1104" y="155"/>
                    </a:lnTo>
                    <a:lnTo>
                      <a:pt x="1108" y="148"/>
                    </a:lnTo>
                    <a:lnTo>
                      <a:pt x="1112" y="140"/>
                    </a:lnTo>
                    <a:lnTo>
                      <a:pt x="1116" y="133"/>
                    </a:lnTo>
                    <a:lnTo>
                      <a:pt x="1121" y="126"/>
                    </a:lnTo>
                    <a:lnTo>
                      <a:pt x="1125" y="120"/>
                    </a:lnTo>
                    <a:lnTo>
                      <a:pt x="1129" y="117"/>
                    </a:lnTo>
                    <a:lnTo>
                      <a:pt x="1145" y="116"/>
                    </a:lnTo>
                    <a:lnTo>
                      <a:pt x="1161" y="117"/>
                    </a:lnTo>
                    <a:lnTo>
                      <a:pt x="1170" y="116"/>
                    </a:lnTo>
                    <a:lnTo>
                      <a:pt x="1178" y="114"/>
                    </a:lnTo>
                    <a:lnTo>
                      <a:pt x="1185" y="108"/>
                    </a:lnTo>
                    <a:lnTo>
                      <a:pt x="1191" y="102"/>
                    </a:lnTo>
                    <a:lnTo>
                      <a:pt x="1203" y="89"/>
                    </a:lnTo>
                    <a:lnTo>
                      <a:pt x="1213" y="72"/>
                    </a:lnTo>
                    <a:lnTo>
                      <a:pt x="1218" y="60"/>
                    </a:lnTo>
                    <a:lnTo>
                      <a:pt x="1222" y="48"/>
                    </a:lnTo>
                    <a:lnTo>
                      <a:pt x="1226" y="37"/>
                    </a:lnTo>
                    <a:lnTo>
                      <a:pt x="1229" y="25"/>
                    </a:lnTo>
                    <a:lnTo>
                      <a:pt x="1232" y="15"/>
                    </a:lnTo>
                    <a:lnTo>
                      <a:pt x="1235" y="8"/>
                    </a:lnTo>
                    <a:lnTo>
                      <a:pt x="1238" y="4"/>
                    </a:lnTo>
                    <a:lnTo>
                      <a:pt x="1239" y="1"/>
                    </a:lnTo>
                    <a:lnTo>
                      <a:pt x="1240" y="0"/>
                    </a:lnTo>
                    <a:lnTo>
                      <a:pt x="1241" y="1"/>
                    </a:lnTo>
                    <a:lnTo>
                      <a:pt x="1243" y="8"/>
                    </a:lnTo>
                    <a:lnTo>
                      <a:pt x="1251" y="22"/>
                    </a:lnTo>
                    <a:lnTo>
                      <a:pt x="1259" y="35"/>
                    </a:lnTo>
                    <a:lnTo>
                      <a:pt x="1268" y="45"/>
                    </a:lnTo>
                    <a:lnTo>
                      <a:pt x="1277" y="54"/>
                    </a:lnTo>
                    <a:lnTo>
                      <a:pt x="1284" y="65"/>
                    </a:lnTo>
                    <a:lnTo>
                      <a:pt x="1287" y="71"/>
                    </a:lnTo>
                    <a:lnTo>
                      <a:pt x="1290" y="78"/>
                    </a:lnTo>
                    <a:lnTo>
                      <a:pt x="1292" y="85"/>
                    </a:lnTo>
                    <a:lnTo>
                      <a:pt x="1293" y="92"/>
                    </a:lnTo>
                    <a:lnTo>
                      <a:pt x="1296" y="110"/>
                    </a:lnTo>
                    <a:lnTo>
                      <a:pt x="1298" y="127"/>
                    </a:lnTo>
                    <a:lnTo>
                      <a:pt x="1299" y="135"/>
                    </a:lnTo>
                    <a:lnTo>
                      <a:pt x="1302" y="142"/>
                    </a:lnTo>
                    <a:lnTo>
                      <a:pt x="1303" y="148"/>
                    </a:lnTo>
                    <a:lnTo>
                      <a:pt x="1306" y="153"/>
                    </a:lnTo>
                    <a:lnTo>
                      <a:pt x="1310" y="157"/>
                    </a:lnTo>
                    <a:lnTo>
                      <a:pt x="1314" y="160"/>
                    </a:lnTo>
                    <a:lnTo>
                      <a:pt x="1320" y="162"/>
                    </a:lnTo>
                    <a:lnTo>
                      <a:pt x="1325" y="165"/>
                    </a:lnTo>
                    <a:lnTo>
                      <a:pt x="1331" y="166"/>
                    </a:lnTo>
                    <a:lnTo>
                      <a:pt x="1337" y="167"/>
                    </a:lnTo>
                    <a:lnTo>
                      <a:pt x="1342" y="167"/>
                    </a:lnTo>
                    <a:lnTo>
                      <a:pt x="1347" y="166"/>
                    </a:lnTo>
                    <a:lnTo>
                      <a:pt x="1355" y="164"/>
                    </a:lnTo>
                    <a:lnTo>
                      <a:pt x="1364" y="161"/>
                    </a:lnTo>
                    <a:lnTo>
                      <a:pt x="1368" y="161"/>
                    </a:lnTo>
                    <a:lnTo>
                      <a:pt x="1372" y="161"/>
                    </a:lnTo>
                    <a:lnTo>
                      <a:pt x="1374" y="162"/>
                    </a:lnTo>
                    <a:lnTo>
                      <a:pt x="1377" y="165"/>
                    </a:lnTo>
                    <a:lnTo>
                      <a:pt x="1379" y="167"/>
                    </a:lnTo>
                    <a:lnTo>
                      <a:pt x="1380" y="171"/>
                    </a:lnTo>
                    <a:lnTo>
                      <a:pt x="1380" y="174"/>
                    </a:lnTo>
                    <a:lnTo>
                      <a:pt x="1380" y="178"/>
                    </a:lnTo>
                    <a:lnTo>
                      <a:pt x="1378" y="185"/>
                    </a:lnTo>
                    <a:lnTo>
                      <a:pt x="1372" y="193"/>
                    </a:lnTo>
                    <a:lnTo>
                      <a:pt x="1368" y="198"/>
                    </a:lnTo>
                    <a:lnTo>
                      <a:pt x="1364" y="202"/>
                    </a:lnTo>
                    <a:lnTo>
                      <a:pt x="1358" y="205"/>
                    </a:lnTo>
                    <a:lnTo>
                      <a:pt x="1352" y="208"/>
                    </a:lnTo>
                    <a:lnTo>
                      <a:pt x="1336" y="212"/>
                    </a:lnTo>
                    <a:lnTo>
                      <a:pt x="1318" y="216"/>
                    </a:lnTo>
                    <a:lnTo>
                      <a:pt x="1303" y="220"/>
                    </a:lnTo>
                    <a:lnTo>
                      <a:pt x="1292" y="222"/>
                    </a:lnTo>
                    <a:lnTo>
                      <a:pt x="1284" y="227"/>
                    </a:lnTo>
                    <a:lnTo>
                      <a:pt x="1277" y="233"/>
                    </a:lnTo>
                    <a:lnTo>
                      <a:pt x="1268" y="239"/>
                    </a:lnTo>
                    <a:lnTo>
                      <a:pt x="1261" y="241"/>
                    </a:lnTo>
                    <a:lnTo>
                      <a:pt x="1254" y="242"/>
                    </a:lnTo>
                    <a:lnTo>
                      <a:pt x="1243" y="243"/>
                    </a:lnTo>
                    <a:lnTo>
                      <a:pt x="1239" y="245"/>
                    </a:lnTo>
                    <a:lnTo>
                      <a:pt x="1236" y="248"/>
                    </a:lnTo>
                    <a:lnTo>
                      <a:pt x="1235" y="252"/>
                    </a:lnTo>
                    <a:lnTo>
                      <a:pt x="1236" y="256"/>
                    </a:lnTo>
                    <a:lnTo>
                      <a:pt x="1238" y="268"/>
                    </a:lnTo>
                    <a:lnTo>
                      <a:pt x="1240" y="278"/>
                    </a:lnTo>
                    <a:lnTo>
                      <a:pt x="1240" y="283"/>
                    </a:lnTo>
                    <a:lnTo>
                      <a:pt x="1239" y="286"/>
                    </a:lnTo>
                    <a:lnTo>
                      <a:pt x="1236" y="290"/>
                    </a:lnTo>
                    <a:lnTo>
                      <a:pt x="1234" y="291"/>
                    </a:lnTo>
                    <a:lnTo>
                      <a:pt x="1230" y="292"/>
                    </a:lnTo>
                    <a:lnTo>
                      <a:pt x="1227" y="292"/>
                    </a:lnTo>
                    <a:lnTo>
                      <a:pt x="1223" y="291"/>
                    </a:lnTo>
                    <a:lnTo>
                      <a:pt x="1220" y="288"/>
                    </a:lnTo>
                    <a:lnTo>
                      <a:pt x="1214" y="284"/>
                    </a:lnTo>
                    <a:lnTo>
                      <a:pt x="1209" y="283"/>
                    </a:lnTo>
                    <a:lnTo>
                      <a:pt x="1208" y="283"/>
                    </a:lnTo>
                    <a:lnTo>
                      <a:pt x="1207" y="284"/>
                    </a:lnTo>
                    <a:lnTo>
                      <a:pt x="1205" y="286"/>
                    </a:lnTo>
                    <a:lnTo>
                      <a:pt x="1204" y="290"/>
                    </a:lnTo>
                    <a:lnTo>
                      <a:pt x="1204" y="296"/>
                    </a:lnTo>
                    <a:lnTo>
                      <a:pt x="1203" y="303"/>
                    </a:lnTo>
                    <a:lnTo>
                      <a:pt x="1203" y="306"/>
                    </a:lnTo>
                    <a:lnTo>
                      <a:pt x="1202" y="310"/>
                    </a:lnTo>
                    <a:lnTo>
                      <a:pt x="1199" y="313"/>
                    </a:lnTo>
                    <a:lnTo>
                      <a:pt x="1197" y="317"/>
                    </a:lnTo>
                    <a:lnTo>
                      <a:pt x="1194" y="321"/>
                    </a:lnTo>
                    <a:lnTo>
                      <a:pt x="1192" y="323"/>
                    </a:lnTo>
                    <a:lnTo>
                      <a:pt x="1192" y="327"/>
                    </a:lnTo>
                    <a:lnTo>
                      <a:pt x="1194" y="329"/>
                    </a:lnTo>
                    <a:lnTo>
                      <a:pt x="1195" y="330"/>
                    </a:lnTo>
                    <a:lnTo>
                      <a:pt x="1197" y="331"/>
                    </a:lnTo>
                    <a:lnTo>
                      <a:pt x="1201" y="332"/>
                    </a:lnTo>
                    <a:lnTo>
                      <a:pt x="1205" y="332"/>
                    </a:lnTo>
                    <a:lnTo>
                      <a:pt x="1214" y="331"/>
                    </a:lnTo>
                    <a:lnTo>
                      <a:pt x="1218" y="334"/>
                    </a:lnTo>
                    <a:lnTo>
                      <a:pt x="1221" y="337"/>
                    </a:lnTo>
                    <a:lnTo>
                      <a:pt x="1224" y="344"/>
                    </a:lnTo>
                    <a:lnTo>
                      <a:pt x="1227" y="348"/>
                    </a:lnTo>
                    <a:lnTo>
                      <a:pt x="1229" y="353"/>
                    </a:lnTo>
                    <a:lnTo>
                      <a:pt x="1233" y="357"/>
                    </a:lnTo>
                    <a:lnTo>
                      <a:pt x="1238" y="361"/>
                    </a:lnTo>
                    <a:lnTo>
                      <a:pt x="1249" y="368"/>
                    </a:lnTo>
                    <a:lnTo>
                      <a:pt x="1262" y="375"/>
                    </a:lnTo>
                    <a:lnTo>
                      <a:pt x="1278" y="380"/>
                    </a:lnTo>
                    <a:lnTo>
                      <a:pt x="1292" y="384"/>
                    </a:lnTo>
                    <a:lnTo>
                      <a:pt x="1304" y="384"/>
                    </a:lnTo>
                    <a:lnTo>
                      <a:pt x="1315" y="382"/>
                    </a:lnTo>
                    <a:lnTo>
                      <a:pt x="1324" y="381"/>
                    </a:lnTo>
                    <a:lnTo>
                      <a:pt x="1334" y="382"/>
                    </a:lnTo>
                    <a:lnTo>
                      <a:pt x="1339" y="382"/>
                    </a:lnTo>
                    <a:lnTo>
                      <a:pt x="1343" y="385"/>
                    </a:lnTo>
                    <a:lnTo>
                      <a:pt x="1346" y="387"/>
                    </a:lnTo>
                    <a:lnTo>
                      <a:pt x="1349" y="391"/>
                    </a:lnTo>
                    <a:lnTo>
                      <a:pt x="1350" y="397"/>
                    </a:lnTo>
                    <a:lnTo>
                      <a:pt x="1352" y="404"/>
                    </a:lnTo>
                    <a:lnTo>
                      <a:pt x="1353" y="412"/>
                    </a:lnTo>
                    <a:lnTo>
                      <a:pt x="1353" y="420"/>
                    </a:lnTo>
                    <a:lnTo>
                      <a:pt x="1353" y="438"/>
                    </a:lnTo>
                    <a:lnTo>
                      <a:pt x="1352" y="456"/>
                    </a:lnTo>
                    <a:lnTo>
                      <a:pt x="1352" y="463"/>
                    </a:lnTo>
                    <a:lnTo>
                      <a:pt x="1353" y="469"/>
                    </a:lnTo>
                    <a:lnTo>
                      <a:pt x="1355" y="474"/>
                    </a:lnTo>
                    <a:lnTo>
                      <a:pt x="1359" y="479"/>
                    </a:lnTo>
                    <a:lnTo>
                      <a:pt x="1367" y="486"/>
                    </a:lnTo>
                    <a:lnTo>
                      <a:pt x="1377" y="493"/>
                    </a:lnTo>
                    <a:lnTo>
                      <a:pt x="1381" y="498"/>
                    </a:lnTo>
                    <a:lnTo>
                      <a:pt x="1386" y="501"/>
                    </a:lnTo>
                    <a:lnTo>
                      <a:pt x="1388" y="506"/>
                    </a:lnTo>
                    <a:lnTo>
                      <a:pt x="1391" y="510"/>
                    </a:lnTo>
                    <a:lnTo>
                      <a:pt x="1394" y="520"/>
                    </a:lnTo>
                    <a:lnTo>
                      <a:pt x="1396" y="533"/>
                    </a:lnTo>
                    <a:lnTo>
                      <a:pt x="1396" y="540"/>
                    </a:lnTo>
                    <a:lnTo>
                      <a:pt x="1394" y="546"/>
                    </a:lnTo>
                    <a:lnTo>
                      <a:pt x="1393" y="551"/>
                    </a:lnTo>
                    <a:lnTo>
                      <a:pt x="1391" y="556"/>
                    </a:lnTo>
                    <a:lnTo>
                      <a:pt x="1387" y="564"/>
                    </a:lnTo>
                    <a:lnTo>
                      <a:pt x="1383" y="576"/>
                    </a:lnTo>
                    <a:lnTo>
                      <a:pt x="1379" y="589"/>
                    </a:lnTo>
                    <a:lnTo>
                      <a:pt x="1379" y="602"/>
                    </a:lnTo>
                    <a:lnTo>
                      <a:pt x="1378" y="613"/>
                    </a:lnTo>
                    <a:lnTo>
                      <a:pt x="1377" y="624"/>
                    </a:lnTo>
                    <a:lnTo>
                      <a:pt x="1375" y="632"/>
                    </a:lnTo>
                    <a:lnTo>
                      <a:pt x="1374" y="643"/>
                    </a:lnTo>
                    <a:lnTo>
                      <a:pt x="1377" y="653"/>
                    </a:lnTo>
                    <a:lnTo>
                      <a:pt x="1380" y="665"/>
                    </a:lnTo>
                    <a:lnTo>
                      <a:pt x="1381" y="670"/>
                    </a:lnTo>
                    <a:lnTo>
                      <a:pt x="1383" y="675"/>
                    </a:lnTo>
                    <a:lnTo>
                      <a:pt x="1383" y="678"/>
                    </a:lnTo>
                    <a:lnTo>
                      <a:pt x="1383" y="681"/>
                    </a:lnTo>
                    <a:lnTo>
                      <a:pt x="1380" y="683"/>
                    </a:lnTo>
                    <a:lnTo>
                      <a:pt x="1379" y="685"/>
                    </a:lnTo>
                    <a:lnTo>
                      <a:pt x="1375" y="687"/>
                    </a:lnTo>
                    <a:lnTo>
                      <a:pt x="1372" y="687"/>
                    </a:lnTo>
                    <a:lnTo>
                      <a:pt x="1365" y="689"/>
                    </a:lnTo>
                    <a:lnTo>
                      <a:pt x="1359" y="694"/>
                    </a:lnTo>
                    <a:lnTo>
                      <a:pt x="1356" y="696"/>
                    </a:lnTo>
                    <a:lnTo>
                      <a:pt x="1354" y="699"/>
                    </a:lnTo>
                    <a:lnTo>
                      <a:pt x="1352" y="702"/>
                    </a:lnTo>
                    <a:lnTo>
                      <a:pt x="1352" y="707"/>
                    </a:lnTo>
                    <a:lnTo>
                      <a:pt x="1349" y="713"/>
                    </a:lnTo>
                    <a:lnTo>
                      <a:pt x="1347" y="718"/>
                    </a:lnTo>
                    <a:lnTo>
                      <a:pt x="1345" y="719"/>
                    </a:lnTo>
                    <a:lnTo>
                      <a:pt x="1341" y="720"/>
                    </a:lnTo>
                    <a:lnTo>
                      <a:pt x="1337" y="720"/>
                    </a:lnTo>
                    <a:lnTo>
                      <a:pt x="1331" y="720"/>
                    </a:lnTo>
                    <a:lnTo>
                      <a:pt x="1327" y="720"/>
                    </a:lnTo>
                    <a:lnTo>
                      <a:pt x="1323" y="722"/>
                    </a:lnTo>
                    <a:lnTo>
                      <a:pt x="1320" y="726"/>
                    </a:lnTo>
                    <a:lnTo>
                      <a:pt x="1317" y="731"/>
                    </a:lnTo>
                    <a:lnTo>
                      <a:pt x="1314" y="735"/>
                    </a:lnTo>
                    <a:lnTo>
                      <a:pt x="1310" y="740"/>
                    </a:lnTo>
                    <a:lnTo>
                      <a:pt x="1305" y="744"/>
                    </a:lnTo>
                    <a:lnTo>
                      <a:pt x="1299" y="747"/>
                    </a:lnTo>
                    <a:lnTo>
                      <a:pt x="1293" y="750"/>
                    </a:lnTo>
                    <a:lnTo>
                      <a:pt x="1286" y="751"/>
                    </a:lnTo>
                    <a:lnTo>
                      <a:pt x="1280" y="750"/>
                    </a:lnTo>
                    <a:lnTo>
                      <a:pt x="1273" y="747"/>
                    </a:lnTo>
                    <a:lnTo>
                      <a:pt x="1267" y="745"/>
                    </a:lnTo>
                    <a:lnTo>
                      <a:pt x="1262" y="741"/>
                    </a:lnTo>
                    <a:lnTo>
                      <a:pt x="1258" y="737"/>
                    </a:lnTo>
                    <a:lnTo>
                      <a:pt x="1254" y="732"/>
                    </a:lnTo>
                    <a:lnTo>
                      <a:pt x="1251" y="727"/>
                    </a:lnTo>
                    <a:lnTo>
                      <a:pt x="1247" y="722"/>
                    </a:lnTo>
                    <a:lnTo>
                      <a:pt x="1243" y="720"/>
                    </a:lnTo>
                    <a:lnTo>
                      <a:pt x="1239" y="718"/>
                    </a:lnTo>
                    <a:lnTo>
                      <a:pt x="1234" y="715"/>
                    </a:lnTo>
                    <a:lnTo>
                      <a:pt x="1229" y="715"/>
                    </a:lnTo>
                    <a:lnTo>
                      <a:pt x="1224" y="716"/>
                    </a:lnTo>
                    <a:lnTo>
                      <a:pt x="1220" y="719"/>
                    </a:lnTo>
                    <a:lnTo>
                      <a:pt x="1208" y="728"/>
                    </a:lnTo>
                    <a:lnTo>
                      <a:pt x="1194" y="741"/>
                    </a:lnTo>
                    <a:lnTo>
                      <a:pt x="1178" y="757"/>
                    </a:lnTo>
                    <a:lnTo>
                      <a:pt x="1164" y="770"/>
                    </a:lnTo>
                    <a:lnTo>
                      <a:pt x="1159" y="776"/>
                    </a:lnTo>
                    <a:lnTo>
                      <a:pt x="1155" y="782"/>
                    </a:lnTo>
                    <a:lnTo>
                      <a:pt x="1153" y="789"/>
                    </a:lnTo>
                    <a:lnTo>
                      <a:pt x="1152" y="796"/>
                    </a:lnTo>
                    <a:lnTo>
                      <a:pt x="1152" y="803"/>
                    </a:lnTo>
                    <a:lnTo>
                      <a:pt x="1153" y="809"/>
                    </a:lnTo>
                    <a:lnTo>
                      <a:pt x="1155" y="815"/>
                    </a:lnTo>
                    <a:lnTo>
                      <a:pt x="1158" y="819"/>
                    </a:lnTo>
                    <a:lnTo>
                      <a:pt x="1164" y="826"/>
                    </a:lnTo>
                    <a:lnTo>
                      <a:pt x="1172" y="835"/>
                    </a:lnTo>
                    <a:lnTo>
                      <a:pt x="1176" y="841"/>
                    </a:lnTo>
                    <a:lnTo>
                      <a:pt x="1179" y="846"/>
                    </a:lnTo>
                    <a:lnTo>
                      <a:pt x="1182" y="851"/>
                    </a:lnTo>
                    <a:lnTo>
                      <a:pt x="1183" y="855"/>
                    </a:lnTo>
                    <a:lnTo>
                      <a:pt x="1184" y="860"/>
                    </a:lnTo>
                    <a:lnTo>
                      <a:pt x="1184" y="866"/>
                    </a:lnTo>
                    <a:lnTo>
                      <a:pt x="1183" y="873"/>
                    </a:lnTo>
                    <a:lnTo>
                      <a:pt x="1182" y="879"/>
                    </a:lnTo>
                    <a:lnTo>
                      <a:pt x="1179" y="885"/>
                    </a:lnTo>
                    <a:lnTo>
                      <a:pt x="1176" y="891"/>
                    </a:lnTo>
                    <a:lnTo>
                      <a:pt x="1171" y="895"/>
                    </a:lnTo>
                    <a:lnTo>
                      <a:pt x="1164" y="897"/>
                    </a:lnTo>
                    <a:lnTo>
                      <a:pt x="1158" y="898"/>
                    </a:lnTo>
                    <a:lnTo>
                      <a:pt x="1152" y="901"/>
                    </a:lnTo>
                    <a:lnTo>
                      <a:pt x="1147" y="903"/>
                    </a:lnTo>
                    <a:lnTo>
                      <a:pt x="1144" y="907"/>
                    </a:lnTo>
                    <a:lnTo>
                      <a:pt x="1139" y="914"/>
                    </a:lnTo>
                    <a:lnTo>
                      <a:pt x="1136" y="922"/>
                    </a:lnTo>
                    <a:lnTo>
                      <a:pt x="1134" y="929"/>
                    </a:lnTo>
                    <a:lnTo>
                      <a:pt x="1131" y="933"/>
                    </a:lnTo>
                    <a:lnTo>
                      <a:pt x="1125" y="934"/>
                    </a:lnTo>
                    <a:lnTo>
                      <a:pt x="1116" y="935"/>
                    </a:lnTo>
                    <a:lnTo>
                      <a:pt x="1112" y="936"/>
                    </a:lnTo>
                    <a:lnTo>
                      <a:pt x="1107" y="939"/>
                    </a:lnTo>
                    <a:lnTo>
                      <a:pt x="1103" y="942"/>
                    </a:lnTo>
                    <a:lnTo>
                      <a:pt x="1101" y="946"/>
                    </a:lnTo>
                    <a:lnTo>
                      <a:pt x="1097" y="949"/>
                    </a:lnTo>
                    <a:lnTo>
                      <a:pt x="1096" y="954"/>
                    </a:lnTo>
                    <a:lnTo>
                      <a:pt x="1095" y="959"/>
                    </a:lnTo>
                    <a:lnTo>
                      <a:pt x="1094" y="965"/>
                    </a:lnTo>
                    <a:lnTo>
                      <a:pt x="1094" y="975"/>
                    </a:lnTo>
                    <a:lnTo>
                      <a:pt x="1094" y="987"/>
                    </a:lnTo>
                    <a:lnTo>
                      <a:pt x="1095" y="998"/>
                    </a:lnTo>
                    <a:lnTo>
                      <a:pt x="1095" y="1009"/>
                    </a:lnTo>
                    <a:lnTo>
                      <a:pt x="1091" y="1018"/>
                    </a:lnTo>
                    <a:lnTo>
                      <a:pt x="1088" y="1029"/>
                    </a:lnTo>
                    <a:lnTo>
                      <a:pt x="1085" y="1035"/>
                    </a:lnTo>
                    <a:lnTo>
                      <a:pt x="1084" y="1041"/>
                    </a:lnTo>
                    <a:lnTo>
                      <a:pt x="1084" y="1046"/>
                    </a:lnTo>
                    <a:lnTo>
                      <a:pt x="1087" y="1050"/>
                    </a:lnTo>
                    <a:lnTo>
                      <a:pt x="1089" y="1061"/>
                    </a:lnTo>
                    <a:lnTo>
                      <a:pt x="1091" y="1072"/>
                    </a:lnTo>
                    <a:lnTo>
                      <a:pt x="1092" y="1084"/>
                    </a:lnTo>
                    <a:lnTo>
                      <a:pt x="1094" y="1098"/>
                    </a:lnTo>
                    <a:lnTo>
                      <a:pt x="1095" y="1105"/>
                    </a:lnTo>
                    <a:lnTo>
                      <a:pt x="1097" y="1111"/>
                    </a:lnTo>
                    <a:lnTo>
                      <a:pt x="1101" y="1116"/>
                    </a:lnTo>
                    <a:lnTo>
                      <a:pt x="1104" y="1119"/>
                    </a:lnTo>
                    <a:lnTo>
                      <a:pt x="1110" y="1123"/>
                    </a:lnTo>
                    <a:lnTo>
                      <a:pt x="1116" y="1125"/>
                    </a:lnTo>
                    <a:lnTo>
                      <a:pt x="1122" y="1126"/>
                    </a:lnTo>
                    <a:lnTo>
                      <a:pt x="1131" y="1126"/>
                    </a:lnTo>
                    <a:lnTo>
                      <a:pt x="1136" y="1126"/>
                    </a:lnTo>
                    <a:lnTo>
                      <a:pt x="1141" y="1128"/>
                    </a:lnTo>
                    <a:lnTo>
                      <a:pt x="1145" y="1129"/>
                    </a:lnTo>
                    <a:lnTo>
                      <a:pt x="1147" y="1130"/>
                    </a:lnTo>
                    <a:lnTo>
                      <a:pt x="1150" y="1136"/>
                    </a:lnTo>
                    <a:lnTo>
                      <a:pt x="1152" y="1143"/>
                    </a:lnTo>
                    <a:lnTo>
                      <a:pt x="1154" y="1145"/>
                    </a:lnTo>
                    <a:lnTo>
                      <a:pt x="1157" y="1148"/>
                    </a:lnTo>
                    <a:lnTo>
                      <a:pt x="1159" y="1149"/>
                    </a:lnTo>
                    <a:lnTo>
                      <a:pt x="1161" y="1150"/>
                    </a:lnTo>
                    <a:lnTo>
                      <a:pt x="1167" y="1149"/>
                    </a:lnTo>
                    <a:lnTo>
                      <a:pt x="1175" y="1145"/>
                    </a:lnTo>
                    <a:lnTo>
                      <a:pt x="1178" y="1143"/>
                    </a:lnTo>
                    <a:lnTo>
                      <a:pt x="1182" y="1142"/>
                    </a:lnTo>
                    <a:lnTo>
                      <a:pt x="1185" y="1143"/>
                    </a:lnTo>
                    <a:lnTo>
                      <a:pt x="1186" y="1143"/>
                    </a:lnTo>
                    <a:lnTo>
                      <a:pt x="1189" y="1145"/>
                    </a:lnTo>
                    <a:lnTo>
                      <a:pt x="1189" y="1148"/>
                    </a:lnTo>
                    <a:lnTo>
                      <a:pt x="1189" y="1151"/>
                    </a:lnTo>
                    <a:lnTo>
                      <a:pt x="1188" y="1156"/>
                    </a:lnTo>
                    <a:lnTo>
                      <a:pt x="1186" y="1160"/>
                    </a:lnTo>
                    <a:lnTo>
                      <a:pt x="1186" y="1164"/>
                    </a:lnTo>
                    <a:lnTo>
                      <a:pt x="1186" y="1168"/>
                    </a:lnTo>
                    <a:lnTo>
                      <a:pt x="1188" y="1172"/>
                    </a:lnTo>
                    <a:lnTo>
                      <a:pt x="1192" y="1179"/>
                    </a:lnTo>
                    <a:lnTo>
                      <a:pt x="1198" y="1187"/>
                    </a:lnTo>
                    <a:lnTo>
                      <a:pt x="1201" y="1192"/>
                    </a:lnTo>
                    <a:lnTo>
                      <a:pt x="1204" y="1199"/>
                    </a:lnTo>
                    <a:lnTo>
                      <a:pt x="1207" y="1206"/>
                    </a:lnTo>
                    <a:lnTo>
                      <a:pt x="1209" y="1216"/>
                    </a:lnTo>
                    <a:lnTo>
                      <a:pt x="1215" y="1236"/>
                    </a:lnTo>
                    <a:lnTo>
                      <a:pt x="1222" y="1257"/>
                    </a:lnTo>
                    <a:lnTo>
                      <a:pt x="1228" y="1268"/>
                    </a:lnTo>
                    <a:lnTo>
                      <a:pt x="1234" y="1276"/>
                    </a:lnTo>
                    <a:lnTo>
                      <a:pt x="1240" y="1283"/>
                    </a:lnTo>
                    <a:lnTo>
                      <a:pt x="1246" y="1288"/>
                    </a:lnTo>
                    <a:lnTo>
                      <a:pt x="1257" y="1296"/>
                    </a:lnTo>
                    <a:lnTo>
                      <a:pt x="1267" y="1304"/>
                    </a:lnTo>
                    <a:lnTo>
                      <a:pt x="1268" y="1306"/>
                    </a:lnTo>
                    <a:lnTo>
                      <a:pt x="1270" y="1308"/>
                    </a:lnTo>
                    <a:lnTo>
                      <a:pt x="1271" y="1309"/>
                    </a:lnTo>
                    <a:lnTo>
                      <a:pt x="1270" y="1312"/>
                    </a:lnTo>
                    <a:lnTo>
                      <a:pt x="1267" y="1314"/>
                    </a:lnTo>
                    <a:lnTo>
                      <a:pt x="1262" y="1317"/>
                    </a:lnTo>
                    <a:lnTo>
                      <a:pt x="1258" y="1319"/>
                    </a:lnTo>
                    <a:lnTo>
                      <a:pt x="1253" y="1321"/>
                    </a:lnTo>
                    <a:lnTo>
                      <a:pt x="1249" y="1325"/>
                    </a:lnTo>
                    <a:lnTo>
                      <a:pt x="1248" y="1328"/>
                    </a:lnTo>
                    <a:lnTo>
                      <a:pt x="1249" y="1331"/>
                    </a:lnTo>
                    <a:lnTo>
                      <a:pt x="1251" y="1333"/>
                    </a:lnTo>
                    <a:lnTo>
                      <a:pt x="1253" y="1336"/>
                    </a:lnTo>
                    <a:lnTo>
                      <a:pt x="1257" y="1337"/>
                    </a:lnTo>
                    <a:lnTo>
                      <a:pt x="1265" y="1338"/>
                    </a:lnTo>
                    <a:lnTo>
                      <a:pt x="1278" y="1338"/>
                    </a:lnTo>
                    <a:lnTo>
                      <a:pt x="1284" y="1338"/>
                    </a:lnTo>
                    <a:lnTo>
                      <a:pt x="1290" y="1338"/>
                    </a:lnTo>
                    <a:lnTo>
                      <a:pt x="1295" y="1339"/>
                    </a:lnTo>
                    <a:lnTo>
                      <a:pt x="1298" y="1342"/>
                    </a:lnTo>
                    <a:lnTo>
                      <a:pt x="1302" y="1344"/>
                    </a:lnTo>
                    <a:lnTo>
                      <a:pt x="1304" y="1346"/>
                    </a:lnTo>
                    <a:lnTo>
                      <a:pt x="1306" y="1350"/>
                    </a:lnTo>
                    <a:lnTo>
                      <a:pt x="1308" y="1353"/>
                    </a:lnTo>
                    <a:lnTo>
                      <a:pt x="1306" y="1364"/>
                    </a:lnTo>
                    <a:lnTo>
                      <a:pt x="1304" y="1377"/>
                    </a:lnTo>
                    <a:lnTo>
                      <a:pt x="1299" y="1393"/>
                    </a:lnTo>
                    <a:lnTo>
                      <a:pt x="1292" y="1409"/>
                    </a:lnTo>
                    <a:lnTo>
                      <a:pt x="1285" y="1426"/>
                    </a:lnTo>
                    <a:lnTo>
                      <a:pt x="1278" y="1444"/>
                    </a:lnTo>
                    <a:lnTo>
                      <a:pt x="1268" y="1460"/>
                    </a:lnTo>
                    <a:lnTo>
                      <a:pt x="1259" y="1476"/>
                    </a:lnTo>
                    <a:lnTo>
                      <a:pt x="1249" y="1490"/>
                    </a:lnTo>
                    <a:lnTo>
                      <a:pt x="1239" y="1506"/>
                    </a:lnTo>
                    <a:lnTo>
                      <a:pt x="1234" y="1515"/>
                    </a:lnTo>
                    <a:lnTo>
                      <a:pt x="1230" y="1523"/>
                    </a:lnTo>
                    <a:lnTo>
                      <a:pt x="1227" y="1532"/>
                    </a:lnTo>
                    <a:lnTo>
                      <a:pt x="1224" y="1539"/>
                    </a:lnTo>
                    <a:lnTo>
                      <a:pt x="1221" y="1553"/>
                    </a:lnTo>
                    <a:lnTo>
                      <a:pt x="1216" y="1565"/>
                    </a:lnTo>
                    <a:lnTo>
                      <a:pt x="1209" y="1576"/>
                    </a:lnTo>
                    <a:lnTo>
                      <a:pt x="1201" y="1584"/>
                    </a:lnTo>
                    <a:lnTo>
                      <a:pt x="1192" y="1592"/>
                    </a:lnTo>
                    <a:lnTo>
                      <a:pt x="1186" y="1601"/>
                    </a:lnTo>
                    <a:lnTo>
                      <a:pt x="1185" y="1605"/>
                    </a:lnTo>
                    <a:lnTo>
                      <a:pt x="1184" y="1610"/>
                    </a:lnTo>
                    <a:lnTo>
                      <a:pt x="1184" y="1615"/>
                    </a:lnTo>
                    <a:lnTo>
                      <a:pt x="1184" y="1620"/>
                    </a:lnTo>
                    <a:lnTo>
                      <a:pt x="1186" y="1633"/>
                    </a:lnTo>
                    <a:lnTo>
                      <a:pt x="1188" y="1648"/>
                    </a:lnTo>
                    <a:lnTo>
                      <a:pt x="1190" y="1665"/>
                    </a:lnTo>
                    <a:lnTo>
                      <a:pt x="1190" y="1680"/>
                    </a:lnTo>
                    <a:lnTo>
                      <a:pt x="1190" y="1687"/>
                    </a:lnTo>
                    <a:lnTo>
                      <a:pt x="1189" y="1693"/>
                    </a:lnTo>
                    <a:lnTo>
                      <a:pt x="1188" y="1699"/>
                    </a:lnTo>
                    <a:lnTo>
                      <a:pt x="1185" y="1703"/>
                    </a:lnTo>
                    <a:lnTo>
                      <a:pt x="1182" y="1706"/>
                    </a:lnTo>
                    <a:lnTo>
                      <a:pt x="1178" y="1709"/>
                    </a:lnTo>
                    <a:lnTo>
                      <a:pt x="1173" y="1709"/>
                    </a:lnTo>
                    <a:lnTo>
                      <a:pt x="1169" y="1709"/>
                    </a:lnTo>
                    <a:lnTo>
                      <a:pt x="1164" y="1709"/>
                    </a:lnTo>
                    <a:lnTo>
                      <a:pt x="1160" y="1711"/>
                    </a:lnTo>
                    <a:lnTo>
                      <a:pt x="1159" y="1714"/>
                    </a:lnTo>
                    <a:lnTo>
                      <a:pt x="1157" y="1717"/>
                    </a:lnTo>
                    <a:lnTo>
                      <a:pt x="1155" y="1727"/>
                    </a:lnTo>
                    <a:lnTo>
                      <a:pt x="1153" y="1737"/>
                    </a:lnTo>
                    <a:lnTo>
                      <a:pt x="1152" y="1741"/>
                    </a:lnTo>
                    <a:lnTo>
                      <a:pt x="1148" y="1746"/>
                    </a:lnTo>
                    <a:lnTo>
                      <a:pt x="1144" y="1750"/>
                    </a:lnTo>
                    <a:lnTo>
                      <a:pt x="1138" y="1755"/>
                    </a:lnTo>
                    <a:lnTo>
                      <a:pt x="1131" y="1759"/>
                    </a:lnTo>
                    <a:lnTo>
                      <a:pt x="1125" y="1761"/>
                    </a:lnTo>
                    <a:lnTo>
                      <a:pt x="1117" y="1764"/>
                    </a:lnTo>
                    <a:lnTo>
                      <a:pt x="1112" y="1765"/>
                    </a:lnTo>
                    <a:lnTo>
                      <a:pt x="1107" y="1765"/>
                    </a:lnTo>
                    <a:lnTo>
                      <a:pt x="1102" y="1766"/>
                    </a:lnTo>
                    <a:lnTo>
                      <a:pt x="1100" y="1768"/>
                    </a:lnTo>
                    <a:lnTo>
                      <a:pt x="1098" y="1769"/>
                    </a:lnTo>
                    <a:lnTo>
                      <a:pt x="1098" y="1777"/>
                    </a:lnTo>
                    <a:lnTo>
                      <a:pt x="1098" y="1786"/>
                    </a:lnTo>
                    <a:lnTo>
                      <a:pt x="1097" y="1796"/>
                    </a:lnTo>
                    <a:lnTo>
                      <a:pt x="1098" y="1803"/>
                    </a:lnTo>
                    <a:lnTo>
                      <a:pt x="1101" y="1807"/>
                    </a:lnTo>
                    <a:lnTo>
                      <a:pt x="1104" y="1811"/>
                    </a:lnTo>
                    <a:lnTo>
                      <a:pt x="1110" y="1816"/>
                    </a:lnTo>
                    <a:lnTo>
                      <a:pt x="1119" y="1821"/>
                    </a:lnTo>
                    <a:lnTo>
                      <a:pt x="1122" y="1823"/>
                    </a:lnTo>
                    <a:lnTo>
                      <a:pt x="1126" y="1825"/>
                    </a:lnTo>
                    <a:lnTo>
                      <a:pt x="1128" y="1829"/>
                    </a:lnTo>
                    <a:lnTo>
                      <a:pt x="1131" y="1831"/>
                    </a:lnTo>
                    <a:lnTo>
                      <a:pt x="1133" y="1838"/>
                    </a:lnTo>
                    <a:lnTo>
                      <a:pt x="1133" y="1844"/>
                    </a:lnTo>
                    <a:lnTo>
                      <a:pt x="1132" y="1859"/>
                    </a:lnTo>
                    <a:lnTo>
                      <a:pt x="1132" y="1870"/>
                    </a:lnTo>
                    <a:lnTo>
                      <a:pt x="1134" y="1875"/>
                    </a:lnTo>
                    <a:lnTo>
                      <a:pt x="1139" y="1880"/>
                    </a:lnTo>
                    <a:lnTo>
                      <a:pt x="1144" y="1885"/>
                    </a:lnTo>
                    <a:lnTo>
                      <a:pt x="1150" y="1888"/>
                    </a:lnTo>
                    <a:lnTo>
                      <a:pt x="1163" y="1895"/>
                    </a:lnTo>
                    <a:lnTo>
                      <a:pt x="1177" y="1901"/>
                    </a:lnTo>
                    <a:lnTo>
                      <a:pt x="1182" y="1904"/>
                    </a:lnTo>
                    <a:lnTo>
                      <a:pt x="1184" y="1907"/>
                    </a:lnTo>
                    <a:lnTo>
                      <a:pt x="1186" y="1911"/>
                    </a:lnTo>
                    <a:lnTo>
                      <a:pt x="1189" y="1914"/>
                    </a:lnTo>
                    <a:lnTo>
                      <a:pt x="1189" y="1919"/>
                    </a:lnTo>
                    <a:lnTo>
                      <a:pt x="1189" y="1926"/>
                    </a:lnTo>
                    <a:lnTo>
                      <a:pt x="1189" y="1932"/>
                    </a:lnTo>
                    <a:lnTo>
                      <a:pt x="1188" y="1939"/>
                    </a:lnTo>
                    <a:lnTo>
                      <a:pt x="1184" y="1954"/>
                    </a:lnTo>
                    <a:lnTo>
                      <a:pt x="1180" y="1964"/>
                    </a:lnTo>
                    <a:lnTo>
                      <a:pt x="1178" y="1980"/>
                    </a:lnTo>
                    <a:lnTo>
                      <a:pt x="1176" y="1996"/>
                    </a:lnTo>
                    <a:lnTo>
                      <a:pt x="1173" y="2016"/>
                    </a:lnTo>
                    <a:lnTo>
                      <a:pt x="1172" y="2032"/>
                    </a:lnTo>
                    <a:lnTo>
                      <a:pt x="1170" y="2048"/>
                    </a:lnTo>
                    <a:lnTo>
                      <a:pt x="1170" y="2062"/>
                    </a:lnTo>
                    <a:lnTo>
                      <a:pt x="1170" y="2068"/>
                    </a:lnTo>
                    <a:lnTo>
                      <a:pt x="1171" y="2073"/>
                    </a:lnTo>
                    <a:lnTo>
                      <a:pt x="1172" y="2077"/>
                    </a:lnTo>
                    <a:lnTo>
                      <a:pt x="1173" y="2080"/>
                    </a:lnTo>
                    <a:lnTo>
                      <a:pt x="1177" y="2087"/>
                    </a:lnTo>
                    <a:lnTo>
                      <a:pt x="1178" y="2093"/>
                    </a:lnTo>
                    <a:lnTo>
                      <a:pt x="1177" y="2095"/>
                    </a:lnTo>
                    <a:lnTo>
                      <a:pt x="1176" y="2098"/>
                    </a:lnTo>
                    <a:lnTo>
                      <a:pt x="1173" y="2099"/>
                    </a:lnTo>
                    <a:lnTo>
                      <a:pt x="1170" y="2099"/>
                    </a:lnTo>
                    <a:lnTo>
                      <a:pt x="1167" y="2100"/>
                    </a:lnTo>
                    <a:lnTo>
                      <a:pt x="1164" y="2100"/>
                    </a:lnTo>
                    <a:lnTo>
                      <a:pt x="1161" y="2101"/>
                    </a:lnTo>
                    <a:lnTo>
                      <a:pt x="1160" y="2103"/>
                    </a:lnTo>
                    <a:lnTo>
                      <a:pt x="1158" y="2108"/>
                    </a:lnTo>
                    <a:lnTo>
                      <a:pt x="1157" y="2114"/>
                    </a:lnTo>
                    <a:lnTo>
                      <a:pt x="1158" y="2122"/>
                    </a:lnTo>
                    <a:lnTo>
                      <a:pt x="1160" y="2132"/>
                    </a:lnTo>
                    <a:lnTo>
                      <a:pt x="1164" y="2143"/>
                    </a:lnTo>
                    <a:lnTo>
                      <a:pt x="1166" y="2151"/>
                    </a:lnTo>
                    <a:lnTo>
                      <a:pt x="1167" y="2156"/>
                    </a:lnTo>
                    <a:lnTo>
                      <a:pt x="1169" y="2158"/>
                    </a:lnTo>
                    <a:lnTo>
                      <a:pt x="1167" y="2162"/>
                    </a:lnTo>
                    <a:lnTo>
                      <a:pt x="1166" y="2164"/>
                    </a:lnTo>
                    <a:lnTo>
                      <a:pt x="1161" y="2168"/>
                    </a:lnTo>
                    <a:lnTo>
                      <a:pt x="1153" y="2171"/>
                    </a:lnTo>
                    <a:lnTo>
                      <a:pt x="1150" y="2172"/>
                    </a:lnTo>
                    <a:lnTo>
                      <a:pt x="1146" y="2174"/>
                    </a:lnTo>
                    <a:lnTo>
                      <a:pt x="1145" y="2176"/>
                    </a:lnTo>
                    <a:lnTo>
                      <a:pt x="1144" y="2178"/>
                    </a:lnTo>
                    <a:lnTo>
                      <a:pt x="1144" y="2183"/>
                    </a:lnTo>
                    <a:lnTo>
                      <a:pt x="1145" y="2189"/>
                    </a:lnTo>
                    <a:lnTo>
                      <a:pt x="1148" y="2199"/>
                    </a:lnTo>
                    <a:lnTo>
                      <a:pt x="1152" y="2210"/>
                    </a:lnTo>
                    <a:lnTo>
                      <a:pt x="1155" y="2224"/>
                    </a:lnTo>
                    <a:lnTo>
                      <a:pt x="1158" y="2237"/>
                    </a:lnTo>
                    <a:lnTo>
                      <a:pt x="1158" y="2245"/>
                    </a:lnTo>
                    <a:lnTo>
                      <a:pt x="1155" y="2251"/>
                    </a:lnTo>
                    <a:lnTo>
                      <a:pt x="1152" y="2253"/>
                    </a:lnTo>
                    <a:lnTo>
                      <a:pt x="1146" y="2253"/>
                    </a:lnTo>
                    <a:lnTo>
                      <a:pt x="1142" y="2254"/>
                    </a:lnTo>
                    <a:lnTo>
                      <a:pt x="1140" y="2257"/>
                    </a:lnTo>
                    <a:lnTo>
                      <a:pt x="1138" y="2259"/>
                    </a:lnTo>
                    <a:lnTo>
                      <a:pt x="1135" y="2264"/>
                    </a:lnTo>
                    <a:lnTo>
                      <a:pt x="1131" y="2276"/>
                    </a:lnTo>
                    <a:lnTo>
                      <a:pt x="1122" y="2292"/>
                    </a:lnTo>
                    <a:lnTo>
                      <a:pt x="1116" y="2301"/>
                    </a:lnTo>
                    <a:lnTo>
                      <a:pt x="1109" y="2309"/>
                    </a:lnTo>
                    <a:lnTo>
                      <a:pt x="1101" y="2315"/>
                    </a:lnTo>
                    <a:lnTo>
                      <a:pt x="1092" y="2320"/>
                    </a:lnTo>
                    <a:lnTo>
                      <a:pt x="1085" y="2323"/>
                    </a:lnTo>
                    <a:lnTo>
                      <a:pt x="1078" y="2326"/>
                    </a:lnTo>
                    <a:lnTo>
                      <a:pt x="1071" y="2327"/>
                    </a:lnTo>
                    <a:lnTo>
                      <a:pt x="1066" y="2327"/>
                    </a:lnTo>
                    <a:lnTo>
                      <a:pt x="1062" y="2327"/>
                    </a:lnTo>
                    <a:lnTo>
                      <a:pt x="1058" y="2327"/>
                    </a:lnTo>
                    <a:lnTo>
                      <a:pt x="1056" y="2328"/>
                    </a:lnTo>
                    <a:lnTo>
                      <a:pt x="1053" y="2329"/>
                    </a:lnTo>
                    <a:lnTo>
                      <a:pt x="1051" y="2332"/>
                    </a:lnTo>
                    <a:lnTo>
                      <a:pt x="1051" y="2335"/>
                    </a:lnTo>
                    <a:lnTo>
                      <a:pt x="1051" y="2339"/>
                    </a:lnTo>
                    <a:lnTo>
                      <a:pt x="1052" y="2344"/>
                    </a:lnTo>
                    <a:lnTo>
                      <a:pt x="1053" y="2347"/>
                    </a:lnTo>
                    <a:lnTo>
                      <a:pt x="1052" y="2349"/>
                    </a:lnTo>
                    <a:lnTo>
                      <a:pt x="1050" y="2351"/>
                    </a:lnTo>
                    <a:lnTo>
                      <a:pt x="1047" y="2352"/>
                    </a:lnTo>
                    <a:lnTo>
                      <a:pt x="1039" y="2349"/>
                    </a:lnTo>
                    <a:lnTo>
                      <a:pt x="1031" y="2347"/>
                    </a:lnTo>
                    <a:lnTo>
                      <a:pt x="1027" y="2347"/>
                    </a:lnTo>
                    <a:lnTo>
                      <a:pt x="1024" y="2348"/>
                    </a:lnTo>
                    <a:lnTo>
                      <a:pt x="1020" y="2351"/>
                    </a:lnTo>
                    <a:lnTo>
                      <a:pt x="1018" y="2353"/>
                    </a:lnTo>
                    <a:lnTo>
                      <a:pt x="1010" y="2361"/>
                    </a:lnTo>
                    <a:lnTo>
                      <a:pt x="1005" y="2371"/>
                    </a:lnTo>
                    <a:lnTo>
                      <a:pt x="1000" y="2380"/>
                    </a:lnTo>
                    <a:lnTo>
                      <a:pt x="994" y="2390"/>
                    </a:lnTo>
                    <a:lnTo>
                      <a:pt x="990" y="2395"/>
                    </a:lnTo>
                    <a:lnTo>
                      <a:pt x="988" y="2397"/>
                    </a:lnTo>
                    <a:lnTo>
                      <a:pt x="986" y="2399"/>
                    </a:lnTo>
                    <a:lnTo>
                      <a:pt x="983" y="2399"/>
                    </a:lnTo>
                    <a:lnTo>
                      <a:pt x="978" y="2397"/>
                    </a:lnTo>
                    <a:lnTo>
                      <a:pt x="974" y="2393"/>
                    </a:lnTo>
                    <a:lnTo>
                      <a:pt x="968" y="2391"/>
                    </a:lnTo>
                    <a:lnTo>
                      <a:pt x="959" y="2390"/>
                    </a:lnTo>
                    <a:lnTo>
                      <a:pt x="955" y="2391"/>
                    </a:lnTo>
                    <a:lnTo>
                      <a:pt x="952" y="2392"/>
                    </a:lnTo>
                    <a:lnTo>
                      <a:pt x="951" y="2395"/>
                    </a:lnTo>
                    <a:lnTo>
                      <a:pt x="950" y="2398"/>
                    </a:lnTo>
                    <a:lnTo>
                      <a:pt x="951" y="2405"/>
                    </a:lnTo>
                    <a:lnTo>
                      <a:pt x="951" y="2412"/>
                    </a:lnTo>
                    <a:lnTo>
                      <a:pt x="950" y="2417"/>
                    </a:lnTo>
                    <a:lnTo>
                      <a:pt x="947" y="2420"/>
                    </a:lnTo>
                    <a:lnTo>
                      <a:pt x="943" y="2423"/>
                    </a:lnTo>
                    <a:lnTo>
                      <a:pt x="937" y="2426"/>
                    </a:lnTo>
                    <a:lnTo>
                      <a:pt x="931" y="2428"/>
                    </a:lnTo>
                    <a:lnTo>
                      <a:pt x="924" y="2429"/>
                    </a:lnTo>
                    <a:lnTo>
                      <a:pt x="915" y="2429"/>
                    </a:lnTo>
                    <a:lnTo>
                      <a:pt x="908" y="2429"/>
                    </a:lnTo>
                    <a:lnTo>
                      <a:pt x="901" y="2429"/>
                    </a:lnTo>
                    <a:lnTo>
                      <a:pt x="895" y="2429"/>
                    </a:lnTo>
                    <a:lnTo>
                      <a:pt x="892" y="2430"/>
                    </a:lnTo>
                    <a:lnTo>
                      <a:pt x="888" y="2432"/>
                    </a:lnTo>
                    <a:lnTo>
                      <a:pt x="882" y="2436"/>
                    </a:lnTo>
                    <a:lnTo>
                      <a:pt x="876" y="2441"/>
                    </a:lnTo>
                    <a:lnTo>
                      <a:pt x="873" y="2443"/>
                    </a:lnTo>
                    <a:lnTo>
                      <a:pt x="869" y="2445"/>
                    </a:lnTo>
                    <a:lnTo>
                      <a:pt x="864" y="2445"/>
                    </a:lnTo>
                    <a:lnTo>
                      <a:pt x="859" y="2443"/>
                    </a:lnTo>
                    <a:lnTo>
                      <a:pt x="855" y="2441"/>
                    </a:lnTo>
                    <a:lnTo>
                      <a:pt x="850" y="2439"/>
                    </a:lnTo>
                    <a:lnTo>
                      <a:pt x="845" y="2436"/>
                    </a:lnTo>
                    <a:lnTo>
                      <a:pt x="840" y="2433"/>
                    </a:lnTo>
                    <a:lnTo>
                      <a:pt x="837" y="2429"/>
                    </a:lnTo>
                    <a:lnTo>
                      <a:pt x="833" y="2429"/>
                    </a:lnTo>
                    <a:lnTo>
                      <a:pt x="830" y="2429"/>
                    </a:lnTo>
                    <a:lnTo>
                      <a:pt x="826" y="2432"/>
                    </a:lnTo>
                    <a:lnTo>
                      <a:pt x="820" y="2437"/>
                    </a:lnTo>
                    <a:lnTo>
                      <a:pt x="816" y="2442"/>
                    </a:lnTo>
                    <a:lnTo>
                      <a:pt x="813" y="2445"/>
                    </a:lnTo>
                    <a:lnTo>
                      <a:pt x="807" y="2446"/>
                    </a:lnTo>
                    <a:lnTo>
                      <a:pt x="800" y="2446"/>
                    </a:lnTo>
                    <a:lnTo>
                      <a:pt x="793" y="2446"/>
                    </a:lnTo>
                    <a:lnTo>
                      <a:pt x="775" y="2446"/>
                    </a:lnTo>
                    <a:lnTo>
                      <a:pt x="760" y="2446"/>
                    </a:lnTo>
                    <a:lnTo>
                      <a:pt x="744" y="2447"/>
                    </a:lnTo>
                    <a:lnTo>
                      <a:pt x="728" y="2447"/>
                    </a:lnTo>
                    <a:lnTo>
                      <a:pt x="719" y="2447"/>
                    </a:lnTo>
                    <a:lnTo>
                      <a:pt x="712" y="2447"/>
                    </a:lnTo>
                    <a:lnTo>
                      <a:pt x="707" y="2446"/>
                    </a:lnTo>
                    <a:lnTo>
                      <a:pt x="704" y="2445"/>
                    </a:lnTo>
                    <a:lnTo>
                      <a:pt x="699" y="2441"/>
                    </a:lnTo>
                    <a:lnTo>
                      <a:pt x="692" y="2440"/>
                    </a:lnTo>
                    <a:lnTo>
                      <a:pt x="685" y="2439"/>
                    </a:lnTo>
                    <a:lnTo>
                      <a:pt x="675" y="2437"/>
                    </a:lnTo>
                    <a:lnTo>
                      <a:pt x="661" y="2430"/>
                    </a:lnTo>
                    <a:lnTo>
                      <a:pt x="643" y="2421"/>
                    </a:lnTo>
                    <a:lnTo>
                      <a:pt x="637" y="2421"/>
                    </a:lnTo>
                    <a:lnTo>
                      <a:pt x="631" y="2422"/>
                    </a:lnTo>
                    <a:lnTo>
                      <a:pt x="628" y="2424"/>
                    </a:lnTo>
                    <a:lnTo>
                      <a:pt x="624" y="2428"/>
                    </a:lnTo>
                    <a:lnTo>
                      <a:pt x="619" y="2436"/>
                    </a:lnTo>
                    <a:lnTo>
                      <a:pt x="616" y="2445"/>
                    </a:lnTo>
                    <a:lnTo>
                      <a:pt x="615" y="2448"/>
                    </a:lnTo>
                    <a:lnTo>
                      <a:pt x="615" y="2453"/>
                    </a:lnTo>
                    <a:lnTo>
                      <a:pt x="615" y="2458"/>
                    </a:lnTo>
                    <a:lnTo>
                      <a:pt x="615" y="2462"/>
                    </a:lnTo>
                    <a:lnTo>
                      <a:pt x="617" y="2471"/>
                    </a:lnTo>
                    <a:lnTo>
                      <a:pt x="619" y="2481"/>
                    </a:lnTo>
                    <a:lnTo>
                      <a:pt x="621" y="2486"/>
                    </a:lnTo>
                    <a:lnTo>
                      <a:pt x="621" y="2493"/>
                    </a:lnTo>
                    <a:lnTo>
                      <a:pt x="619" y="2500"/>
                    </a:lnTo>
                    <a:lnTo>
                      <a:pt x="618" y="2508"/>
                    </a:lnTo>
                    <a:lnTo>
                      <a:pt x="616" y="2515"/>
                    </a:lnTo>
                    <a:lnTo>
                      <a:pt x="615" y="2519"/>
                    </a:lnTo>
                    <a:lnTo>
                      <a:pt x="613" y="2523"/>
                    </a:lnTo>
                    <a:lnTo>
                      <a:pt x="612" y="2525"/>
                    </a:lnTo>
                    <a:lnTo>
                      <a:pt x="611" y="2524"/>
                    </a:lnTo>
                    <a:lnTo>
                      <a:pt x="609" y="2522"/>
                    </a:lnTo>
                    <a:lnTo>
                      <a:pt x="606" y="2519"/>
                    </a:lnTo>
                    <a:lnTo>
                      <a:pt x="603" y="2517"/>
                    </a:lnTo>
                    <a:lnTo>
                      <a:pt x="599" y="2516"/>
                    </a:lnTo>
                    <a:lnTo>
                      <a:pt x="594" y="2515"/>
                    </a:lnTo>
                    <a:lnTo>
                      <a:pt x="583" y="2514"/>
                    </a:lnTo>
                    <a:lnTo>
                      <a:pt x="569" y="2514"/>
                    </a:lnTo>
                    <a:lnTo>
                      <a:pt x="562" y="2515"/>
                    </a:lnTo>
                    <a:lnTo>
                      <a:pt x="556" y="2516"/>
                    </a:lnTo>
                    <a:lnTo>
                      <a:pt x="550" y="2518"/>
                    </a:lnTo>
                    <a:lnTo>
                      <a:pt x="547" y="2519"/>
                    </a:lnTo>
                    <a:lnTo>
                      <a:pt x="541" y="2525"/>
                    </a:lnTo>
                    <a:lnTo>
                      <a:pt x="535" y="2531"/>
                    </a:lnTo>
                    <a:lnTo>
                      <a:pt x="528" y="2538"/>
                    </a:lnTo>
                    <a:lnTo>
                      <a:pt x="520" y="2543"/>
                    </a:lnTo>
                    <a:lnTo>
                      <a:pt x="512" y="2547"/>
                    </a:lnTo>
                    <a:lnTo>
                      <a:pt x="505" y="2549"/>
                    </a:lnTo>
                    <a:lnTo>
                      <a:pt x="502" y="2552"/>
                    </a:lnTo>
                    <a:lnTo>
                      <a:pt x="498" y="2555"/>
                    </a:lnTo>
                    <a:lnTo>
                      <a:pt x="496" y="2560"/>
                    </a:lnTo>
                    <a:lnTo>
                      <a:pt x="495" y="2565"/>
                    </a:lnTo>
                    <a:lnTo>
                      <a:pt x="493" y="2569"/>
                    </a:lnTo>
                    <a:lnTo>
                      <a:pt x="491" y="2573"/>
                    </a:lnTo>
                    <a:lnTo>
                      <a:pt x="487" y="2577"/>
                    </a:lnTo>
                    <a:lnTo>
                      <a:pt x="483" y="2581"/>
                    </a:lnTo>
                    <a:lnTo>
                      <a:pt x="472" y="2597"/>
                    </a:lnTo>
                    <a:lnTo>
                      <a:pt x="458" y="2613"/>
                    </a:lnTo>
                    <a:lnTo>
                      <a:pt x="453" y="2617"/>
                    </a:lnTo>
                    <a:lnTo>
                      <a:pt x="446" y="2620"/>
                    </a:lnTo>
                    <a:lnTo>
                      <a:pt x="437" y="2623"/>
                    </a:lnTo>
                    <a:lnTo>
                      <a:pt x="428" y="2625"/>
                    </a:lnTo>
                    <a:lnTo>
                      <a:pt x="407" y="2630"/>
                    </a:lnTo>
                    <a:lnTo>
                      <a:pt x="386" y="2632"/>
                    </a:lnTo>
                    <a:lnTo>
                      <a:pt x="370" y="2635"/>
                    </a:lnTo>
                    <a:lnTo>
                      <a:pt x="354" y="2637"/>
                    </a:lnTo>
                    <a:lnTo>
                      <a:pt x="340" y="2640"/>
                    </a:lnTo>
                    <a:lnTo>
                      <a:pt x="328" y="2642"/>
                    </a:lnTo>
                    <a:lnTo>
                      <a:pt x="322" y="2643"/>
                    </a:lnTo>
                    <a:lnTo>
                      <a:pt x="317" y="2644"/>
                    </a:lnTo>
                    <a:lnTo>
                      <a:pt x="313" y="2647"/>
                    </a:lnTo>
                    <a:lnTo>
                      <a:pt x="309" y="2649"/>
                    </a:lnTo>
                    <a:lnTo>
                      <a:pt x="302" y="2654"/>
                    </a:lnTo>
                    <a:lnTo>
                      <a:pt x="296" y="2661"/>
                    </a:lnTo>
                    <a:lnTo>
                      <a:pt x="288" y="2667"/>
                    </a:lnTo>
                    <a:lnTo>
                      <a:pt x="277" y="2673"/>
                    </a:lnTo>
                    <a:lnTo>
                      <a:pt x="266" y="2676"/>
                    </a:lnTo>
                    <a:lnTo>
                      <a:pt x="257" y="2679"/>
                    </a:lnTo>
                    <a:lnTo>
                      <a:pt x="248" y="2680"/>
                    </a:lnTo>
                    <a:lnTo>
                      <a:pt x="240" y="2682"/>
                    </a:lnTo>
                    <a:lnTo>
                      <a:pt x="233" y="2686"/>
                    </a:lnTo>
                    <a:lnTo>
                      <a:pt x="227" y="2689"/>
                    </a:lnTo>
                    <a:lnTo>
                      <a:pt x="222" y="2694"/>
                    </a:lnTo>
                    <a:lnTo>
                      <a:pt x="216" y="2699"/>
                    </a:lnTo>
                    <a:lnTo>
                      <a:pt x="207" y="2704"/>
                    </a:lnTo>
                    <a:lnTo>
                      <a:pt x="196" y="2707"/>
                    </a:lnTo>
                    <a:lnTo>
                      <a:pt x="184" y="2710"/>
                    </a:lnTo>
                    <a:lnTo>
                      <a:pt x="175" y="2714"/>
                    </a:lnTo>
                    <a:lnTo>
                      <a:pt x="166" y="2719"/>
                    </a:lnTo>
                    <a:lnTo>
                      <a:pt x="158" y="2725"/>
                    </a:lnTo>
                    <a:lnTo>
                      <a:pt x="153" y="2729"/>
                    </a:lnTo>
                    <a:lnTo>
                      <a:pt x="147" y="2731"/>
                    </a:lnTo>
                    <a:lnTo>
                      <a:pt x="139" y="2733"/>
                    </a:lnTo>
                    <a:lnTo>
                      <a:pt x="131" y="2735"/>
                    </a:lnTo>
                    <a:lnTo>
                      <a:pt x="111" y="2736"/>
                    </a:lnTo>
                    <a:lnTo>
                      <a:pt x="92" y="2737"/>
                    </a:lnTo>
                    <a:lnTo>
                      <a:pt x="78" y="2737"/>
                    </a:lnTo>
                    <a:lnTo>
                      <a:pt x="65" y="2738"/>
                    </a:lnTo>
                    <a:lnTo>
                      <a:pt x="52" y="2738"/>
                    </a:lnTo>
                    <a:lnTo>
                      <a:pt x="39" y="2738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吉林"/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6217874" y="1724754"/>
                <a:ext cx="1118205" cy="828787"/>
              </a:xfrm>
              <a:custGeom>
                <a:avLst/>
                <a:gdLst>
                  <a:gd name="T0" fmla="*/ 3049 w 3070"/>
                  <a:gd name="T1" fmla="*/ 1066 h 2270"/>
                  <a:gd name="T2" fmla="*/ 2912 w 3070"/>
                  <a:gd name="T3" fmla="*/ 1134 h 2270"/>
                  <a:gd name="T4" fmla="*/ 2939 w 3070"/>
                  <a:gd name="T5" fmla="*/ 1241 h 2270"/>
                  <a:gd name="T6" fmla="*/ 2898 w 3070"/>
                  <a:gd name="T7" fmla="*/ 1258 h 2270"/>
                  <a:gd name="T8" fmla="*/ 2808 w 3070"/>
                  <a:gd name="T9" fmla="*/ 1144 h 2270"/>
                  <a:gd name="T10" fmla="*/ 2698 w 3070"/>
                  <a:gd name="T11" fmla="*/ 1099 h 2270"/>
                  <a:gd name="T12" fmla="*/ 2672 w 3070"/>
                  <a:gd name="T13" fmla="*/ 1361 h 2270"/>
                  <a:gd name="T14" fmla="*/ 2561 w 3070"/>
                  <a:gd name="T15" fmla="*/ 1389 h 2270"/>
                  <a:gd name="T16" fmla="*/ 2456 w 3070"/>
                  <a:gd name="T17" fmla="*/ 1597 h 2270"/>
                  <a:gd name="T18" fmla="*/ 2264 w 3070"/>
                  <a:gd name="T19" fmla="*/ 1629 h 2270"/>
                  <a:gd name="T20" fmla="*/ 2260 w 3070"/>
                  <a:gd name="T21" fmla="*/ 1775 h 2270"/>
                  <a:gd name="T22" fmla="*/ 2242 w 3070"/>
                  <a:gd name="T23" fmla="*/ 1913 h 2270"/>
                  <a:gd name="T24" fmla="*/ 2009 w 3070"/>
                  <a:gd name="T25" fmla="*/ 1932 h 2270"/>
                  <a:gd name="T26" fmla="*/ 1914 w 3070"/>
                  <a:gd name="T27" fmla="*/ 1860 h 2270"/>
                  <a:gd name="T28" fmla="*/ 1833 w 3070"/>
                  <a:gd name="T29" fmla="*/ 1849 h 2270"/>
                  <a:gd name="T30" fmla="*/ 1760 w 3070"/>
                  <a:gd name="T31" fmla="*/ 1980 h 2270"/>
                  <a:gd name="T32" fmla="*/ 1688 w 3070"/>
                  <a:gd name="T33" fmla="*/ 2138 h 2270"/>
                  <a:gd name="T34" fmla="*/ 1572 w 3070"/>
                  <a:gd name="T35" fmla="*/ 2264 h 2270"/>
                  <a:gd name="T36" fmla="*/ 1532 w 3070"/>
                  <a:gd name="T37" fmla="*/ 2213 h 2270"/>
                  <a:gd name="T38" fmla="*/ 1513 w 3070"/>
                  <a:gd name="T39" fmla="*/ 2111 h 2270"/>
                  <a:gd name="T40" fmla="*/ 1364 w 3070"/>
                  <a:gd name="T41" fmla="*/ 1935 h 2270"/>
                  <a:gd name="T42" fmla="*/ 1373 w 3070"/>
                  <a:gd name="T43" fmla="*/ 1725 h 2270"/>
                  <a:gd name="T44" fmla="*/ 1272 w 3070"/>
                  <a:gd name="T45" fmla="*/ 1660 h 2270"/>
                  <a:gd name="T46" fmla="*/ 1194 w 3070"/>
                  <a:gd name="T47" fmla="*/ 1540 h 2270"/>
                  <a:gd name="T48" fmla="*/ 1128 w 3070"/>
                  <a:gd name="T49" fmla="*/ 1391 h 2270"/>
                  <a:gd name="T50" fmla="*/ 1005 w 3070"/>
                  <a:gd name="T51" fmla="*/ 1471 h 2270"/>
                  <a:gd name="T52" fmla="*/ 986 w 3070"/>
                  <a:gd name="T53" fmla="*/ 1381 h 2270"/>
                  <a:gd name="T54" fmla="*/ 814 w 3070"/>
                  <a:gd name="T55" fmla="*/ 1271 h 2270"/>
                  <a:gd name="T56" fmla="*/ 697 w 3070"/>
                  <a:gd name="T57" fmla="*/ 1273 h 2270"/>
                  <a:gd name="T58" fmla="*/ 677 w 3070"/>
                  <a:gd name="T59" fmla="*/ 1175 h 2270"/>
                  <a:gd name="T60" fmla="*/ 599 w 3070"/>
                  <a:gd name="T61" fmla="*/ 972 h 2270"/>
                  <a:gd name="T62" fmla="*/ 463 w 3070"/>
                  <a:gd name="T63" fmla="*/ 828 h 2270"/>
                  <a:gd name="T64" fmla="*/ 253 w 3070"/>
                  <a:gd name="T65" fmla="*/ 865 h 2270"/>
                  <a:gd name="T66" fmla="*/ 182 w 3070"/>
                  <a:gd name="T67" fmla="*/ 740 h 2270"/>
                  <a:gd name="T68" fmla="*/ 191 w 3070"/>
                  <a:gd name="T69" fmla="*/ 534 h 2270"/>
                  <a:gd name="T70" fmla="*/ 102 w 3070"/>
                  <a:gd name="T71" fmla="*/ 366 h 2270"/>
                  <a:gd name="T72" fmla="*/ 31 w 3070"/>
                  <a:gd name="T73" fmla="*/ 286 h 2270"/>
                  <a:gd name="T74" fmla="*/ 95 w 3070"/>
                  <a:gd name="T75" fmla="*/ 214 h 2270"/>
                  <a:gd name="T76" fmla="*/ 236 w 3070"/>
                  <a:gd name="T77" fmla="*/ 229 h 2270"/>
                  <a:gd name="T78" fmla="*/ 319 w 3070"/>
                  <a:gd name="T79" fmla="*/ 154 h 2270"/>
                  <a:gd name="T80" fmla="*/ 441 w 3070"/>
                  <a:gd name="T81" fmla="*/ 45 h 2270"/>
                  <a:gd name="T82" fmla="*/ 627 w 3070"/>
                  <a:gd name="T83" fmla="*/ 1 h 2270"/>
                  <a:gd name="T84" fmla="*/ 692 w 3070"/>
                  <a:gd name="T85" fmla="*/ 161 h 2270"/>
                  <a:gd name="T86" fmla="*/ 851 w 3070"/>
                  <a:gd name="T87" fmla="*/ 350 h 2270"/>
                  <a:gd name="T88" fmla="*/ 1017 w 3070"/>
                  <a:gd name="T89" fmla="*/ 300 h 2270"/>
                  <a:gd name="T90" fmla="*/ 1169 w 3070"/>
                  <a:gd name="T91" fmla="*/ 275 h 2270"/>
                  <a:gd name="T92" fmla="*/ 1297 w 3070"/>
                  <a:gd name="T93" fmla="*/ 387 h 2270"/>
                  <a:gd name="T94" fmla="*/ 1532 w 3070"/>
                  <a:gd name="T95" fmla="*/ 342 h 2270"/>
                  <a:gd name="T96" fmla="*/ 1685 w 3070"/>
                  <a:gd name="T97" fmla="*/ 452 h 2270"/>
                  <a:gd name="T98" fmla="*/ 1715 w 3070"/>
                  <a:gd name="T99" fmla="*/ 600 h 2270"/>
                  <a:gd name="T100" fmla="*/ 1848 w 3070"/>
                  <a:gd name="T101" fmla="*/ 583 h 2270"/>
                  <a:gd name="T102" fmla="*/ 1909 w 3070"/>
                  <a:gd name="T103" fmla="*/ 738 h 2270"/>
                  <a:gd name="T104" fmla="*/ 2029 w 3070"/>
                  <a:gd name="T105" fmla="*/ 723 h 2270"/>
                  <a:gd name="T106" fmla="*/ 2085 w 3070"/>
                  <a:gd name="T107" fmla="*/ 562 h 2270"/>
                  <a:gd name="T108" fmla="*/ 2236 w 3070"/>
                  <a:gd name="T109" fmla="*/ 802 h 2270"/>
                  <a:gd name="T110" fmla="*/ 2365 w 3070"/>
                  <a:gd name="T111" fmla="*/ 929 h 2270"/>
                  <a:gd name="T112" fmla="*/ 2443 w 3070"/>
                  <a:gd name="T113" fmla="*/ 798 h 2270"/>
                  <a:gd name="T114" fmla="*/ 2599 w 3070"/>
                  <a:gd name="T115" fmla="*/ 669 h 2270"/>
                  <a:gd name="T116" fmla="*/ 2722 w 3070"/>
                  <a:gd name="T117" fmla="*/ 632 h 2270"/>
                  <a:gd name="T118" fmla="*/ 2797 w 3070"/>
                  <a:gd name="T119" fmla="*/ 789 h 2270"/>
                  <a:gd name="T120" fmla="*/ 2968 w 3070"/>
                  <a:gd name="T121" fmla="*/ 823 h 2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70" h="2270">
                    <a:moveTo>
                      <a:pt x="3067" y="833"/>
                    </a:moveTo>
                    <a:lnTo>
                      <a:pt x="3069" y="846"/>
                    </a:lnTo>
                    <a:lnTo>
                      <a:pt x="3070" y="859"/>
                    </a:lnTo>
                    <a:lnTo>
                      <a:pt x="3070" y="874"/>
                    </a:lnTo>
                    <a:lnTo>
                      <a:pt x="3069" y="890"/>
                    </a:lnTo>
                    <a:lnTo>
                      <a:pt x="3067" y="912"/>
                    </a:lnTo>
                    <a:lnTo>
                      <a:pt x="3065" y="937"/>
                    </a:lnTo>
                    <a:lnTo>
                      <a:pt x="3064" y="949"/>
                    </a:lnTo>
                    <a:lnTo>
                      <a:pt x="3063" y="960"/>
                    </a:lnTo>
                    <a:lnTo>
                      <a:pt x="3062" y="970"/>
                    </a:lnTo>
                    <a:lnTo>
                      <a:pt x="3060" y="977"/>
                    </a:lnTo>
                    <a:lnTo>
                      <a:pt x="3055" y="989"/>
                    </a:lnTo>
                    <a:lnTo>
                      <a:pt x="3049" y="997"/>
                    </a:lnTo>
                    <a:lnTo>
                      <a:pt x="3048" y="1000"/>
                    </a:lnTo>
                    <a:lnTo>
                      <a:pt x="3045" y="1005"/>
                    </a:lnTo>
                    <a:lnTo>
                      <a:pt x="3044" y="1010"/>
                    </a:lnTo>
                    <a:lnTo>
                      <a:pt x="3044" y="1015"/>
                    </a:lnTo>
                    <a:lnTo>
                      <a:pt x="3044" y="1024"/>
                    </a:lnTo>
                    <a:lnTo>
                      <a:pt x="3048" y="1034"/>
                    </a:lnTo>
                    <a:lnTo>
                      <a:pt x="3050" y="1041"/>
                    </a:lnTo>
                    <a:lnTo>
                      <a:pt x="3054" y="1048"/>
                    </a:lnTo>
                    <a:lnTo>
                      <a:pt x="3056" y="1054"/>
                    </a:lnTo>
                    <a:lnTo>
                      <a:pt x="3056" y="1060"/>
                    </a:lnTo>
                    <a:lnTo>
                      <a:pt x="3056" y="1062"/>
                    </a:lnTo>
                    <a:lnTo>
                      <a:pt x="3055" y="1065"/>
                    </a:lnTo>
                    <a:lnTo>
                      <a:pt x="3052" y="1066"/>
                    </a:lnTo>
                    <a:lnTo>
                      <a:pt x="3049" y="1066"/>
                    </a:lnTo>
                    <a:lnTo>
                      <a:pt x="3042" y="1063"/>
                    </a:lnTo>
                    <a:lnTo>
                      <a:pt x="3036" y="1062"/>
                    </a:lnTo>
                    <a:lnTo>
                      <a:pt x="3031" y="1062"/>
                    </a:lnTo>
                    <a:lnTo>
                      <a:pt x="3027" y="1063"/>
                    </a:lnTo>
                    <a:lnTo>
                      <a:pt x="3026" y="1063"/>
                    </a:lnTo>
                    <a:lnTo>
                      <a:pt x="3026" y="1065"/>
                    </a:lnTo>
                    <a:lnTo>
                      <a:pt x="3027" y="1066"/>
                    </a:lnTo>
                    <a:lnTo>
                      <a:pt x="3027" y="1067"/>
                    </a:lnTo>
                    <a:lnTo>
                      <a:pt x="3031" y="1071"/>
                    </a:lnTo>
                    <a:lnTo>
                      <a:pt x="3033" y="1075"/>
                    </a:lnTo>
                    <a:lnTo>
                      <a:pt x="3036" y="1080"/>
                    </a:lnTo>
                    <a:lnTo>
                      <a:pt x="3036" y="1085"/>
                    </a:lnTo>
                    <a:lnTo>
                      <a:pt x="3035" y="1087"/>
                    </a:lnTo>
                    <a:lnTo>
                      <a:pt x="3032" y="1090"/>
                    </a:lnTo>
                    <a:lnTo>
                      <a:pt x="3026" y="1092"/>
                    </a:lnTo>
                    <a:lnTo>
                      <a:pt x="3019" y="1095"/>
                    </a:lnTo>
                    <a:lnTo>
                      <a:pt x="3004" y="1100"/>
                    </a:lnTo>
                    <a:lnTo>
                      <a:pt x="2991" y="1105"/>
                    </a:lnTo>
                    <a:lnTo>
                      <a:pt x="2979" y="1110"/>
                    </a:lnTo>
                    <a:lnTo>
                      <a:pt x="2966" y="1116"/>
                    </a:lnTo>
                    <a:lnTo>
                      <a:pt x="2954" y="1122"/>
                    </a:lnTo>
                    <a:lnTo>
                      <a:pt x="2948" y="1125"/>
                    </a:lnTo>
                    <a:lnTo>
                      <a:pt x="2943" y="1126"/>
                    </a:lnTo>
                    <a:lnTo>
                      <a:pt x="2935" y="1126"/>
                    </a:lnTo>
                    <a:lnTo>
                      <a:pt x="2924" y="1128"/>
                    </a:lnTo>
                    <a:lnTo>
                      <a:pt x="2917" y="1130"/>
                    </a:lnTo>
                    <a:lnTo>
                      <a:pt x="2912" y="1134"/>
                    </a:lnTo>
                    <a:lnTo>
                      <a:pt x="2907" y="1139"/>
                    </a:lnTo>
                    <a:lnTo>
                      <a:pt x="2901" y="1149"/>
                    </a:lnTo>
                    <a:lnTo>
                      <a:pt x="2893" y="1158"/>
                    </a:lnTo>
                    <a:lnTo>
                      <a:pt x="2885" y="1169"/>
                    </a:lnTo>
                    <a:lnTo>
                      <a:pt x="2876" y="1176"/>
                    </a:lnTo>
                    <a:lnTo>
                      <a:pt x="2872" y="1179"/>
                    </a:lnTo>
                    <a:lnTo>
                      <a:pt x="2869" y="1182"/>
                    </a:lnTo>
                    <a:lnTo>
                      <a:pt x="2867" y="1186"/>
                    </a:lnTo>
                    <a:lnTo>
                      <a:pt x="2866" y="1189"/>
                    </a:lnTo>
                    <a:lnTo>
                      <a:pt x="2866" y="1192"/>
                    </a:lnTo>
                    <a:lnTo>
                      <a:pt x="2868" y="1195"/>
                    </a:lnTo>
                    <a:lnTo>
                      <a:pt x="2871" y="1198"/>
                    </a:lnTo>
                    <a:lnTo>
                      <a:pt x="2875" y="1199"/>
                    </a:lnTo>
                    <a:lnTo>
                      <a:pt x="2885" y="1199"/>
                    </a:lnTo>
                    <a:lnTo>
                      <a:pt x="2892" y="1198"/>
                    </a:lnTo>
                    <a:lnTo>
                      <a:pt x="2899" y="1194"/>
                    </a:lnTo>
                    <a:lnTo>
                      <a:pt x="2905" y="1191"/>
                    </a:lnTo>
                    <a:lnTo>
                      <a:pt x="2907" y="1191"/>
                    </a:lnTo>
                    <a:lnTo>
                      <a:pt x="2910" y="1191"/>
                    </a:lnTo>
                    <a:lnTo>
                      <a:pt x="2912" y="1192"/>
                    </a:lnTo>
                    <a:lnTo>
                      <a:pt x="2916" y="1193"/>
                    </a:lnTo>
                    <a:lnTo>
                      <a:pt x="2922" y="1201"/>
                    </a:lnTo>
                    <a:lnTo>
                      <a:pt x="2926" y="1212"/>
                    </a:lnTo>
                    <a:lnTo>
                      <a:pt x="2932" y="1223"/>
                    </a:lnTo>
                    <a:lnTo>
                      <a:pt x="2937" y="1232"/>
                    </a:lnTo>
                    <a:lnTo>
                      <a:pt x="2938" y="1236"/>
                    </a:lnTo>
                    <a:lnTo>
                      <a:pt x="2939" y="1241"/>
                    </a:lnTo>
                    <a:lnTo>
                      <a:pt x="2941" y="1244"/>
                    </a:lnTo>
                    <a:lnTo>
                      <a:pt x="2941" y="1250"/>
                    </a:lnTo>
                    <a:lnTo>
                      <a:pt x="2938" y="1258"/>
                    </a:lnTo>
                    <a:lnTo>
                      <a:pt x="2937" y="1267"/>
                    </a:lnTo>
                    <a:lnTo>
                      <a:pt x="2948" y="1283"/>
                    </a:lnTo>
                    <a:lnTo>
                      <a:pt x="2961" y="1300"/>
                    </a:lnTo>
                    <a:lnTo>
                      <a:pt x="2963" y="1303"/>
                    </a:lnTo>
                    <a:lnTo>
                      <a:pt x="2964" y="1307"/>
                    </a:lnTo>
                    <a:lnTo>
                      <a:pt x="2964" y="1309"/>
                    </a:lnTo>
                    <a:lnTo>
                      <a:pt x="2964" y="1312"/>
                    </a:lnTo>
                    <a:lnTo>
                      <a:pt x="2962" y="1313"/>
                    </a:lnTo>
                    <a:lnTo>
                      <a:pt x="2961" y="1314"/>
                    </a:lnTo>
                    <a:lnTo>
                      <a:pt x="2954" y="1311"/>
                    </a:lnTo>
                    <a:lnTo>
                      <a:pt x="2942" y="1300"/>
                    </a:lnTo>
                    <a:lnTo>
                      <a:pt x="2930" y="1287"/>
                    </a:lnTo>
                    <a:lnTo>
                      <a:pt x="2924" y="1277"/>
                    </a:lnTo>
                    <a:lnTo>
                      <a:pt x="2920" y="1269"/>
                    </a:lnTo>
                    <a:lnTo>
                      <a:pt x="2917" y="1258"/>
                    </a:lnTo>
                    <a:lnTo>
                      <a:pt x="2912" y="1249"/>
                    </a:lnTo>
                    <a:lnTo>
                      <a:pt x="2907" y="1244"/>
                    </a:lnTo>
                    <a:lnTo>
                      <a:pt x="2904" y="1242"/>
                    </a:lnTo>
                    <a:lnTo>
                      <a:pt x="2900" y="1242"/>
                    </a:lnTo>
                    <a:lnTo>
                      <a:pt x="2899" y="1243"/>
                    </a:lnTo>
                    <a:lnTo>
                      <a:pt x="2898" y="1245"/>
                    </a:lnTo>
                    <a:lnTo>
                      <a:pt x="2898" y="1249"/>
                    </a:lnTo>
                    <a:lnTo>
                      <a:pt x="2898" y="1254"/>
                    </a:lnTo>
                    <a:lnTo>
                      <a:pt x="2898" y="1258"/>
                    </a:lnTo>
                    <a:lnTo>
                      <a:pt x="2895" y="1262"/>
                    </a:lnTo>
                    <a:lnTo>
                      <a:pt x="2893" y="1264"/>
                    </a:lnTo>
                    <a:lnTo>
                      <a:pt x="2890" y="1265"/>
                    </a:lnTo>
                    <a:lnTo>
                      <a:pt x="2885" y="1265"/>
                    </a:lnTo>
                    <a:lnTo>
                      <a:pt x="2881" y="1264"/>
                    </a:lnTo>
                    <a:lnTo>
                      <a:pt x="2879" y="1261"/>
                    </a:lnTo>
                    <a:lnTo>
                      <a:pt x="2878" y="1256"/>
                    </a:lnTo>
                    <a:lnTo>
                      <a:pt x="2878" y="1251"/>
                    </a:lnTo>
                    <a:lnTo>
                      <a:pt x="2876" y="1248"/>
                    </a:lnTo>
                    <a:lnTo>
                      <a:pt x="2875" y="1244"/>
                    </a:lnTo>
                    <a:lnTo>
                      <a:pt x="2873" y="1243"/>
                    </a:lnTo>
                    <a:lnTo>
                      <a:pt x="2867" y="1241"/>
                    </a:lnTo>
                    <a:lnTo>
                      <a:pt x="2857" y="1238"/>
                    </a:lnTo>
                    <a:lnTo>
                      <a:pt x="2851" y="1237"/>
                    </a:lnTo>
                    <a:lnTo>
                      <a:pt x="2846" y="1235"/>
                    </a:lnTo>
                    <a:lnTo>
                      <a:pt x="2838" y="1231"/>
                    </a:lnTo>
                    <a:lnTo>
                      <a:pt x="2832" y="1226"/>
                    </a:lnTo>
                    <a:lnTo>
                      <a:pt x="2827" y="1221"/>
                    </a:lnTo>
                    <a:lnTo>
                      <a:pt x="2821" y="1216"/>
                    </a:lnTo>
                    <a:lnTo>
                      <a:pt x="2816" y="1208"/>
                    </a:lnTo>
                    <a:lnTo>
                      <a:pt x="2813" y="1201"/>
                    </a:lnTo>
                    <a:lnTo>
                      <a:pt x="2811" y="1194"/>
                    </a:lnTo>
                    <a:lnTo>
                      <a:pt x="2810" y="1186"/>
                    </a:lnTo>
                    <a:lnTo>
                      <a:pt x="2809" y="1178"/>
                    </a:lnTo>
                    <a:lnTo>
                      <a:pt x="2809" y="1169"/>
                    </a:lnTo>
                    <a:lnTo>
                      <a:pt x="2808" y="1155"/>
                    </a:lnTo>
                    <a:lnTo>
                      <a:pt x="2808" y="1144"/>
                    </a:lnTo>
                    <a:lnTo>
                      <a:pt x="2806" y="1141"/>
                    </a:lnTo>
                    <a:lnTo>
                      <a:pt x="2805" y="1137"/>
                    </a:lnTo>
                    <a:lnTo>
                      <a:pt x="2804" y="1134"/>
                    </a:lnTo>
                    <a:lnTo>
                      <a:pt x="2802" y="1132"/>
                    </a:lnTo>
                    <a:lnTo>
                      <a:pt x="2798" y="1130"/>
                    </a:lnTo>
                    <a:lnTo>
                      <a:pt x="2794" y="1130"/>
                    </a:lnTo>
                    <a:lnTo>
                      <a:pt x="2790" y="1130"/>
                    </a:lnTo>
                    <a:lnTo>
                      <a:pt x="2785" y="1130"/>
                    </a:lnTo>
                    <a:lnTo>
                      <a:pt x="2772" y="1134"/>
                    </a:lnTo>
                    <a:lnTo>
                      <a:pt x="2760" y="1135"/>
                    </a:lnTo>
                    <a:lnTo>
                      <a:pt x="2755" y="1134"/>
                    </a:lnTo>
                    <a:lnTo>
                      <a:pt x="2752" y="1132"/>
                    </a:lnTo>
                    <a:lnTo>
                      <a:pt x="2750" y="1130"/>
                    </a:lnTo>
                    <a:lnTo>
                      <a:pt x="2750" y="1125"/>
                    </a:lnTo>
                    <a:lnTo>
                      <a:pt x="2752" y="1122"/>
                    </a:lnTo>
                    <a:lnTo>
                      <a:pt x="2750" y="1118"/>
                    </a:lnTo>
                    <a:lnTo>
                      <a:pt x="2749" y="1115"/>
                    </a:lnTo>
                    <a:lnTo>
                      <a:pt x="2746" y="1112"/>
                    </a:lnTo>
                    <a:lnTo>
                      <a:pt x="2737" y="1110"/>
                    </a:lnTo>
                    <a:lnTo>
                      <a:pt x="2728" y="1110"/>
                    </a:lnTo>
                    <a:lnTo>
                      <a:pt x="2723" y="1110"/>
                    </a:lnTo>
                    <a:lnTo>
                      <a:pt x="2718" y="1109"/>
                    </a:lnTo>
                    <a:lnTo>
                      <a:pt x="2716" y="1106"/>
                    </a:lnTo>
                    <a:lnTo>
                      <a:pt x="2714" y="1104"/>
                    </a:lnTo>
                    <a:lnTo>
                      <a:pt x="2710" y="1100"/>
                    </a:lnTo>
                    <a:lnTo>
                      <a:pt x="2704" y="1098"/>
                    </a:lnTo>
                    <a:lnTo>
                      <a:pt x="2698" y="1099"/>
                    </a:lnTo>
                    <a:lnTo>
                      <a:pt x="2692" y="1103"/>
                    </a:lnTo>
                    <a:lnTo>
                      <a:pt x="2687" y="1107"/>
                    </a:lnTo>
                    <a:lnTo>
                      <a:pt x="2682" y="1112"/>
                    </a:lnTo>
                    <a:lnTo>
                      <a:pt x="2679" y="1116"/>
                    </a:lnTo>
                    <a:lnTo>
                      <a:pt x="2677" y="1120"/>
                    </a:lnTo>
                    <a:lnTo>
                      <a:pt x="2676" y="1128"/>
                    </a:lnTo>
                    <a:lnTo>
                      <a:pt x="2673" y="1135"/>
                    </a:lnTo>
                    <a:lnTo>
                      <a:pt x="2671" y="1151"/>
                    </a:lnTo>
                    <a:lnTo>
                      <a:pt x="2671" y="1167"/>
                    </a:lnTo>
                    <a:lnTo>
                      <a:pt x="2671" y="1181"/>
                    </a:lnTo>
                    <a:lnTo>
                      <a:pt x="2671" y="1200"/>
                    </a:lnTo>
                    <a:lnTo>
                      <a:pt x="2671" y="1218"/>
                    </a:lnTo>
                    <a:lnTo>
                      <a:pt x="2674" y="1233"/>
                    </a:lnTo>
                    <a:lnTo>
                      <a:pt x="2677" y="1246"/>
                    </a:lnTo>
                    <a:lnTo>
                      <a:pt x="2679" y="1257"/>
                    </a:lnTo>
                    <a:lnTo>
                      <a:pt x="2679" y="1269"/>
                    </a:lnTo>
                    <a:lnTo>
                      <a:pt x="2678" y="1281"/>
                    </a:lnTo>
                    <a:lnTo>
                      <a:pt x="2674" y="1293"/>
                    </a:lnTo>
                    <a:lnTo>
                      <a:pt x="2672" y="1301"/>
                    </a:lnTo>
                    <a:lnTo>
                      <a:pt x="2672" y="1308"/>
                    </a:lnTo>
                    <a:lnTo>
                      <a:pt x="2673" y="1320"/>
                    </a:lnTo>
                    <a:lnTo>
                      <a:pt x="2676" y="1331"/>
                    </a:lnTo>
                    <a:lnTo>
                      <a:pt x="2677" y="1339"/>
                    </a:lnTo>
                    <a:lnTo>
                      <a:pt x="2678" y="1346"/>
                    </a:lnTo>
                    <a:lnTo>
                      <a:pt x="2677" y="1353"/>
                    </a:lnTo>
                    <a:lnTo>
                      <a:pt x="2676" y="1357"/>
                    </a:lnTo>
                    <a:lnTo>
                      <a:pt x="2672" y="1361"/>
                    </a:lnTo>
                    <a:lnTo>
                      <a:pt x="2668" y="1362"/>
                    </a:lnTo>
                    <a:lnTo>
                      <a:pt x="2665" y="1363"/>
                    </a:lnTo>
                    <a:lnTo>
                      <a:pt x="2657" y="1365"/>
                    </a:lnTo>
                    <a:lnTo>
                      <a:pt x="2649" y="1366"/>
                    </a:lnTo>
                    <a:lnTo>
                      <a:pt x="2647" y="1368"/>
                    </a:lnTo>
                    <a:lnTo>
                      <a:pt x="2645" y="1369"/>
                    </a:lnTo>
                    <a:lnTo>
                      <a:pt x="2643" y="1371"/>
                    </a:lnTo>
                    <a:lnTo>
                      <a:pt x="2642" y="1374"/>
                    </a:lnTo>
                    <a:lnTo>
                      <a:pt x="2640" y="1381"/>
                    </a:lnTo>
                    <a:lnTo>
                      <a:pt x="2640" y="1389"/>
                    </a:lnTo>
                    <a:lnTo>
                      <a:pt x="2640" y="1394"/>
                    </a:lnTo>
                    <a:lnTo>
                      <a:pt x="2639" y="1397"/>
                    </a:lnTo>
                    <a:lnTo>
                      <a:pt x="2638" y="1402"/>
                    </a:lnTo>
                    <a:lnTo>
                      <a:pt x="2636" y="1405"/>
                    </a:lnTo>
                    <a:lnTo>
                      <a:pt x="2634" y="1407"/>
                    </a:lnTo>
                    <a:lnTo>
                      <a:pt x="2630" y="1408"/>
                    </a:lnTo>
                    <a:lnTo>
                      <a:pt x="2626" y="1408"/>
                    </a:lnTo>
                    <a:lnTo>
                      <a:pt x="2620" y="1405"/>
                    </a:lnTo>
                    <a:lnTo>
                      <a:pt x="2607" y="1397"/>
                    </a:lnTo>
                    <a:lnTo>
                      <a:pt x="2595" y="1390"/>
                    </a:lnTo>
                    <a:lnTo>
                      <a:pt x="2589" y="1388"/>
                    </a:lnTo>
                    <a:lnTo>
                      <a:pt x="2584" y="1386"/>
                    </a:lnTo>
                    <a:lnTo>
                      <a:pt x="2579" y="1384"/>
                    </a:lnTo>
                    <a:lnTo>
                      <a:pt x="2576" y="1384"/>
                    </a:lnTo>
                    <a:lnTo>
                      <a:pt x="2569" y="1386"/>
                    </a:lnTo>
                    <a:lnTo>
                      <a:pt x="2563" y="1388"/>
                    </a:lnTo>
                    <a:lnTo>
                      <a:pt x="2561" y="1389"/>
                    </a:lnTo>
                    <a:lnTo>
                      <a:pt x="2559" y="1391"/>
                    </a:lnTo>
                    <a:lnTo>
                      <a:pt x="2558" y="1394"/>
                    </a:lnTo>
                    <a:lnTo>
                      <a:pt x="2557" y="1397"/>
                    </a:lnTo>
                    <a:lnTo>
                      <a:pt x="2555" y="1405"/>
                    </a:lnTo>
                    <a:lnTo>
                      <a:pt x="2552" y="1412"/>
                    </a:lnTo>
                    <a:lnTo>
                      <a:pt x="2547" y="1418"/>
                    </a:lnTo>
                    <a:lnTo>
                      <a:pt x="2542" y="1422"/>
                    </a:lnTo>
                    <a:lnTo>
                      <a:pt x="2539" y="1427"/>
                    </a:lnTo>
                    <a:lnTo>
                      <a:pt x="2534" y="1433"/>
                    </a:lnTo>
                    <a:lnTo>
                      <a:pt x="2532" y="1441"/>
                    </a:lnTo>
                    <a:lnTo>
                      <a:pt x="2532" y="1451"/>
                    </a:lnTo>
                    <a:lnTo>
                      <a:pt x="2532" y="1464"/>
                    </a:lnTo>
                    <a:lnTo>
                      <a:pt x="2532" y="1479"/>
                    </a:lnTo>
                    <a:lnTo>
                      <a:pt x="2532" y="1488"/>
                    </a:lnTo>
                    <a:lnTo>
                      <a:pt x="2531" y="1495"/>
                    </a:lnTo>
                    <a:lnTo>
                      <a:pt x="2529" y="1500"/>
                    </a:lnTo>
                    <a:lnTo>
                      <a:pt x="2528" y="1503"/>
                    </a:lnTo>
                    <a:lnTo>
                      <a:pt x="2522" y="1512"/>
                    </a:lnTo>
                    <a:lnTo>
                      <a:pt x="2514" y="1521"/>
                    </a:lnTo>
                    <a:lnTo>
                      <a:pt x="2506" y="1532"/>
                    </a:lnTo>
                    <a:lnTo>
                      <a:pt x="2496" y="1541"/>
                    </a:lnTo>
                    <a:lnTo>
                      <a:pt x="2488" y="1552"/>
                    </a:lnTo>
                    <a:lnTo>
                      <a:pt x="2481" y="1566"/>
                    </a:lnTo>
                    <a:lnTo>
                      <a:pt x="2473" y="1579"/>
                    </a:lnTo>
                    <a:lnTo>
                      <a:pt x="2468" y="1589"/>
                    </a:lnTo>
                    <a:lnTo>
                      <a:pt x="2462" y="1594"/>
                    </a:lnTo>
                    <a:lnTo>
                      <a:pt x="2456" y="1597"/>
                    </a:lnTo>
                    <a:lnTo>
                      <a:pt x="2451" y="1598"/>
                    </a:lnTo>
                    <a:lnTo>
                      <a:pt x="2446" y="1598"/>
                    </a:lnTo>
                    <a:lnTo>
                      <a:pt x="2440" y="1598"/>
                    </a:lnTo>
                    <a:lnTo>
                      <a:pt x="2433" y="1597"/>
                    </a:lnTo>
                    <a:lnTo>
                      <a:pt x="2425" y="1596"/>
                    </a:lnTo>
                    <a:lnTo>
                      <a:pt x="2418" y="1595"/>
                    </a:lnTo>
                    <a:lnTo>
                      <a:pt x="2409" y="1595"/>
                    </a:lnTo>
                    <a:lnTo>
                      <a:pt x="2402" y="1596"/>
                    </a:lnTo>
                    <a:lnTo>
                      <a:pt x="2394" y="1597"/>
                    </a:lnTo>
                    <a:lnTo>
                      <a:pt x="2387" y="1599"/>
                    </a:lnTo>
                    <a:lnTo>
                      <a:pt x="2380" y="1603"/>
                    </a:lnTo>
                    <a:lnTo>
                      <a:pt x="2372" y="1607"/>
                    </a:lnTo>
                    <a:lnTo>
                      <a:pt x="2366" y="1611"/>
                    </a:lnTo>
                    <a:lnTo>
                      <a:pt x="2361" y="1615"/>
                    </a:lnTo>
                    <a:lnTo>
                      <a:pt x="2358" y="1617"/>
                    </a:lnTo>
                    <a:lnTo>
                      <a:pt x="2356" y="1618"/>
                    </a:lnTo>
                    <a:lnTo>
                      <a:pt x="2353" y="1618"/>
                    </a:lnTo>
                    <a:lnTo>
                      <a:pt x="2351" y="1617"/>
                    </a:lnTo>
                    <a:lnTo>
                      <a:pt x="2349" y="1616"/>
                    </a:lnTo>
                    <a:lnTo>
                      <a:pt x="2343" y="1616"/>
                    </a:lnTo>
                    <a:lnTo>
                      <a:pt x="2336" y="1617"/>
                    </a:lnTo>
                    <a:lnTo>
                      <a:pt x="2325" y="1620"/>
                    </a:lnTo>
                    <a:lnTo>
                      <a:pt x="2314" y="1622"/>
                    </a:lnTo>
                    <a:lnTo>
                      <a:pt x="2303" y="1623"/>
                    </a:lnTo>
                    <a:lnTo>
                      <a:pt x="2290" y="1624"/>
                    </a:lnTo>
                    <a:lnTo>
                      <a:pt x="2275" y="1627"/>
                    </a:lnTo>
                    <a:lnTo>
                      <a:pt x="2264" y="1629"/>
                    </a:lnTo>
                    <a:lnTo>
                      <a:pt x="2250" y="1630"/>
                    </a:lnTo>
                    <a:lnTo>
                      <a:pt x="2232" y="1633"/>
                    </a:lnTo>
                    <a:lnTo>
                      <a:pt x="2211" y="1636"/>
                    </a:lnTo>
                    <a:lnTo>
                      <a:pt x="2201" y="1639"/>
                    </a:lnTo>
                    <a:lnTo>
                      <a:pt x="2194" y="1641"/>
                    </a:lnTo>
                    <a:lnTo>
                      <a:pt x="2189" y="1643"/>
                    </a:lnTo>
                    <a:lnTo>
                      <a:pt x="2188" y="1647"/>
                    </a:lnTo>
                    <a:lnTo>
                      <a:pt x="2187" y="1651"/>
                    </a:lnTo>
                    <a:lnTo>
                      <a:pt x="2188" y="1653"/>
                    </a:lnTo>
                    <a:lnTo>
                      <a:pt x="2189" y="1655"/>
                    </a:lnTo>
                    <a:lnTo>
                      <a:pt x="2191" y="1658"/>
                    </a:lnTo>
                    <a:lnTo>
                      <a:pt x="2196" y="1665"/>
                    </a:lnTo>
                    <a:lnTo>
                      <a:pt x="2206" y="1671"/>
                    </a:lnTo>
                    <a:lnTo>
                      <a:pt x="2211" y="1674"/>
                    </a:lnTo>
                    <a:lnTo>
                      <a:pt x="2214" y="1679"/>
                    </a:lnTo>
                    <a:lnTo>
                      <a:pt x="2217" y="1689"/>
                    </a:lnTo>
                    <a:lnTo>
                      <a:pt x="2219" y="1708"/>
                    </a:lnTo>
                    <a:lnTo>
                      <a:pt x="2219" y="1711"/>
                    </a:lnTo>
                    <a:lnTo>
                      <a:pt x="2221" y="1723"/>
                    </a:lnTo>
                    <a:lnTo>
                      <a:pt x="2224" y="1736"/>
                    </a:lnTo>
                    <a:lnTo>
                      <a:pt x="2227" y="1747"/>
                    </a:lnTo>
                    <a:lnTo>
                      <a:pt x="2232" y="1756"/>
                    </a:lnTo>
                    <a:lnTo>
                      <a:pt x="2239" y="1765"/>
                    </a:lnTo>
                    <a:lnTo>
                      <a:pt x="2244" y="1768"/>
                    </a:lnTo>
                    <a:lnTo>
                      <a:pt x="2249" y="1771"/>
                    </a:lnTo>
                    <a:lnTo>
                      <a:pt x="2254" y="1773"/>
                    </a:lnTo>
                    <a:lnTo>
                      <a:pt x="2260" y="1775"/>
                    </a:lnTo>
                    <a:lnTo>
                      <a:pt x="2271" y="1779"/>
                    </a:lnTo>
                    <a:lnTo>
                      <a:pt x="2283" y="1784"/>
                    </a:lnTo>
                    <a:lnTo>
                      <a:pt x="2288" y="1786"/>
                    </a:lnTo>
                    <a:lnTo>
                      <a:pt x="2292" y="1790"/>
                    </a:lnTo>
                    <a:lnTo>
                      <a:pt x="2295" y="1793"/>
                    </a:lnTo>
                    <a:lnTo>
                      <a:pt x="2298" y="1797"/>
                    </a:lnTo>
                    <a:lnTo>
                      <a:pt x="2302" y="1811"/>
                    </a:lnTo>
                    <a:lnTo>
                      <a:pt x="2307" y="1821"/>
                    </a:lnTo>
                    <a:lnTo>
                      <a:pt x="2309" y="1825"/>
                    </a:lnTo>
                    <a:lnTo>
                      <a:pt x="2312" y="1831"/>
                    </a:lnTo>
                    <a:lnTo>
                      <a:pt x="2313" y="1836"/>
                    </a:lnTo>
                    <a:lnTo>
                      <a:pt x="2313" y="1840"/>
                    </a:lnTo>
                    <a:lnTo>
                      <a:pt x="2312" y="1844"/>
                    </a:lnTo>
                    <a:lnTo>
                      <a:pt x="2311" y="1849"/>
                    </a:lnTo>
                    <a:lnTo>
                      <a:pt x="2306" y="1859"/>
                    </a:lnTo>
                    <a:lnTo>
                      <a:pt x="2302" y="1868"/>
                    </a:lnTo>
                    <a:lnTo>
                      <a:pt x="2299" y="1878"/>
                    </a:lnTo>
                    <a:lnTo>
                      <a:pt x="2296" y="1888"/>
                    </a:lnTo>
                    <a:lnTo>
                      <a:pt x="2295" y="1897"/>
                    </a:lnTo>
                    <a:lnTo>
                      <a:pt x="2292" y="1904"/>
                    </a:lnTo>
                    <a:lnTo>
                      <a:pt x="2288" y="1910"/>
                    </a:lnTo>
                    <a:lnTo>
                      <a:pt x="2281" y="1916"/>
                    </a:lnTo>
                    <a:lnTo>
                      <a:pt x="2275" y="1918"/>
                    </a:lnTo>
                    <a:lnTo>
                      <a:pt x="2269" y="1919"/>
                    </a:lnTo>
                    <a:lnTo>
                      <a:pt x="2263" y="1919"/>
                    </a:lnTo>
                    <a:lnTo>
                      <a:pt x="2257" y="1918"/>
                    </a:lnTo>
                    <a:lnTo>
                      <a:pt x="2242" y="1913"/>
                    </a:lnTo>
                    <a:lnTo>
                      <a:pt x="2223" y="1905"/>
                    </a:lnTo>
                    <a:lnTo>
                      <a:pt x="2216" y="1904"/>
                    </a:lnTo>
                    <a:lnTo>
                      <a:pt x="2210" y="1903"/>
                    </a:lnTo>
                    <a:lnTo>
                      <a:pt x="2204" y="1904"/>
                    </a:lnTo>
                    <a:lnTo>
                      <a:pt x="2200" y="1905"/>
                    </a:lnTo>
                    <a:lnTo>
                      <a:pt x="2192" y="1910"/>
                    </a:lnTo>
                    <a:lnTo>
                      <a:pt x="2185" y="1917"/>
                    </a:lnTo>
                    <a:lnTo>
                      <a:pt x="2181" y="1919"/>
                    </a:lnTo>
                    <a:lnTo>
                      <a:pt x="2175" y="1922"/>
                    </a:lnTo>
                    <a:lnTo>
                      <a:pt x="2170" y="1924"/>
                    </a:lnTo>
                    <a:lnTo>
                      <a:pt x="2163" y="1926"/>
                    </a:lnTo>
                    <a:lnTo>
                      <a:pt x="2150" y="1929"/>
                    </a:lnTo>
                    <a:lnTo>
                      <a:pt x="2135" y="1931"/>
                    </a:lnTo>
                    <a:lnTo>
                      <a:pt x="2120" y="1935"/>
                    </a:lnTo>
                    <a:lnTo>
                      <a:pt x="2107" y="1936"/>
                    </a:lnTo>
                    <a:lnTo>
                      <a:pt x="2101" y="1937"/>
                    </a:lnTo>
                    <a:lnTo>
                      <a:pt x="2097" y="1936"/>
                    </a:lnTo>
                    <a:lnTo>
                      <a:pt x="2091" y="1936"/>
                    </a:lnTo>
                    <a:lnTo>
                      <a:pt x="2087" y="1933"/>
                    </a:lnTo>
                    <a:lnTo>
                      <a:pt x="2079" y="1931"/>
                    </a:lnTo>
                    <a:lnTo>
                      <a:pt x="2069" y="1929"/>
                    </a:lnTo>
                    <a:lnTo>
                      <a:pt x="2057" y="1929"/>
                    </a:lnTo>
                    <a:lnTo>
                      <a:pt x="2042" y="1932"/>
                    </a:lnTo>
                    <a:lnTo>
                      <a:pt x="2032" y="1933"/>
                    </a:lnTo>
                    <a:lnTo>
                      <a:pt x="2024" y="1935"/>
                    </a:lnTo>
                    <a:lnTo>
                      <a:pt x="2016" y="1933"/>
                    </a:lnTo>
                    <a:lnTo>
                      <a:pt x="2009" y="1932"/>
                    </a:lnTo>
                    <a:lnTo>
                      <a:pt x="2003" y="1930"/>
                    </a:lnTo>
                    <a:lnTo>
                      <a:pt x="1998" y="1926"/>
                    </a:lnTo>
                    <a:lnTo>
                      <a:pt x="1994" y="1923"/>
                    </a:lnTo>
                    <a:lnTo>
                      <a:pt x="1991" y="1917"/>
                    </a:lnTo>
                    <a:lnTo>
                      <a:pt x="1988" y="1912"/>
                    </a:lnTo>
                    <a:lnTo>
                      <a:pt x="1985" y="1908"/>
                    </a:lnTo>
                    <a:lnTo>
                      <a:pt x="1981" y="1906"/>
                    </a:lnTo>
                    <a:lnTo>
                      <a:pt x="1978" y="1906"/>
                    </a:lnTo>
                    <a:lnTo>
                      <a:pt x="1968" y="1906"/>
                    </a:lnTo>
                    <a:lnTo>
                      <a:pt x="1956" y="1907"/>
                    </a:lnTo>
                    <a:lnTo>
                      <a:pt x="1950" y="1907"/>
                    </a:lnTo>
                    <a:lnTo>
                      <a:pt x="1947" y="1906"/>
                    </a:lnTo>
                    <a:lnTo>
                      <a:pt x="1943" y="1904"/>
                    </a:lnTo>
                    <a:lnTo>
                      <a:pt x="1941" y="1903"/>
                    </a:lnTo>
                    <a:lnTo>
                      <a:pt x="1940" y="1900"/>
                    </a:lnTo>
                    <a:lnTo>
                      <a:pt x="1940" y="1898"/>
                    </a:lnTo>
                    <a:lnTo>
                      <a:pt x="1941" y="1895"/>
                    </a:lnTo>
                    <a:lnTo>
                      <a:pt x="1942" y="1893"/>
                    </a:lnTo>
                    <a:lnTo>
                      <a:pt x="1946" y="1889"/>
                    </a:lnTo>
                    <a:lnTo>
                      <a:pt x="1948" y="1886"/>
                    </a:lnTo>
                    <a:lnTo>
                      <a:pt x="1949" y="1884"/>
                    </a:lnTo>
                    <a:lnTo>
                      <a:pt x="1948" y="1879"/>
                    </a:lnTo>
                    <a:lnTo>
                      <a:pt x="1944" y="1875"/>
                    </a:lnTo>
                    <a:lnTo>
                      <a:pt x="1937" y="1872"/>
                    </a:lnTo>
                    <a:lnTo>
                      <a:pt x="1928" y="1868"/>
                    </a:lnTo>
                    <a:lnTo>
                      <a:pt x="1918" y="1863"/>
                    </a:lnTo>
                    <a:lnTo>
                      <a:pt x="1914" y="1860"/>
                    </a:lnTo>
                    <a:lnTo>
                      <a:pt x="1910" y="1857"/>
                    </a:lnTo>
                    <a:lnTo>
                      <a:pt x="1908" y="1854"/>
                    </a:lnTo>
                    <a:lnTo>
                      <a:pt x="1906" y="1851"/>
                    </a:lnTo>
                    <a:lnTo>
                      <a:pt x="1905" y="1844"/>
                    </a:lnTo>
                    <a:lnTo>
                      <a:pt x="1905" y="1837"/>
                    </a:lnTo>
                    <a:lnTo>
                      <a:pt x="1905" y="1834"/>
                    </a:lnTo>
                    <a:lnTo>
                      <a:pt x="1904" y="1831"/>
                    </a:lnTo>
                    <a:lnTo>
                      <a:pt x="1903" y="1830"/>
                    </a:lnTo>
                    <a:lnTo>
                      <a:pt x="1900" y="1828"/>
                    </a:lnTo>
                    <a:lnTo>
                      <a:pt x="1893" y="1826"/>
                    </a:lnTo>
                    <a:lnTo>
                      <a:pt x="1886" y="1825"/>
                    </a:lnTo>
                    <a:lnTo>
                      <a:pt x="1879" y="1824"/>
                    </a:lnTo>
                    <a:lnTo>
                      <a:pt x="1872" y="1822"/>
                    </a:lnTo>
                    <a:lnTo>
                      <a:pt x="1868" y="1821"/>
                    </a:lnTo>
                    <a:lnTo>
                      <a:pt x="1865" y="1818"/>
                    </a:lnTo>
                    <a:lnTo>
                      <a:pt x="1861" y="1815"/>
                    </a:lnTo>
                    <a:lnTo>
                      <a:pt x="1858" y="1811"/>
                    </a:lnTo>
                    <a:lnTo>
                      <a:pt x="1855" y="1807"/>
                    </a:lnTo>
                    <a:lnTo>
                      <a:pt x="1853" y="1807"/>
                    </a:lnTo>
                    <a:lnTo>
                      <a:pt x="1851" y="1809"/>
                    </a:lnTo>
                    <a:lnTo>
                      <a:pt x="1851" y="1812"/>
                    </a:lnTo>
                    <a:lnTo>
                      <a:pt x="1849" y="1815"/>
                    </a:lnTo>
                    <a:lnTo>
                      <a:pt x="1849" y="1818"/>
                    </a:lnTo>
                    <a:lnTo>
                      <a:pt x="1845" y="1831"/>
                    </a:lnTo>
                    <a:lnTo>
                      <a:pt x="1839" y="1845"/>
                    </a:lnTo>
                    <a:lnTo>
                      <a:pt x="1836" y="1848"/>
                    </a:lnTo>
                    <a:lnTo>
                      <a:pt x="1833" y="1849"/>
                    </a:lnTo>
                    <a:lnTo>
                      <a:pt x="1829" y="1849"/>
                    </a:lnTo>
                    <a:lnTo>
                      <a:pt x="1826" y="1849"/>
                    </a:lnTo>
                    <a:lnTo>
                      <a:pt x="1818" y="1848"/>
                    </a:lnTo>
                    <a:lnTo>
                      <a:pt x="1811" y="1847"/>
                    </a:lnTo>
                    <a:lnTo>
                      <a:pt x="1808" y="1847"/>
                    </a:lnTo>
                    <a:lnTo>
                      <a:pt x="1804" y="1848"/>
                    </a:lnTo>
                    <a:lnTo>
                      <a:pt x="1801" y="1851"/>
                    </a:lnTo>
                    <a:lnTo>
                      <a:pt x="1799" y="1859"/>
                    </a:lnTo>
                    <a:lnTo>
                      <a:pt x="1797" y="1866"/>
                    </a:lnTo>
                    <a:lnTo>
                      <a:pt x="1795" y="1872"/>
                    </a:lnTo>
                    <a:lnTo>
                      <a:pt x="1791" y="1876"/>
                    </a:lnTo>
                    <a:lnTo>
                      <a:pt x="1786" y="1880"/>
                    </a:lnTo>
                    <a:lnTo>
                      <a:pt x="1782" y="1885"/>
                    </a:lnTo>
                    <a:lnTo>
                      <a:pt x="1774" y="1892"/>
                    </a:lnTo>
                    <a:lnTo>
                      <a:pt x="1771" y="1897"/>
                    </a:lnTo>
                    <a:lnTo>
                      <a:pt x="1769" y="1900"/>
                    </a:lnTo>
                    <a:lnTo>
                      <a:pt x="1767" y="1905"/>
                    </a:lnTo>
                    <a:lnTo>
                      <a:pt x="1767" y="1910"/>
                    </a:lnTo>
                    <a:lnTo>
                      <a:pt x="1770" y="1917"/>
                    </a:lnTo>
                    <a:lnTo>
                      <a:pt x="1773" y="1922"/>
                    </a:lnTo>
                    <a:lnTo>
                      <a:pt x="1774" y="1925"/>
                    </a:lnTo>
                    <a:lnTo>
                      <a:pt x="1774" y="1929"/>
                    </a:lnTo>
                    <a:lnTo>
                      <a:pt x="1774" y="1933"/>
                    </a:lnTo>
                    <a:lnTo>
                      <a:pt x="1773" y="1941"/>
                    </a:lnTo>
                    <a:lnTo>
                      <a:pt x="1770" y="1956"/>
                    </a:lnTo>
                    <a:lnTo>
                      <a:pt x="1765" y="1969"/>
                    </a:lnTo>
                    <a:lnTo>
                      <a:pt x="1760" y="1980"/>
                    </a:lnTo>
                    <a:lnTo>
                      <a:pt x="1758" y="1992"/>
                    </a:lnTo>
                    <a:lnTo>
                      <a:pt x="1758" y="1995"/>
                    </a:lnTo>
                    <a:lnTo>
                      <a:pt x="1759" y="1999"/>
                    </a:lnTo>
                    <a:lnTo>
                      <a:pt x="1760" y="2001"/>
                    </a:lnTo>
                    <a:lnTo>
                      <a:pt x="1761" y="2005"/>
                    </a:lnTo>
                    <a:lnTo>
                      <a:pt x="1765" y="2008"/>
                    </a:lnTo>
                    <a:lnTo>
                      <a:pt x="1767" y="2014"/>
                    </a:lnTo>
                    <a:lnTo>
                      <a:pt x="1766" y="2015"/>
                    </a:lnTo>
                    <a:lnTo>
                      <a:pt x="1765" y="2018"/>
                    </a:lnTo>
                    <a:lnTo>
                      <a:pt x="1761" y="2019"/>
                    </a:lnTo>
                    <a:lnTo>
                      <a:pt x="1757" y="2019"/>
                    </a:lnTo>
                    <a:lnTo>
                      <a:pt x="1751" y="2019"/>
                    </a:lnTo>
                    <a:lnTo>
                      <a:pt x="1747" y="2019"/>
                    </a:lnTo>
                    <a:lnTo>
                      <a:pt x="1742" y="2020"/>
                    </a:lnTo>
                    <a:lnTo>
                      <a:pt x="1740" y="2021"/>
                    </a:lnTo>
                    <a:lnTo>
                      <a:pt x="1736" y="2025"/>
                    </a:lnTo>
                    <a:lnTo>
                      <a:pt x="1734" y="2027"/>
                    </a:lnTo>
                    <a:lnTo>
                      <a:pt x="1732" y="2032"/>
                    </a:lnTo>
                    <a:lnTo>
                      <a:pt x="1729" y="2037"/>
                    </a:lnTo>
                    <a:lnTo>
                      <a:pt x="1723" y="2052"/>
                    </a:lnTo>
                    <a:lnTo>
                      <a:pt x="1716" y="2073"/>
                    </a:lnTo>
                    <a:lnTo>
                      <a:pt x="1709" y="2095"/>
                    </a:lnTo>
                    <a:lnTo>
                      <a:pt x="1703" y="2114"/>
                    </a:lnTo>
                    <a:lnTo>
                      <a:pt x="1700" y="2122"/>
                    </a:lnTo>
                    <a:lnTo>
                      <a:pt x="1696" y="2128"/>
                    </a:lnTo>
                    <a:lnTo>
                      <a:pt x="1691" y="2134"/>
                    </a:lnTo>
                    <a:lnTo>
                      <a:pt x="1688" y="2138"/>
                    </a:lnTo>
                    <a:lnTo>
                      <a:pt x="1677" y="2146"/>
                    </a:lnTo>
                    <a:lnTo>
                      <a:pt x="1668" y="2157"/>
                    </a:lnTo>
                    <a:lnTo>
                      <a:pt x="1663" y="2162"/>
                    </a:lnTo>
                    <a:lnTo>
                      <a:pt x="1659" y="2168"/>
                    </a:lnTo>
                    <a:lnTo>
                      <a:pt x="1658" y="2172"/>
                    </a:lnTo>
                    <a:lnTo>
                      <a:pt x="1657" y="2177"/>
                    </a:lnTo>
                    <a:lnTo>
                      <a:pt x="1656" y="2185"/>
                    </a:lnTo>
                    <a:lnTo>
                      <a:pt x="1651" y="2194"/>
                    </a:lnTo>
                    <a:lnTo>
                      <a:pt x="1648" y="2197"/>
                    </a:lnTo>
                    <a:lnTo>
                      <a:pt x="1647" y="2202"/>
                    </a:lnTo>
                    <a:lnTo>
                      <a:pt x="1646" y="2208"/>
                    </a:lnTo>
                    <a:lnTo>
                      <a:pt x="1646" y="2213"/>
                    </a:lnTo>
                    <a:lnTo>
                      <a:pt x="1645" y="2223"/>
                    </a:lnTo>
                    <a:lnTo>
                      <a:pt x="1644" y="2233"/>
                    </a:lnTo>
                    <a:lnTo>
                      <a:pt x="1641" y="2237"/>
                    </a:lnTo>
                    <a:lnTo>
                      <a:pt x="1638" y="2239"/>
                    </a:lnTo>
                    <a:lnTo>
                      <a:pt x="1634" y="2241"/>
                    </a:lnTo>
                    <a:lnTo>
                      <a:pt x="1631" y="2244"/>
                    </a:lnTo>
                    <a:lnTo>
                      <a:pt x="1621" y="2245"/>
                    </a:lnTo>
                    <a:lnTo>
                      <a:pt x="1613" y="2246"/>
                    </a:lnTo>
                    <a:lnTo>
                      <a:pt x="1604" y="2246"/>
                    </a:lnTo>
                    <a:lnTo>
                      <a:pt x="1597" y="2247"/>
                    </a:lnTo>
                    <a:lnTo>
                      <a:pt x="1593" y="2248"/>
                    </a:lnTo>
                    <a:lnTo>
                      <a:pt x="1588" y="2251"/>
                    </a:lnTo>
                    <a:lnTo>
                      <a:pt x="1583" y="2254"/>
                    </a:lnTo>
                    <a:lnTo>
                      <a:pt x="1578" y="2258"/>
                    </a:lnTo>
                    <a:lnTo>
                      <a:pt x="1572" y="2264"/>
                    </a:lnTo>
                    <a:lnTo>
                      <a:pt x="1566" y="2267"/>
                    </a:lnTo>
                    <a:lnTo>
                      <a:pt x="1562" y="2269"/>
                    </a:lnTo>
                    <a:lnTo>
                      <a:pt x="1557" y="2270"/>
                    </a:lnTo>
                    <a:lnTo>
                      <a:pt x="1551" y="2270"/>
                    </a:lnTo>
                    <a:lnTo>
                      <a:pt x="1546" y="2269"/>
                    </a:lnTo>
                    <a:lnTo>
                      <a:pt x="1540" y="2265"/>
                    </a:lnTo>
                    <a:lnTo>
                      <a:pt x="1533" y="2263"/>
                    </a:lnTo>
                    <a:lnTo>
                      <a:pt x="1527" y="2262"/>
                    </a:lnTo>
                    <a:lnTo>
                      <a:pt x="1522" y="2262"/>
                    </a:lnTo>
                    <a:lnTo>
                      <a:pt x="1518" y="2263"/>
                    </a:lnTo>
                    <a:lnTo>
                      <a:pt x="1514" y="2264"/>
                    </a:lnTo>
                    <a:lnTo>
                      <a:pt x="1507" y="2266"/>
                    </a:lnTo>
                    <a:lnTo>
                      <a:pt x="1501" y="2267"/>
                    </a:lnTo>
                    <a:lnTo>
                      <a:pt x="1498" y="2267"/>
                    </a:lnTo>
                    <a:lnTo>
                      <a:pt x="1495" y="2267"/>
                    </a:lnTo>
                    <a:lnTo>
                      <a:pt x="1493" y="2266"/>
                    </a:lnTo>
                    <a:lnTo>
                      <a:pt x="1490" y="2265"/>
                    </a:lnTo>
                    <a:lnTo>
                      <a:pt x="1489" y="2263"/>
                    </a:lnTo>
                    <a:lnTo>
                      <a:pt x="1489" y="2262"/>
                    </a:lnTo>
                    <a:lnTo>
                      <a:pt x="1490" y="2259"/>
                    </a:lnTo>
                    <a:lnTo>
                      <a:pt x="1492" y="2257"/>
                    </a:lnTo>
                    <a:lnTo>
                      <a:pt x="1496" y="2252"/>
                    </a:lnTo>
                    <a:lnTo>
                      <a:pt x="1503" y="2246"/>
                    </a:lnTo>
                    <a:lnTo>
                      <a:pt x="1517" y="2232"/>
                    </a:lnTo>
                    <a:lnTo>
                      <a:pt x="1527" y="2220"/>
                    </a:lnTo>
                    <a:lnTo>
                      <a:pt x="1530" y="2216"/>
                    </a:lnTo>
                    <a:lnTo>
                      <a:pt x="1532" y="2213"/>
                    </a:lnTo>
                    <a:lnTo>
                      <a:pt x="1533" y="2209"/>
                    </a:lnTo>
                    <a:lnTo>
                      <a:pt x="1533" y="2206"/>
                    </a:lnTo>
                    <a:lnTo>
                      <a:pt x="1532" y="2200"/>
                    </a:lnTo>
                    <a:lnTo>
                      <a:pt x="1531" y="2191"/>
                    </a:lnTo>
                    <a:lnTo>
                      <a:pt x="1528" y="2184"/>
                    </a:lnTo>
                    <a:lnTo>
                      <a:pt x="1527" y="2177"/>
                    </a:lnTo>
                    <a:lnTo>
                      <a:pt x="1527" y="2174"/>
                    </a:lnTo>
                    <a:lnTo>
                      <a:pt x="1527" y="2171"/>
                    </a:lnTo>
                    <a:lnTo>
                      <a:pt x="1528" y="2169"/>
                    </a:lnTo>
                    <a:lnTo>
                      <a:pt x="1531" y="2166"/>
                    </a:lnTo>
                    <a:lnTo>
                      <a:pt x="1536" y="2162"/>
                    </a:lnTo>
                    <a:lnTo>
                      <a:pt x="1539" y="2156"/>
                    </a:lnTo>
                    <a:lnTo>
                      <a:pt x="1539" y="2153"/>
                    </a:lnTo>
                    <a:lnTo>
                      <a:pt x="1538" y="2151"/>
                    </a:lnTo>
                    <a:lnTo>
                      <a:pt x="1536" y="2149"/>
                    </a:lnTo>
                    <a:lnTo>
                      <a:pt x="1531" y="2145"/>
                    </a:lnTo>
                    <a:lnTo>
                      <a:pt x="1526" y="2143"/>
                    </a:lnTo>
                    <a:lnTo>
                      <a:pt x="1525" y="2140"/>
                    </a:lnTo>
                    <a:lnTo>
                      <a:pt x="1525" y="2136"/>
                    </a:lnTo>
                    <a:lnTo>
                      <a:pt x="1526" y="2132"/>
                    </a:lnTo>
                    <a:lnTo>
                      <a:pt x="1531" y="2122"/>
                    </a:lnTo>
                    <a:lnTo>
                      <a:pt x="1533" y="2113"/>
                    </a:lnTo>
                    <a:lnTo>
                      <a:pt x="1532" y="2112"/>
                    </a:lnTo>
                    <a:lnTo>
                      <a:pt x="1530" y="2111"/>
                    </a:lnTo>
                    <a:lnTo>
                      <a:pt x="1526" y="2109"/>
                    </a:lnTo>
                    <a:lnTo>
                      <a:pt x="1522" y="2109"/>
                    </a:lnTo>
                    <a:lnTo>
                      <a:pt x="1513" y="2111"/>
                    </a:lnTo>
                    <a:lnTo>
                      <a:pt x="1507" y="2111"/>
                    </a:lnTo>
                    <a:lnTo>
                      <a:pt x="1499" y="2111"/>
                    </a:lnTo>
                    <a:lnTo>
                      <a:pt x="1492" y="2108"/>
                    </a:lnTo>
                    <a:lnTo>
                      <a:pt x="1486" y="2105"/>
                    </a:lnTo>
                    <a:lnTo>
                      <a:pt x="1480" y="2099"/>
                    </a:lnTo>
                    <a:lnTo>
                      <a:pt x="1473" y="2088"/>
                    </a:lnTo>
                    <a:lnTo>
                      <a:pt x="1464" y="2071"/>
                    </a:lnTo>
                    <a:lnTo>
                      <a:pt x="1455" y="2051"/>
                    </a:lnTo>
                    <a:lnTo>
                      <a:pt x="1448" y="2034"/>
                    </a:lnTo>
                    <a:lnTo>
                      <a:pt x="1439" y="2019"/>
                    </a:lnTo>
                    <a:lnTo>
                      <a:pt x="1432" y="2006"/>
                    </a:lnTo>
                    <a:lnTo>
                      <a:pt x="1424" y="1994"/>
                    </a:lnTo>
                    <a:lnTo>
                      <a:pt x="1418" y="1985"/>
                    </a:lnTo>
                    <a:lnTo>
                      <a:pt x="1413" y="1975"/>
                    </a:lnTo>
                    <a:lnTo>
                      <a:pt x="1410" y="1964"/>
                    </a:lnTo>
                    <a:lnTo>
                      <a:pt x="1408" y="1955"/>
                    </a:lnTo>
                    <a:lnTo>
                      <a:pt x="1408" y="1945"/>
                    </a:lnTo>
                    <a:lnTo>
                      <a:pt x="1408" y="1943"/>
                    </a:lnTo>
                    <a:lnTo>
                      <a:pt x="1408" y="1942"/>
                    </a:lnTo>
                    <a:lnTo>
                      <a:pt x="1407" y="1941"/>
                    </a:lnTo>
                    <a:lnTo>
                      <a:pt x="1406" y="1939"/>
                    </a:lnTo>
                    <a:lnTo>
                      <a:pt x="1401" y="1938"/>
                    </a:lnTo>
                    <a:lnTo>
                      <a:pt x="1396" y="1938"/>
                    </a:lnTo>
                    <a:lnTo>
                      <a:pt x="1383" y="1938"/>
                    </a:lnTo>
                    <a:lnTo>
                      <a:pt x="1372" y="1937"/>
                    </a:lnTo>
                    <a:lnTo>
                      <a:pt x="1367" y="1936"/>
                    </a:lnTo>
                    <a:lnTo>
                      <a:pt x="1364" y="1935"/>
                    </a:lnTo>
                    <a:lnTo>
                      <a:pt x="1362" y="1931"/>
                    </a:lnTo>
                    <a:lnTo>
                      <a:pt x="1362" y="1928"/>
                    </a:lnTo>
                    <a:lnTo>
                      <a:pt x="1362" y="1918"/>
                    </a:lnTo>
                    <a:lnTo>
                      <a:pt x="1362" y="1907"/>
                    </a:lnTo>
                    <a:lnTo>
                      <a:pt x="1352" y="1889"/>
                    </a:lnTo>
                    <a:lnTo>
                      <a:pt x="1344" y="1878"/>
                    </a:lnTo>
                    <a:lnTo>
                      <a:pt x="1343" y="1868"/>
                    </a:lnTo>
                    <a:lnTo>
                      <a:pt x="1342" y="1856"/>
                    </a:lnTo>
                    <a:lnTo>
                      <a:pt x="1341" y="1843"/>
                    </a:lnTo>
                    <a:lnTo>
                      <a:pt x="1338" y="1830"/>
                    </a:lnTo>
                    <a:lnTo>
                      <a:pt x="1338" y="1824"/>
                    </a:lnTo>
                    <a:lnTo>
                      <a:pt x="1338" y="1819"/>
                    </a:lnTo>
                    <a:lnTo>
                      <a:pt x="1338" y="1815"/>
                    </a:lnTo>
                    <a:lnTo>
                      <a:pt x="1339" y="1811"/>
                    </a:lnTo>
                    <a:lnTo>
                      <a:pt x="1344" y="1803"/>
                    </a:lnTo>
                    <a:lnTo>
                      <a:pt x="1348" y="1796"/>
                    </a:lnTo>
                    <a:lnTo>
                      <a:pt x="1354" y="1785"/>
                    </a:lnTo>
                    <a:lnTo>
                      <a:pt x="1363" y="1772"/>
                    </a:lnTo>
                    <a:lnTo>
                      <a:pt x="1373" y="1758"/>
                    </a:lnTo>
                    <a:lnTo>
                      <a:pt x="1380" y="1746"/>
                    </a:lnTo>
                    <a:lnTo>
                      <a:pt x="1382" y="1742"/>
                    </a:lnTo>
                    <a:lnTo>
                      <a:pt x="1383" y="1739"/>
                    </a:lnTo>
                    <a:lnTo>
                      <a:pt x="1383" y="1735"/>
                    </a:lnTo>
                    <a:lnTo>
                      <a:pt x="1382" y="1733"/>
                    </a:lnTo>
                    <a:lnTo>
                      <a:pt x="1380" y="1730"/>
                    </a:lnTo>
                    <a:lnTo>
                      <a:pt x="1376" y="1728"/>
                    </a:lnTo>
                    <a:lnTo>
                      <a:pt x="1373" y="1725"/>
                    </a:lnTo>
                    <a:lnTo>
                      <a:pt x="1368" y="1724"/>
                    </a:lnTo>
                    <a:lnTo>
                      <a:pt x="1358" y="1722"/>
                    </a:lnTo>
                    <a:lnTo>
                      <a:pt x="1351" y="1722"/>
                    </a:lnTo>
                    <a:lnTo>
                      <a:pt x="1348" y="1723"/>
                    </a:lnTo>
                    <a:lnTo>
                      <a:pt x="1345" y="1725"/>
                    </a:lnTo>
                    <a:lnTo>
                      <a:pt x="1343" y="1729"/>
                    </a:lnTo>
                    <a:lnTo>
                      <a:pt x="1341" y="1734"/>
                    </a:lnTo>
                    <a:lnTo>
                      <a:pt x="1339" y="1737"/>
                    </a:lnTo>
                    <a:lnTo>
                      <a:pt x="1337" y="1741"/>
                    </a:lnTo>
                    <a:lnTo>
                      <a:pt x="1336" y="1742"/>
                    </a:lnTo>
                    <a:lnTo>
                      <a:pt x="1335" y="1742"/>
                    </a:lnTo>
                    <a:lnTo>
                      <a:pt x="1332" y="1737"/>
                    </a:lnTo>
                    <a:lnTo>
                      <a:pt x="1331" y="1730"/>
                    </a:lnTo>
                    <a:lnTo>
                      <a:pt x="1329" y="1722"/>
                    </a:lnTo>
                    <a:lnTo>
                      <a:pt x="1325" y="1714"/>
                    </a:lnTo>
                    <a:lnTo>
                      <a:pt x="1320" y="1703"/>
                    </a:lnTo>
                    <a:lnTo>
                      <a:pt x="1314" y="1690"/>
                    </a:lnTo>
                    <a:lnTo>
                      <a:pt x="1312" y="1683"/>
                    </a:lnTo>
                    <a:lnTo>
                      <a:pt x="1309" y="1678"/>
                    </a:lnTo>
                    <a:lnTo>
                      <a:pt x="1305" y="1673"/>
                    </a:lnTo>
                    <a:lnTo>
                      <a:pt x="1301" y="1671"/>
                    </a:lnTo>
                    <a:lnTo>
                      <a:pt x="1292" y="1668"/>
                    </a:lnTo>
                    <a:lnTo>
                      <a:pt x="1282" y="1667"/>
                    </a:lnTo>
                    <a:lnTo>
                      <a:pt x="1278" y="1667"/>
                    </a:lnTo>
                    <a:lnTo>
                      <a:pt x="1275" y="1666"/>
                    </a:lnTo>
                    <a:lnTo>
                      <a:pt x="1273" y="1662"/>
                    </a:lnTo>
                    <a:lnTo>
                      <a:pt x="1272" y="1660"/>
                    </a:lnTo>
                    <a:lnTo>
                      <a:pt x="1272" y="1652"/>
                    </a:lnTo>
                    <a:lnTo>
                      <a:pt x="1272" y="1641"/>
                    </a:lnTo>
                    <a:lnTo>
                      <a:pt x="1270" y="1636"/>
                    </a:lnTo>
                    <a:lnTo>
                      <a:pt x="1269" y="1632"/>
                    </a:lnTo>
                    <a:lnTo>
                      <a:pt x="1267" y="1627"/>
                    </a:lnTo>
                    <a:lnTo>
                      <a:pt x="1265" y="1622"/>
                    </a:lnTo>
                    <a:lnTo>
                      <a:pt x="1256" y="1613"/>
                    </a:lnTo>
                    <a:lnTo>
                      <a:pt x="1248" y="1603"/>
                    </a:lnTo>
                    <a:lnTo>
                      <a:pt x="1244" y="1598"/>
                    </a:lnTo>
                    <a:lnTo>
                      <a:pt x="1241" y="1594"/>
                    </a:lnTo>
                    <a:lnTo>
                      <a:pt x="1240" y="1589"/>
                    </a:lnTo>
                    <a:lnTo>
                      <a:pt x="1238" y="1584"/>
                    </a:lnTo>
                    <a:lnTo>
                      <a:pt x="1236" y="1573"/>
                    </a:lnTo>
                    <a:lnTo>
                      <a:pt x="1236" y="1563"/>
                    </a:lnTo>
                    <a:lnTo>
                      <a:pt x="1235" y="1558"/>
                    </a:lnTo>
                    <a:lnTo>
                      <a:pt x="1234" y="1553"/>
                    </a:lnTo>
                    <a:lnTo>
                      <a:pt x="1232" y="1550"/>
                    </a:lnTo>
                    <a:lnTo>
                      <a:pt x="1230" y="1546"/>
                    </a:lnTo>
                    <a:lnTo>
                      <a:pt x="1228" y="1542"/>
                    </a:lnTo>
                    <a:lnTo>
                      <a:pt x="1225" y="1541"/>
                    </a:lnTo>
                    <a:lnTo>
                      <a:pt x="1222" y="1540"/>
                    </a:lnTo>
                    <a:lnTo>
                      <a:pt x="1218" y="1540"/>
                    </a:lnTo>
                    <a:lnTo>
                      <a:pt x="1211" y="1540"/>
                    </a:lnTo>
                    <a:lnTo>
                      <a:pt x="1204" y="1541"/>
                    </a:lnTo>
                    <a:lnTo>
                      <a:pt x="1202" y="1541"/>
                    </a:lnTo>
                    <a:lnTo>
                      <a:pt x="1198" y="1541"/>
                    </a:lnTo>
                    <a:lnTo>
                      <a:pt x="1194" y="1540"/>
                    </a:lnTo>
                    <a:lnTo>
                      <a:pt x="1191" y="1538"/>
                    </a:lnTo>
                    <a:lnTo>
                      <a:pt x="1187" y="1535"/>
                    </a:lnTo>
                    <a:lnTo>
                      <a:pt x="1186" y="1532"/>
                    </a:lnTo>
                    <a:lnTo>
                      <a:pt x="1184" y="1528"/>
                    </a:lnTo>
                    <a:lnTo>
                      <a:pt x="1182" y="1523"/>
                    </a:lnTo>
                    <a:lnTo>
                      <a:pt x="1180" y="1512"/>
                    </a:lnTo>
                    <a:lnTo>
                      <a:pt x="1177" y="1497"/>
                    </a:lnTo>
                    <a:lnTo>
                      <a:pt x="1174" y="1489"/>
                    </a:lnTo>
                    <a:lnTo>
                      <a:pt x="1169" y="1483"/>
                    </a:lnTo>
                    <a:lnTo>
                      <a:pt x="1165" y="1477"/>
                    </a:lnTo>
                    <a:lnTo>
                      <a:pt x="1160" y="1472"/>
                    </a:lnTo>
                    <a:lnTo>
                      <a:pt x="1150" y="1463"/>
                    </a:lnTo>
                    <a:lnTo>
                      <a:pt x="1143" y="1454"/>
                    </a:lnTo>
                    <a:lnTo>
                      <a:pt x="1141" y="1450"/>
                    </a:lnTo>
                    <a:lnTo>
                      <a:pt x="1140" y="1446"/>
                    </a:lnTo>
                    <a:lnTo>
                      <a:pt x="1140" y="1443"/>
                    </a:lnTo>
                    <a:lnTo>
                      <a:pt x="1141" y="1439"/>
                    </a:lnTo>
                    <a:lnTo>
                      <a:pt x="1143" y="1432"/>
                    </a:lnTo>
                    <a:lnTo>
                      <a:pt x="1146" y="1424"/>
                    </a:lnTo>
                    <a:lnTo>
                      <a:pt x="1146" y="1419"/>
                    </a:lnTo>
                    <a:lnTo>
                      <a:pt x="1144" y="1414"/>
                    </a:lnTo>
                    <a:lnTo>
                      <a:pt x="1143" y="1410"/>
                    </a:lnTo>
                    <a:lnTo>
                      <a:pt x="1142" y="1408"/>
                    </a:lnTo>
                    <a:lnTo>
                      <a:pt x="1137" y="1402"/>
                    </a:lnTo>
                    <a:lnTo>
                      <a:pt x="1133" y="1397"/>
                    </a:lnTo>
                    <a:lnTo>
                      <a:pt x="1129" y="1394"/>
                    </a:lnTo>
                    <a:lnTo>
                      <a:pt x="1128" y="1391"/>
                    </a:lnTo>
                    <a:lnTo>
                      <a:pt x="1127" y="1388"/>
                    </a:lnTo>
                    <a:lnTo>
                      <a:pt x="1125" y="1384"/>
                    </a:lnTo>
                    <a:lnTo>
                      <a:pt x="1127" y="1368"/>
                    </a:lnTo>
                    <a:lnTo>
                      <a:pt x="1129" y="1351"/>
                    </a:lnTo>
                    <a:lnTo>
                      <a:pt x="1129" y="1347"/>
                    </a:lnTo>
                    <a:lnTo>
                      <a:pt x="1127" y="1344"/>
                    </a:lnTo>
                    <a:lnTo>
                      <a:pt x="1124" y="1342"/>
                    </a:lnTo>
                    <a:lnTo>
                      <a:pt x="1122" y="1340"/>
                    </a:lnTo>
                    <a:lnTo>
                      <a:pt x="1116" y="1339"/>
                    </a:lnTo>
                    <a:lnTo>
                      <a:pt x="1110" y="1340"/>
                    </a:lnTo>
                    <a:lnTo>
                      <a:pt x="1104" y="1343"/>
                    </a:lnTo>
                    <a:lnTo>
                      <a:pt x="1099" y="1346"/>
                    </a:lnTo>
                    <a:lnTo>
                      <a:pt x="1095" y="1351"/>
                    </a:lnTo>
                    <a:lnTo>
                      <a:pt x="1090" y="1357"/>
                    </a:lnTo>
                    <a:lnTo>
                      <a:pt x="1083" y="1371"/>
                    </a:lnTo>
                    <a:lnTo>
                      <a:pt x="1073" y="1390"/>
                    </a:lnTo>
                    <a:lnTo>
                      <a:pt x="1065" y="1409"/>
                    </a:lnTo>
                    <a:lnTo>
                      <a:pt x="1058" y="1425"/>
                    </a:lnTo>
                    <a:lnTo>
                      <a:pt x="1051" y="1437"/>
                    </a:lnTo>
                    <a:lnTo>
                      <a:pt x="1043" y="1447"/>
                    </a:lnTo>
                    <a:lnTo>
                      <a:pt x="1035" y="1457"/>
                    </a:lnTo>
                    <a:lnTo>
                      <a:pt x="1027" y="1466"/>
                    </a:lnTo>
                    <a:lnTo>
                      <a:pt x="1022" y="1469"/>
                    </a:lnTo>
                    <a:lnTo>
                      <a:pt x="1018" y="1471"/>
                    </a:lnTo>
                    <a:lnTo>
                      <a:pt x="1014" y="1472"/>
                    </a:lnTo>
                    <a:lnTo>
                      <a:pt x="1010" y="1472"/>
                    </a:lnTo>
                    <a:lnTo>
                      <a:pt x="1005" y="1471"/>
                    </a:lnTo>
                    <a:lnTo>
                      <a:pt x="1002" y="1469"/>
                    </a:lnTo>
                    <a:lnTo>
                      <a:pt x="998" y="1466"/>
                    </a:lnTo>
                    <a:lnTo>
                      <a:pt x="993" y="1464"/>
                    </a:lnTo>
                    <a:lnTo>
                      <a:pt x="990" y="1460"/>
                    </a:lnTo>
                    <a:lnTo>
                      <a:pt x="989" y="1456"/>
                    </a:lnTo>
                    <a:lnTo>
                      <a:pt x="988" y="1452"/>
                    </a:lnTo>
                    <a:lnTo>
                      <a:pt x="988" y="1449"/>
                    </a:lnTo>
                    <a:lnTo>
                      <a:pt x="990" y="1440"/>
                    </a:lnTo>
                    <a:lnTo>
                      <a:pt x="993" y="1435"/>
                    </a:lnTo>
                    <a:lnTo>
                      <a:pt x="996" y="1431"/>
                    </a:lnTo>
                    <a:lnTo>
                      <a:pt x="998" y="1427"/>
                    </a:lnTo>
                    <a:lnTo>
                      <a:pt x="997" y="1425"/>
                    </a:lnTo>
                    <a:lnTo>
                      <a:pt x="996" y="1424"/>
                    </a:lnTo>
                    <a:lnTo>
                      <a:pt x="995" y="1422"/>
                    </a:lnTo>
                    <a:lnTo>
                      <a:pt x="991" y="1421"/>
                    </a:lnTo>
                    <a:lnTo>
                      <a:pt x="985" y="1421"/>
                    </a:lnTo>
                    <a:lnTo>
                      <a:pt x="979" y="1419"/>
                    </a:lnTo>
                    <a:lnTo>
                      <a:pt x="978" y="1418"/>
                    </a:lnTo>
                    <a:lnTo>
                      <a:pt x="977" y="1416"/>
                    </a:lnTo>
                    <a:lnTo>
                      <a:pt x="976" y="1414"/>
                    </a:lnTo>
                    <a:lnTo>
                      <a:pt x="976" y="1412"/>
                    </a:lnTo>
                    <a:lnTo>
                      <a:pt x="977" y="1407"/>
                    </a:lnTo>
                    <a:lnTo>
                      <a:pt x="978" y="1400"/>
                    </a:lnTo>
                    <a:lnTo>
                      <a:pt x="982" y="1394"/>
                    </a:lnTo>
                    <a:lnTo>
                      <a:pt x="985" y="1387"/>
                    </a:lnTo>
                    <a:lnTo>
                      <a:pt x="986" y="1383"/>
                    </a:lnTo>
                    <a:lnTo>
                      <a:pt x="986" y="1381"/>
                    </a:lnTo>
                    <a:lnTo>
                      <a:pt x="986" y="1378"/>
                    </a:lnTo>
                    <a:lnTo>
                      <a:pt x="986" y="1375"/>
                    </a:lnTo>
                    <a:lnTo>
                      <a:pt x="984" y="1372"/>
                    </a:lnTo>
                    <a:lnTo>
                      <a:pt x="982" y="1369"/>
                    </a:lnTo>
                    <a:lnTo>
                      <a:pt x="978" y="1366"/>
                    </a:lnTo>
                    <a:lnTo>
                      <a:pt x="973" y="1363"/>
                    </a:lnTo>
                    <a:lnTo>
                      <a:pt x="967" y="1358"/>
                    </a:lnTo>
                    <a:lnTo>
                      <a:pt x="963" y="1355"/>
                    </a:lnTo>
                    <a:lnTo>
                      <a:pt x="958" y="1350"/>
                    </a:lnTo>
                    <a:lnTo>
                      <a:pt x="954" y="1344"/>
                    </a:lnTo>
                    <a:lnTo>
                      <a:pt x="948" y="1334"/>
                    </a:lnTo>
                    <a:lnTo>
                      <a:pt x="946" y="1325"/>
                    </a:lnTo>
                    <a:lnTo>
                      <a:pt x="945" y="1321"/>
                    </a:lnTo>
                    <a:lnTo>
                      <a:pt x="944" y="1318"/>
                    </a:lnTo>
                    <a:lnTo>
                      <a:pt x="941" y="1315"/>
                    </a:lnTo>
                    <a:lnTo>
                      <a:pt x="939" y="1314"/>
                    </a:lnTo>
                    <a:lnTo>
                      <a:pt x="932" y="1312"/>
                    </a:lnTo>
                    <a:lnTo>
                      <a:pt x="922" y="1311"/>
                    </a:lnTo>
                    <a:lnTo>
                      <a:pt x="911" y="1311"/>
                    </a:lnTo>
                    <a:lnTo>
                      <a:pt x="901" y="1308"/>
                    </a:lnTo>
                    <a:lnTo>
                      <a:pt x="890" y="1307"/>
                    </a:lnTo>
                    <a:lnTo>
                      <a:pt x="879" y="1303"/>
                    </a:lnTo>
                    <a:lnTo>
                      <a:pt x="865" y="1299"/>
                    </a:lnTo>
                    <a:lnTo>
                      <a:pt x="847" y="1290"/>
                    </a:lnTo>
                    <a:lnTo>
                      <a:pt x="831" y="1283"/>
                    </a:lnTo>
                    <a:lnTo>
                      <a:pt x="819" y="1275"/>
                    </a:lnTo>
                    <a:lnTo>
                      <a:pt x="814" y="1271"/>
                    </a:lnTo>
                    <a:lnTo>
                      <a:pt x="809" y="1268"/>
                    </a:lnTo>
                    <a:lnTo>
                      <a:pt x="806" y="1263"/>
                    </a:lnTo>
                    <a:lnTo>
                      <a:pt x="802" y="1257"/>
                    </a:lnTo>
                    <a:lnTo>
                      <a:pt x="796" y="1246"/>
                    </a:lnTo>
                    <a:lnTo>
                      <a:pt x="791" y="1236"/>
                    </a:lnTo>
                    <a:lnTo>
                      <a:pt x="789" y="1231"/>
                    </a:lnTo>
                    <a:lnTo>
                      <a:pt x="783" y="1227"/>
                    </a:lnTo>
                    <a:lnTo>
                      <a:pt x="778" y="1225"/>
                    </a:lnTo>
                    <a:lnTo>
                      <a:pt x="772" y="1224"/>
                    </a:lnTo>
                    <a:lnTo>
                      <a:pt x="769" y="1223"/>
                    </a:lnTo>
                    <a:lnTo>
                      <a:pt x="765" y="1221"/>
                    </a:lnTo>
                    <a:lnTo>
                      <a:pt x="763" y="1221"/>
                    </a:lnTo>
                    <a:lnTo>
                      <a:pt x="759" y="1223"/>
                    </a:lnTo>
                    <a:lnTo>
                      <a:pt x="757" y="1226"/>
                    </a:lnTo>
                    <a:lnTo>
                      <a:pt x="756" y="1231"/>
                    </a:lnTo>
                    <a:lnTo>
                      <a:pt x="755" y="1237"/>
                    </a:lnTo>
                    <a:lnTo>
                      <a:pt x="753" y="1243"/>
                    </a:lnTo>
                    <a:lnTo>
                      <a:pt x="752" y="1250"/>
                    </a:lnTo>
                    <a:lnTo>
                      <a:pt x="750" y="1260"/>
                    </a:lnTo>
                    <a:lnTo>
                      <a:pt x="749" y="1271"/>
                    </a:lnTo>
                    <a:lnTo>
                      <a:pt x="747" y="1283"/>
                    </a:lnTo>
                    <a:lnTo>
                      <a:pt x="747" y="1286"/>
                    </a:lnTo>
                    <a:lnTo>
                      <a:pt x="731" y="1282"/>
                    </a:lnTo>
                    <a:lnTo>
                      <a:pt x="724" y="1281"/>
                    </a:lnTo>
                    <a:lnTo>
                      <a:pt x="717" y="1277"/>
                    </a:lnTo>
                    <a:lnTo>
                      <a:pt x="707" y="1275"/>
                    </a:lnTo>
                    <a:lnTo>
                      <a:pt x="697" y="1273"/>
                    </a:lnTo>
                    <a:lnTo>
                      <a:pt x="687" y="1270"/>
                    </a:lnTo>
                    <a:lnTo>
                      <a:pt x="676" y="1268"/>
                    </a:lnTo>
                    <a:lnTo>
                      <a:pt x="662" y="1264"/>
                    </a:lnTo>
                    <a:lnTo>
                      <a:pt x="648" y="1261"/>
                    </a:lnTo>
                    <a:lnTo>
                      <a:pt x="642" y="1258"/>
                    </a:lnTo>
                    <a:lnTo>
                      <a:pt x="636" y="1256"/>
                    </a:lnTo>
                    <a:lnTo>
                      <a:pt x="631" y="1251"/>
                    </a:lnTo>
                    <a:lnTo>
                      <a:pt x="626" y="1246"/>
                    </a:lnTo>
                    <a:lnTo>
                      <a:pt x="624" y="1241"/>
                    </a:lnTo>
                    <a:lnTo>
                      <a:pt x="623" y="1235"/>
                    </a:lnTo>
                    <a:lnTo>
                      <a:pt x="623" y="1229"/>
                    </a:lnTo>
                    <a:lnTo>
                      <a:pt x="624" y="1224"/>
                    </a:lnTo>
                    <a:lnTo>
                      <a:pt x="626" y="1219"/>
                    </a:lnTo>
                    <a:lnTo>
                      <a:pt x="629" y="1216"/>
                    </a:lnTo>
                    <a:lnTo>
                      <a:pt x="633" y="1212"/>
                    </a:lnTo>
                    <a:lnTo>
                      <a:pt x="637" y="1208"/>
                    </a:lnTo>
                    <a:lnTo>
                      <a:pt x="651" y="1199"/>
                    </a:lnTo>
                    <a:lnTo>
                      <a:pt x="662" y="1191"/>
                    </a:lnTo>
                    <a:lnTo>
                      <a:pt x="665" y="1189"/>
                    </a:lnTo>
                    <a:lnTo>
                      <a:pt x="669" y="1191"/>
                    </a:lnTo>
                    <a:lnTo>
                      <a:pt x="670" y="1192"/>
                    </a:lnTo>
                    <a:lnTo>
                      <a:pt x="673" y="1194"/>
                    </a:lnTo>
                    <a:lnTo>
                      <a:pt x="675" y="1194"/>
                    </a:lnTo>
                    <a:lnTo>
                      <a:pt x="677" y="1192"/>
                    </a:lnTo>
                    <a:lnTo>
                      <a:pt x="678" y="1189"/>
                    </a:lnTo>
                    <a:lnTo>
                      <a:pt x="678" y="1185"/>
                    </a:lnTo>
                    <a:lnTo>
                      <a:pt x="677" y="1175"/>
                    </a:lnTo>
                    <a:lnTo>
                      <a:pt x="676" y="1169"/>
                    </a:lnTo>
                    <a:lnTo>
                      <a:pt x="676" y="1162"/>
                    </a:lnTo>
                    <a:lnTo>
                      <a:pt x="674" y="1154"/>
                    </a:lnTo>
                    <a:lnTo>
                      <a:pt x="671" y="1147"/>
                    </a:lnTo>
                    <a:lnTo>
                      <a:pt x="667" y="1141"/>
                    </a:lnTo>
                    <a:lnTo>
                      <a:pt x="662" y="1135"/>
                    </a:lnTo>
                    <a:lnTo>
                      <a:pt x="657" y="1128"/>
                    </a:lnTo>
                    <a:lnTo>
                      <a:pt x="653" y="1120"/>
                    </a:lnTo>
                    <a:lnTo>
                      <a:pt x="650" y="1112"/>
                    </a:lnTo>
                    <a:lnTo>
                      <a:pt x="646" y="1105"/>
                    </a:lnTo>
                    <a:lnTo>
                      <a:pt x="643" y="1097"/>
                    </a:lnTo>
                    <a:lnTo>
                      <a:pt x="640" y="1088"/>
                    </a:lnTo>
                    <a:lnTo>
                      <a:pt x="639" y="1080"/>
                    </a:lnTo>
                    <a:lnTo>
                      <a:pt x="637" y="1066"/>
                    </a:lnTo>
                    <a:lnTo>
                      <a:pt x="632" y="1052"/>
                    </a:lnTo>
                    <a:lnTo>
                      <a:pt x="629" y="1046"/>
                    </a:lnTo>
                    <a:lnTo>
                      <a:pt x="625" y="1040"/>
                    </a:lnTo>
                    <a:lnTo>
                      <a:pt x="620" y="1035"/>
                    </a:lnTo>
                    <a:lnTo>
                      <a:pt x="615" y="1030"/>
                    </a:lnTo>
                    <a:lnTo>
                      <a:pt x="606" y="1022"/>
                    </a:lnTo>
                    <a:lnTo>
                      <a:pt x="599" y="1013"/>
                    </a:lnTo>
                    <a:lnTo>
                      <a:pt x="596" y="1010"/>
                    </a:lnTo>
                    <a:lnTo>
                      <a:pt x="595" y="1005"/>
                    </a:lnTo>
                    <a:lnTo>
                      <a:pt x="595" y="1000"/>
                    </a:lnTo>
                    <a:lnTo>
                      <a:pt x="595" y="996"/>
                    </a:lnTo>
                    <a:lnTo>
                      <a:pt x="596" y="984"/>
                    </a:lnTo>
                    <a:lnTo>
                      <a:pt x="599" y="972"/>
                    </a:lnTo>
                    <a:lnTo>
                      <a:pt x="600" y="966"/>
                    </a:lnTo>
                    <a:lnTo>
                      <a:pt x="599" y="960"/>
                    </a:lnTo>
                    <a:lnTo>
                      <a:pt x="596" y="954"/>
                    </a:lnTo>
                    <a:lnTo>
                      <a:pt x="593" y="949"/>
                    </a:lnTo>
                    <a:lnTo>
                      <a:pt x="583" y="940"/>
                    </a:lnTo>
                    <a:lnTo>
                      <a:pt x="574" y="928"/>
                    </a:lnTo>
                    <a:lnTo>
                      <a:pt x="563" y="916"/>
                    </a:lnTo>
                    <a:lnTo>
                      <a:pt x="554" y="903"/>
                    </a:lnTo>
                    <a:lnTo>
                      <a:pt x="545" y="891"/>
                    </a:lnTo>
                    <a:lnTo>
                      <a:pt x="536" y="880"/>
                    </a:lnTo>
                    <a:lnTo>
                      <a:pt x="527" y="871"/>
                    </a:lnTo>
                    <a:lnTo>
                      <a:pt x="520" y="863"/>
                    </a:lnTo>
                    <a:lnTo>
                      <a:pt x="517" y="859"/>
                    </a:lnTo>
                    <a:lnTo>
                      <a:pt x="514" y="855"/>
                    </a:lnTo>
                    <a:lnTo>
                      <a:pt x="512" y="851"/>
                    </a:lnTo>
                    <a:lnTo>
                      <a:pt x="511" y="845"/>
                    </a:lnTo>
                    <a:lnTo>
                      <a:pt x="510" y="833"/>
                    </a:lnTo>
                    <a:lnTo>
                      <a:pt x="510" y="822"/>
                    </a:lnTo>
                    <a:lnTo>
                      <a:pt x="511" y="813"/>
                    </a:lnTo>
                    <a:lnTo>
                      <a:pt x="510" y="808"/>
                    </a:lnTo>
                    <a:lnTo>
                      <a:pt x="506" y="807"/>
                    </a:lnTo>
                    <a:lnTo>
                      <a:pt x="499" y="805"/>
                    </a:lnTo>
                    <a:lnTo>
                      <a:pt x="494" y="807"/>
                    </a:lnTo>
                    <a:lnTo>
                      <a:pt x="488" y="809"/>
                    </a:lnTo>
                    <a:lnTo>
                      <a:pt x="482" y="813"/>
                    </a:lnTo>
                    <a:lnTo>
                      <a:pt x="476" y="817"/>
                    </a:lnTo>
                    <a:lnTo>
                      <a:pt x="463" y="828"/>
                    </a:lnTo>
                    <a:lnTo>
                      <a:pt x="451" y="838"/>
                    </a:lnTo>
                    <a:lnTo>
                      <a:pt x="436" y="852"/>
                    </a:lnTo>
                    <a:lnTo>
                      <a:pt x="417" y="873"/>
                    </a:lnTo>
                    <a:lnTo>
                      <a:pt x="396" y="896"/>
                    </a:lnTo>
                    <a:lnTo>
                      <a:pt x="375" y="914"/>
                    </a:lnTo>
                    <a:lnTo>
                      <a:pt x="355" y="929"/>
                    </a:lnTo>
                    <a:lnTo>
                      <a:pt x="335" y="945"/>
                    </a:lnTo>
                    <a:lnTo>
                      <a:pt x="317" y="956"/>
                    </a:lnTo>
                    <a:lnTo>
                      <a:pt x="306" y="965"/>
                    </a:lnTo>
                    <a:lnTo>
                      <a:pt x="303" y="966"/>
                    </a:lnTo>
                    <a:lnTo>
                      <a:pt x="298" y="967"/>
                    </a:lnTo>
                    <a:lnTo>
                      <a:pt x="292" y="967"/>
                    </a:lnTo>
                    <a:lnTo>
                      <a:pt x="286" y="967"/>
                    </a:lnTo>
                    <a:lnTo>
                      <a:pt x="281" y="966"/>
                    </a:lnTo>
                    <a:lnTo>
                      <a:pt x="275" y="962"/>
                    </a:lnTo>
                    <a:lnTo>
                      <a:pt x="270" y="959"/>
                    </a:lnTo>
                    <a:lnTo>
                      <a:pt x="265" y="954"/>
                    </a:lnTo>
                    <a:lnTo>
                      <a:pt x="261" y="948"/>
                    </a:lnTo>
                    <a:lnTo>
                      <a:pt x="259" y="941"/>
                    </a:lnTo>
                    <a:lnTo>
                      <a:pt x="258" y="934"/>
                    </a:lnTo>
                    <a:lnTo>
                      <a:pt x="256" y="926"/>
                    </a:lnTo>
                    <a:lnTo>
                      <a:pt x="255" y="910"/>
                    </a:lnTo>
                    <a:lnTo>
                      <a:pt x="256" y="897"/>
                    </a:lnTo>
                    <a:lnTo>
                      <a:pt x="256" y="885"/>
                    </a:lnTo>
                    <a:lnTo>
                      <a:pt x="256" y="873"/>
                    </a:lnTo>
                    <a:lnTo>
                      <a:pt x="255" y="868"/>
                    </a:lnTo>
                    <a:lnTo>
                      <a:pt x="253" y="865"/>
                    </a:lnTo>
                    <a:lnTo>
                      <a:pt x="249" y="860"/>
                    </a:lnTo>
                    <a:lnTo>
                      <a:pt x="245" y="857"/>
                    </a:lnTo>
                    <a:lnTo>
                      <a:pt x="233" y="851"/>
                    </a:lnTo>
                    <a:lnTo>
                      <a:pt x="221" y="841"/>
                    </a:lnTo>
                    <a:lnTo>
                      <a:pt x="209" y="830"/>
                    </a:lnTo>
                    <a:lnTo>
                      <a:pt x="198" y="817"/>
                    </a:lnTo>
                    <a:lnTo>
                      <a:pt x="193" y="810"/>
                    </a:lnTo>
                    <a:lnTo>
                      <a:pt x="190" y="804"/>
                    </a:lnTo>
                    <a:lnTo>
                      <a:pt x="188" y="798"/>
                    </a:lnTo>
                    <a:lnTo>
                      <a:pt x="185" y="792"/>
                    </a:lnTo>
                    <a:lnTo>
                      <a:pt x="184" y="788"/>
                    </a:lnTo>
                    <a:lnTo>
                      <a:pt x="184" y="782"/>
                    </a:lnTo>
                    <a:lnTo>
                      <a:pt x="184" y="777"/>
                    </a:lnTo>
                    <a:lnTo>
                      <a:pt x="185" y="773"/>
                    </a:lnTo>
                    <a:lnTo>
                      <a:pt x="186" y="765"/>
                    </a:lnTo>
                    <a:lnTo>
                      <a:pt x="188" y="760"/>
                    </a:lnTo>
                    <a:lnTo>
                      <a:pt x="186" y="758"/>
                    </a:lnTo>
                    <a:lnTo>
                      <a:pt x="186" y="757"/>
                    </a:lnTo>
                    <a:lnTo>
                      <a:pt x="184" y="756"/>
                    </a:lnTo>
                    <a:lnTo>
                      <a:pt x="182" y="756"/>
                    </a:lnTo>
                    <a:lnTo>
                      <a:pt x="179" y="754"/>
                    </a:lnTo>
                    <a:lnTo>
                      <a:pt x="178" y="754"/>
                    </a:lnTo>
                    <a:lnTo>
                      <a:pt x="177" y="753"/>
                    </a:lnTo>
                    <a:lnTo>
                      <a:pt x="177" y="751"/>
                    </a:lnTo>
                    <a:lnTo>
                      <a:pt x="178" y="747"/>
                    </a:lnTo>
                    <a:lnTo>
                      <a:pt x="182" y="742"/>
                    </a:lnTo>
                    <a:lnTo>
                      <a:pt x="182" y="740"/>
                    </a:lnTo>
                    <a:lnTo>
                      <a:pt x="182" y="737"/>
                    </a:lnTo>
                    <a:lnTo>
                      <a:pt x="180" y="734"/>
                    </a:lnTo>
                    <a:lnTo>
                      <a:pt x="178" y="731"/>
                    </a:lnTo>
                    <a:lnTo>
                      <a:pt x="173" y="726"/>
                    </a:lnTo>
                    <a:lnTo>
                      <a:pt x="167" y="721"/>
                    </a:lnTo>
                    <a:lnTo>
                      <a:pt x="165" y="718"/>
                    </a:lnTo>
                    <a:lnTo>
                      <a:pt x="163" y="713"/>
                    </a:lnTo>
                    <a:lnTo>
                      <a:pt x="161" y="707"/>
                    </a:lnTo>
                    <a:lnTo>
                      <a:pt x="161" y="700"/>
                    </a:lnTo>
                    <a:lnTo>
                      <a:pt x="161" y="685"/>
                    </a:lnTo>
                    <a:lnTo>
                      <a:pt x="164" y="672"/>
                    </a:lnTo>
                    <a:lnTo>
                      <a:pt x="165" y="659"/>
                    </a:lnTo>
                    <a:lnTo>
                      <a:pt x="164" y="643"/>
                    </a:lnTo>
                    <a:lnTo>
                      <a:pt x="163" y="626"/>
                    </a:lnTo>
                    <a:lnTo>
                      <a:pt x="160" y="612"/>
                    </a:lnTo>
                    <a:lnTo>
                      <a:pt x="160" y="601"/>
                    </a:lnTo>
                    <a:lnTo>
                      <a:pt x="161" y="588"/>
                    </a:lnTo>
                    <a:lnTo>
                      <a:pt x="163" y="582"/>
                    </a:lnTo>
                    <a:lnTo>
                      <a:pt x="164" y="577"/>
                    </a:lnTo>
                    <a:lnTo>
                      <a:pt x="165" y="573"/>
                    </a:lnTo>
                    <a:lnTo>
                      <a:pt x="167" y="568"/>
                    </a:lnTo>
                    <a:lnTo>
                      <a:pt x="174" y="561"/>
                    </a:lnTo>
                    <a:lnTo>
                      <a:pt x="182" y="553"/>
                    </a:lnTo>
                    <a:lnTo>
                      <a:pt x="185" y="549"/>
                    </a:lnTo>
                    <a:lnTo>
                      <a:pt x="188" y="545"/>
                    </a:lnTo>
                    <a:lnTo>
                      <a:pt x="190" y="540"/>
                    </a:lnTo>
                    <a:lnTo>
                      <a:pt x="191" y="534"/>
                    </a:lnTo>
                    <a:lnTo>
                      <a:pt x="192" y="524"/>
                    </a:lnTo>
                    <a:lnTo>
                      <a:pt x="191" y="515"/>
                    </a:lnTo>
                    <a:lnTo>
                      <a:pt x="189" y="511"/>
                    </a:lnTo>
                    <a:lnTo>
                      <a:pt x="188" y="507"/>
                    </a:lnTo>
                    <a:lnTo>
                      <a:pt x="184" y="505"/>
                    </a:lnTo>
                    <a:lnTo>
                      <a:pt x="180" y="501"/>
                    </a:lnTo>
                    <a:lnTo>
                      <a:pt x="173" y="495"/>
                    </a:lnTo>
                    <a:lnTo>
                      <a:pt x="168" y="489"/>
                    </a:lnTo>
                    <a:lnTo>
                      <a:pt x="166" y="485"/>
                    </a:lnTo>
                    <a:lnTo>
                      <a:pt x="165" y="480"/>
                    </a:lnTo>
                    <a:lnTo>
                      <a:pt x="164" y="474"/>
                    </a:lnTo>
                    <a:lnTo>
                      <a:pt x="164" y="468"/>
                    </a:lnTo>
                    <a:lnTo>
                      <a:pt x="164" y="462"/>
                    </a:lnTo>
                    <a:lnTo>
                      <a:pt x="163" y="456"/>
                    </a:lnTo>
                    <a:lnTo>
                      <a:pt x="161" y="450"/>
                    </a:lnTo>
                    <a:lnTo>
                      <a:pt x="159" y="445"/>
                    </a:lnTo>
                    <a:lnTo>
                      <a:pt x="155" y="439"/>
                    </a:lnTo>
                    <a:lnTo>
                      <a:pt x="152" y="435"/>
                    </a:lnTo>
                    <a:lnTo>
                      <a:pt x="146" y="430"/>
                    </a:lnTo>
                    <a:lnTo>
                      <a:pt x="140" y="425"/>
                    </a:lnTo>
                    <a:lnTo>
                      <a:pt x="127" y="414"/>
                    </a:lnTo>
                    <a:lnTo>
                      <a:pt x="116" y="405"/>
                    </a:lnTo>
                    <a:lnTo>
                      <a:pt x="109" y="398"/>
                    </a:lnTo>
                    <a:lnTo>
                      <a:pt x="104" y="389"/>
                    </a:lnTo>
                    <a:lnTo>
                      <a:pt x="102" y="381"/>
                    </a:lnTo>
                    <a:lnTo>
                      <a:pt x="102" y="372"/>
                    </a:lnTo>
                    <a:lnTo>
                      <a:pt x="102" y="366"/>
                    </a:lnTo>
                    <a:lnTo>
                      <a:pt x="102" y="359"/>
                    </a:lnTo>
                    <a:lnTo>
                      <a:pt x="101" y="351"/>
                    </a:lnTo>
                    <a:lnTo>
                      <a:pt x="98" y="343"/>
                    </a:lnTo>
                    <a:lnTo>
                      <a:pt x="95" y="336"/>
                    </a:lnTo>
                    <a:lnTo>
                      <a:pt x="91" y="330"/>
                    </a:lnTo>
                    <a:lnTo>
                      <a:pt x="88" y="326"/>
                    </a:lnTo>
                    <a:lnTo>
                      <a:pt x="84" y="324"/>
                    </a:lnTo>
                    <a:lnTo>
                      <a:pt x="81" y="323"/>
                    </a:lnTo>
                    <a:lnTo>
                      <a:pt x="77" y="323"/>
                    </a:lnTo>
                    <a:lnTo>
                      <a:pt x="73" y="324"/>
                    </a:lnTo>
                    <a:lnTo>
                      <a:pt x="70" y="325"/>
                    </a:lnTo>
                    <a:lnTo>
                      <a:pt x="63" y="330"/>
                    </a:lnTo>
                    <a:lnTo>
                      <a:pt x="53" y="335"/>
                    </a:lnTo>
                    <a:lnTo>
                      <a:pt x="44" y="340"/>
                    </a:lnTo>
                    <a:lnTo>
                      <a:pt x="37" y="342"/>
                    </a:lnTo>
                    <a:lnTo>
                      <a:pt x="31" y="341"/>
                    </a:lnTo>
                    <a:lnTo>
                      <a:pt x="22" y="338"/>
                    </a:lnTo>
                    <a:lnTo>
                      <a:pt x="14" y="335"/>
                    </a:lnTo>
                    <a:lnTo>
                      <a:pt x="4" y="329"/>
                    </a:lnTo>
                    <a:lnTo>
                      <a:pt x="2" y="324"/>
                    </a:lnTo>
                    <a:lnTo>
                      <a:pt x="0" y="321"/>
                    </a:lnTo>
                    <a:lnTo>
                      <a:pt x="0" y="317"/>
                    </a:lnTo>
                    <a:lnTo>
                      <a:pt x="1" y="313"/>
                    </a:lnTo>
                    <a:lnTo>
                      <a:pt x="7" y="307"/>
                    </a:lnTo>
                    <a:lnTo>
                      <a:pt x="14" y="302"/>
                    </a:lnTo>
                    <a:lnTo>
                      <a:pt x="22" y="296"/>
                    </a:lnTo>
                    <a:lnTo>
                      <a:pt x="31" y="286"/>
                    </a:lnTo>
                    <a:lnTo>
                      <a:pt x="34" y="281"/>
                    </a:lnTo>
                    <a:lnTo>
                      <a:pt x="37" y="277"/>
                    </a:lnTo>
                    <a:lnTo>
                      <a:pt x="39" y="272"/>
                    </a:lnTo>
                    <a:lnTo>
                      <a:pt x="39" y="267"/>
                    </a:lnTo>
                    <a:lnTo>
                      <a:pt x="40" y="256"/>
                    </a:lnTo>
                    <a:lnTo>
                      <a:pt x="40" y="243"/>
                    </a:lnTo>
                    <a:lnTo>
                      <a:pt x="40" y="237"/>
                    </a:lnTo>
                    <a:lnTo>
                      <a:pt x="39" y="231"/>
                    </a:lnTo>
                    <a:lnTo>
                      <a:pt x="38" y="227"/>
                    </a:lnTo>
                    <a:lnTo>
                      <a:pt x="35" y="222"/>
                    </a:lnTo>
                    <a:lnTo>
                      <a:pt x="28" y="215"/>
                    </a:lnTo>
                    <a:lnTo>
                      <a:pt x="23" y="208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3" y="198"/>
                    </a:lnTo>
                    <a:lnTo>
                      <a:pt x="27" y="197"/>
                    </a:lnTo>
                    <a:lnTo>
                      <a:pt x="35" y="196"/>
                    </a:lnTo>
                    <a:lnTo>
                      <a:pt x="44" y="197"/>
                    </a:lnTo>
                    <a:lnTo>
                      <a:pt x="53" y="198"/>
                    </a:lnTo>
                    <a:lnTo>
                      <a:pt x="63" y="197"/>
                    </a:lnTo>
                    <a:lnTo>
                      <a:pt x="72" y="195"/>
                    </a:lnTo>
                    <a:lnTo>
                      <a:pt x="78" y="193"/>
                    </a:lnTo>
                    <a:lnTo>
                      <a:pt x="81" y="195"/>
                    </a:lnTo>
                    <a:lnTo>
                      <a:pt x="82" y="196"/>
                    </a:lnTo>
                    <a:lnTo>
                      <a:pt x="84" y="198"/>
                    </a:lnTo>
                    <a:lnTo>
                      <a:pt x="88" y="203"/>
                    </a:lnTo>
                    <a:lnTo>
                      <a:pt x="95" y="214"/>
                    </a:lnTo>
                    <a:lnTo>
                      <a:pt x="104" y="225"/>
                    </a:lnTo>
                    <a:lnTo>
                      <a:pt x="109" y="231"/>
                    </a:lnTo>
                    <a:lnTo>
                      <a:pt x="115" y="237"/>
                    </a:lnTo>
                    <a:lnTo>
                      <a:pt x="121" y="242"/>
                    </a:lnTo>
                    <a:lnTo>
                      <a:pt x="128" y="246"/>
                    </a:lnTo>
                    <a:lnTo>
                      <a:pt x="140" y="252"/>
                    </a:lnTo>
                    <a:lnTo>
                      <a:pt x="151" y="256"/>
                    </a:lnTo>
                    <a:lnTo>
                      <a:pt x="160" y="261"/>
                    </a:lnTo>
                    <a:lnTo>
                      <a:pt x="168" y="267"/>
                    </a:lnTo>
                    <a:lnTo>
                      <a:pt x="177" y="272"/>
                    </a:lnTo>
                    <a:lnTo>
                      <a:pt x="184" y="274"/>
                    </a:lnTo>
                    <a:lnTo>
                      <a:pt x="186" y="273"/>
                    </a:lnTo>
                    <a:lnTo>
                      <a:pt x="189" y="272"/>
                    </a:lnTo>
                    <a:lnTo>
                      <a:pt x="191" y="268"/>
                    </a:lnTo>
                    <a:lnTo>
                      <a:pt x="192" y="263"/>
                    </a:lnTo>
                    <a:lnTo>
                      <a:pt x="193" y="253"/>
                    </a:lnTo>
                    <a:lnTo>
                      <a:pt x="196" y="241"/>
                    </a:lnTo>
                    <a:lnTo>
                      <a:pt x="197" y="236"/>
                    </a:lnTo>
                    <a:lnTo>
                      <a:pt x="199" y="231"/>
                    </a:lnTo>
                    <a:lnTo>
                      <a:pt x="202" y="227"/>
                    </a:lnTo>
                    <a:lnTo>
                      <a:pt x="207" y="223"/>
                    </a:lnTo>
                    <a:lnTo>
                      <a:pt x="211" y="221"/>
                    </a:lnTo>
                    <a:lnTo>
                      <a:pt x="216" y="220"/>
                    </a:lnTo>
                    <a:lnTo>
                      <a:pt x="222" y="220"/>
                    </a:lnTo>
                    <a:lnTo>
                      <a:pt x="227" y="222"/>
                    </a:lnTo>
                    <a:lnTo>
                      <a:pt x="231" y="224"/>
                    </a:lnTo>
                    <a:lnTo>
                      <a:pt x="236" y="229"/>
                    </a:lnTo>
                    <a:lnTo>
                      <a:pt x="239" y="234"/>
                    </a:lnTo>
                    <a:lnTo>
                      <a:pt x="241" y="240"/>
                    </a:lnTo>
                    <a:lnTo>
                      <a:pt x="246" y="253"/>
                    </a:lnTo>
                    <a:lnTo>
                      <a:pt x="251" y="265"/>
                    </a:lnTo>
                    <a:lnTo>
                      <a:pt x="254" y="271"/>
                    </a:lnTo>
                    <a:lnTo>
                      <a:pt x="258" y="275"/>
                    </a:lnTo>
                    <a:lnTo>
                      <a:pt x="262" y="280"/>
                    </a:lnTo>
                    <a:lnTo>
                      <a:pt x="266" y="283"/>
                    </a:lnTo>
                    <a:lnTo>
                      <a:pt x="277" y="286"/>
                    </a:lnTo>
                    <a:lnTo>
                      <a:pt x="287" y="288"/>
                    </a:lnTo>
                    <a:lnTo>
                      <a:pt x="298" y="290"/>
                    </a:lnTo>
                    <a:lnTo>
                      <a:pt x="308" y="292"/>
                    </a:lnTo>
                    <a:lnTo>
                      <a:pt x="314" y="293"/>
                    </a:lnTo>
                    <a:lnTo>
                      <a:pt x="318" y="293"/>
                    </a:lnTo>
                    <a:lnTo>
                      <a:pt x="323" y="293"/>
                    </a:lnTo>
                    <a:lnTo>
                      <a:pt x="327" y="291"/>
                    </a:lnTo>
                    <a:lnTo>
                      <a:pt x="330" y="288"/>
                    </a:lnTo>
                    <a:lnTo>
                      <a:pt x="334" y="285"/>
                    </a:lnTo>
                    <a:lnTo>
                      <a:pt x="336" y="279"/>
                    </a:lnTo>
                    <a:lnTo>
                      <a:pt x="337" y="272"/>
                    </a:lnTo>
                    <a:lnTo>
                      <a:pt x="337" y="254"/>
                    </a:lnTo>
                    <a:lnTo>
                      <a:pt x="336" y="234"/>
                    </a:lnTo>
                    <a:lnTo>
                      <a:pt x="333" y="214"/>
                    </a:lnTo>
                    <a:lnTo>
                      <a:pt x="328" y="196"/>
                    </a:lnTo>
                    <a:lnTo>
                      <a:pt x="323" y="179"/>
                    </a:lnTo>
                    <a:lnTo>
                      <a:pt x="319" y="161"/>
                    </a:lnTo>
                    <a:lnTo>
                      <a:pt x="319" y="154"/>
                    </a:lnTo>
                    <a:lnTo>
                      <a:pt x="319" y="147"/>
                    </a:lnTo>
                    <a:lnTo>
                      <a:pt x="321" y="141"/>
                    </a:lnTo>
                    <a:lnTo>
                      <a:pt x="322" y="136"/>
                    </a:lnTo>
                    <a:lnTo>
                      <a:pt x="325" y="133"/>
                    </a:lnTo>
                    <a:lnTo>
                      <a:pt x="331" y="130"/>
                    </a:lnTo>
                    <a:lnTo>
                      <a:pt x="338" y="128"/>
                    </a:lnTo>
                    <a:lnTo>
                      <a:pt x="347" y="126"/>
                    </a:lnTo>
                    <a:lnTo>
                      <a:pt x="363" y="122"/>
                    </a:lnTo>
                    <a:lnTo>
                      <a:pt x="378" y="120"/>
                    </a:lnTo>
                    <a:lnTo>
                      <a:pt x="387" y="117"/>
                    </a:lnTo>
                    <a:lnTo>
                      <a:pt x="398" y="114"/>
                    </a:lnTo>
                    <a:lnTo>
                      <a:pt x="401" y="110"/>
                    </a:lnTo>
                    <a:lnTo>
                      <a:pt x="405" y="105"/>
                    </a:lnTo>
                    <a:lnTo>
                      <a:pt x="407" y="101"/>
                    </a:lnTo>
                    <a:lnTo>
                      <a:pt x="407" y="94"/>
                    </a:lnTo>
                    <a:lnTo>
                      <a:pt x="407" y="83"/>
                    </a:lnTo>
                    <a:lnTo>
                      <a:pt x="407" y="73"/>
                    </a:lnTo>
                    <a:lnTo>
                      <a:pt x="407" y="61"/>
                    </a:lnTo>
                    <a:lnTo>
                      <a:pt x="407" y="52"/>
                    </a:lnTo>
                    <a:lnTo>
                      <a:pt x="407" y="41"/>
                    </a:lnTo>
                    <a:lnTo>
                      <a:pt x="407" y="36"/>
                    </a:lnTo>
                    <a:lnTo>
                      <a:pt x="409" y="35"/>
                    </a:lnTo>
                    <a:lnTo>
                      <a:pt x="410" y="35"/>
                    </a:lnTo>
                    <a:lnTo>
                      <a:pt x="413" y="36"/>
                    </a:lnTo>
                    <a:lnTo>
                      <a:pt x="417" y="39"/>
                    </a:lnTo>
                    <a:lnTo>
                      <a:pt x="429" y="42"/>
                    </a:lnTo>
                    <a:lnTo>
                      <a:pt x="441" y="45"/>
                    </a:lnTo>
                    <a:lnTo>
                      <a:pt x="455" y="46"/>
                    </a:lnTo>
                    <a:lnTo>
                      <a:pt x="472" y="47"/>
                    </a:lnTo>
                    <a:lnTo>
                      <a:pt x="479" y="48"/>
                    </a:lnTo>
                    <a:lnTo>
                      <a:pt x="485" y="48"/>
                    </a:lnTo>
                    <a:lnTo>
                      <a:pt x="489" y="47"/>
                    </a:lnTo>
                    <a:lnTo>
                      <a:pt x="493" y="46"/>
                    </a:lnTo>
                    <a:lnTo>
                      <a:pt x="500" y="41"/>
                    </a:lnTo>
                    <a:lnTo>
                      <a:pt x="507" y="35"/>
                    </a:lnTo>
                    <a:lnTo>
                      <a:pt x="511" y="33"/>
                    </a:lnTo>
                    <a:lnTo>
                      <a:pt x="516" y="31"/>
                    </a:lnTo>
                    <a:lnTo>
                      <a:pt x="519" y="31"/>
                    </a:lnTo>
                    <a:lnTo>
                      <a:pt x="523" y="32"/>
                    </a:lnTo>
                    <a:lnTo>
                      <a:pt x="530" y="34"/>
                    </a:lnTo>
                    <a:lnTo>
                      <a:pt x="538" y="38"/>
                    </a:lnTo>
                    <a:lnTo>
                      <a:pt x="542" y="38"/>
                    </a:lnTo>
                    <a:lnTo>
                      <a:pt x="547" y="36"/>
                    </a:lnTo>
                    <a:lnTo>
                      <a:pt x="552" y="35"/>
                    </a:lnTo>
                    <a:lnTo>
                      <a:pt x="558" y="33"/>
                    </a:lnTo>
                    <a:lnTo>
                      <a:pt x="573" y="27"/>
                    </a:lnTo>
                    <a:lnTo>
                      <a:pt x="589" y="19"/>
                    </a:lnTo>
                    <a:lnTo>
                      <a:pt x="601" y="13"/>
                    </a:lnTo>
                    <a:lnTo>
                      <a:pt x="613" y="7"/>
                    </a:lnTo>
                    <a:lnTo>
                      <a:pt x="619" y="3"/>
                    </a:lnTo>
                    <a:lnTo>
                      <a:pt x="623" y="0"/>
                    </a:lnTo>
                    <a:lnTo>
                      <a:pt x="624" y="0"/>
                    </a:lnTo>
                    <a:lnTo>
                      <a:pt x="626" y="0"/>
                    </a:lnTo>
                    <a:lnTo>
                      <a:pt x="627" y="1"/>
                    </a:lnTo>
                    <a:lnTo>
                      <a:pt x="631" y="3"/>
                    </a:lnTo>
                    <a:lnTo>
                      <a:pt x="633" y="4"/>
                    </a:lnTo>
                    <a:lnTo>
                      <a:pt x="637" y="7"/>
                    </a:lnTo>
                    <a:lnTo>
                      <a:pt x="642" y="7"/>
                    </a:lnTo>
                    <a:lnTo>
                      <a:pt x="645" y="7"/>
                    </a:lnTo>
                    <a:lnTo>
                      <a:pt x="653" y="8"/>
                    </a:lnTo>
                    <a:lnTo>
                      <a:pt x="662" y="10"/>
                    </a:lnTo>
                    <a:lnTo>
                      <a:pt x="665" y="13"/>
                    </a:lnTo>
                    <a:lnTo>
                      <a:pt x="669" y="16"/>
                    </a:lnTo>
                    <a:lnTo>
                      <a:pt x="670" y="21"/>
                    </a:lnTo>
                    <a:lnTo>
                      <a:pt x="671" y="26"/>
                    </a:lnTo>
                    <a:lnTo>
                      <a:pt x="671" y="39"/>
                    </a:lnTo>
                    <a:lnTo>
                      <a:pt x="673" y="52"/>
                    </a:lnTo>
                    <a:lnTo>
                      <a:pt x="674" y="65"/>
                    </a:lnTo>
                    <a:lnTo>
                      <a:pt x="677" y="77"/>
                    </a:lnTo>
                    <a:lnTo>
                      <a:pt x="687" y="97"/>
                    </a:lnTo>
                    <a:lnTo>
                      <a:pt x="692" y="111"/>
                    </a:lnTo>
                    <a:lnTo>
                      <a:pt x="692" y="118"/>
                    </a:lnTo>
                    <a:lnTo>
                      <a:pt x="689" y="124"/>
                    </a:lnTo>
                    <a:lnTo>
                      <a:pt x="688" y="132"/>
                    </a:lnTo>
                    <a:lnTo>
                      <a:pt x="686" y="139"/>
                    </a:lnTo>
                    <a:lnTo>
                      <a:pt x="683" y="145"/>
                    </a:lnTo>
                    <a:lnTo>
                      <a:pt x="683" y="151"/>
                    </a:lnTo>
                    <a:lnTo>
                      <a:pt x="683" y="153"/>
                    </a:lnTo>
                    <a:lnTo>
                      <a:pt x="686" y="155"/>
                    </a:lnTo>
                    <a:lnTo>
                      <a:pt x="688" y="159"/>
                    </a:lnTo>
                    <a:lnTo>
                      <a:pt x="692" y="161"/>
                    </a:lnTo>
                    <a:lnTo>
                      <a:pt x="699" y="168"/>
                    </a:lnTo>
                    <a:lnTo>
                      <a:pt x="705" y="177"/>
                    </a:lnTo>
                    <a:lnTo>
                      <a:pt x="707" y="181"/>
                    </a:lnTo>
                    <a:lnTo>
                      <a:pt x="709" y="187"/>
                    </a:lnTo>
                    <a:lnTo>
                      <a:pt x="711" y="195"/>
                    </a:lnTo>
                    <a:lnTo>
                      <a:pt x="711" y="202"/>
                    </a:lnTo>
                    <a:lnTo>
                      <a:pt x="711" y="217"/>
                    </a:lnTo>
                    <a:lnTo>
                      <a:pt x="711" y="229"/>
                    </a:lnTo>
                    <a:lnTo>
                      <a:pt x="712" y="234"/>
                    </a:lnTo>
                    <a:lnTo>
                      <a:pt x="713" y="237"/>
                    </a:lnTo>
                    <a:lnTo>
                      <a:pt x="714" y="241"/>
                    </a:lnTo>
                    <a:lnTo>
                      <a:pt x="717" y="244"/>
                    </a:lnTo>
                    <a:lnTo>
                      <a:pt x="722" y="249"/>
                    </a:lnTo>
                    <a:lnTo>
                      <a:pt x="730" y="253"/>
                    </a:lnTo>
                    <a:lnTo>
                      <a:pt x="737" y="259"/>
                    </a:lnTo>
                    <a:lnTo>
                      <a:pt x="741" y="266"/>
                    </a:lnTo>
                    <a:lnTo>
                      <a:pt x="746" y="272"/>
                    </a:lnTo>
                    <a:lnTo>
                      <a:pt x="752" y="277"/>
                    </a:lnTo>
                    <a:lnTo>
                      <a:pt x="759" y="280"/>
                    </a:lnTo>
                    <a:lnTo>
                      <a:pt x="766" y="284"/>
                    </a:lnTo>
                    <a:lnTo>
                      <a:pt x="777" y="288"/>
                    </a:lnTo>
                    <a:lnTo>
                      <a:pt x="790" y="298"/>
                    </a:lnTo>
                    <a:lnTo>
                      <a:pt x="803" y="307"/>
                    </a:lnTo>
                    <a:lnTo>
                      <a:pt x="814" y="317"/>
                    </a:lnTo>
                    <a:lnTo>
                      <a:pt x="831" y="335"/>
                    </a:lnTo>
                    <a:lnTo>
                      <a:pt x="846" y="349"/>
                    </a:lnTo>
                    <a:lnTo>
                      <a:pt x="851" y="350"/>
                    </a:lnTo>
                    <a:lnTo>
                      <a:pt x="856" y="351"/>
                    </a:lnTo>
                    <a:lnTo>
                      <a:pt x="862" y="353"/>
                    </a:lnTo>
                    <a:lnTo>
                      <a:pt x="867" y="353"/>
                    </a:lnTo>
                    <a:lnTo>
                      <a:pt x="881" y="351"/>
                    </a:lnTo>
                    <a:lnTo>
                      <a:pt x="894" y="348"/>
                    </a:lnTo>
                    <a:lnTo>
                      <a:pt x="913" y="342"/>
                    </a:lnTo>
                    <a:lnTo>
                      <a:pt x="925" y="337"/>
                    </a:lnTo>
                    <a:lnTo>
                      <a:pt x="928" y="335"/>
                    </a:lnTo>
                    <a:lnTo>
                      <a:pt x="932" y="332"/>
                    </a:lnTo>
                    <a:lnTo>
                      <a:pt x="936" y="330"/>
                    </a:lnTo>
                    <a:lnTo>
                      <a:pt x="945" y="330"/>
                    </a:lnTo>
                    <a:lnTo>
                      <a:pt x="954" y="329"/>
                    </a:lnTo>
                    <a:lnTo>
                      <a:pt x="963" y="328"/>
                    </a:lnTo>
                    <a:lnTo>
                      <a:pt x="966" y="325"/>
                    </a:lnTo>
                    <a:lnTo>
                      <a:pt x="970" y="323"/>
                    </a:lnTo>
                    <a:lnTo>
                      <a:pt x="972" y="318"/>
                    </a:lnTo>
                    <a:lnTo>
                      <a:pt x="973" y="313"/>
                    </a:lnTo>
                    <a:lnTo>
                      <a:pt x="974" y="303"/>
                    </a:lnTo>
                    <a:lnTo>
                      <a:pt x="978" y="292"/>
                    </a:lnTo>
                    <a:lnTo>
                      <a:pt x="979" y="288"/>
                    </a:lnTo>
                    <a:lnTo>
                      <a:pt x="982" y="286"/>
                    </a:lnTo>
                    <a:lnTo>
                      <a:pt x="984" y="285"/>
                    </a:lnTo>
                    <a:lnTo>
                      <a:pt x="988" y="285"/>
                    </a:lnTo>
                    <a:lnTo>
                      <a:pt x="997" y="288"/>
                    </a:lnTo>
                    <a:lnTo>
                      <a:pt x="1008" y="293"/>
                    </a:lnTo>
                    <a:lnTo>
                      <a:pt x="1013" y="297"/>
                    </a:lnTo>
                    <a:lnTo>
                      <a:pt x="1017" y="300"/>
                    </a:lnTo>
                    <a:lnTo>
                      <a:pt x="1021" y="305"/>
                    </a:lnTo>
                    <a:lnTo>
                      <a:pt x="1024" y="311"/>
                    </a:lnTo>
                    <a:lnTo>
                      <a:pt x="1028" y="317"/>
                    </a:lnTo>
                    <a:lnTo>
                      <a:pt x="1032" y="322"/>
                    </a:lnTo>
                    <a:lnTo>
                      <a:pt x="1035" y="326"/>
                    </a:lnTo>
                    <a:lnTo>
                      <a:pt x="1040" y="330"/>
                    </a:lnTo>
                    <a:lnTo>
                      <a:pt x="1045" y="334"/>
                    </a:lnTo>
                    <a:lnTo>
                      <a:pt x="1049" y="335"/>
                    </a:lnTo>
                    <a:lnTo>
                      <a:pt x="1055" y="336"/>
                    </a:lnTo>
                    <a:lnTo>
                      <a:pt x="1061" y="335"/>
                    </a:lnTo>
                    <a:lnTo>
                      <a:pt x="1073" y="331"/>
                    </a:lnTo>
                    <a:lnTo>
                      <a:pt x="1084" y="326"/>
                    </a:lnTo>
                    <a:lnTo>
                      <a:pt x="1089" y="324"/>
                    </a:lnTo>
                    <a:lnTo>
                      <a:pt x="1095" y="322"/>
                    </a:lnTo>
                    <a:lnTo>
                      <a:pt x="1100" y="319"/>
                    </a:lnTo>
                    <a:lnTo>
                      <a:pt x="1106" y="319"/>
                    </a:lnTo>
                    <a:lnTo>
                      <a:pt x="1121" y="318"/>
                    </a:lnTo>
                    <a:lnTo>
                      <a:pt x="1134" y="316"/>
                    </a:lnTo>
                    <a:lnTo>
                      <a:pt x="1140" y="313"/>
                    </a:lnTo>
                    <a:lnTo>
                      <a:pt x="1143" y="311"/>
                    </a:lnTo>
                    <a:lnTo>
                      <a:pt x="1147" y="309"/>
                    </a:lnTo>
                    <a:lnTo>
                      <a:pt x="1149" y="305"/>
                    </a:lnTo>
                    <a:lnTo>
                      <a:pt x="1152" y="297"/>
                    </a:lnTo>
                    <a:lnTo>
                      <a:pt x="1156" y="287"/>
                    </a:lnTo>
                    <a:lnTo>
                      <a:pt x="1160" y="283"/>
                    </a:lnTo>
                    <a:lnTo>
                      <a:pt x="1163" y="279"/>
                    </a:lnTo>
                    <a:lnTo>
                      <a:pt x="1169" y="275"/>
                    </a:lnTo>
                    <a:lnTo>
                      <a:pt x="1175" y="272"/>
                    </a:lnTo>
                    <a:lnTo>
                      <a:pt x="1185" y="268"/>
                    </a:lnTo>
                    <a:lnTo>
                      <a:pt x="1196" y="266"/>
                    </a:lnTo>
                    <a:lnTo>
                      <a:pt x="1207" y="263"/>
                    </a:lnTo>
                    <a:lnTo>
                      <a:pt x="1218" y="261"/>
                    </a:lnTo>
                    <a:lnTo>
                      <a:pt x="1225" y="260"/>
                    </a:lnTo>
                    <a:lnTo>
                      <a:pt x="1229" y="260"/>
                    </a:lnTo>
                    <a:lnTo>
                      <a:pt x="1229" y="261"/>
                    </a:lnTo>
                    <a:lnTo>
                      <a:pt x="1228" y="267"/>
                    </a:lnTo>
                    <a:lnTo>
                      <a:pt x="1225" y="273"/>
                    </a:lnTo>
                    <a:lnTo>
                      <a:pt x="1224" y="280"/>
                    </a:lnTo>
                    <a:lnTo>
                      <a:pt x="1224" y="287"/>
                    </a:lnTo>
                    <a:lnTo>
                      <a:pt x="1226" y="293"/>
                    </a:lnTo>
                    <a:lnTo>
                      <a:pt x="1230" y="300"/>
                    </a:lnTo>
                    <a:lnTo>
                      <a:pt x="1232" y="307"/>
                    </a:lnTo>
                    <a:lnTo>
                      <a:pt x="1232" y="313"/>
                    </a:lnTo>
                    <a:lnTo>
                      <a:pt x="1232" y="321"/>
                    </a:lnTo>
                    <a:lnTo>
                      <a:pt x="1234" y="326"/>
                    </a:lnTo>
                    <a:lnTo>
                      <a:pt x="1235" y="332"/>
                    </a:lnTo>
                    <a:lnTo>
                      <a:pt x="1238" y="337"/>
                    </a:lnTo>
                    <a:lnTo>
                      <a:pt x="1244" y="343"/>
                    </a:lnTo>
                    <a:lnTo>
                      <a:pt x="1254" y="350"/>
                    </a:lnTo>
                    <a:lnTo>
                      <a:pt x="1265" y="359"/>
                    </a:lnTo>
                    <a:lnTo>
                      <a:pt x="1276" y="367"/>
                    </a:lnTo>
                    <a:lnTo>
                      <a:pt x="1285" y="375"/>
                    </a:lnTo>
                    <a:lnTo>
                      <a:pt x="1291" y="382"/>
                    </a:lnTo>
                    <a:lnTo>
                      <a:pt x="1297" y="387"/>
                    </a:lnTo>
                    <a:lnTo>
                      <a:pt x="1304" y="391"/>
                    </a:lnTo>
                    <a:lnTo>
                      <a:pt x="1312" y="392"/>
                    </a:lnTo>
                    <a:lnTo>
                      <a:pt x="1322" y="392"/>
                    </a:lnTo>
                    <a:lnTo>
                      <a:pt x="1332" y="393"/>
                    </a:lnTo>
                    <a:lnTo>
                      <a:pt x="1342" y="395"/>
                    </a:lnTo>
                    <a:lnTo>
                      <a:pt x="1351" y="399"/>
                    </a:lnTo>
                    <a:lnTo>
                      <a:pt x="1357" y="400"/>
                    </a:lnTo>
                    <a:lnTo>
                      <a:pt x="1363" y="401"/>
                    </a:lnTo>
                    <a:lnTo>
                      <a:pt x="1370" y="403"/>
                    </a:lnTo>
                    <a:lnTo>
                      <a:pt x="1379" y="403"/>
                    </a:lnTo>
                    <a:lnTo>
                      <a:pt x="1387" y="401"/>
                    </a:lnTo>
                    <a:lnTo>
                      <a:pt x="1395" y="399"/>
                    </a:lnTo>
                    <a:lnTo>
                      <a:pt x="1404" y="397"/>
                    </a:lnTo>
                    <a:lnTo>
                      <a:pt x="1412" y="392"/>
                    </a:lnTo>
                    <a:lnTo>
                      <a:pt x="1427" y="382"/>
                    </a:lnTo>
                    <a:lnTo>
                      <a:pt x="1442" y="370"/>
                    </a:lnTo>
                    <a:lnTo>
                      <a:pt x="1455" y="359"/>
                    </a:lnTo>
                    <a:lnTo>
                      <a:pt x="1467" y="348"/>
                    </a:lnTo>
                    <a:lnTo>
                      <a:pt x="1471" y="344"/>
                    </a:lnTo>
                    <a:lnTo>
                      <a:pt x="1476" y="341"/>
                    </a:lnTo>
                    <a:lnTo>
                      <a:pt x="1482" y="338"/>
                    </a:lnTo>
                    <a:lnTo>
                      <a:pt x="1488" y="336"/>
                    </a:lnTo>
                    <a:lnTo>
                      <a:pt x="1500" y="335"/>
                    </a:lnTo>
                    <a:lnTo>
                      <a:pt x="1513" y="336"/>
                    </a:lnTo>
                    <a:lnTo>
                      <a:pt x="1520" y="337"/>
                    </a:lnTo>
                    <a:lnTo>
                      <a:pt x="1526" y="340"/>
                    </a:lnTo>
                    <a:lnTo>
                      <a:pt x="1532" y="342"/>
                    </a:lnTo>
                    <a:lnTo>
                      <a:pt x="1538" y="345"/>
                    </a:lnTo>
                    <a:lnTo>
                      <a:pt x="1547" y="353"/>
                    </a:lnTo>
                    <a:lnTo>
                      <a:pt x="1557" y="360"/>
                    </a:lnTo>
                    <a:lnTo>
                      <a:pt x="1566" y="363"/>
                    </a:lnTo>
                    <a:lnTo>
                      <a:pt x="1574" y="365"/>
                    </a:lnTo>
                    <a:lnTo>
                      <a:pt x="1583" y="363"/>
                    </a:lnTo>
                    <a:lnTo>
                      <a:pt x="1595" y="361"/>
                    </a:lnTo>
                    <a:lnTo>
                      <a:pt x="1607" y="359"/>
                    </a:lnTo>
                    <a:lnTo>
                      <a:pt x="1618" y="359"/>
                    </a:lnTo>
                    <a:lnTo>
                      <a:pt x="1621" y="360"/>
                    </a:lnTo>
                    <a:lnTo>
                      <a:pt x="1625" y="361"/>
                    </a:lnTo>
                    <a:lnTo>
                      <a:pt x="1627" y="363"/>
                    </a:lnTo>
                    <a:lnTo>
                      <a:pt x="1628" y="366"/>
                    </a:lnTo>
                    <a:lnTo>
                      <a:pt x="1631" y="375"/>
                    </a:lnTo>
                    <a:lnTo>
                      <a:pt x="1635" y="386"/>
                    </a:lnTo>
                    <a:lnTo>
                      <a:pt x="1639" y="392"/>
                    </a:lnTo>
                    <a:lnTo>
                      <a:pt x="1643" y="398"/>
                    </a:lnTo>
                    <a:lnTo>
                      <a:pt x="1647" y="404"/>
                    </a:lnTo>
                    <a:lnTo>
                      <a:pt x="1653" y="411"/>
                    </a:lnTo>
                    <a:lnTo>
                      <a:pt x="1663" y="420"/>
                    </a:lnTo>
                    <a:lnTo>
                      <a:pt x="1672" y="430"/>
                    </a:lnTo>
                    <a:lnTo>
                      <a:pt x="1681" y="438"/>
                    </a:lnTo>
                    <a:lnTo>
                      <a:pt x="1688" y="448"/>
                    </a:lnTo>
                    <a:lnTo>
                      <a:pt x="1688" y="450"/>
                    </a:lnTo>
                    <a:lnTo>
                      <a:pt x="1688" y="451"/>
                    </a:lnTo>
                    <a:lnTo>
                      <a:pt x="1687" y="452"/>
                    </a:lnTo>
                    <a:lnTo>
                      <a:pt x="1685" y="452"/>
                    </a:lnTo>
                    <a:lnTo>
                      <a:pt x="1681" y="454"/>
                    </a:lnTo>
                    <a:lnTo>
                      <a:pt x="1677" y="454"/>
                    </a:lnTo>
                    <a:lnTo>
                      <a:pt x="1672" y="455"/>
                    </a:lnTo>
                    <a:lnTo>
                      <a:pt x="1669" y="457"/>
                    </a:lnTo>
                    <a:lnTo>
                      <a:pt x="1664" y="458"/>
                    </a:lnTo>
                    <a:lnTo>
                      <a:pt x="1663" y="462"/>
                    </a:lnTo>
                    <a:lnTo>
                      <a:pt x="1662" y="466"/>
                    </a:lnTo>
                    <a:lnTo>
                      <a:pt x="1660" y="473"/>
                    </a:lnTo>
                    <a:lnTo>
                      <a:pt x="1660" y="481"/>
                    </a:lnTo>
                    <a:lnTo>
                      <a:pt x="1662" y="491"/>
                    </a:lnTo>
                    <a:lnTo>
                      <a:pt x="1663" y="500"/>
                    </a:lnTo>
                    <a:lnTo>
                      <a:pt x="1664" y="510"/>
                    </a:lnTo>
                    <a:lnTo>
                      <a:pt x="1666" y="518"/>
                    </a:lnTo>
                    <a:lnTo>
                      <a:pt x="1670" y="524"/>
                    </a:lnTo>
                    <a:lnTo>
                      <a:pt x="1675" y="534"/>
                    </a:lnTo>
                    <a:lnTo>
                      <a:pt x="1679" y="545"/>
                    </a:lnTo>
                    <a:lnTo>
                      <a:pt x="1682" y="555"/>
                    </a:lnTo>
                    <a:lnTo>
                      <a:pt x="1684" y="567"/>
                    </a:lnTo>
                    <a:lnTo>
                      <a:pt x="1685" y="573"/>
                    </a:lnTo>
                    <a:lnTo>
                      <a:pt x="1687" y="577"/>
                    </a:lnTo>
                    <a:lnTo>
                      <a:pt x="1689" y="583"/>
                    </a:lnTo>
                    <a:lnTo>
                      <a:pt x="1692" y="587"/>
                    </a:lnTo>
                    <a:lnTo>
                      <a:pt x="1697" y="592"/>
                    </a:lnTo>
                    <a:lnTo>
                      <a:pt x="1704" y="596"/>
                    </a:lnTo>
                    <a:lnTo>
                      <a:pt x="1708" y="599"/>
                    </a:lnTo>
                    <a:lnTo>
                      <a:pt x="1711" y="600"/>
                    </a:lnTo>
                    <a:lnTo>
                      <a:pt x="1715" y="600"/>
                    </a:lnTo>
                    <a:lnTo>
                      <a:pt x="1717" y="599"/>
                    </a:lnTo>
                    <a:lnTo>
                      <a:pt x="1723" y="589"/>
                    </a:lnTo>
                    <a:lnTo>
                      <a:pt x="1728" y="578"/>
                    </a:lnTo>
                    <a:lnTo>
                      <a:pt x="1726" y="570"/>
                    </a:lnTo>
                    <a:lnTo>
                      <a:pt x="1725" y="561"/>
                    </a:lnTo>
                    <a:lnTo>
                      <a:pt x="1727" y="559"/>
                    </a:lnTo>
                    <a:lnTo>
                      <a:pt x="1731" y="559"/>
                    </a:lnTo>
                    <a:lnTo>
                      <a:pt x="1739" y="562"/>
                    </a:lnTo>
                    <a:lnTo>
                      <a:pt x="1746" y="565"/>
                    </a:lnTo>
                    <a:lnTo>
                      <a:pt x="1748" y="567"/>
                    </a:lnTo>
                    <a:lnTo>
                      <a:pt x="1752" y="568"/>
                    </a:lnTo>
                    <a:lnTo>
                      <a:pt x="1754" y="568"/>
                    </a:lnTo>
                    <a:lnTo>
                      <a:pt x="1757" y="565"/>
                    </a:lnTo>
                    <a:lnTo>
                      <a:pt x="1763" y="562"/>
                    </a:lnTo>
                    <a:lnTo>
                      <a:pt x="1770" y="559"/>
                    </a:lnTo>
                    <a:lnTo>
                      <a:pt x="1777" y="559"/>
                    </a:lnTo>
                    <a:lnTo>
                      <a:pt x="1784" y="561"/>
                    </a:lnTo>
                    <a:lnTo>
                      <a:pt x="1792" y="561"/>
                    </a:lnTo>
                    <a:lnTo>
                      <a:pt x="1801" y="561"/>
                    </a:lnTo>
                    <a:lnTo>
                      <a:pt x="1809" y="562"/>
                    </a:lnTo>
                    <a:lnTo>
                      <a:pt x="1816" y="564"/>
                    </a:lnTo>
                    <a:lnTo>
                      <a:pt x="1828" y="571"/>
                    </a:lnTo>
                    <a:lnTo>
                      <a:pt x="1839" y="577"/>
                    </a:lnTo>
                    <a:lnTo>
                      <a:pt x="1842" y="578"/>
                    </a:lnTo>
                    <a:lnTo>
                      <a:pt x="1846" y="581"/>
                    </a:lnTo>
                    <a:lnTo>
                      <a:pt x="1847" y="582"/>
                    </a:lnTo>
                    <a:lnTo>
                      <a:pt x="1848" y="583"/>
                    </a:lnTo>
                    <a:lnTo>
                      <a:pt x="1848" y="584"/>
                    </a:lnTo>
                    <a:lnTo>
                      <a:pt x="1847" y="586"/>
                    </a:lnTo>
                    <a:lnTo>
                      <a:pt x="1837" y="594"/>
                    </a:lnTo>
                    <a:lnTo>
                      <a:pt x="1829" y="602"/>
                    </a:lnTo>
                    <a:lnTo>
                      <a:pt x="1828" y="606"/>
                    </a:lnTo>
                    <a:lnTo>
                      <a:pt x="1827" y="611"/>
                    </a:lnTo>
                    <a:lnTo>
                      <a:pt x="1827" y="614"/>
                    </a:lnTo>
                    <a:lnTo>
                      <a:pt x="1827" y="619"/>
                    </a:lnTo>
                    <a:lnTo>
                      <a:pt x="1828" y="624"/>
                    </a:lnTo>
                    <a:lnTo>
                      <a:pt x="1830" y="628"/>
                    </a:lnTo>
                    <a:lnTo>
                      <a:pt x="1833" y="633"/>
                    </a:lnTo>
                    <a:lnTo>
                      <a:pt x="1836" y="638"/>
                    </a:lnTo>
                    <a:lnTo>
                      <a:pt x="1847" y="649"/>
                    </a:lnTo>
                    <a:lnTo>
                      <a:pt x="1859" y="663"/>
                    </a:lnTo>
                    <a:lnTo>
                      <a:pt x="1871" y="676"/>
                    </a:lnTo>
                    <a:lnTo>
                      <a:pt x="1880" y="687"/>
                    </a:lnTo>
                    <a:lnTo>
                      <a:pt x="1885" y="693"/>
                    </a:lnTo>
                    <a:lnTo>
                      <a:pt x="1889" y="700"/>
                    </a:lnTo>
                    <a:lnTo>
                      <a:pt x="1891" y="706"/>
                    </a:lnTo>
                    <a:lnTo>
                      <a:pt x="1892" y="712"/>
                    </a:lnTo>
                    <a:lnTo>
                      <a:pt x="1893" y="719"/>
                    </a:lnTo>
                    <a:lnTo>
                      <a:pt x="1896" y="726"/>
                    </a:lnTo>
                    <a:lnTo>
                      <a:pt x="1897" y="729"/>
                    </a:lnTo>
                    <a:lnTo>
                      <a:pt x="1899" y="732"/>
                    </a:lnTo>
                    <a:lnTo>
                      <a:pt x="1900" y="734"/>
                    </a:lnTo>
                    <a:lnTo>
                      <a:pt x="1904" y="737"/>
                    </a:lnTo>
                    <a:lnTo>
                      <a:pt x="1909" y="738"/>
                    </a:lnTo>
                    <a:lnTo>
                      <a:pt x="1915" y="737"/>
                    </a:lnTo>
                    <a:lnTo>
                      <a:pt x="1921" y="735"/>
                    </a:lnTo>
                    <a:lnTo>
                      <a:pt x="1927" y="733"/>
                    </a:lnTo>
                    <a:lnTo>
                      <a:pt x="1930" y="733"/>
                    </a:lnTo>
                    <a:lnTo>
                      <a:pt x="1933" y="734"/>
                    </a:lnTo>
                    <a:lnTo>
                      <a:pt x="1934" y="735"/>
                    </a:lnTo>
                    <a:lnTo>
                      <a:pt x="1936" y="738"/>
                    </a:lnTo>
                    <a:lnTo>
                      <a:pt x="1939" y="744"/>
                    </a:lnTo>
                    <a:lnTo>
                      <a:pt x="1941" y="750"/>
                    </a:lnTo>
                    <a:lnTo>
                      <a:pt x="1944" y="757"/>
                    </a:lnTo>
                    <a:lnTo>
                      <a:pt x="1952" y="765"/>
                    </a:lnTo>
                    <a:lnTo>
                      <a:pt x="1956" y="769"/>
                    </a:lnTo>
                    <a:lnTo>
                      <a:pt x="1961" y="771"/>
                    </a:lnTo>
                    <a:lnTo>
                      <a:pt x="1968" y="772"/>
                    </a:lnTo>
                    <a:lnTo>
                      <a:pt x="1975" y="772"/>
                    </a:lnTo>
                    <a:lnTo>
                      <a:pt x="1984" y="771"/>
                    </a:lnTo>
                    <a:lnTo>
                      <a:pt x="1992" y="769"/>
                    </a:lnTo>
                    <a:lnTo>
                      <a:pt x="1999" y="765"/>
                    </a:lnTo>
                    <a:lnTo>
                      <a:pt x="2006" y="762"/>
                    </a:lnTo>
                    <a:lnTo>
                      <a:pt x="2019" y="753"/>
                    </a:lnTo>
                    <a:lnTo>
                      <a:pt x="2029" y="747"/>
                    </a:lnTo>
                    <a:lnTo>
                      <a:pt x="2032" y="744"/>
                    </a:lnTo>
                    <a:lnTo>
                      <a:pt x="2034" y="741"/>
                    </a:lnTo>
                    <a:lnTo>
                      <a:pt x="2035" y="739"/>
                    </a:lnTo>
                    <a:lnTo>
                      <a:pt x="2035" y="735"/>
                    </a:lnTo>
                    <a:lnTo>
                      <a:pt x="2032" y="731"/>
                    </a:lnTo>
                    <a:lnTo>
                      <a:pt x="2029" y="723"/>
                    </a:lnTo>
                    <a:lnTo>
                      <a:pt x="2025" y="712"/>
                    </a:lnTo>
                    <a:lnTo>
                      <a:pt x="2023" y="695"/>
                    </a:lnTo>
                    <a:lnTo>
                      <a:pt x="2023" y="679"/>
                    </a:lnTo>
                    <a:lnTo>
                      <a:pt x="2023" y="669"/>
                    </a:lnTo>
                    <a:lnTo>
                      <a:pt x="2023" y="662"/>
                    </a:lnTo>
                    <a:lnTo>
                      <a:pt x="2021" y="655"/>
                    </a:lnTo>
                    <a:lnTo>
                      <a:pt x="2017" y="649"/>
                    </a:lnTo>
                    <a:lnTo>
                      <a:pt x="2012" y="644"/>
                    </a:lnTo>
                    <a:lnTo>
                      <a:pt x="2009" y="639"/>
                    </a:lnTo>
                    <a:lnTo>
                      <a:pt x="2006" y="634"/>
                    </a:lnTo>
                    <a:lnTo>
                      <a:pt x="2007" y="632"/>
                    </a:lnTo>
                    <a:lnTo>
                      <a:pt x="2009" y="631"/>
                    </a:lnTo>
                    <a:lnTo>
                      <a:pt x="2010" y="630"/>
                    </a:lnTo>
                    <a:lnTo>
                      <a:pt x="2013" y="630"/>
                    </a:lnTo>
                    <a:lnTo>
                      <a:pt x="2022" y="632"/>
                    </a:lnTo>
                    <a:lnTo>
                      <a:pt x="2031" y="633"/>
                    </a:lnTo>
                    <a:lnTo>
                      <a:pt x="2035" y="633"/>
                    </a:lnTo>
                    <a:lnTo>
                      <a:pt x="2040" y="632"/>
                    </a:lnTo>
                    <a:lnTo>
                      <a:pt x="2043" y="630"/>
                    </a:lnTo>
                    <a:lnTo>
                      <a:pt x="2046" y="626"/>
                    </a:lnTo>
                    <a:lnTo>
                      <a:pt x="2049" y="616"/>
                    </a:lnTo>
                    <a:lnTo>
                      <a:pt x="2054" y="605"/>
                    </a:lnTo>
                    <a:lnTo>
                      <a:pt x="2059" y="593"/>
                    </a:lnTo>
                    <a:lnTo>
                      <a:pt x="2063" y="584"/>
                    </a:lnTo>
                    <a:lnTo>
                      <a:pt x="2069" y="577"/>
                    </a:lnTo>
                    <a:lnTo>
                      <a:pt x="2078" y="569"/>
                    </a:lnTo>
                    <a:lnTo>
                      <a:pt x="2085" y="562"/>
                    </a:lnTo>
                    <a:lnTo>
                      <a:pt x="2091" y="558"/>
                    </a:lnTo>
                    <a:lnTo>
                      <a:pt x="2094" y="558"/>
                    </a:lnTo>
                    <a:lnTo>
                      <a:pt x="2097" y="559"/>
                    </a:lnTo>
                    <a:lnTo>
                      <a:pt x="2100" y="562"/>
                    </a:lnTo>
                    <a:lnTo>
                      <a:pt x="2103" y="564"/>
                    </a:lnTo>
                    <a:lnTo>
                      <a:pt x="2111" y="571"/>
                    </a:lnTo>
                    <a:lnTo>
                      <a:pt x="2118" y="578"/>
                    </a:lnTo>
                    <a:lnTo>
                      <a:pt x="2124" y="587"/>
                    </a:lnTo>
                    <a:lnTo>
                      <a:pt x="2129" y="596"/>
                    </a:lnTo>
                    <a:lnTo>
                      <a:pt x="2133" y="608"/>
                    </a:lnTo>
                    <a:lnTo>
                      <a:pt x="2136" y="621"/>
                    </a:lnTo>
                    <a:lnTo>
                      <a:pt x="2137" y="639"/>
                    </a:lnTo>
                    <a:lnTo>
                      <a:pt x="2139" y="660"/>
                    </a:lnTo>
                    <a:lnTo>
                      <a:pt x="2142" y="671"/>
                    </a:lnTo>
                    <a:lnTo>
                      <a:pt x="2143" y="681"/>
                    </a:lnTo>
                    <a:lnTo>
                      <a:pt x="2147" y="689"/>
                    </a:lnTo>
                    <a:lnTo>
                      <a:pt x="2150" y="695"/>
                    </a:lnTo>
                    <a:lnTo>
                      <a:pt x="2167" y="713"/>
                    </a:lnTo>
                    <a:lnTo>
                      <a:pt x="2180" y="729"/>
                    </a:lnTo>
                    <a:lnTo>
                      <a:pt x="2185" y="740"/>
                    </a:lnTo>
                    <a:lnTo>
                      <a:pt x="2189" y="754"/>
                    </a:lnTo>
                    <a:lnTo>
                      <a:pt x="2194" y="769"/>
                    </a:lnTo>
                    <a:lnTo>
                      <a:pt x="2200" y="781"/>
                    </a:lnTo>
                    <a:lnTo>
                      <a:pt x="2208" y="789"/>
                    </a:lnTo>
                    <a:lnTo>
                      <a:pt x="2216" y="795"/>
                    </a:lnTo>
                    <a:lnTo>
                      <a:pt x="2225" y="798"/>
                    </a:lnTo>
                    <a:lnTo>
                      <a:pt x="2236" y="802"/>
                    </a:lnTo>
                    <a:lnTo>
                      <a:pt x="2242" y="803"/>
                    </a:lnTo>
                    <a:lnTo>
                      <a:pt x="2246" y="804"/>
                    </a:lnTo>
                    <a:lnTo>
                      <a:pt x="2251" y="807"/>
                    </a:lnTo>
                    <a:lnTo>
                      <a:pt x="2256" y="809"/>
                    </a:lnTo>
                    <a:lnTo>
                      <a:pt x="2261" y="813"/>
                    </a:lnTo>
                    <a:lnTo>
                      <a:pt x="2264" y="817"/>
                    </a:lnTo>
                    <a:lnTo>
                      <a:pt x="2268" y="822"/>
                    </a:lnTo>
                    <a:lnTo>
                      <a:pt x="2270" y="827"/>
                    </a:lnTo>
                    <a:lnTo>
                      <a:pt x="2276" y="841"/>
                    </a:lnTo>
                    <a:lnTo>
                      <a:pt x="2283" y="858"/>
                    </a:lnTo>
                    <a:lnTo>
                      <a:pt x="2290" y="874"/>
                    </a:lnTo>
                    <a:lnTo>
                      <a:pt x="2298" y="889"/>
                    </a:lnTo>
                    <a:lnTo>
                      <a:pt x="2302" y="901"/>
                    </a:lnTo>
                    <a:lnTo>
                      <a:pt x="2307" y="911"/>
                    </a:lnTo>
                    <a:lnTo>
                      <a:pt x="2309" y="915"/>
                    </a:lnTo>
                    <a:lnTo>
                      <a:pt x="2314" y="917"/>
                    </a:lnTo>
                    <a:lnTo>
                      <a:pt x="2319" y="917"/>
                    </a:lnTo>
                    <a:lnTo>
                      <a:pt x="2327" y="915"/>
                    </a:lnTo>
                    <a:lnTo>
                      <a:pt x="2331" y="914"/>
                    </a:lnTo>
                    <a:lnTo>
                      <a:pt x="2334" y="912"/>
                    </a:lnTo>
                    <a:lnTo>
                      <a:pt x="2338" y="912"/>
                    </a:lnTo>
                    <a:lnTo>
                      <a:pt x="2342" y="914"/>
                    </a:lnTo>
                    <a:lnTo>
                      <a:pt x="2347" y="916"/>
                    </a:lnTo>
                    <a:lnTo>
                      <a:pt x="2352" y="920"/>
                    </a:lnTo>
                    <a:lnTo>
                      <a:pt x="2357" y="924"/>
                    </a:lnTo>
                    <a:lnTo>
                      <a:pt x="2361" y="928"/>
                    </a:lnTo>
                    <a:lnTo>
                      <a:pt x="2365" y="929"/>
                    </a:lnTo>
                    <a:lnTo>
                      <a:pt x="2369" y="929"/>
                    </a:lnTo>
                    <a:lnTo>
                      <a:pt x="2387" y="914"/>
                    </a:lnTo>
                    <a:lnTo>
                      <a:pt x="2399" y="901"/>
                    </a:lnTo>
                    <a:lnTo>
                      <a:pt x="2405" y="899"/>
                    </a:lnTo>
                    <a:lnTo>
                      <a:pt x="2409" y="899"/>
                    </a:lnTo>
                    <a:lnTo>
                      <a:pt x="2413" y="901"/>
                    </a:lnTo>
                    <a:lnTo>
                      <a:pt x="2419" y="901"/>
                    </a:lnTo>
                    <a:lnTo>
                      <a:pt x="2421" y="902"/>
                    </a:lnTo>
                    <a:lnTo>
                      <a:pt x="2425" y="901"/>
                    </a:lnTo>
                    <a:lnTo>
                      <a:pt x="2428" y="899"/>
                    </a:lnTo>
                    <a:lnTo>
                      <a:pt x="2431" y="897"/>
                    </a:lnTo>
                    <a:lnTo>
                      <a:pt x="2432" y="893"/>
                    </a:lnTo>
                    <a:lnTo>
                      <a:pt x="2432" y="890"/>
                    </a:lnTo>
                    <a:lnTo>
                      <a:pt x="2432" y="885"/>
                    </a:lnTo>
                    <a:lnTo>
                      <a:pt x="2429" y="880"/>
                    </a:lnTo>
                    <a:lnTo>
                      <a:pt x="2425" y="870"/>
                    </a:lnTo>
                    <a:lnTo>
                      <a:pt x="2420" y="858"/>
                    </a:lnTo>
                    <a:lnTo>
                      <a:pt x="2416" y="845"/>
                    </a:lnTo>
                    <a:lnTo>
                      <a:pt x="2414" y="833"/>
                    </a:lnTo>
                    <a:lnTo>
                      <a:pt x="2414" y="827"/>
                    </a:lnTo>
                    <a:lnTo>
                      <a:pt x="2415" y="821"/>
                    </a:lnTo>
                    <a:lnTo>
                      <a:pt x="2418" y="816"/>
                    </a:lnTo>
                    <a:lnTo>
                      <a:pt x="2420" y="811"/>
                    </a:lnTo>
                    <a:lnTo>
                      <a:pt x="2425" y="807"/>
                    </a:lnTo>
                    <a:lnTo>
                      <a:pt x="2429" y="803"/>
                    </a:lnTo>
                    <a:lnTo>
                      <a:pt x="2437" y="800"/>
                    </a:lnTo>
                    <a:lnTo>
                      <a:pt x="2443" y="798"/>
                    </a:lnTo>
                    <a:lnTo>
                      <a:pt x="2450" y="796"/>
                    </a:lnTo>
                    <a:lnTo>
                      <a:pt x="2457" y="792"/>
                    </a:lnTo>
                    <a:lnTo>
                      <a:pt x="2463" y="788"/>
                    </a:lnTo>
                    <a:lnTo>
                      <a:pt x="2470" y="782"/>
                    </a:lnTo>
                    <a:lnTo>
                      <a:pt x="2481" y="771"/>
                    </a:lnTo>
                    <a:lnTo>
                      <a:pt x="2491" y="760"/>
                    </a:lnTo>
                    <a:lnTo>
                      <a:pt x="2497" y="757"/>
                    </a:lnTo>
                    <a:lnTo>
                      <a:pt x="2503" y="753"/>
                    </a:lnTo>
                    <a:lnTo>
                      <a:pt x="2509" y="751"/>
                    </a:lnTo>
                    <a:lnTo>
                      <a:pt x="2515" y="750"/>
                    </a:lnTo>
                    <a:lnTo>
                      <a:pt x="2528" y="747"/>
                    </a:lnTo>
                    <a:lnTo>
                      <a:pt x="2540" y="746"/>
                    </a:lnTo>
                    <a:lnTo>
                      <a:pt x="2551" y="744"/>
                    </a:lnTo>
                    <a:lnTo>
                      <a:pt x="2560" y="741"/>
                    </a:lnTo>
                    <a:lnTo>
                      <a:pt x="2564" y="739"/>
                    </a:lnTo>
                    <a:lnTo>
                      <a:pt x="2566" y="735"/>
                    </a:lnTo>
                    <a:lnTo>
                      <a:pt x="2569" y="732"/>
                    </a:lnTo>
                    <a:lnTo>
                      <a:pt x="2571" y="727"/>
                    </a:lnTo>
                    <a:lnTo>
                      <a:pt x="2571" y="716"/>
                    </a:lnTo>
                    <a:lnTo>
                      <a:pt x="2571" y="706"/>
                    </a:lnTo>
                    <a:lnTo>
                      <a:pt x="2571" y="700"/>
                    </a:lnTo>
                    <a:lnTo>
                      <a:pt x="2573" y="694"/>
                    </a:lnTo>
                    <a:lnTo>
                      <a:pt x="2576" y="688"/>
                    </a:lnTo>
                    <a:lnTo>
                      <a:pt x="2580" y="682"/>
                    </a:lnTo>
                    <a:lnTo>
                      <a:pt x="2586" y="677"/>
                    </a:lnTo>
                    <a:lnTo>
                      <a:pt x="2594" y="672"/>
                    </a:lnTo>
                    <a:lnTo>
                      <a:pt x="2599" y="669"/>
                    </a:lnTo>
                    <a:lnTo>
                      <a:pt x="2607" y="668"/>
                    </a:lnTo>
                    <a:lnTo>
                      <a:pt x="2614" y="666"/>
                    </a:lnTo>
                    <a:lnTo>
                      <a:pt x="2619" y="668"/>
                    </a:lnTo>
                    <a:lnTo>
                      <a:pt x="2624" y="670"/>
                    </a:lnTo>
                    <a:lnTo>
                      <a:pt x="2628" y="672"/>
                    </a:lnTo>
                    <a:lnTo>
                      <a:pt x="2633" y="682"/>
                    </a:lnTo>
                    <a:lnTo>
                      <a:pt x="2635" y="691"/>
                    </a:lnTo>
                    <a:lnTo>
                      <a:pt x="2638" y="701"/>
                    </a:lnTo>
                    <a:lnTo>
                      <a:pt x="2641" y="712"/>
                    </a:lnTo>
                    <a:lnTo>
                      <a:pt x="2643" y="716"/>
                    </a:lnTo>
                    <a:lnTo>
                      <a:pt x="2647" y="721"/>
                    </a:lnTo>
                    <a:lnTo>
                      <a:pt x="2652" y="726"/>
                    </a:lnTo>
                    <a:lnTo>
                      <a:pt x="2657" y="728"/>
                    </a:lnTo>
                    <a:lnTo>
                      <a:pt x="2661" y="731"/>
                    </a:lnTo>
                    <a:lnTo>
                      <a:pt x="2666" y="731"/>
                    </a:lnTo>
                    <a:lnTo>
                      <a:pt x="2668" y="731"/>
                    </a:lnTo>
                    <a:lnTo>
                      <a:pt x="2670" y="729"/>
                    </a:lnTo>
                    <a:lnTo>
                      <a:pt x="2671" y="727"/>
                    </a:lnTo>
                    <a:lnTo>
                      <a:pt x="2672" y="726"/>
                    </a:lnTo>
                    <a:lnTo>
                      <a:pt x="2678" y="713"/>
                    </a:lnTo>
                    <a:lnTo>
                      <a:pt x="2685" y="697"/>
                    </a:lnTo>
                    <a:lnTo>
                      <a:pt x="2695" y="682"/>
                    </a:lnTo>
                    <a:lnTo>
                      <a:pt x="2701" y="669"/>
                    </a:lnTo>
                    <a:lnTo>
                      <a:pt x="2706" y="657"/>
                    </a:lnTo>
                    <a:lnTo>
                      <a:pt x="2714" y="646"/>
                    </a:lnTo>
                    <a:lnTo>
                      <a:pt x="2718" y="637"/>
                    </a:lnTo>
                    <a:lnTo>
                      <a:pt x="2722" y="632"/>
                    </a:lnTo>
                    <a:lnTo>
                      <a:pt x="2724" y="631"/>
                    </a:lnTo>
                    <a:lnTo>
                      <a:pt x="2725" y="631"/>
                    </a:lnTo>
                    <a:lnTo>
                      <a:pt x="2725" y="633"/>
                    </a:lnTo>
                    <a:lnTo>
                      <a:pt x="2727" y="636"/>
                    </a:lnTo>
                    <a:lnTo>
                      <a:pt x="2728" y="643"/>
                    </a:lnTo>
                    <a:lnTo>
                      <a:pt x="2729" y="652"/>
                    </a:lnTo>
                    <a:lnTo>
                      <a:pt x="2731" y="662"/>
                    </a:lnTo>
                    <a:lnTo>
                      <a:pt x="2735" y="672"/>
                    </a:lnTo>
                    <a:lnTo>
                      <a:pt x="2741" y="682"/>
                    </a:lnTo>
                    <a:lnTo>
                      <a:pt x="2745" y="691"/>
                    </a:lnTo>
                    <a:lnTo>
                      <a:pt x="2748" y="700"/>
                    </a:lnTo>
                    <a:lnTo>
                      <a:pt x="2749" y="708"/>
                    </a:lnTo>
                    <a:lnTo>
                      <a:pt x="2752" y="718"/>
                    </a:lnTo>
                    <a:lnTo>
                      <a:pt x="2753" y="727"/>
                    </a:lnTo>
                    <a:lnTo>
                      <a:pt x="2754" y="739"/>
                    </a:lnTo>
                    <a:lnTo>
                      <a:pt x="2755" y="751"/>
                    </a:lnTo>
                    <a:lnTo>
                      <a:pt x="2756" y="756"/>
                    </a:lnTo>
                    <a:lnTo>
                      <a:pt x="2758" y="759"/>
                    </a:lnTo>
                    <a:lnTo>
                      <a:pt x="2760" y="762"/>
                    </a:lnTo>
                    <a:lnTo>
                      <a:pt x="2762" y="760"/>
                    </a:lnTo>
                    <a:lnTo>
                      <a:pt x="2767" y="758"/>
                    </a:lnTo>
                    <a:lnTo>
                      <a:pt x="2771" y="758"/>
                    </a:lnTo>
                    <a:lnTo>
                      <a:pt x="2775" y="758"/>
                    </a:lnTo>
                    <a:lnTo>
                      <a:pt x="2780" y="760"/>
                    </a:lnTo>
                    <a:lnTo>
                      <a:pt x="2787" y="772"/>
                    </a:lnTo>
                    <a:lnTo>
                      <a:pt x="2794" y="785"/>
                    </a:lnTo>
                    <a:lnTo>
                      <a:pt x="2797" y="789"/>
                    </a:lnTo>
                    <a:lnTo>
                      <a:pt x="2800" y="792"/>
                    </a:lnTo>
                    <a:lnTo>
                      <a:pt x="2805" y="794"/>
                    </a:lnTo>
                    <a:lnTo>
                      <a:pt x="2809" y="796"/>
                    </a:lnTo>
                    <a:lnTo>
                      <a:pt x="2817" y="797"/>
                    </a:lnTo>
                    <a:lnTo>
                      <a:pt x="2824" y="797"/>
                    </a:lnTo>
                    <a:lnTo>
                      <a:pt x="2831" y="797"/>
                    </a:lnTo>
                    <a:lnTo>
                      <a:pt x="2838" y="798"/>
                    </a:lnTo>
                    <a:lnTo>
                      <a:pt x="2846" y="801"/>
                    </a:lnTo>
                    <a:lnTo>
                      <a:pt x="2851" y="805"/>
                    </a:lnTo>
                    <a:lnTo>
                      <a:pt x="2859" y="813"/>
                    </a:lnTo>
                    <a:lnTo>
                      <a:pt x="2867" y="817"/>
                    </a:lnTo>
                    <a:lnTo>
                      <a:pt x="2876" y="822"/>
                    </a:lnTo>
                    <a:lnTo>
                      <a:pt x="2887" y="826"/>
                    </a:lnTo>
                    <a:lnTo>
                      <a:pt x="2898" y="830"/>
                    </a:lnTo>
                    <a:lnTo>
                      <a:pt x="2909" y="838"/>
                    </a:lnTo>
                    <a:lnTo>
                      <a:pt x="2918" y="845"/>
                    </a:lnTo>
                    <a:lnTo>
                      <a:pt x="2928" y="853"/>
                    </a:lnTo>
                    <a:lnTo>
                      <a:pt x="2931" y="855"/>
                    </a:lnTo>
                    <a:lnTo>
                      <a:pt x="2936" y="858"/>
                    </a:lnTo>
                    <a:lnTo>
                      <a:pt x="2941" y="858"/>
                    </a:lnTo>
                    <a:lnTo>
                      <a:pt x="2944" y="858"/>
                    </a:lnTo>
                    <a:lnTo>
                      <a:pt x="2948" y="857"/>
                    </a:lnTo>
                    <a:lnTo>
                      <a:pt x="2951" y="854"/>
                    </a:lnTo>
                    <a:lnTo>
                      <a:pt x="2954" y="851"/>
                    </a:lnTo>
                    <a:lnTo>
                      <a:pt x="2956" y="847"/>
                    </a:lnTo>
                    <a:lnTo>
                      <a:pt x="2961" y="835"/>
                    </a:lnTo>
                    <a:lnTo>
                      <a:pt x="2968" y="823"/>
                    </a:lnTo>
                    <a:lnTo>
                      <a:pt x="2969" y="821"/>
                    </a:lnTo>
                    <a:lnTo>
                      <a:pt x="2972" y="820"/>
                    </a:lnTo>
                    <a:lnTo>
                      <a:pt x="2973" y="820"/>
                    </a:lnTo>
                    <a:lnTo>
                      <a:pt x="2975" y="820"/>
                    </a:lnTo>
                    <a:lnTo>
                      <a:pt x="2980" y="822"/>
                    </a:lnTo>
                    <a:lnTo>
                      <a:pt x="2985" y="826"/>
                    </a:lnTo>
                    <a:lnTo>
                      <a:pt x="2999" y="838"/>
                    </a:lnTo>
                    <a:lnTo>
                      <a:pt x="3013" y="849"/>
                    </a:lnTo>
                    <a:lnTo>
                      <a:pt x="3017" y="853"/>
                    </a:lnTo>
                    <a:lnTo>
                      <a:pt x="3020" y="854"/>
                    </a:lnTo>
                    <a:lnTo>
                      <a:pt x="3023" y="854"/>
                    </a:lnTo>
                    <a:lnTo>
                      <a:pt x="3025" y="854"/>
                    </a:lnTo>
                    <a:lnTo>
                      <a:pt x="3029" y="851"/>
                    </a:lnTo>
                    <a:lnTo>
                      <a:pt x="3033" y="846"/>
                    </a:lnTo>
                    <a:lnTo>
                      <a:pt x="3039" y="840"/>
                    </a:lnTo>
                    <a:lnTo>
                      <a:pt x="3046" y="833"/>
                    </a:lnTo>
                    <a:lnTo>
                      <a:pt x="3051" y="829"/>
                    </a:lnTo>
                    <a:lnTo>
                      <a:pt x="3055" y="826"/>
                    </a:lnTo>
                    <a:lnTo>
                      <a:pt x="3060" y="823"/>
                    </a:lnTo>
                    <a:lnTo>
                      <a:pt x="3062" y="822"/>
                    </a:lnTo>
                    <a:lnTo>
                      <a:pt x="3064" y="826"/>
                    </a:lnTo>
                    <a:lnTo>
                      <a:pt x="3067" y="833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湖南"/>
              <p:cNvSpPr/>
              <p:nvPr>
                <p:custDataLst>
                  <p:tags r:id="rId26"/>
                </p:custDataLst>
              </p:nvPr>
            </p:nvSpPr>
            <p:spPr bwMode="auto">
              <a:xfrm>
                <a:off x="4763642" y="4432376"/>
                <a:ext cx="763011" cy="868253"/>
              </a:xfrm>
              <a:custGeom>
                <a:avLst/>
                <a:gdLst>
                  <a:gd name="T0" fmla="*/ 1870 w 2092"/>
                  <a:gd name="T1" fmla="*/ 2073 h 2386"/>
                  <a:gd name="T2" fmla="*/ 1729 w 2092"/>
                  <a:gd name="T3" fmla="*/ 1997 h 2386"/>
                  <a:gd name="T4" fmla="*/ 1575 w 2092"/>
                  <a:gd name="T5" fmla="*/ 2103 h 2386"/>
                  <a:gd name="T6" fmla="*/ 1639 w 2092"/>
                  <a:gd name="T7" fmla="*/ 2220 h 2386"/>
                  <a:gd name="T8" fmla="*/ 1554 w 2092"/>
                  <a:gd name="T9" fmla="*/ 2265 h 2386"/>
                  <a:gd name="T10" fmla="*/ 1347 w 2092"/>
                  <a:gd name="T11" fmla="*/ 2157 h 2386"/>
                  <a:gd name="T12" fmla="*/ 1280 w 2092"/>
                  <a:gd name="T13" fmla="*/ 2308 h 2386"/>
                  <a:gd name="T14" fmla="*/ 1071 w 2092"/>
                  <a:gd name="T15" fmla="*/ 2386 h 2386"/>
                  <a:gd name="T16" fmla="*/ 1030 w 2092"/>
                  <a:gd name="T17" fmla="*/ 2244 h 2386"/>
                  <a:gd name="T18" fmla="*/ 979 w 2092"/>
                  <a:gd name="T19" fmla="*/ 2191 h 2386"/>
                  <a:gd name="T20" fmla="*/ 857 w 2092"/>
                  <a:gd name="T21" fmla="*/ 2273 h 2386"/>
                  <a:gd name="T22" fmla="*/ 897 w 2092"/>
                  <a:gd name="T23" fmla="*/ 2110 h 2386"/>
                  <a:gd name="T24" fmla="*/ 979 w 2092"/>
                  <a:gd name="T25" fmla="*/ 1903 h 2386"/>
                  <a:gd name="T26" fmla="*/ 963 w 2092"/>
                  <a:gd name="T27" fmla="*/ 1854 h 2386"/>
                  <a:gd name="T28" fmla="*/ 948 w 2092"/>
                  <a:gd name="T29" fmla="*/ 1737 h 2386"/>
                  <a:gd name="T30" fmla="*/ 814 w 2092"/>
                  <a:gd name="T31" fmla="*/ 1645 h 2386"/>
                  <a:gd name="T32" fmla="*/ 667 w 2092"/>
                  <a:gd name="T33" fmla="*/ 1677 h 2386"/>
                  <a:gd name="T34" fmla="*/ 555 w 2092"/>
                  <a:gd name="T35" fmla="*/ 1815 h 2386"/>
                  <a:gd name="T36" fmla="*/ 491 w 2092"/>
                  <a:gd name="T37" fmla="*/ 1740 h 2386"/>
                  <a:gd name="T38" fmla="*/ 378 w 2092"/>
                  <a:gd name="T39" fmla="*/ 1830 h 2386"/>
                  <a:gd name="T40" fmla="*/ 346 w 2092"/>
                  <a:gd name="T41" fmla="*/ 1810 h 2386"/>
                  <a:gd name="T42" fmla="*/ 258 w 2092"/>
                  <a:gd name="T43" fmla="*/ 1750 h 2386"/>
                  <a:gd name="T44" fmla="*/ 213 w 2092"/>
                  <a:gd name="T45" fmla="*/ 1699 h 2386"/>
                  <a:gd name="T46" fmla="*/ 230 w 2092"/>
                  <a:gd name="T47" fmla="*/ 1494 h 2386"/>
                  <a:gd name="T48" fmla="*/ 245 w 2092"/>
                  <a:gd name="T49" fmla="*/ 1426 h 2386"/>
                  <a:gd name="T50" fmla="*/ 250 w 2092"/>
                  <a:gd name="T51" fmla="*/ 1313 h 2386"/>
                  <a:gd name="T52" fmla="*/ 121 w 2092"/>
                  <a:gd name="T53" fmla="*/ 1321 h 2386"/>
                  <a:gd name="T54" fmla="*/ 37 w 2092"/>
                  <a:gd name="T55" fmla="*/ 1313 h 2386"/>
                  <a:gd name="T56" fmla="*/ 195 w 2092"/>
                  <a:gd name="T57" fmla="*/ 1180 h 2386"/>
                  <a:gd name="T58" fmla="*/ 196 w 2092"/>
                  <a:gd name="T59" fmla="*/ 1038 h 2386"/>
                  <a:gd name="T60" fmla="*/ 193 w 2092"/>
                  <a:gd name="T61" fmla="*/ 891 h 2386"/>
                  <a:gd name="T62" fmla="*/ 180 w 2092"/>
                  <a:gd name="T63" fmla="*/ 745 h 2386"/>
                  <a:gd name="T64" fmla="*/ 180 w 2092"/>
                  <a:gd name="T65" fmla="*/ 632 h 2386"/>
                  <a:gd name="T66" fmla="*/ 182 w 2092"/>
                  <a:gd name="T67" fmla="*/ 467 h 2386"/>
                  <a:gd name="T68" fmla="*/ 208 w 2092"/>
                  <a:gd name="T69" fmla="*/ 346 h 2386"/>
                  <a:gd name="T70" fmla="*/ 334 w 2092"/>
                  <a:gd name="T71" fmla="*/ 226 h 2386"/>
                  <a:gd name="T72" fmla="*/ 521 w 2092"/>
                  <a:gd name="T73" fmla="*/ 164 h 2386"/>
                  <a:gd name="T74" fmla="*/ 684 w 2092"/>
                  <a:gd name="T75" fmla="*/ 168 h 2386"/>
                  <a:gd name="T76" fmla="*/ 624 w 2092"/>
                  <a:gd name="T77" fmla="*/ 38 h 2386"/>
                  <a:gd name="T78" fmla="*/ 740 w 2092"/>
                  <a:gd name="T79" fmla="*/ 2 h 2386"/>
                  <a:gd name="T80" fmla="*/ 942 w 2092"/>
                  <a:gd name="T81" fmla="*/ 69 h 2386"/>
                  <a:gd name="T82" fmla="*/ 1127 w 2092"/>
                  <a:gd name="T83" fmla="*/ 111 h 2386"/>
                  <a:gd name="T84" fmla="*/ 1254 w 2092"/>
                  <a:gd name="T85" fmla="*/ 214 h 2386"/>
                  <a:gd name="T86" fmla="*/ 1353 w 2092"/>
                  <a:gd name="T87" fmla="*/ 229 h 2386"/>
                  <a:gd name="T88" fmla="*/ 1503 w 2092"/>
                  <a:gd name="T89" fmla="*/ 151 h 2386"/>
                  <a:gd name="T90" fmla="*/ 1586 w 2092"/>
                  <a:gd name="T91" fmla="*/ 162 h 2386"/>
                  <a:gd name="T92" fmla="*/ 1597 w 2092"/>
                  <a:gd name="T93" fmla="*/ 289 h 2386"/>
                  <a:gd name="T94" fmla="*/ 1764 w 2092"/>
                  <a:gd name="T95" fmla="*/ 115 h 2386"/>
                  <a:gd name="T96" fmla="*/ 1825 w 2092"/>
                  <a:gd name="T97" fmla="*/ 227 h 2386"/>
                  <a:gd name="T98" fmla="*/ 1815 w 2092"/>
                  <a:gd name="T99" fmla="*/ 366 h 2386"/>
                  <a:gd name="T100" fmla="*/ 1882 w 2092"/>
                  <a:gd name="T101" fmla="*/ 426 h 2386"/>
                  <a:gd name="T102" fmla="*/ 1981 w 2092"/>
                  <a:gd name="T103" fmla="*/ 521 h 2386"/>
                  <a:gd name="T104" fmla="*/ 2037 w 2092"/>
                  <a:gd name="T105" fmla="*/ 668 h 2386"/>
                  <a:gd name="T106" fmla="*/ 2063 w 2092"/>
                  <a:gd name="T107" fmla="*/ 750 h 2386"/>
                  <a:gd name="T108" fmla="*/ 1979 w 2092"/>
                  <a:gd name="T109" fmla="*/ 883 h 2386"/>
                  <a:gd name="T110" fmla="*/ 1824 w 2092"/>
                  <a:gd name="T111" fmla="*/ 1070 h 2386"/>
                  <a:gd name="T112" fmla="*/ 1848 w 2092"/>
                  <a:gd name="T113" fmla="*/ 1160 h 2386"/>
                  <a:gd name="T114" fmla="*/ 1930 w 2092"/>
                  <a:gd name="T115" fmla="*/ 1195 h 2386"/>
                  <a:gd name="T116" fmla="*/ 1932 w 2092"/>
                  <a:gd name="T117" fmla="*/ 1439 h 2386"/>
                  <a:gd name="T118" fmla="*/ 2025 w 2092"/>
                  <a:gd name="T119" fmla="*/ 1594 h 2386"/>
                  <a:gd name="T120" fmla="*/ 2083 w 2092"/>
                  <a:gd name="T121" fmla="*/ 1677 h 2386"/>
                  <a:gd name="T122" fmla="*/ 1982 w 2092"/>
                  <a:gd name="T123" fmla="*/ 1883 h 2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92" h="2386">
                    <a:moveTo>
                      <a:pt x="1994" y="2005"/>
                    </a:moveTo>
                    <a:lnTo>
                      <a:pt x="1989" y="2009"/>
                    </a:lnTo>
                    <a:lnTo>
                      <a:pt x="1983" y="2015"/>
                    </a:lnTo>
                    <a:lnTo>
                      <a:pt x="1979" y="2022"/>
                    </a:lnTo>
                    <a:lnTo>
                      <a:pt x="1978" y="2030"/>
                    </a:lnTo>
                    <a:lnTo>
                      <a:pt x="1976" y="2041"/>
                    </a:lnTo>
                    <a:lnTo>
                      <a:pt x="1971" y="2054"/>
                    </a:lnTo>
                    <a:lnTo>
                      <a:pt x="1968" y="2060"/>
                    </a:lnTo>
                    <a:lnTo>
                      <a:pt x="1963" y="2065"/>
                    </a:lnTo>
                    <a:lnTo>
                      <a:pt x="1957" y="2067"/>
                    </a:lnTo>
                    <a:lnTo>
                      <a:pt x="1951" y="2069"/>
                    </a:lnTo>
                    <a:lnTo>
                      <a:pt x="1944" y="2069"/>
                    </a:lnTo>
                    <a:lnTo>
                      <a:pt x="1938" y="2069"/>
                    </a:lnTo>
                    <a:lnTo>
                      <a:pt x="1933" y="2067"/>
                    </a:lnTo>
                    <a:lnTo>
                      <a:pt x="1928" y="2065"/>
                    </a:lnTo>
                    <a:lnTo>
                      <a:pt x="1924" y="2062"/>
                    </a:lnTo>
                    <a:lnTo>
                      <a:pt x="1920" y="2061"/>
                    </a:lnTo>
                    <a:lnTo>
                      <a:pt x="1914" y="2061"/>
                    </a:lnTo>
                    <a:lnTo>
                      <a:pt x="1909" y="2062"/>
                    </a:lnTo>
                    <a:lnTo>
                      <a:pt x="1900" y="2066"/>
                    </a:lnTo>
                    <a:lnTo>
                      <a:pt x="1893" y="2071"/>
                    </a:lnTo>
                    <a:lnTo>
                      <a:pt x="1888" y="2072"/>
                    </a:lnTo>
                    <a:lnTo>
                      <a:pt x="1884" y="2073"/>
                    </a:lnTo>
                    <a:lnTo>
                      <a:pt x="1880" y="2074"/>
                    </a:lnTo>
                    <a:lnTo>
                      <a:pt x="1875" y="2074"/>
                    </a:lnTo>
                    <a:lnTo>
                      <a:pt x="1870" y="2073"/>
                    </a:lnTo>
                    <a:lnTo>
                      <a:pt x="1865" y="2071"/>
                    </a:lnTo>
                    <a:lnTo>
                      <a:pt x="1862" y="2068"/>
                    </a:lnTo>
                    <a:lnTo>
                      <a:pt x="1859" y="2066"/>
                    </a:lnTo>
                    <a:lnTo>
                      <a:pt x="1856" y="2063"/>
                    </a:lnTo>
                    <a:lnTo>
                      <a:pt x="1853" y="2061"/>
                    </a:lnTo>
                    <a:lnTo>
                      <a:pt x="1851" y="2060"/>
                    </a:lnTo>
                    <a:lnTo>
                      <a:pt x="1848" y="2059"/>
                    </a:lnTo>
                    <a:lnTo>
                      <a:pt x="1838" y="2059"/>
                    </a:lnTo>
                    <a:lnTo>
                      <a:pt x="1825" y="2060"/>
                    </a:lnTo>
                    <a:lnTo>
                      <a:pt x="1818" y="2060"/>
                    </a:lnTo>
                    <a:lnTo>
                      <a:pt x="1811" y="2060"/>
                    </a:lnTo>
                    <a:lnTo>
                      <a:pt x="1806" y="2059"/>
                    </a:lnTo>
                    <a:lnTo>
                      <a:pt x="1801" y="2057"/>
                    </a:lnTo>
                    <a:lnTo>
                      <a:pt x="1792" y="2053"/>
                    </a:lnTo>
                    <a:lnTo>
                      <a:pt x="1783" y="2047"/>
                    </a:lnTo>
                    <a:lnTo>
                      <a:pt x="1774" y="2040"/>
                    </a:lnTo>
                    <a:lnTo>
                      <a:pt x="1764" y="2031"/>
                    </a:lnTo>
                    <a:lnTo>
                      <a:pt x="1761" y="2027"/>
                    </a:lnTo>
                    <a:lnTo>
                      <a:pt x="1757" y="2022"/>
                    </a:lnTo>
                    <a:lnTo>
                      <a:pt x="1755" y="2016"/>
                    </a:lnTo>
                    <a:lnTo>
                      <a:pt x="1752" y="2010"/>
                    </a:lnTo>
                    <a:lnTo>
                      <a:pt x="1750" y="2005"/>
                    </a:lnTo>
                    <a:lnTo>
                      <a:pt x="1746" y="2000"/>
                    </a:lnTo>
                    <a:lnTo>
                      <a:pt x="1743" y="1998"/>
                    </a:lnTo>
                    <a:lnTo>
                      <a:pt x="1739" y="1997"/>
                    </a:lnTo>
                    <a:lnTo>
                      <a:pt x="1729" y="1997"/>
                    </a:lnTo>
                    <a:lnTo>
                      <a:pt x="1718" y="1998"/>
                    </a:lnTo>
                    <a:lnTo>
                      <a:pt x="1707" y="1999"/>
                    </a:lnTo>
                    <a:lnTo>
                      <a:pt x="1699" y="2003"/>
                    </a:lnTo>
                    <a:lnTo>
                      <a:pt x="1691" y="2006"/>
                    </a:lnTo>
                    <a:lnTo>
                      <a:pt x="1686" y="2012"/>
                    </a:lnTo>
                    <a:lnTo>
                      <a:pt x="1680" y="2021"/>
                    </a:lnTo>
                    <a:lnTo>
                      <a:pt x="1675" y="2031"/>
                    </a:lnTo>
                    <a:lnTo>
                      <a:pt x="1669" y="2044"/>
                    </a:lnTo>
                    <a:lnTo>
                      <a:pt x="1666" y="2054"/>
                    </a:lnTo>
                    <a:lnTo>
                      <a:pt x="1663" y="2057"/>
                    </a:lnTo>
                    <a:lnTo>
                      <a:pt x="1660" y="2061"/>
                    </a:lnTo>
                    <a:lnTo>
                      <a:pt x="1656" y="2062"/>
                    </a:lnTo>
                    <a:lnTo>
                      <a:pt x="1651" y="2063"/>
                    </a:lnTo>
                    <a:lnTo>
                      <a:pt x="1642" y="2065"/>
                    </a:lnTo>
                    <a:lnTo>
                      <a:pt x="1634" y="2066"/>
                    </a:lnTo>
                    <a:lnTo>
                      <a:pt x="1616" y="2078"/>
                    </a:lnTo>
                    <a:lnTo>
                      <a:pt x="1600" y="2085"/>
                    </a:lnTo>
                    <a:lnTo>
                      <a:pt x="1593" y="2084"/>
                    </a:lnTo>
                    <a:lnTo>
                      <a:pt x="1586" y="2084"/>
                    </a:lnTo>
                    <a:lnTo>
                      <a:pt x="1582" y="2084"/>
                    </a:lnTo>
                    <a:lnTo>
                      <a:pt x="1580" y="2086"/>
                    </a:lnTo>
                    <a:lnTo>
                      <a:pt x="1578" y="2088"/>
                    </a:lnTo>
                    <a:lnTo>
                      <a:pt x="1575" y="2091"/>
                    </a:lnTo>
                    <a:lnTo>
                      <a:pt x="1575" y="2094"/>
                    </a:lnTo>
                    <a:lnTo>
                      <a:pt x="1574" y="2098"/>
                    </a:lnTo>
                    <a:lnTo>
                      <a:pt x="1575" y="2103"/>
                    </a:lnTo>
                    <a:lnTo>
                      <a:pt x="1576" y="2106"/>
                    </a:lnTo>
                    <a:lnTo>
                      <a:pt x="1579" y="2110"/>
                    </a:lnTo>
                    <a:lnTo>
                      <a:pt x="1582" y="2113"/>
                    </a:lnTo>
                    <a:lnTo>
                      <a:pt x="1587" y="2117"/>
                    </a:lnTo>
                    <a:lnTo>
                      <a:pt x="1593" y="2119"/>
                    </a:lnTo>
                    <a:lnTo>
                      <a:pt x="1600" y="2120"/>
                    </a:lnTo>
                    <a:lnTo>
                      <a:pt x="1607" y="2120"/>
                    </a:lnTo>
                    <a:lnTo>
                      <a:pt x="1615" y="2120"/>
                    </a:lnTo>
                    <a:lnTo>
                      <a:pt x="1622" y="2119"/>
                    </a:lnTo>
                    <a:lnTo>
                      <a:pt x="1629" y="2118"/>
                    </a:lnTo>
                    <a:lnTo>
                      <a:pt x="1634" y="2118"/>
                    </a:lnTo>
                    <a:lnTo>
                      <a:pt x="1638" y="2118"/>
                    </a:lnTo>
                    <a:lnTo>
                      <a:pt x="1642" y="2120"/>
                    </a:lnTo>
                    <a:lnTo>
                      <a:pt x="1644" y="2124"/>
                    </a:lnTo>
                    <a:lnTo>
                      <a:pt x="1644" y="2128"/>
                    </a:lnTo>
                    <a:lnTo>
                      <a:pt x="1644" y="2130"/>
                    </a:lnTo>
                    <a:lnTo>
                      <a:pt x="1644" y="2134"/>
                    </a:lnTo>
                    <a:lnTo>
                      <a:pt x="1641" y="2138"/>
                    </a:lnTo>
                    <a:lnTo>
                      <a:pt x="1635" y="2145"/>
                    </a:lnTo>
                    <a:lnTo>
                      <a:pt x="1632" y="2150"/>
                    </a:lnTo>
                    <a:lnTo>
                      <a:pt x="1630" y="2156"/>
                    </a:lnTo>
                    <a:lnTo>
                      <a:pt x="1630" y="2163"/>
                    </a:lnTo>
                    <a:lnTo>
                      <a:pt x="1631" y="2173"/>
                    </a:lnTo>
                    <a:lnTo>
                      <a:pt x="1634" y="2191"/>
                    </a:lnTo>
                    <a:lnTo>
                      <a:pt x="1636" y="2206"/>
                    </a:lnTo>
                    <a:lnTo>
                      <a:pt x="1639" y="2220"/>
                    </a:lnTo>
                    <a:lnTo>
                      <a:pt x="1643" y="2232"/>
                    </a:lnTo>
                    <a:lnTo>
                      <a:pt x="1648" y="2244"/>
                    </a:lnTo>
                    <a:lnTo>
                      <a:pt x="1653" y="2254"/>
                    </a:lnTo>
                    <a:lnTo>
                      <a:pt x="1653" y="2258"/>
                    </a:lnTo>
                    <a:lnTo>
                      <a:pt x="1653" y="2262"/>
                    </a:lnTo>
                    <a:lnTo>
                      <a:pt x="1650" y="2265"/>
                    </a:lnTo>
                    <a:lnTo>
                      <a:pt x="1647" y="2267"/>
                    </a:lnTo>
                    <a:lnTo>
                      <a:pt x="1643" y="2268"/>
                    </a:lnTo>
                    <a:lnTo>
                      <a:pt x="1638" y="2268"/>
                    </a:lnTo>
                    <a:lnTo>
                      <a:pt x="1635" y="2267"/>
                    </a:lnTo>
                    <a:lnTo>
                      <a:pt x="1631" y="2264"/>
                    </a:lnTo>
                    <a:lnTo>
                      <a:pt x="1628" y="2262"/>
                    </a:lnTo>
                    <a:lnTo>
                      <a:pt x="1624" y="2261"/>
                    </a:lnTo>
                    <a:lnTo>
                      <a:pt x="1619" y="2260"/>
                    </a:lnTo>
                    <a:lnTo>
                      <a:pt x="1613" y="2260"/>
                    </a:lnTo>
                    <a:lnTo>
                      <a:pt x="1606" y="2261"/>
                    </a:lnTo>
                    <a:lnTo>
                      <a:pt x="1598" y="2262"/>
                    </a:lnTo>
                    <a:lnTo>
                      <a:pt x="1590" y="2265"/>
                    </a:lnTo>
                    <a:lnTo>
                      <a:pt x="1579" y="2269"/>
                    </a:lnTo>
                    <a:lnTo>
                      <a:pt x="1573" y="2271"/>
                    </a:lnTo>
                    <a:lnTo>
                      <a:pt x="1569" y="2273"/>
                    </a:lnTo>
                    <a:lnTo>
                      <a:pt x="1565" y="2273"/>
                    </a:lnTo>
                    <a:lnTo>
                      <a:pt x="1561" y="2271"/>
                    </a:lnTo>
                    <a:lnTo>
                      <a:pt x="1559" y="2270"/>
                    </a:lnTo>
                    <a:lnTo>
                      <a:pt x="1556" y="2268"/>
                    </a:lnTo>
                    <a:lnTo>
                      <a:pt x="1554" y="2265"/>
                    </a:lnTo>
                    <a:lnTo>
                      <a:pt x="1552" y="2263"/>
                    </a:lnTo>
                    <a:lnTo>
                      <a:pt x="1547" y="2250"/>
                    </a:lnTo>
                    <a:lnTo>
                      <a:pt x="1541" y="2236"/>
                    </a:lnTo>
                    <a:lnTo>
                      <a:pt x="1535" y="2225"/>
                    </a:lnTo>
                    <a:lnTo>
                      <a:pt x="1530" y="2214"/>
                    </a:lnTo>
                    <a:lnTo>
                      <a:pt x="1527" y="2202"/>
                    </a:lnTo>
                    <a:lnTo>
                      <a:pt x="1521" y="2189"/>
                    </a:lnTo>
                    <a:lnTo>
                      <a:pt x="1517" y="2183"/>
                    </a:lnTo>
                    <a:lnTo>
                      <a:pt x="1512" y="2179"/>
                    </a:lnTo>
                    <a:lnTo>
                      <a:pt x="1506" y="2175"/>
                    </a:lnTo>
                    <a:lnTo>
                      <a:pt x="1499" y="2173"/>
                    </a:lnTo>
                    <a:lnTo>
                      <a:pt x="1483" y="2170"/>
                    </a:lnTo>
                    <a:lnTo>
                      <a:pt x="1465" y="2169"/>
                    </a:lnTo>
                    <a:lnTo>
                      <a:pt x="1456" y="2162"/>
                    </a:lnTo>
                    <a:lnTo>
                      <a:pt x="1449" y="2156"/>
                    </a:lnTo>
                    <a:lnTo>
                      <a:pt x="1433" y="2163"/>
                    </a:lnTo>
                    <a:lnTo>
                      <a:pt x="1417" y="2169"/>
                    </a:lnTo>
                    <a:lnTo>
                      <a:pt x="1408" y="2161"/>
                    </a:lnTo>
                    <a:lnTo>
                      <a:pt x="1398" y="2154"/>
                    </a:lnTo>
                    <a:lnTo>
                      <a:pt x="1391" y="2155"/>
                    </a:lnTo>
                    <a:lnTo>
                      <a:pt x="1382" y="2160"/>
                    </a:lnTo>
                    <a:lnTo>
                      <a:pt x="1376" y="2161"/>
                    </a:lnTo>
                    <a:lnTo>
                      <a:pt x="1370" y="2163"/>
                    </a:lnTo>
                    <a:lnTo>
                      <a:pt x="1365" y="2163"/>
                    </a:lnTo>
                    <a:lnTo>
                      <a:pt x="1360" y="2162"/>
                    </a:lnTo>
                    <a:lnTo>
                      <a:pt x="1347" y="2157"/>
                    </a:lnTo>
                    <a:lnTo>
                      <a:pt x="1336" y="2154"/>
                    </a:lnTo>
                    <a:lnTo>
                      <a:pt x="1327" y="2153"/>
                    </a:lnTo>
                    <a:lnTo>
                      <a:pt x="1319" y="2153"/>
                    </a:lnTo>
                    <a:lnTo>
                      <a:pt x="1316" y="2153"/>
                    </a:lnTo>
                    <a:lnTo>
                      <a:pt x="1314" y="2154"/>
                    </a:lnTo>
                    <a:lnTo>
                      <a:pt x="1313" y="2156"/>
                    </a:lnTo>
                    <a:lnTo>
                      <a:pt x="1311" y="2157"/>
                    </a:lnTo>
                    <a:lnTo>
                      <a:pt x="1309" y="2163"/>
                    </a:lnTo>
                    <a:lnTo>
                      <a:pt x="1308" y="2170"/>
                    </a:lnTo>
                    <a:lnTo>
                      <a:pt x="1307" y="2185"/>
                    </a:lnTo>
                    <a:lnTo>
                      <a:pt x="1305" y="2197"/>
                    </a:lnTo>
                    <a:lnTo>
                      <a:pt x="1302" y="2211"/>
                    </a:lnTo>
                    <a:lnTo>
                      <a:pt x="1300" y="2227"/>
                    </a:lnTo>
                    <a:lnTo>
                      <a:pt x="1298" y="2236"/>
                    </a:lnTo>
                    <a:lnTo>
                      <a:pt x="1298" y="2244"/>
                    </a:lnTo>
                    <a:lnTo>
                      <a:pt x="1300" y="2251"/>
                    </a:lnTo>
                    <a:lnTo>
                      <a:pt x="1302" y="2257"/>
                    </a:lnTo>
                    <a:lnTo>
                      <a:pt x="1303" y="2262"/>
                    </a:lnTo>
                    <a:lnTo>
                      <a:pt x="1304" y="2268"/>
                    </a:lnTo>
                    <a:lnTo>
                      <a:pt x="1305" y="2273"/>
                    </a:lnTo>
                    <a:lnTo>
                      <a:pt x="1304" y="2279"/>
                    </a:lnTo>
                    <a:lnTo>
                      <a:pt x="1303" y="2283"/>
                    </a:lnTo>
                    <a:lnTo>
                      <a:pt x="1301" y="2288"/>
                    </a:lnTo>
                    <a:lnTo>
                      <a:pt x="1297" y="2293"/>
                    </a:lnTo>
                    <a:lnTo>
                      <a:pt x="1294" y="2298"/>
                    </a:lnTo>
                    <a:lnTo>
                      <a:pt x="1280" y="2308"/>
                    </a:lnTo>
                    <a:lnTo>
                      <a:pt x="1265" y="2321"/>
                    </a:lnTo>
                    <a:lnTo>
                      <a:pt x="1258" y="2328"/>
                    </a:lnTo>
                    <a:lnTo>
                      <a:pt x="1254" y="2333"/>
                    </a:lnTo>
                    <a:lnTo>
                      <a:pt x="1251" y="2338"/>
                    </a:lnTo>
                    <a:lnTo>
                      <a:pt x="1248" y="2339"/>
                    </a:lnTo>
                    <a:lnTo>
                      <a:pt x="1246" y="2338"/>
                    </a:lnTo>
                    <a:lnTo>
                      <a:pt x="1244" y="2336"/>
                    </a:lnTo>
                    <a:lnTo>
                      <a:pt x="1238" y="2334"/>
                    </a:lnTo>
                    <a:lnTo>
                      <a:pt x="1227" y="2333"/>
                    </a:lnTo>
                    <a:lnTo>
                      <a:pt x="1210" y="2332"/>
                    </a:lnTo>
                    <a:lnTo>
                      <a:pt x="1189" y="2331"/>
                    </a:lnTo>
                    <a:lnTo>
                      <a:pt x="1166" y="2331"/>
                    </a:lnTo>
                    <a:lnTo>
                      <a:pt x="1145" y="2331"/>
                    </a:lnTo>
                    <a:lnTo>
                      <a:pt x="1137" y="2332"/>
                    </a:lnTo>
                    <a:lnTo>
                      <a:pt x="1127" y="2334"/>
                    </a:lnTo>
                    <a:lnTo>
                      <a:pt x="1119" y="2339"/>
                    </a:lnTo>
                    <a:lnTo>
                      <a:pt x="1110" y="2344"/>
                    </a:lnTo>
                    <a:lnTo>
                      <a:pt x="1103" y="2350"/>
                    </a:lnTo>
                    <a:lnTo>
                      <a:pt x="1097" y="2356"/>
                    </a:lnTo>
                    <a:lnTo>
                      <a:pt x="1093" y="2363"/>
                    </a:lnTo>
                    <a:lnTo>
                      <a:pt x="1089" y="2369"/>
                    </a:lnTo>
                    <a:lnTo>
                      <a:pt x="1086" y="2375"/>
                    </a:lnTo>
                    <a:lnTo>
                      <a:pt x="1082" y="2378"/>
                    </a:lnTo>
                    <a:lnTo>
                      <a:pt x="1078" y="2382"/>
                    </a:lnTo>
                    <a:lnTo>
                      <a:pt x="1075" y="2384"/>
                    </a:lnTo>
                    <a:lnTo>
                      <a:pt x="1071" y="2386"/>
                    </a:lnTo>
                    <a:lnTo>
                      <a:pt x="1069" y="2386"/>
                    </a:lnTo>
                    <a:lnTo>
                      <a:pt x="1065" y="2386"/>
                    </a:lnTo>
                    <a:lnTo>
                      <a:pt x="1063" y="2383"/>
                    </a:lnTo>
                    <a:lnTo>
                      <a:pt x="1058" y="2381"/>
                    </a:lnTo>
                    <a:lnTo>
                      <a:pt x="1053" y="2378"/>
                    </a:lnTo>
                    <a:lnTo>
                      <a:pt x="1046" y="2376"/>
                    </a:lnTo>
                    <a:lnTo>
                      <a:pt x="1036" y="2375"/>
                    </a:lnTo>
                    <a:lnTo>
                      <a:pt x="1031" y="2375"/>
                    </a:lnTo>
                    <a:lnTo>
                      <a:pt x="1027" y="2372"/>
                    </a:lnTo>
                    <a:lnTo>
                      <a:pt x="1025" y="2371"/>
                    </a:lnTo>
                    <a:lnTo>
                      <a:pt x="1024" y="2369"/>
                    </a:lnTo>
                    <a:lnTo>
                      <a:pt x="1024" y="2363"/>
                    </a:lnTo>
                    <a:lnTo>
                      <a:pt x="1025" y="2355"/>
                    </a:lnTo>
                    <a:lnTo>
                      <a:pt x="1028" y="2347"/>
                    </a:lnTo>
                    <a:lnTo>
                      <a:pt x="1031" y="2340"/>
                    </a:lnTo>
                    <a:lnTo>
                      <a:pt x="1033" y="2332"/>
                    </a:lnTo>
                    <a:lnTo>
                      <a:pt x="1034" y="2323"/>
                    </a:lnTo>
                    <a:lnTo>
                      <a:pt x="1027" y="2307"/>
                    </a:lnTo>
                    <a:lnTo>
                      <a:pt x="1019" y="2289"/>
                    </a:lnTo>
                    <a:lnTo>
                      <a:pt x="1019" y="2283"/>
                    </a:lnTo>
                    <a:lnTo>
                      <a:pt x="1020" y="2279"/>
                    </a:lnTo>
                    <a:lnTo>
                      <a:pt x="1021" y="2274"/>
                    </a:lnTo>
                    <a:lnTo>
                      <a:pt x="1024" y="2268"/>
                    </a:lnTo>
                    <a:lnTo>
                      <a:pt x="1027" y="2257"/>
                    </a:lnTo>
                    <a:lnTo>
                      <a:pt x="1030" y="2249"/>
                    </a:lnTo>
                    <a:lnTo>
                      <a:pt x="1030" y="2244"/>
                    </a:lnTo>
                    <a:lnTo>
                      <a:pt x="1028" y="2241"/>
                    </a:lnTo>
                    <a:lnTo>
                      <a:pt x="1027" y="2238"/>
                    </a:lnTo>
                    <a:lnTo>
                      <a:pt x="1026" y="2236"/>
                    </a:lnTo>
                    <a:lnTo>
                      <a:pt x="1020" y="2235"/>
                    </a:lnTo>
                    <a:lnTo>
                      <a:pt x="1011" y="2232"/>
                    </a:lnTo>
                    <a:lnTo>
                      <a:pt x="1008" y="2232"/>
                    </a:lnTo>
                    <a:lnTo>
                      <a:pt x="1007" y="2231"/>
                    </a:lnTo>
                    <a:lnTo>
                      <a:pt x="1007" y="2229"/>
                    </a:lnTo>
                    <a:lnTo>
                      <a:pt x="1007" y="2226"/>
                    </a:lnTo>
                    <a:lnTo>
                      <a:pt x="1008" y="2220"/>
                    </a:lnTo>
                    <a:lnTo>
                      <a:pt x="1009" y="2213"/>
                    </a:lnTo>
                    <a:lnTo>
                      <a:pt x="1013" y="2206"/>
                    </a:lnTo>
                    <a:lnTo>
                      <a:pt x="1014" y="2199"/>
                    </a:lnTo>
                    <a:lnTo>
                      <a:pt x="1017" y="2194"/>
                    </a:lnTo>
                    <a:lnTo>
                      <a:pt x="1015" y="2191"/>
                    </a:lnTo>
                    <a:lnTo>
                      <a:pt x="1013" y="2186"/>
                    </a:lnTo>
                    <a:lnTo>
                      <a:pt x="1009" y="2183"/>
                    </a:lnTo>
                    <a:lnTo>
                      <a:pt x="1006" y="2181"/>
                    </a:lnTo>
                    <a:lnTo>
                      <a:pt x="1002" y="2181"/>
                    </a:lnTo>
                    <a:lnTo>
                      <a:pt x="999" y="2181"/>
                    </a:lnTo>
                    <a:lnTo>
                      <a:pt x="995" y="2182"/>
                    </a:lnTo>
                    <a:lnTo>
                      <a:pt x="992" y="2185"/>
                    </a:lnTo>
                    <a:lnTo>
                      <a:pt x="988" y="2187"/>
                    </a:lnTo>
                    <a:lnTo>
                      <a:pt x="984" y="2189"/>
                    </a:lnTo>
                    <a:lnTo>
                      <a:pt x="982" y="2191"/>
                    </a:lnTo>
                    <a:lnTo>
                      <a:pt x="979" y="2191"/>
                    </a:lnTo>
                    <a:lnTo>
                      <a:pt x="976" y="2191"/>
                    </a:lnTo>
                    <a:lnTo>
                      <a:pt x="971" y="2187"/>
                    </a:lnTo>
                    <a:lnTo>
                      <a:pt x="965" y="2182"/>
                    </a:lnTo>
                    <a:lnTo>
                      <a:pt x="962" y="2180"/>
                    </a:lnTo>
                    <a:lnTo>
                      <a:pt x="960" y="2179"/>
                    </a:lnTo>
                    <a:lnTo>
                      <a:pt x="956" y="2179"/>
                    </a:lnTo>
                    <a:lnTo>
                      <a:pt x="954" y="2179"/>
                    </a:lnTo>
                    <a:lnTo>
                      <a:pt x="946" y="2181"/>
                    </a:lnTo>
                    <a:lnTo>
                      <a:pt x="941" y="2187"/>
                    </a:lnTo>
                    <a:lnTo>
                      <a:pt x="925" y="2201"/>
                    </a:lnTo>
                    <a:lnTo>
                      <a:pt x="908" y="2217"/>
                    </a:lnTo>
                    <a:lnTo>
                      <a:pt x="905" y="2220"/>
                    </a:lnTo>
                    <a:lnTo>
                      <a:pt x="902" y="2225"/>
                    </a:lnTo>
                    <a:lnTo>
                      <a:pt x="900" y="2230"/>
                    </a:lnTo>
                    <a:lnTo>
                      <a:pt x="899" y="2235"/>
                    </a:lnTo>
                    <a:lnTo>
                      <a:pt x="897" y="2244"/>
                    </a:lnTo>
                    <a:lnTo>
                      <a:pt x="895" y="2256"/>
                    </a:lnTo>
                    <a:lnTo>
                      <a:pt x="894" y="2261"/>
                    </a:lnTo>
                    <a:lnTo>
                      <a:pt x="892" y="2265"/>
                    </a:lnTo>
                    <a:lnTo>
                      <a:pt x="889" y="2268"/>
                    </a:lnTo>
                    <a:lnTo>
                      <a:pt x="886" y="2270"/>
                    </a:lnTo>
                    <a:lnTo>
                      <a:pt x="881" y="2273"/>
                    </a:lnTo>
                    <a:lnTo>
                      <a:pt x="876" y="2273"/>
                    </a:lnTo>
                    <a:lnTo>
                      <a:pt x="870" y="2274"/>
                    </a:lnTo>
                    <a:lnTo>
                      <a:pt x="863" y="2274"/>
                    </a:lnTo>
                    <a:lnTo>
                      <a:pt x="857" y="2273"/>
                    </a:lnTo>
                    <a:lnTo>
                      <a:pt x="853" y="2271"/>
                    </a:lnTo>
                    <a:lnTo>
                      <a:pt x="848" y="2269"/>
                    </a:lnTo>
                    <a:lnTo>
                      <a:pt x="845" y="2265"/>
                    </a:lnTo>
                    <a:lnTo>
                      <a:pt x="841" y="2256"/>
                    </a:lnTo>
                    <a:lnTo>
                      <a:pt x="838" y="2243"/>
                    </a:lnTo>
                    <a:lnTo>
                      <a:pt x="836" y="2229"/>
                    </a:lnTo>
                    <a:lnTo>
                      <a:pt x="835" y="2213"/>
                    </a:lnTo>
                    <a:lnTo>
                      <a:pt x="835" y="2206"/>
                    </a:lnTo>
                    <a:lnTo>
                      <a:pt x="836" y="2199"/>
                    </a:lnTo>
                    <a:lnTo>
                      <a:pt x="837" y="2192"/>
                    </a:lnTo>
                    <a:lnTo>
                      <a:pt x="839" y="2186"/>
                    </a:lnTo>
                    <a:lnTo>
                      <a:pt x="843" y="2180"/>
                    </a:lnTo>
                    <a:lnTo>
                      <a:pt x="847" y="2175"/>
                    </a:lnTo>
                    <a:lnTo>
                      <a:pt x="851" y="2172"/>
                    </a:lnTo>
                    <a:lnTo>
                      <a:pt x="856" y="2168"/>
                    </a:lnTo>
                    <a:lnTo>
                      <a:pt x="868" y="2162"/>
                    </a:lnTo>
                    <a:lnTo>
                      <a:pt x="879" y="2157"/>
                    </a:lnTo>
                    <a:lnTo>
                      <a:pt x="885" y="2154"/>
                    </a:lnTo>
                    <a:lnTo>
                      <a:pt x="887" y="2151"/>
                    </a:lnTo>
                    <a:lnTo>
                      <a:pt x="889" y="2149"/>
                    </a:lnTo>
                    <a:lnTo>
                      <a:pt x="891" y="2145"/>
                    </a:lnTo>
                    <a:lnTo>
                      <a:pt x="892" y="2138"/>
                    </a:lnTo>
                    <a:lnTo>
                      <a:pt x="893" y="2126"/>
                    </a:lnTo>
                    <a:lnTo>
                      <a:pt x="893" y="2119"/>
                    </a:lnTo>
                    <a:lnTo>
                      <a:pt x="895" y="2115"/>
                    </a:lnTo>
                    <a:lnTo>
                      <a:pt x="897" y="2110"/>
                    </a:lnTo>
                    <a:lnTo>
                      <a:pt x="900" y="2105"/>
                    </a:lnTo>
                    <a:lnTo>
                      <a:pt x="908" y="2095"/>
                    </a:lnTo>
                    <a:lnTo>
                      <a:pt x="920" y="2085"/>
                    </a:lnTo>
                    <a:lnTo>
                      <a:pt x="932" y="2073"/>
                    </a:lnTo>
                    <a:lnTo>
                      <a:pt x="943" y="2061"/>
                    </a:lnTo>
                    <a:lnTo>
                      <a:pt x="954" y="2050"/>
                    </a:lnTo>
                    <a:lnTo>
                      <a:pt x="963" y="2040"/>
                    </a:lnTo>
                    <a:lnTo>
                      <a:pt x="968" y="2035"/>
                    </a:lnTo>
                    <a:lnTo>
                      <a:pt x="970" y="2029"/>
                    </a:lnTo>
                    <a:lnTo>
                      <a:pt x="974" y="2022"/>
                    </a:lnTo>
                    <a:lnTo>
                      <a:pt x="975" y="2015"/>
                    </a:lnTo>
                    <a:lnTo>
                      <a:pt x="976" y="2008"/>
                    </a:lnTo>
                    <a:lnTo>
                      <a:pt x="976" y="2000"/>
                    </a:lnTo>
                    <a:lnTo>
                      <a:pt x="976" y="1994"/>
                    </a:lnTo>
                    <a:lnTo>
                      <a:pt x="975" y="1987"/>
                    </a:lnTo>
                    <a:lnTo>
                      <a:pt x="971" y="1977"/>
                    </a:lnTo>
                    <a:lnTo>
                      <a:pt x="968" y="1967"/>
                    </a:lnTo>
                    <a:lnTo>
                      <a:pt x="964" y="1956"/>
                    </a:lnTo>
                    <a:lnTo>
                      <a:pt x="963" y="1945"/>
                    </a:lnTo>
                    <a:lnTo>
                      <a:pt x="961" y="1933"/>
                    </a:lnTo>
                    <a:lnTo>
                      <a:pt x="960" y="1922"/>
                    </a:lnTo>
                    <a:lnTo>
                      <a:pt x="960" y="1917"/>
                    </a:lnTo>
                    <a:lnTo>
                      <a:pt x="961" y="1914"/>
                    </a:lnTo>
                    <a:lnTo>
                      <a:pt x="964" y="1909"/>
                    </a:lnTo>
                    <a:lnTo>
                      <a:pt x="969" y="1905"/>
                    </a:lnTo>
                    <a:lnTo>
                      <a:pt x="979" y="1903"/>
                    </a:lnTo>
                    <a:lnTo>
                      <a:pt x="992" y="1904"/>
                    </a:lnTo>
                    <a:lnTo>
                      <a:pt x="999" y="1904"/>
                    </a:lnTo>
                    <a:lnTo>
                      <a:pt x="1005" y="1904"/>
                    </a:lnTo>
                    <a:lnTo>
                      <a:pt x="1009" y="1903"/>
                    </a:lnTo>
                    <a:lnTo>
                      <a:pt x="1014" y="1902"/>
                    </a:lnTo>
                    <a:lnTo>
                      <a:pt x="1017" y="1899"/>
                    </a:lnTo>
                    <a:lnTo>
                      <a:pt x="1018" y="1896"/>
                    </a:lnTo>
                    <a:lnTo>
                      <a:pt x="1018" y="1892"/>
                    </a:lnTo>
                    <a:lnTo>
                      <a:pt x="1017" y="1887"/>
                    </a:lnTo>
                    <a:lnTo>
                      <a:pt x="1015" y="1880"/>
                    </a:lnTo>
                    <a:lnTo>
                      <a:pt x="1015" y="1874"/>
                    </a:lnTo>
                    <a:lnTo>
                      <a:pt x="1021" y="1868"/>
                    </a:lnTo>
                    <a:lnTo>
                      <a:pt x="1028" y="1863"/>
                    </a:lnTo>
                    <a:lnTo>
                      <a:pt x="1031" y="1860"/>
                    </a:lnTo>
                    <a:lnTo>
                      <a:pt x="1032" y="1858"/>
                    </a:lnTo>
                    <a:lnTo>
                      <a:pt x="1032" y="1855"/>
                    </a:lnTo>
                    <a:lnTo>
                      <a:pt x="1031" y="1854"/>
                    </a:lnTo>
                    <a:lnTo>
                      <a:pt x="1026" y="1851"/>
                    </a:lnTo>
                    <a:lnTo>
                      <a:pt x="1018" y="1849"/>
                    </a:lnTo>
                    <a:lnTo>
                      <a:pt x="1006" y="1848"/>
                    </a:lnTo>
                    <a:lnTo>
                      <a:pt x="993" y="1845"/>
                    </a:lnTo>
                    <a:lnTo>
                      <a:pt x="986" y="1844"/>
                    </a:lnTo>
                    <a:lnTo>
                      <a:pt x="980" y="1845"/>
                    </a:lnTo>
                    <a:lnTo>
                      <a:pt x="976" y="1846"/>
                    </a:lnTo>
                    <a:lnTo>
                      <a:pt x="971" y="1847"/>
                    </a:lnTo>
                    <a:lnTo>
                      <a:pt x="963" y="1854"/>
                    </a:lnTo>
                    <a:lnTo>
                      <a:pt x="954" y="1865"/>
                    </a:lnTo>
                    <a:lnTo>
                      <a:pt x="948" y="1868"/>
                    </a:lnTo>
                    <a:lnTo>
                      <a:pt x="943" y="1870"/>
                    </a:lnTo>
                    <a:lnTo>
                      <a:pt x="939" y="1870"/>
                    </a:lnTo>
                    <a:lnTo>
                      <a:pt x="937" y="1867"/>
                    </a:lnTo>
                    <a:lnTo>
                      <a:pt x="933" y="1859"/>
                    </a:lnTo>
                    <a:lnTo>
                      <a:pt x="931" y="1849"/>
                    </a:lnTo>
                    <a:lnTo>
                      <a:pt x="931" y="1841"/>
                    </a:lnTo>
                    <a:lnTo>
                      <a:pt x="931" y="1834"/>
                    </a:lnTo>
                    <a:lnTo>
                      <a:pt x="931" y="1832"/>
                    </a:lnTo>
                    <a:lnTo>
                      <a:pt x="930" y="1829"/>
                    </a:lnTo>
                    <a:lnTo>
                      <a:pt x="929" y="1827"/>
                    </a:lnTo>
                    <a:lnTo>
                      <a:pt x="925" y="1824"/>
                    </a:lnTo>
                    <a:lnTo>
                      <a:pt x="923" y="1822"/>
                    </a:lnTo>
                    <a:lnTo>
                      <a:pt x="920" y="1820"/>
                    </a:lnTo>
                    <a:lnTo>
                      <a:pt x="919" y="1816"/>
                    </a:lnTo>
                    <a:lnTo>
                      <a:pt x="919" y="1813"/>
                    </a:lnTo>
                    <a:lnTo>
                      <a:pt x="920" y="1808"/>
                    </a:lnTo>
                    <a:lnTo>
                      <a:pt x="923" y="1803"/>
                    </a:lnTo>
                    <a:lnTo>
                      <a:pt x="925" y="1798"/>
                    </a:lnTo>
                    <a:lnTo>
                      <a:pt x="929" y="1792"/>
                    </a:lnTo>
                    <a:lnTo>
                      <a:pt x="936" y="1782"/>
                    </a:lnTo>
                    <a:lnTo>
                      <a:pt x="941" y="1770"/>
                    </a:lnTo>
                    <a:lnTo>
                      <a:pt x="944" y="1759"/>
                    </a:lnTo>
                    <a:lnTo>
                      <a:pt x="946" y="1747"/>
                    </a:lnTo>
                    <a:lnTo>
                      <a:pt x="948" y="1737"/>
                    </a:lnTo>
                    <a:lnTo>
                      <a:pt x="949" y="1727"/>
                    </a:lnTo>
                    <a:lnTo>
                      <a:pt x="951" y="1718"/>
                    </a:lnTo>
                    <a:lnTo>
                      <a:pt x="954" y="1708"/>
                    </a:lnTo>
                    <a:lnTo>
                      <a:pt x="954" y="1704"/>
                    </a:lnTo>
                    <a:lnTo>
                      <a:pt x="952" y="1701"/>
                    </a:lnTo>
                    <a:lnTo>
                      <a:pt x="950" y="1697"/>
                    </a:lnTo>
                    <a:lnTo>
                      <a:pt x="946" y="1693"/>
                    </a:lnTo>
                    <a:lnTo>
                      <a:pt x="936" y="1685"/>
                    </a:lnTo>
                    <a:lnTo>
                      <a:pt x="923" y="1677"/>
                    </a:lnTo>
                    <a:lnTo>
                      <a:pt x="916" y="1674"/>
                    </a:lnTo>
                    <a:lnTo>
                      <a:pt x="908" y="1671"/>
                    </a:lnTo>
                    <a:lnTo>
                      <a:pt x="902" y="1671"/>
                    </a:lnTo>
                    <a:lnTo>
                      <a:pt x="897" y="1671"/>
                    </a:lnTo>
                    <a:lnTo>
                      <a:pt x="883" y="1672"/>
                    </a:lnTo>
                    <a:lnTo>
                      <a:pt x="869" y="1674"/>
                    </a:lnTo>
                    <a:lnTo>
                      <a:pt x="862" y="1674"/>
                    </a:lnTo>
                    <a:lnTo>
                      <a:pt x="856" y="1671"/>
                    </a:lnTo>
                    <a:lnTo>
                      <a:pt x="851" y="1669"/>
                    </a:lnTo>
                    <a:lnTo>
                      <a:pt x="847" y="1664"/>
                    </a:lnTo>
                    <a:lnTo>
                      <a:pt x="839" y="1655"/>
                    </a:lnTo>
                    <a:lnTo>
                      <a:pt x="831" y="1643"/>
                    </a:lnTo>
                    <a:lnTo>
                      <a:pt x="826" y="1638"/>
                    </a:lnTo>
                    <a:lnTo>
                      <a:pt x="823" y="1637"/>
                    </a:lnTo>
                    <a:lnTo>
                      <a:pt x="819" y="1638"/>
                    </a:lnTo>
                    <a:lnTo>
                      <a:pt x="817" y="1640"/>
                    </a:lnTo>
                    <a:lnTo>
                      <a:pt x="814" y="1645"/>
                    </a:lnTo>
                    <a:lnTo>
                      <a:pt x="812" y="1651"/>
                    </a:lnTo>
                    <a:lnTo>
                      <a:pt x="811" y="1657"/>
                    </a:lnTo>
                    <a:lnTo>
                      <a:pt x="811" y="1663"/>
                    </a:lnTo>
                    <a:lnTo>
                      <a:pt x="810" y="1669"/>
                    </a:lnTo>
                    <a:lnTo>
                      <a:pt x="809" y="1674"/>
                    </a:lnTo>
                    <a:lnTo>
                      <a:pt x="806" y="1678"/>
                    </a:lnTo>
                    <a:lnTo>
                      <a:pt x="804" y="1683"/>
                    </a:lnTo>
                    <a:lnTo>
                      <a:pt x="799" y="1687"/>
                    </a:lnTo>
                    <a:lnTo>
                      <a:pt x="793" y="1690"/>
                    </a:lnTo>
                    <a:lnTo>
                      <a:pt x="786" y="1693"/>
                    </a:lnTo>
                    <a:lnTo>
                      <a:pt x="776" y="1694"/>
                    </a:lnTo>
                    <a:lnTo>
                      <a:pt x="768" y="1695"/>
                    </a:lnTo>
                    <a:lnTo>
                      <a:pt x="761" y="1695"/>
                    </a:lnTo>
                    <a:lnTo>
                      <a:pt x="755" y="1694"/>
                    </a:lnTo>
                    <a:lnTo>
                      <a:pt x="750" y="1691"/>
                    </a:lnTo>
                    <a:lnTo>
                      <a:pt x="743" y="1685"/>
                    </a:lnTo>
                    <a:lnTo>
                      <a:pt x="736" y="1677"/>
                    </a:lnTo>
                    <a:lnTo>
                      <a:pt x="731" y="1672"/>
                    </a:lnTo>
                    <a:lnTo>
                      <a:pt x="725" y="1670"/>
                    </a:lnTo>
                    <a:lnTo>
                      <a:pt x="718" y="1668"/>
                    </a:lnTo>
                    <a:lnTo>
                      <a:pt x="710" y="1666"/>
                    </a:lnTo>
                    <a:lnTo>
                      <a:pt x="693" y="1666"/>
                    </a:lnTo>
                    <a:lnTo>
                      <a:pt x="680" y="1666"/>
                    </a:lnTo>
                    <a:lnTo>
                      <a:pt x="674" y="1669"/>
                    </a:lnTo>
                    <a:lnTo>
                      <a:pt x="671" y="1672"/>
                    </a:lnTo>
                    <a:lnTo>
                      <a:pt x="667" y="1677"/>
                    </a:lnTo>
                    <a:lnTo>
                      <a:pt x="664" y="1683"/>
                    </a:lnTo>
                    <a:lnTo>
                      <a:pt x="660" y="1695"/>
                    </a:lnTo>
                    <a:lnTo>
                      <a:pt x="659" y="1707"/>
                    </a:lnTo>
                    <a:lnTo>
                      <a:pt x="656" y="1715"/>
                    </a:lnTo>
                    <a:lnTo>
                      <a:pt x="654" y="1722"/>
                    </a:lnTo>
                    <a:lnTo>
                      <a:pt x="650" y="1725"/>
                    </a:lnTo>
                    <a:lnTo>
                      <a:pt x="648" y="1727"/>
                    </a:lnTo>
                    <a:lnTo>
                      <a:pt x="643" y="1731"/>
                    </a:lnTo>
                    <a:lnTo>
                      <a:pt x="639" y="1733"/>
                    </a:lnTo>
                    <a:lnTo>
                      <a:pt x="633" y="1735"/>
                    </a:lnTo>
                    <a:lnTo>
                      <a:pt x="628" y="1739"/>
                    </a:lnTo>
                    <a:lnTo>
                      <a:pt x="624" y="1742"/>
                    </a:lnTo>
                    <a:lnTo>
                      <a:pt x="621" y="1746"/>
                    </a:lnTo>
                    <a:lnTo>
                      <a:pt x="615" y="1756"/>
                    </a:lnTo>
                    <a:lnTo>
                      <a:pt x="609" y="1766"/>
                    </a:lnTo>
                    <a:lnTo>
                      <a:pt x="602" y="1779"/>
                    </a:lnTo>
                    <a:lnTo>
                      <a:pt x="593" y="1795"/>
                    </a:lnTo>
                    <a:lnTo>
                      <a:pt x="589" y="1801"/>
                    </a:lnTo>
                    <a:lnTo>
                      <a:pt x="583" y="1808"/>
                    </a:lnTo>
                    <a:lnTo>
                      <a:pt x="578" y="1813"/>
                    </a:lnTo>
                    <a:lnTo>
                      <a:pt x="572" y="1817"/>
                    </a:lnTo>
                    <a:lnTo>
                      <a:pt x="566" y="1820"/>
                    </a:lnTo>
                    <a:lnTo>
                      <a:pt x="562" y="1821"/>
                    </a:lnTo>
                    <a:lnTo>
                      <a:pt x="560" y="1821"/>
                    </a:lnTo>
                    <a:lnTo>
                      <a:pt x="558" y="1820"/>
                    </a:lnTo>
                    <a:lnTo>
                      <a:pt x="555" y="1815"/>
                    </a:lnTo>
                    <a:lnTo>
                      <a:pt x="554" y="1807"/>
                    </a:lnTo>
                    <a:lnTo>
                      <a:pt x="554" y="1797"/>
                    </a:lnTo>
                    <a:lnTo>
                      <a:pt x="552" y="1788"/>
                    </a:lnTo>
                    <a:lnTo>
                      <a:pt x="551" y="1785"/>
                    </a:lnTo>
                    <a:lnTo>
                      <a:pt x="548" y="1782"/>
                    </a:lnTo>
                    <a:lnTo>
                      <a:pt x="547" y="1781"/>
                    </a:lnTo>
                    <a:lnTo>
                      <a:pt x="543" y="1781"/>
                    </a:lnTo>
                    <a:lnTo>
                      <a:pt x="539" y="1782"/>
                    </a:lnTo>
                    <a:lnTo>
                      <a:pt x="533" y="1785"/>
                    </a:lnTo>
                    <a:lnTo>
                      <a:pt x="526" y="1792"/>
                    </a:lnTo>
                    <a:lnTo>
                      <a:pt x="519" y="1801"/>
                    </a:lnTo>
                    <a:lnTo>
                      <a:pt x="515" y="1804"/>
                    </a:lnTo>
                    <a:lnTo>
                      <a:pt x="511" y="1807"/>
                    </a:lnTo>
                    <a:lnTo>
                      <a:pt x="508" y="1809"/>
                    </a:lnTo>
                    <a:lnTo>
                      <a:pt x="504" y="1809"/>
                    </a:lnTo>
                    <a:lnTo>
                      <a:pt x="501" y="1808"/>
                    </a:lnTo>
                    <a:lnTo>
                      <a:pt x="497" y="1805"/>
                    </a:lnTo>
                    <a:lnTo>
                      <a:pt x="495" y="1802"/>
                    </a:lnTo>
                    <a:lnTo>
                      <a:pt x="491" y="1797"/>
                    </a:lnTo>
                    <a:lnTo>
                      <a:pt x="489" y="1791"/>
                    </a:lnTo>
                    <a:lnTo>
                      <a:pt x="489" y="1785"/>
                    </a:lnTo>
                    <a:lnTo>
                      <a:pt x="489" y="1777"/>
                    </a:lnTo>
                    <a:lnTo>
                      <a:pt x="490" y="1770"/>
                    </a:lnTo>
                    <a:lnTo>
                      <a:pt x="491" y="1756"/>
                    </a:lnTo>
                    <a:lnTo>
                      <a:pt x="491" y="1742"/>
                    </a:lnTo>
                    <a:lnTo>
                      <a:pt x="491" y="1740"/>
                    </a:lnTo>
                    <a:lnTo>
                      <a:pt x="490" y="1738"/>
                    </a:lnTo>
                    <a:lnTo>
                      <a:pt x="488" y="1735"/>
                    </a:lnTo>
                    <a:lnTo>
                      <a:pt x="485" y="1734"/>
                    </a:lnTo>
                    <a:lnTo>
                      <a:pt x="479" y="1731"/>
                    </a:lnTo>
                    <a:lnTo>
                      <a:pt x="473" y="1729"/>
                    </a:lnTo>
                    <a:lnTo>
                      <a:pt x="458" y="1728"/>
                    </a:lnTo>
                    <a:lnTo>
                      <a:pt x="444" y="1729"/>
                    </a:lnTo>
                    <a:lnTo>
                      <a:pt x="439" y="1731"/>
                    </a:lnTo>
                    <a:lnTo>
                      <a:pt x="434" y="1732"/>
                    </a:lnTo>
                    <a:lnTo>
                      <a:pt x="431" y="1734"/>
                    </a:lnTo>
                    <a:lnTo>
                      <a:pt x="427" y="1739"/>
                    </a:lnTo>
                    <a:lnTo>
                      <a:pt x="421" y="1750"/>
                    </a:lnTo>
                    <a:lnTo>
                      <a:pt x="415" y="1766"/>
                    </a:lnTo>
                    <a:lnTo>
                      <a:pt x="412" y="1775"/>
                    </a:lnTo>
                    <a:lnTo>
                      <a:pt x="409" y="1782"/>
                    </a:lnTo>
                    <a:lnTo>
                      <a:pt x="407" y="1786"/>
                    </a:lnTo>
                    <a:lnTo>
                      <a:pt x="403" y="1790"/>
                    </a:lnTo>
                    <a:lnTo>
                      <a:pt x="397" y="1794"/>
                    </a:lnTo>
                    <a:lnTo>
                      <a:pt x="389" y="1797"/>
                    </a:lnTo>
                    <a:lnTo>
                      <a:pt x="384" y="1801"/>
                    </a:lnTo>
                    <a:lnTo>
                      <a:pt x="381" y="1804"/>
                    </a:lnTo>
                    <a:lnTo>
                      <a:pt x="378" y="1809"/>
                    </a:lnTo>
                    <a:lnTo>
                      <a:pt x="377" y="1814"/>
                    </a:lnTo>
                    <a:lnTo>
                      <a:pt x="376" y="1819"/>
                    </a:lnTo>
                    <a:lnTo>
                      <a:pt x="377" y="1824"/>
                    </a:lnTo>
                    <a:lnTo>
                      <a:pt x="378" y="1830"/>
                    </a:lnTo>
                    <a:lnTo>
                      <a:pt x="379" y="1835"/>
                    </a:lnTo>
                    <a:lnTo>
                      <a:pt x="383" y="1846"/>
                    </a:lnTo>
                    <a:lnTo>
                      <a:pt x="384" y="1854"/>
                    </a:lnTo>
                    <a:lnTo>
                      <a:pt x="383" y="1858"/>
                    </a:lnTo>
                    <a:lnTo>
                      <a:pt x="381" y="1861"/>
                    </a:lnTo>
                    <a:lnTo>
                      <a:pt x="377" y="1864"/>
                    </a:lnTo>
                    <a:lnTo>
                      <a:pt x="371" y="1865"/>
                    </a:lnTo>
                    <a:lnTo>
                      <a:pt x="365" y="1866"/>
                    </a:lnTo>
                    <a:lnTo>
                      <a:pt x="358" y="1866"/>
                    </a:lnTo>
                    <a:lnTo>
                      <a:pt x="350" y="1865"/>
                    </a:lnTo>
                    <a:lnTo>
                      <a:pt x="344" y="1864"/>
                    </a:lnTo>
                    <a:lnTo>
                      <a:pt x="338" y="1863"/>
                    </a:lnTo>
                    <a:lnTo>
                      <a:pt x="333" y="1859"/>
                    </a:lnTo>
                    <a:lnTo>
                      <a:pt x="329" y="1855"/>
                    </a:lnTo>
                    <a:lnTo>
                      <a:pt x="328" y="1852"/>
                    </a:lnTo>
                    <a:lnTo>
                      <a:pt x="328" y="1847"/>
                    </a:lnTo>
                    <a:lnTo>
                      <a:pt x="331" y="1842"/>
                    </a:lnTo>
                    <a:lnTo>
                      <a:pt x="333" y="1840"/>
                    </a:lnTo>
                    <a:lnTo>
                      <a:pt x="337" y="1836"/>
                    </a:lnTo>
                    <a:lnTo>
                      <a:pt x="340" y="1833"/>
                    </a:lnTo>
                    <a:lnTo>
                      <a:pt x="344" y="1830"/>
                    </a:lnTo>
                    <a:lnTo>
                      <a:pt x="346" y="1826"/>
                    </a:lnTo>
                    <a:lnTo>
                      <a:pt x="347" y="1822"/>
                    </a:lnTo>
                    <a:lnTo>
                      <a:pt x="349" y="1817"/>
                    </a:lnTo>
                    <a:lnTo>
                      <a:pt x="347" y="1814"/>
                    </a:lnTo>
                    <a:lnTo>
                      <a:pt x="346" y="1810"/>
                    </a:lnTo>
                    <a:lnTo>
                      <a:pt x="344" y="1807"/>
                    </a:lnTo>
                    <a:lnTo>
                      <a:pt x="337" y="1802"/>
                    </a:lnTo>
                    <a:lnTo>
                      <a:pt x="326" y="1798"/>
                    </a:lnTo>
                    <a:lnTo>
                      <a:pt x="321" y="1797"/>
                    </a:lnTo>
                    <a:lnTo>
                      <a:pt x="316" y="1797"/>
                    </a:lnTo>
                    <a:lnTo>
                      <a:pt x="312" y="1797"/>
                    </a:lnTo>
                    <a:lnTo>
                      <a:pt x="308" y="1798"/>
                    </a:lnTo>
                    <a:lnTo>
                      <a:pt x="300" y="1802"/>
                    </a:lnTo>
                    <a:lnTo>
                      <a:pt x="290" y="1807"/>
                    </a:lnTo>
                    <a:lnTo>
                      <a:pt x="284" y="1809"/>
                    </a:lnTo>
                    <a:lnTo>
                      <a:pt x="278" y="1810"/>
                    </a:lnTo>
                    <a:lnTo>
                      <a:pt x="274" y="1810"/>
                    </a:lnTo>
                    <a:lnTo>
                      <a:pt x="269" y="1809"/>
                    </a:lnTo>
                    <a:lnTo>
                      <a:pt x="261" y="1803"/>
                    </a:lnTo>
                    <a:lnTo>
                      <a:pt x="253" y="1797"/>
                    </a:lnTo>
                    <a:lnTo>
                      <a:pt x="247" y="1792"/>
                    </a:lnTo>
                    <a:lnTo>
                      <a:pt x="244" y="1789"/>
                    </a:lnTo>
                    <a:lnTo>
                      <a:pt x="242" y="1785"/>
                    </a:lnTo>
                    <a:lnTo>
                      <a:pt x="240" y="1782"/>
                    </a:lnTo>
                    <a:lnTo>
                      <a:pt x="239" y="1778"/>
                    </a:lnTo>
                    <a:lnTo>
                      <a:pt x="240" y="1775"/>
                    </a:lnTo>
                    <a:lnTo>
                      <a:pt x="240" y="1771"/>
                    </a:lnTo>
                    <a:lnTo>
                      <a:pt x="243" y="1767"/>
                    </a:lnTo>
                    <a:lnTo>
                      <a:pt x="249" y="1760"/>
                    </a:lnTo>
                    <a:lnTo>
                      <a:pt x="255" y="1753"/>
                    </a:lnTo>
                    <a:lnTo>
                      <a:pt x="258" y="1750"/>
                    </a:lnTo>
                    <a:lnTo>
                      <a:pt x="259" y="1745"/>
                    </a:lnTo>
                    <a:lnTo>
                      <a:pt x="259" y="1741"/>
                    </a:lnTo>
                    <a:lnTo>
                      <a:pt x="257" y="1737"/>
                    </a:lnTo>
                    <a:lnTo>
                      <a:pt x="251" y="1729"/>
                    </a:lnTo>
                    <a:lnTo>
                      <a:pt x="244" y="1723"/>
                    </a:lnTo>
                    <a:lnTo>
                      <a:pt x="243" y="1720"/>
                    </a:lnTo>
                    <a:lnTo>
                      <a:pt x="242" y="1716"/>
                    </a:lnTo>
                    <a:lnTo>
                      <a:pt x="242" y="1713"/>
                    </a:lnTo>
                    <a:lnTo>
                      <a:pt x="243" y="1707"/>
                    </a:lnTo>
                    <a:lnTo>
                      <a:pt x="245" y="1701"/>
                    </a:lnTo>
                    <a:lnTo>
                      <a:pt x="247" y="1695"/>
                    </a:lnTo>
                    <a:lnTo>
                      <a:pt x="249" y="1688"/>
                    </a:lnTo>
                    <a:lnTo>
                      <a:pt x="249" y="1681"/>
                    </a:lnTo>
                    <a:lnTo>
                      <a:pt x="247" y="1675"/>
                    </a:lnTo>
                    <a:lnTo>
                      <a:pt x="246" y="1670"/>
                    </a:lnTo>
                    <a:lnTo>
                      <a:pt x="243" y="1665"/>
                    </a:lnTo>
                    <a:lnTo>
                      <a:pt x="239" y="1662"/>
                    </a:lnTo>
                    <a:lnTo>
                      <a:pt x="234" y="1660"/>
                    </a:lnTo>
                    <a:lnTo>
                      <a:pt x="231" y="1660"/>
                    </a:lnTo>
                    <a:lnTo>
                      <a:pt x="230" y="1663"/>
                    </a:lnTo>
                    <a:lnTo>
                      <a:pt x="228" y="1666"/>
                    </a:lnTo>
                    <a:lnTo>
                      <a:pt x="226" y="1675"/>
                    </a:lnTo>
                    <a:lnTo>
                      <a:pt x="224" y="1685"/>
                    </a:lnTo>
                    <a:lnTo>
                      <a:pt x="221" y="1691"/>
                    </a:lnTo>
                    <a:lnTo>
                      <a:pt x="218" y="1695"/>
                    </a:lnTo>
                    <a:lnTo>
                      <a:pt x="213" y="1699"/>
                    </a:lnTo>
                    <a:lnTo>
                      <a:pt x="208" y="1700"/>
                    </a:lnTo>
                    <a:lnTo>
                      <a:pt x="203" y="1701"/>
                    </a:lnTo>
                    <a:lnTo>
                      <a:pt x="199" y="1701"/>
                    </a:lnTo>
                    <a:lnTo>
                      <a:pt x="195" y="1700"/>
                    </a:lnTo>
                    <a:lnTo>
                      <a:pt x="192" y="1696"/>
                    </a:lnTo>
                    <a:lnTo>
                      <a:pt x="187" y="1691"/>
                    </a:lnTo>
                    <a:lnTo>
                      <a:pt x="184" y="1684"/>
                    </a:lnTo>
                    <a:lnTo>
                      <a:pt x="182" y="1678"/>
                    </a:lnTo>
                    <a:lnTo>
                      <a:pt x="182" y="1671"/>
                    </a:lnTo>
                    <a:lnTo>
                      <a:pt x="182" y="1665"/>
                    </a:lnTo>
                    <a:lnTo>
                      <a:pt x="183" y="1659"/>
                    </a:lnTo>
                    <a:lnTo>
                      <a:pt x="187" y="1649"/>
                    </a:lnTo>
                    <a:lnTo>
                      <a:pt x="193" y="1637"/>
                    </a:lnTo>
                    <a:lnTo>
                      <a:pt x="200" y="1624"/>
                    </a:lnTo>
                    <a:lnTo>
                      <a:pt x="211" y="1608"/>
                    </a:lnTo>
                    <a:lnTo>
                      <a:pt x="220" y="1593"/>
                    </a:lnTo>
                    <a:lnTo>
                      <a:pt x="225" y="1581"/>
                    </a:lnTo>
                    <a:lnTo>
                      <a:pt x="228" y="1570"/>
                    </a:lnTo>
                    <a:lnTo>
                      <a:pt x="228" y="1559"/>
                    </a:lnTo>
                    <a:lnTo>
                      <a:pt x="227" y="1549"/>
                    </a:lnTo>
                    <a:lnTo>
                      <a:pt x="225" y="1540"/>
                    </a:lnTo>
                    <a:lnTo>
                      <a:pt x="224" y="1532"/>
                    </a:lnTo>
                    <a:lnTo>
                      <a:pt x="223" y="1521"/>
                    </a:lnTo>
                    <a:lnTo>
                      <a:pt x="224" y="1510"/>
                    </a:lnTo>
                    <a:lnTo>
                      <a:pt x="227" y="1499"/>
                    </a:lnTo>
                    <a:lnTo>
                      <a:pt x="230" y="1494"/>
                    </a:lnTo>
                    <a:lnTo>
                      <a:pt x="232" y="1489"/>
                    </a:lnTo>
                    <a:lnTo>
                      <a:pt x="236" y="1486"/>
                    </a:lnTo>
                    <a:lnTo>
                      <a:pt x="239" y="1482"/>
                    </a:lnTo>
                    <a:lnTo>
                      <a:pt x="256" y="1479"/>
                    </a:lnTo>
                    <a:lnTo>
                      <a:pt x="269" y="1479"/>
                    </a:lnTo>
                    <a:lnTo>
                      <a:pt x="271" y="1476"/>
                    </a:lnTo>
                    <a:lnTo>
                      <a:pt x="274" y="1473"/>
                    </a:lnTo>
                    <a:lnTo>
                      <a:pt x="275" y="1468"/>
                    </a:lnTo>
                    <a:lnTo>
                      <a:pt x="276" y="1463"/>
                    </a:lnTo>
                    <a:lnTo>
                      <a:pt x="277" y="1451"/>
                    </a:lnTo>
                    <a:lnTo>
                      <a:pt x="278" y="1442"/>
                    </a:lnTo>
                    <a:lnTo>
                      <a:pt x="277" y="1437"/>
                    </a:lnTo>
                    <a:lnTo>
                      <a:pt x="277" y="1433"/>
                    </a:lnTo>
                    <a:lnTo>
                      <a:pt x="276" y="1431"/>
                    </a:lnTo>
                    <a:lnTo>
                      <a:pt x="274" y="1429"/>
                    </a:lnTo>
                    <a:lnTo>
                      <a:pt x="271" y="1428"/>
                    </a:lnTo>
                    <a:lnTo>
                      <a:pt x="269" y="1428"/>
                    </a:lnTo>
                    <a:lnTo>
                      <a:pt x="266" y="1429"/>
                    </a:lnTo>
                    <a:lnTo>
                      <a:pt x="264" y="1430"/>
                    </a:lnTo>
                    <a:lnTo>
                      <a:pt x="257" y="1433"/>
                    </a:lnTo>
                    <a:lnTo>
                      <a:pt x="250" y="1436"/>
                    </a:lnTo>
                    <a:lnTo>
                      <a:pt x="247" y="1436"/>
                    </a:lnTo>
                    <a:lnTo>
                      <a:pt x="245" y="1435"/>
                    </a:lnTo>
                    <a:lnTo>
                      <a:pt x="244" y="1432"/>
                    </a:lnTo>
                    <a:lnTo>
                      <a:pt x="244" y="1430"/>
                    </a:lnTo>
                    <a:lnTo>
                      <a:pt x="245" y="1426"/>
                    </a:lnTo>
                    <a:lnTo>
                      <a:pt x="247" y="1424"/>
                    </a:lnTo>
                    <a:lnTo>
                      <a:pt x="251" y="1422"/>
                    </a:lnTo>
                    <a:lnTo>
                      <a:pt x="255" y="1419"/>
                    </a:lnTo>
                    <a:lnTo>
                      <a:pt x="263" y="1416"/>
                    </a:lnTo>
                    <a:lnTo>
                      <a:pt x="272" y="1411"/>
                    </a:lnTo>
                    <a:lnTo>
                      <a:pt x="276" y="1408"/>
                    </a:lnTo>
                    <a:lnTo>
                      <a:pt x="278" y="1404"/>
                    </a:lnTo>
                    <a:lnTo>
                      <a:pt x="281" y="1400"/>
                    </a:lnTo>
                    <a:lnTo>
                      <a:pt x="282" y="1395"/>
                    </a:lnTo>
                    <a:lnTo>
                      <a:pt x="282" y="1385"/>
                    </a:lnTo>
                    <a:lnTo>
                      <a:pt x="282" y="1375"/>
                    </a:lnTo>
                    <a:lnTo>
                      <a:pt x="281" y="1367"/>
                    </a:lnTo>
                    <a:lnTo>
                      <a:pt x="278" y="1360"/>
                    </a:lnTo>
                    <a:lnTo>
                      <a:pt x="276" y="1359"/>
                    </a:lnTo>
                    <a:lnTo>
                      <a:pt x="272" y="1356"/>
                    </a:lnTo>
                    <a:lnTo>
                      <a:pt x="269" y="1355"/>
                    </a:lnTo>
                    <a:lnTo>
                      <a:pt x="264" y="1355"/>
                    </a:lnTo>
                    <a:lnTo>
                      <a:pt x="259" y="1354"/>
                    </a:lnTo>
                    <a:lnTo>
                      <a:pt x="256" y="1351"/>
                    </a:lnTo>
                    <a:lnTo>
                      <a:pt x="253" y="1349"/>
                    </a:lnTo>
                    <a:lnTo>
                      <a:pt x="252" y="1345"/>
                    </a:lnTo>
                    <a:lnTo>
                      <a:pt x="252" y="1337"/>
                    </a:lnTo>
                    <a:lnTo>
                      <a:pt x="252" y="1328"/>
                    </a:lnTo>
                    <a:lnTo>
                      <a:pt x="252" y="1322"/>
                    </a:lnTo>
                    <a:lnTo>
                      <a:pt x="251" y="1318"/>
                    </a:lnTo>
                    <a:lnTo>
                      <a:pt x="250" y="1313"/>
                    </a:lnTo>
                    <a:lnTo>
                      <a:pt x="247" y="1310"/>
                    </a:lnTo>
                    <a:lnTo>
                      <a:pt x="243" y="1306"/>
                    </a:lnTo>
                    <a:lnTo>
                      <a:pt x="238" y="1304"/>
                    </a:lnTo>
                    <a:lnTo>
                      <a:pt x="231" y="1302"/>
                    </a:lnTo>
                    <a:lnTo>
                      <a:pt x="223" y="1300"/>
                    </a:lnTo>
                    <a:lnTo>
                      <a:pt x="213" y="1300"/>
                    </a:lnTo>
                    <a:lnTo>
                      <a:pt x="203" y="1302"/>
                    </a:lnTo>
                    <a:lnTo>
                      <a:pt x="195" y="1304"/>
                    </a:lnTo>
                    <a:lnTo>
                      <a:pt x="187" y="1306"/>
                    </a:lnTo>
                    <a:lnTo>
                      <a:pt x="180" y="1310"/>
                    </a:lnTo>
                    <a:lnTo>
                      <a:pt x="174" y="1315"/>
                    </a:lnTo>
                    <a:lnTo>
                      <a:pt x="168" y="1319"/>
                    </a:lnTo>
                    <a:lnTo>
                      <a:pt x="163" y="1324"/>
                    </a:lnTo>
                    <a:lnTo>
                      <a:pt x="155" y="1334"/>
                    </a:lnTo>
                    <a:lnTo>
                      <a:pt x="148" y="1340"/>
                    </a:lnTo>
                    <a:lnTo>
                      <a:pt x="144" y="1342"/>
                    </a:lnTo>
                    <a:lnTo>
                      <a:pt x="140" y="1343"/>
                    </a:lnTo>
                    <a:lnTo>
                      <a:pt x="137" y="1344"/>
                    </a:lnTo>
                    <a:lnTo>
                      <a:pt x="132" y="1344"/>
                    </a:lnTo>
                    <a:lnTo>
                      <a:pt x="129" y="1344"/>
                    </a:lnTo>
                    <a:lnTo>
                      <a:pt x="126" y="1343"/>
                    </a:lnTo>
                    <a:lnTo>
                      <a:pt x="124" y="1342"/>
                    </a:lnTo>
                    <a:lnTo>
                      <a:pt x="121" y="1340"/>
                    </a:lnTo>
                    <a:lnTo>
                      <a:pt x="120" y="1334"/>
                    </a:lnTo>
                    <a:lnTo>
                      <a:pt x="120" y="1325"/>
                    </a:lnTo>
                    <a:lnTo>
                      <a:pt x="121" y="1321"/>
                    </a:lnTo>
                    <a:lnTo>
                      <a:pt x="120" y="1318"/>
                    </a:lnTo>
                    <a:lnTo>
                      <a:pt x="118" y="1315"/>
                    </a:lnTo>
                    <a:lnTo>
                      <a:pt x="116" y="1313"/>
                    </a:lnTo>
                    <a:lnTo>
                      <a:pt x="113" y="1312"/>
                    </a:lnTo>
                    <a:lnTo>
                      <a:pt x="110" y="1313"/>
                    </a:lnTo>
                    <a:lnTo>
                      <a:pt x="106" y="1315"/>
                    </a:lnTo>
                    <a:lnTo>
                      <a:pt x="102" y="1317"/>
                    </a:lnTo>
                    <a:lnTo>
                      <a:pt x="92" y="1325"/>
                    </a:lnTo>
                    <a:lnTo>
                      <a:pt x="77" y="1340"/>
                    </a:lnTo>
                    <a:lnTo>
                      <a:pt x="61" y="1354"/>
                    </a:lnTo>
                    <a:lnTo>
                      <a:pt x="48" y="1366"/>
                    </a:lnTo>
                    <a:lnTo>
                      <a:pt x="43" y="1368"/>
                    </a:lnTo>
                    <a:lnTo>
                      <a:pt x="38" y="1369"/>
                    </a:lnTo>
                    <a:lnTo>
                      <a:pt x="35" y="1369"/>
                    </a:lnTo>
                    <a:lnTo>
                      <a:pt x="31" y="1368"/>
                    </a:lnTo>
                    <a:lnTo>
                      <a:pt x="25" y="1362"/>
                    </a:lnTo>
                    <a:lnTo>
                      <a:pt x="19" y="1356"/>
                    </a:lnTo>
                    <a:lnTo>
                      <a:pt x="11" y="1350"/>
                    </a:lnTo>
                    <a:lnTo>
                      <a:pt x="5" y="1345"/>
                    </a:lnTo>
                    <a:lnTo>
                      <a:pt x="1" y="1343"/>
                    </a:lnTo>
                    <a:lnTo>
                      <a:pt x="0" y="1341"/>
                    </a:lnTo>
                    <a:lnTo>
                      <a:pt x="0" y="1338"/>
                    </a:lnTo>
                    <a:lnTo>
                      <a:pt x="1" y="1335"/>
                    </a:lnTo>
                    <a:lnTo>
                      <a:pt x="11" y="1330"/>
                    </a:lnTo>
                    <a:lnTo>
                      <a:pt x="29" y="1322"/>
                    </a:lnTo>
                    <a:lnTo>
                      <a:pt x="37" y="1313"/>
                    </a:lnTo>
                    <a:lnTo>
                      <a:pt x="43" y="1305"/>
                    </a:lnTo>
                    <a:lnTo>
                      <a:pt x="56" y="1294"/>
                    </a:lnTo>
                    <a:lnTo>
                      <a:pt x="74" y="1280"/>
                    </a:lnTo>
                    <a:lnTo>
                      <a:pt x="82" y="1271"/>
                    </a:lnTo>
                    <a:lnTo>
                      <a:pt x="87" y="1262"/>
                    </a:lnTo>
                    <a:lnTo>
                      <a:pt x="92" y="1255"/>
                    </a:lnTo>
                    <a:lnTo>
                      <a:pt x="95" y="1247"/>
                    </a:lnTo>
                    <a:lnTo>
                      <a:pt x="99" y="1237"/>
                    </a:lnTo>
                    <a:lnTo>
                      <a:pt x="104" y="1225"/>
                    </a:lnTo>
                    <a:lnTo>
                      <a:pt x="108" y="1216"/>
                    </a:lnTo>
                    <a:lnTo>
                      <a:pt x="111" y="1209"/>
                    </a:lnTo>
                    <a:lnTo>
                      <a:pt x="117" y="1199"/>
                    </a:lnTo>
                    <a:lnTo>
                      <a:pt x="120" y="1187"/>
                    </a:lnTo>
                    <a:lnTo>
                      <a:pt x="123" y="1184"/>
                    </a:lnTo>
                    <a:lnTo>
                      <a:pt x="126" y="1181"/>
                    </a:lnTo>
                    <a:lnTo>
                      <a:pt x="132" y="1180"/>
                    </a:lnTo>
                    <a:lnTo>
                      <a:pt x="138" y="1180"/>
                    </a:lnTo>
                    <a:lnTo>
                      <a:pt x="152" y="1183"/>
                    </a:lnTo>
                    <a:lnTo>
                      <a:pt x="169" y="1186"/>
                    </a:lnTo>
                    <a:lnTo>
                      <a:pt x="176" y="1187"/>
                    </a:lnTo>
                    <a:lnTo>
                      <a:pt x="182" y="1189"/>
                    </a:lnTo>
                    <a:lnTo>
                      <a:pt x="187" y="1189"/>
                    </a:lnTo>
                    <a:lnTo>
                      <a:pt x="190" y="1187"/>
                    </a:lnTo>
                    <a:lnTo>
                      <a:pt x="193" y="1185"/>
                    </a:lnTo>
                    <a:lnTo>
                      <a:pt x="194" y="1183"/>
                    </a:lnTo>
                    <a:lnTo>
                      <a:pt x="195" y="1180"/>
                    </a:lnTo>
                    <a:lnTo>
                      <a:pt x="195" y="1176"/>
                    </a:lnTo>
                    <a:lnTo>
                      <a:pt x="195" y="1168"/>
                    </a:lnTo>
                    <a:lnTo>
                      <a:pt x="196" y="1164"/>
                    </a:lnTo>
                    <a:lnTo>
                      <a:pt x="201" y="1158"/>
                    </a:lnTo>
                    <a:lnTo>
                      <a:pt x="208" y="1149"/>
                    </a:lnTo>
                    <a:lnTo>
                      <a:pt x="219" y="1141"/>
                    </a:lnTo>
                    <a:lnTo>
                      <a:pt x="233" y="1133"/>
                    </a:lnTo>
                    <a:lnTo>
                      <a:pt x="239" y="1129"/>
                    </a:lnTo>
                    <a:lnTo>
                      <a:pt x="245" y="1126"/>
                    </a:lnTo>
                    <a:lnTo>
                      <a:pt x="250" y="1121"/>
                    </a:lnTo>
                    <a:lnTo>
                      <a:pt x="252" y="1116"/>
                    </a:lnTo>
                    <a:lnTo>
                      <a:pt x="255" y="1110"/>
                    </a:lnTo>
                    <a:lnTo>
                      <a:pt x="256" y="1104"/>
                    </a:lnTo>
                    <a:lnTo>
                      <a:pt x="257" y="1098"/>
                    </a:lnTo>
                    <a:lnTo>
                      <a:pt x="257" y="1091"/>
                    </a:lnTo>
                    <a:lnTo>
                      <a:pt x="256" y="1084"/>
                    </a:lnTo>
                    <a:lnTo>
                      <a:pt x="255" y="1078"/>
                    </a:lnTo>
                    <a:lnTo>
                      <a:pt x="251" y="1071"/>
                    </a:lnTo>
                    <a:lnTo>
                      <a:pt x="247" y="1065"/>
                    </a:lnTo>
                    <a:lnTo>
                      <a:pt x="243" y="1060"/>
                    </a:lnTo>
                    <a:lnTo>
                      <a:pt x="237" y="1057"/>
                    </a:lnTo>
                    <a:lnTo>
                      <a:pt x="231" y="1054"/>
                    </a:lnTo>
                    <a:lnTo>
                      <a:pt x="224" y="1051"/>
                    </a:lnTo>
                    <a:lnTo>
                      <a:pt x="211" y="1047"/>
                    </a:lnTo>
                    <a:lnTo>
                      <a:pt x="200" y="1041"/>
                    </a:lnTo>
                    <a:lnTo>
                      <a:pt x="196" y="1038"/>
                    </a:lnTo>
                    <a:lnTo>
                      <a:pt x="193" y="1033"/>
                    </a:lnTo>
                    <a:lnTo>
                      <a:pt x="192" y="1027"/>
                    </a:lnTo>
                    <a:lnTo>
                      <a:pt x="190" y="1020"/>
                    </a:lnTo>
                    <a:lnTo>
                      <a:pt x="190" y="1006"/>
                    </a:lnTo>
                    <a:lnTo>
                      <a:pt x="192" y="987"/>
                    </a:lnTo>
                    <a:lnTo>
                      <a:pt x="192" y="978"/>
                    </a:lnTo>
                    <a:lnTo>
                      <a:pt x="193" y="970"/>
                    </a:lnTo>
                    <a:lnTo>
                      <a:pt x="195" y="964"/>
                    </a:lnTo>
                    <a:lnTo>
                      <a:pt x="196" y="959"/>
                    </a:lnTo>
                    <a:lnTo>
                      <a:pt x="201" y="951"/>
                    </a:lnTo>
                    <a:lnTo>
                      <a:pt x="206" y="944"/>
                    </a:lnTo>
                    <a:lnTo>
                      <a:pt x="211" y="938"/>
                    </a:lnTo>
                    <a:lnTo>
                      <a:pt x="214" y="931"/>
                    </a:lnTo>
                    <a:lnTo>
                      <a:pt x="214" y="927"/>
                    </a:lnTo>
                    <a:lnTo>
                      <a:pt x="213" y="925"/>
                    </a:lnTo>
                    <a:lnTo>
                      <a:pt x="211" y="924"/>
                    </a:lnTo>
                    <a:lnTo>
                      <a:pt x="206" y="924"/>
                    </a:lnTo>
                    <a:lnTo>
                      <a:pt x="201" y="922"/>
                    </a:lnTo>
                    <a:lnTo>
                      <a:pt x="198" y="922"/>
                    </a:lnTo>
                    <a:lnTo>
                      <a:pt x="195" y="920"/>
                    </a:lnTo>
                    <a:lnTo>
                      <a:pt x="193" y="918"/>
                    </a:lnTo>
                    <a:lnTo>
                      <a:pt x="192" y="915"/>
                    </a:lnTo>
                    <a:lnTo>
                      <a:pt x="190" y="912"/>
                    </a:lnTo>
                    <a:lnTo>
                      <a:pt x="190" y="907"/>
                    </a:lnTo>
                    <a:lnTo>
                      <a:pt x="190" y="902"/>
                    </a:lnTo>
                    <a:lnTo>
                      <a:pt x="193" y="891"/>
                    </a:lnTo>
                    <a:lnTo>
                      <a:pt x="199" y="880"/>
                    </a:lnTo>
                    <a:lnTo>
                      <a:pt x="206" y="868"/>
                    </a:lnTo>
                    <a:lnTo>
                      <a:pt x="213" y="858"/>
                    </a:lnTo>
                    <a:lnTo>
                      <a:pt x="218" y="853"/>
                    </a:lnTo>
                    <a:lnTo>
                      <a:pt x="221" y="847"/>
                    </a:lnTo>
                    <a:lnTo>
                      <a:pt x="223" y="842"/>
                    </a:lnTo>
                    <a:lnTo>
                      <a:pt x="223" y="832"/>
                    </a:lnTo>
                    <a:lnTo>
                      <a:pt x="223" y="828"/>
                    </a:lnTo>
                    <a:lnTo>
                      <a:pt x="221" y="825"/>
                    </a:lnTo>
                    <a:lnTo>
                      <a:pt x="220" y="823"/>
                    </a:lnTo>
                    <a:lnTo>
                      <a:pt x="219" y="821"/>
                    </a:lnTo>
                    <a:lnTo>
                      <a:pt x="213" y="820"/>
                    </a:lnTo>
                    <a:lnTo>
                      <a:pt x="203" y="820"/>
                    </a:lnTo>
                    <a:lnTo>
                      <a:pt x="198" y="820"/>
                    </a:lnTo>
                    <a:lnTo>
                      <a:pt x="193" y="818"/>
                    </a:lnTo>
                    <a:lnTo>
                      <a:pt x="189" y="815"/>
                    </a:lnTo>
                    <a:lnTo>
                      <a:pt x="186" y="813"/>
                    </a:lnTo>
                    <a:lnTo>
                      <a:pt x="182" y="808"/>
                    </a:lnTo>
                    <a:lnTo>
                      <a:pt x="180" y="805"/>
                    </a:lnTo>
                    <a:lnTo>
                      <a:pt x="180" y="801"/>
                    </a:lnTo>
                    <a:lnTo>
                      <a:pt x="181" y="795"/>
                    </a:lnTo>
                    <a:lnTo>
                      <a:pt x="182" y="788"/>
                    </a:lnTo>
                    <a:lnTo>
                      <a:pt x="183" y="780"/>
                    </a:lnTo>
                    <a:lnTo>
                      <a:pt x="183" y="770"/>
                    </a:lnTo>
                    <a:lnTo>
                      <a:pt x="182" y="758"/>
                    </a:lnTo>
                    <a:lnTo>
                      <a:pt x="180" y="745"/>
                    </a:lnTo>
                    <a:lnTo>
                      <a:pt x="177" y="733"/>
                    </a:lnTo>
                    <a:lnTo>
                      <a:pt x="176" y="723"/>
                    </a:lnTo>
                    <a:lnTo>
                      <a:pt x="176" y="712"/>
                    </a:lnTo>
                    <a:lnTo>
                      <a:pt x="175" y="692"/>
                    </a:lnTo>
                    <a:lnTo>
                      <a:pt x="174" y="679"/>
                    </a:lnTo>
                    <a:lnTo>
                      <a:pt x="173" y="675"/>
                    </a:lnTo>
                    <a:lnTo>
                      <a:pt x="170" y="673"/>
                    </a:lnTo>
                    <a:lnTo>
                      <a:pt x="168" y="672"/>
                    </a:lnTo>
                    <a:lnTo>
                      <a:pt x="164" y="670"/>
                    </a:lnTo>
                    <a:lnTo>
                      <a:pt x="161" y="670"/>
                    </a:lnTo>
                    <a:lnTo>
                      <a:pt x="157" y="669"/>
                    </a:lnTo>
                    <a:lnTo>
                      <a:pt x="154" y="668"/>
                    </a:lnTo>
                    <a:lnTo>
                      <a:pt x="151" y="664"/>
                    </a:lnTo>
                    <a:lnTo>
                      <a:pt x="151" y="662"/>
                    </a:lnTo>
                    <a:lnTo>
                      <a:pt x="151" y="658"/>
                    </a:lnTo>
                    <a:lnTo>
                      <a:pt x="152" y="656"/>
                    </a:lnTo>
                    <a:lnTo>
                      <a:pt x="154" y="654"/>
                    </a:lnTo>
                    <a:lnTo>
                      <a:pt x="159" y="650"/>
                    </a:lnTo>
                    <a:lnTo>
                      <a:pt x="168" y="649"/>
                    </a:lnTo>
                    <a:lnTo>
                      <a:pt x="171" y="648"/>
                    </a:lnTo>
                    <a:lnTo>
                      <a:pt x="174" y="647"/>
                    </a:lnTo>
                    <a:lnTo>
                      <a:pt x="175" y="644"/>
                    </a:lnTo>
                    <a:lnTo>
                      <a:pt x="176" y="642"/>
                    </a:lnTo>
                    <a:lnTo>
                      <a:pt x="177" y="638"/>
                    </a:lnTo>
                    <a:lnTo>
                      <a:pt x="179" y="636"/>
                    </a:lnTo>
                    <a:lnTo>
                      <a:pt x="180" y="632"/>
                    </a:lnTo>
                    <a:lnTo>
                      <a:pt x="182" y="631"/>
                    </a:lnTo>
                    <a:lnTo>
                      <a:pt x="186" y="629"/>
                    </a:lnTo>
                    <a:lnTo>
                      <a:pt x="188" y="626"/>
                    </a:lnTo>
                    <a:lnTo>
                      <a:pt x="189" y="624"/>
                    </a:lnTo>
                    <a:lnTo>
                      <a:pt x="190" y="622"/>
                    </a:lnTo>
                    <a:lnTo>
                      <a:pt x="190" y="619"/>
                    </a:lnTo>
                    <a:lnTo>
                      <a:pt x="189" y="616"/>
                    </a:lnTo>
                    <a:lnTo>
                      <a:pt x="188" y="613"/>
                    </a:lnTo>
                    <a:lnTo>
                      <a:pt x="186" y="610"/>
                    </a:lnTo>
                    <a:lnTo>
                      <a:pt x="180" y="601"/>
                    </a:lnTo>
                    <a:lnTo>
                      <a:pt x="174" y="591"/>
                    </a:lnTo>
                    <a:lnTo>
                      <a:pt x="171" y="585"/>
                    </a:lnTo>
                    <a:lnTo>
                      <a:pt x="170" y="578"/>
                    </a:lnTo>
                    <a:lnTo>
                      <a:pt x="169" y="572"/>
                    </a:lnTo>
                    <a:lnTo>
                      <a:pt x="168" y="566"/>
                    </a:lnTo>
                    <a:lnTo>
                      <a:pt x="169" y="554"/>
                    </a:lnTo>
                    <a:lnTo>
                      <a:pt x="171" y="540"/>
                    </a:lnTo>
                    <a:lnTo>
                      <a:pt x="175" y="527"/>
                    </a:lnTo>
                    <a:lnTo>
                      <a:pt x="181" y="515"/>
                    </a:lnTo>
                    <a:lnTo>
                      <a:pt x="187" y="504"/>
                    </a:lnTo>
                    <a:lnTo>
                      <a:pt x="193" y="493"/>
                    </a:lnTo>
                    <a:lnTo>
                      <a:pt x="194" y="489"/>
                    </a:lnTo>
                    <a:lnTo>
                      <a:pt x="194" y="484"/>
                    </a:lnTo>
                    <a:lnTo>
                      <a:pt x="193" y="479"/>
                    </a:lnTo>
                    <a:lnTo>
                      <a:pt x="190" y="475"/>
                    </a:lnTo>
                    <a:lnTo>
                      <a:pt x="182" y="467"/>
                    </a:lnTo>
                    <a:lnTo>
                      <a:pt x="174" y="459"/>
                    </a:lnTo>
                    <a:lnTo>
                      <a:pt x="171" y="455"/>
                    </a:lnTo>
                    <a:lnTo>
                      <a:pt x="171" y="452"/>
                    </a:lnTo>
                    <a:lnTo>
                      <a:pt x="171" y="447"/>
                    </a:lnTo>
                    <a:lnTo>
                      <a:pt x="173" y="443"/>
                    </a:lnTo>
                    <a:lnTo>
                      <a:pt x="176" y="434"/>
                    </a:lnTo>
                    <a:lnTo>
                      <a:pt x="180" y="429"/>
                    </a:lnTo>
                    <a:lnTo>
                      <a:pt x="182" y="426"/>
                    </a:lnTo>
                    <a:lnTo>
                      <a:pt x="184" y="423"/>
                    </a:lnTo>
                    <a:lnTo>
                      <a:pt x="186" y="418"/>
                    </a:lnTo>
                    <a:lnTo>
                      <a:pt x="186" y="412"/>
                    </a:lnTo>
                    <a:lnTo>
                      <a:pt x="187" y="408"/>
                    </a:lnTo>
                    <a:lnTo>
                      <a:pt x="188" y="404"/>
                    </a:lnTo>
                    <a:lnTo>
                      <a:pt x="189" y="401"/>
                    </a:lnTo>
                    <a:lnTo>
                      <a:pt x="192" y="398"/>
                    </a:lnTo>
                    <a:lnTo>
                      <a:pt x="195" y="396"/>
                    </a:lnTo>
                    <a:lnTo>
                      <a:pt x="200" y="395"/>
                    </a:lnTo>
                    <a:lnTo>
                      <a:pt x="203" y="393"/>
                    </a:lnTo>
                    <a:lnTo>
                      <a:pt x="208" y="391"/>
                    </a:lnTo>
                    <a:lnTo>
                      <a:pt x="211" y="387"/>
                    </a:lnTo>
                    <a:lnTo>
                      <a:pt x="213" y="383"/>
                    </a:lnTo>
                    <a:lnTo>
                      <a:pt x="211" y="374"/>
                    </a:lnTo>
                    <a:lnTo>
                      <a:pt x="208" y="364"/>
                    </a:lnTo>
                    <a:lnTo>
                      <a:pt x="207" y="358"/>
                    </a:lnTo>
                    <a:lnTo>
                      <a:pt x="207" y="352"/>
                    </a:lnTo>
                    <a:lnTo>
                      <a:pt x="208" y="346"/>
                    </a:lnTo>
                    <a:lnTo>
                      <a:pt x="211" y="341"/>
                    </a:lnTo>
                    <a:lnTo>
                      <a:pt x="219" y="335"/>
                    </a:lnTo>
                    <a:lnTo>
                      <a:pt x="225" y="332"/>
                    </a:lnTo>
                    <a:lnTo>
                      <a:pt x="230" y="329"/>
                    </a:lnTo>
                    <a:lnTo>
                      <a:pt x="232" y="327"/>
                    </a:lnTo>
                    <a:lnTo>
                      <a:pt x="234" y="325"/>
                    </a:lnTo>
                    <a:lnTo>
                      <a:pt x="236" y="322"/>
                    </a:lnTo>
                    <a:lnTo>
                      <a:pt x="236" y="316"/>
                    </a:lnTo>
                    <a:lnTo>
                      <a:pt x="236" y="308"/>
                    </a:lnTo>
                    <a:lnTo>
                      <a:pt x="236" y="302"/>
                    </a:lnTo>
                    <a:lnTo>
                      <a:pt x="236" y="295"/>
                    </a:lnTo>
                    <a:lnTo>
                      <a:pt x="237" y="289"/>
                    </a:lnTo>
                    <a:lnTo>
                      <a:pt x="239" y="284"/>
                    </a:lnTo>
                    <a:lnTo>
                      <a:pt x="245" y="275"/>
                    </a:lnTo>
                    <a:lnTo>
                      <a:pt x="252" y="263"/>
                    </a:lnTo>
                    <a:lnTo>
                      <a:pt x="259" y="251"/>
                    </a:lnTo>
                    <a:lnTo>
                      <a:pt x="265" y="242"/>
                    </a:lnTo>
                    <a:lnTo>
                      <a:pt x="270" y="237"/>
                    </a:lnTo>
                    <a:lnTo>
                      <a:pt x="276" y="231"/>
                    </a:lnTo>
                    <a:lnTo>
                      <a:pt x="283" y="226"/>
                    </a:lnTo>
                    <a:lnTo>
                      <a:pt x="290" y="223"/>
                    </a:lnTo>
                    <a:lnTo>
                      <a:pt x="305" y="222"/>
                    </a:lnTo>
                    <a:lnTo>
                      <a:pt x="318" y="222"/>
                    </a:lnTo>
                    <a:lnTo>
                      <a:pt x="327" y="225"/>
                    </a:lnTo>
                    <a:lnTo>
                      <a:pt x="333" y="226"/>
                    </a:lnTo>
                    <a:lnTo>
                      <a:pt x="334" y="226"/>
                    </a:lnTo>
                    <a:lnTo>
                      <a:pt x="337" y="225"/>
                    </a:lnTo>
                    <a:lnTo>
                      <a:pt x="340" y="222"/>
                    </a:lnTo>
                    <a:lnTo>
                      <a:pt x="343" y="220"/>
                    </a:lnTo>
                    <a:lnTo>
                      <a:pt x="346" y="216"/>
                    </a:lnTo>
                    <a:lnTo>
                      <a:pt x="349" y="212"/>
                    </a:lnTo>
                    <a:lnTo>
                      <a:pt x="352" y="206"/>
                    </a:lnTo>
                    <a:lnTo>
                      <a:pt x="353" y="200"/>
                    </a:lnTo>
                    <a:lnTo>
                      <a:pt x="356" y="193"/>
                    </a:lnTo>
                    <a:lnTo>
                      <a:pt x="358" y="187"/>
                    </a:lnTo>
                    <a:lnTo>
                      <a:pt x="362" y="181"/>
                    </a:lnTo>
                    <a:lnTo>
                      <a:pt x="366" y="176"/>
                    </a:lnTo>
                    <a:lnTo>
                      <a:pt x="372" y="171"/>
                    </a:lnTo>
                    <a:lnTo>
                      <a:pt x="381" y="168"/>
                    </a:lnTo>
                    <a:lnTo>
                      <a:pt x="390" y="165"/>
                    </a:lnTo>
                    <a:lnTo>
                      <a:pt x="402" y="163"/>
                    </a:lnTo>
                    <a:lnTo>
                      <a:pt x="425" y="163"/>
                    </a:lnTo>
                    <a:lnTo>
                      <a:pt x="442" y="164"/>
                    </a:lnTo>
                    <a:lnTo>
                      <a:pt x="451" y="165"/>
                    </a:lnTo>
                    <a:lnTo>
                      <a:pt x="458" y="165"/>
                    </a:lnTo>
                    <a:lnTo>
                      <a:pt x="465" y="164"/>
                    </a:lnTo>
                    <a:lnTo>
                      <a:pt x="473" y="163"/>
                    </a:lnTo>
                    <a:lnTo>
                      <a:pt x="488" y="158"/>
                    </a:lnTo>
                    <a:lnTo>
                      <a:pt x="501" y="157"/>
                    </a:lnTo>
                    <a:lnTo>
                      <a:pt x="508" y="158"/>
                    </a:lnTo>
                    <a:lnTo>
                      <a:pt x="515" y="160"/>
                    </a:lnTo>
                    <a:lnTo>
                      <a:pt x="521" y="164"/>
                    </a:lnTo>
                    <a:lnTo>
                      <a:pt x="528" y="170"/>
                    </a:lnTo>
                    <a:lnTo>
                      <a:pt x="547" y="190"/>
                    </a:lnTo>
                    <a:lnTo>
                      <a:pt x="558" y="204"/>
                    </a:lnTo>
                    <a:lnTo>
                      <a:pt x="561" y="209"/>
                    </a:lnTo>
                    <a:lnTo>
                      <a:pt x="567" y="212"/>
                    </a:lnTo>
                    <a:lnTo>
                      <a:pt x="573" y="212"/>
                    </a:lnTo>
                    <a:lnTo>
                      <a:pt x="580" y="212"/>
                    </a:lnTo>
                    <a:lnTo>
                      <a:pt x="585" y="215"/>
                    </a:lnTo>
                    <a:lnTo>
                      <a:pt x="591" y="218"/>
                    </a:lnTo>
                    <a:lnTo>
                      <a:pt x="596" y="216"/>
                    </a:lnTo>
                    <a:lnTo>
                      <a:pt x="599" y="215"/>
                    </a:lnTo>
                    <a:lnTo>
                      <a:pt x="602" y="212"/>
                    </a:lnTo>
                    <a:lnTo>
                      <a:pt x="606" y="207"/>
                    </a:lnTo>
                    <a:lnTo>
                      <a:pt x="610" y="201"/>
                    </a:lnTo>
                    <a:lnTo>
                      <a:pt x="615" y="197"/>
                    </a:lnTo>
                    <a:lnTo>
                      <a:pt x="621" y="195"/>
                    </a:lnTo>
                    <a:lnTo>
                      <a:pt x="627" y="194"/>
                    </a:lnTo>
                    <a:lnTo>
                      <a:pt x="635" y="193"/>
                    </a:lnTo>
                    <a:lnTo>
                      <a:pt x="645" y="191"/>
                    </a:lnTo>
                    <a:lnTo>
                      <a:pt x="654" y="190"/>
                    </a:lnTo>
                    <a:lnTo>
                      <a:pt x="664" y="187"/>
                    </a:lnTo>
                    <a:lnTo>
                      <a:pt x="669" y="184"/>
                    </a:lnTo>
                    <a:lnTo>
                      <a:pt x="674" y="182"/>
                    </a:lnTo>
                    <a:lnTo>
                      <a:pt x="678" y="177"/>
                    </a:lnTo>
                    <a:lnTo>
                      <a:pt x="681" y="172"/>
                    </a:lnTo>
                    <a:lnTo>
                      <a:pt x="684" y="168"/>
                    </a:lnTo>
                    <a:lnTo>
                      <a:pt x="685" y="163"/>
                    </a:lnTo>
                    <a:lnTo>
                      <a:pt x="686" y="158"/>
                    </a:lnTo>
                    <a:lnTo>
                      <a:pt x="685" y="153"/>
                    </a:lnTo>
                    <a:lnTo>
                      <a:pt x="684" y="149"/>
                    </a:lnTo>
                    <a:lnTo>
                      <a:pt x="681" y="144"/>
                    </a:lnTo>
                    <a:lnTo>
                      <a:pt x="679" y="139"/>
                    </a:lnTo>
                    <a:lnTo>
                      <a:pt x="675" y="136"/>
                    </a:lnTo>
                    <a:lnTo>
                      <a:pt x="667" y="127"/>
                    </a:lnTo>
                    <a:lnTo>
                      <a:pt x="658" y="120"/>
                    </a:lnTo>
                    <a:lnTo>
                      <a:pt x="648" y="113"/>
                    </a:lnTo>
                    <a:lnTo>
                      <a:pt x="640" y="106"/>
                    </a:lnTo>
                    <a:lnTo>
                      <a:pt x="634" y="99"/>
                    </a:lnTo>
                    <a:lnTo>
                      <a:pt x="630" y="92"/>
                    </a:lnTo>
                    <a:lnTo>
                      <a:pt x="629" y="88"/>
                    </a:lnTo>
                    <a:lnTo>
                      <a:pt x="629" y="84"/>
                    </a:lnTo>
                    <a:lnTo>
                      <a:pt x="630" y="81"/>
                    </a:lnTo>
                    <a:lnTo>
                      <a:pt x="631" y="78"/>
                    </a:lnTo>
                    <a:lnTo>
                      <a:pt x="636" y="74"/>
                    </a:lnTo>
                    <a:lnTo>
                      <a:pt x="641" y="71"/>
                    </a:lnTo>
                    <a:lnTo>
                      <a:pt x="643" y="70"/>
                    </a:lnTo>
                    <a:lnTo>
                      <a:pt x="643" y="68"/>
                    </a:lnTo>
                    <a:lnTo>
                      <a:pt x="642" y="64"/>
                    </a:lnTo>
                    <a:lnTo>
                      <a:pt x="640" y="61"/>
                    </a:lnTo>
                    <a:lnTo>
                      <a:pt x="634" y="51"/>
                    </a:lnTo>
                    <a:lnTo>
                      <a:pt x="627" y="43"/>
                    </a:lnTo>
                    <a:lnTo>
                      <a:pt x="624" y="38"/>
                    </a:lnTo>
                    <a:lnTo>
                      <a:pt x="623" y="36"/>
                    </a:lnTo>
                    <a:lnTo>
                      <a:pt x="623" y="32"/>
                    </a:lnTo>
                    <a:lnTo>
                      <a:pt x="625" y="30"/>
                    </a:lnTo>
                    <a:lnTo>
                      <a:pt x="631" y="25"/>
                    </a:lnTo>
                    <a:lnTo>
                      <a:pt x="641" y="19"/>
                    </a:lnTo>
                    <a:lnTo>
                      <a:pt x="646" y="17"/>
                    </a:lnTo>
                    <a:lnTo>
                      <a:pt x="653" y="15"/>
                    </a:lnTo>
                    <a:lnTo>
                      <a:pt x="660" y="15"/>
                    </a:lnTo>
                    <a:lnTo>
                      <a:pt x="668" y="15"/>
                    </a:lnTo>
                    <a:lnTo>
                      <a:pt x="675" y="18"/>
                    </a:lnTo>
                    <a:lnTo>
                      <a:pt x="684" y="20"/>
                    </a:lnTo>
                    <a:lnTo>
                      <a:pt x="691" y="23"/>
                    </a:lnTo>
                    <a:lnTo>
                      <a:pt x="697" y="26"/>
                    </a:lnTo>
                    <a:lnTo>
                      <a:pt x="702" y="30"/>
                    </a:lnTo>
                    <a:lnTo>
                      <a:pt x="706" y="32"/>
                    </a:lnTo>
                    <a:lnTo>
                      <a:pt x="712" y="34"/>
                    </a:lnTo>
                    <a:lnTo>
                      <a:pt x="717" y="34"/>
                    </a:lnTo>
                    <a:lnTo>
                      <a:pt x="721" y="34"/>
                    </a:lnTo>
                    <a:lnTo>
                      <a:pt x="724" y="33"/>
                    </a:lnTo>
                    <a:lnTo>
                      <a:pt x="727" y="31"/>
                    </a:lnTo>
                    <a:lnTo>
                      <a:pt x="728" y="26"/>
                    </a:lnTo>
                    <a:lnTo>
                      <a:pt x="730" y="18"/>
                    </a:lnTo>
                    <a:lnTo>
                      <a:pt x="731" y="10"/>
                    </a:lnTo>
                    <a:lnTo>
                      <a:pt x="734" y="7"/>
                    </a:lnTo>
                    <a:lnTo>
                      <a:pt x="736" y="5"/>
                    </a:lnTo>
                    <a:lnTo>
                      <a:pt x="740" y="2"/>
                    </a:lnTo>
                    <a:lnTo>
                      <a:pt x="744" y="1"/>
                    </a:lnTo>
                    <a:lnTo>
                      <a:pt x="757" y="0"/>
                    </a:lnTo>
                    <a:lnTo>
                      <a:pt x="771" y="0"/>
                    </a:lnTo>
                    <a:lnTo>
                      <a:pt x="778" y="1"/>
                    </a:lnTo>
                    <a:lnTo>
                      <a:pt x="782" y="2"/>
                    </a:lnTo>
                    <a:lnTo>
                      <a:pt x="787" y="5"/>
                    </a:lnTo>
                    <a:lnTo>
                      <a:pt x="788" y="7"/>
                    </a:lnTo>
                    <a:lnTo>
                      <a:pt x="792" y="15"/>
                    </a:lnTo>
                    <a:lnTo>
                      <a:pt x="794" y="25"/>
                    </a:lnTo>
                    <a:lnTo>
                      <a:pt x="797" y="29"/>
                    </a:lnTo>
                    <a:lnTo>
                      <a:pt x="799" y="32"/>
                    </a:lnTo>
                    <a:lnTo>
                      <a:pt x="801" y="34"/>
                    </a:lnTo>
                    <a:lnTo>
                      <a:pt x="804" y="36"/>
                    </a:lnTo>
                    <a:lnTo>
                      <a:pt x="816" y="34"/>
                    </a:lnTo>
                    <a:lnTo>
                      <a:pt x="832" y="34"/>
                    </a:lnTo>
                    <a:lnTo>
                      <a:pt x="853" y="34"/>
                    </a:lnTo>
                    <a:lnTo>
                      <a:pt x="872" y="34"/>
                    </a:lnTo>
                    <a:lnTo>
                      <a:pt x="885" y="36"/>
                    </a:lnTo>
                    <a:lnTo>
                      <a:pt x="899" y="38"/>
                    </a:lnTo>
                    <a:lnTo>
                      <a:pt x="913" y="43"/>
                    </a:lnTo>
                    <a:lnTo>
                      <a:pt x="926" y="50"/>
                    </a:lnTo>
                    <a:lnTo>
                      <a:pt x="930" y="52"/>
                    </a:lnTo>
                    <a:lnTo>
                      <a:pt x="933" y="55"/>
                    </a:lnTo>
                    <a:lnTo>
                      <a:pt x="937" y="58"/>
                    </a:lnTo>
                    <a:lnTo>
                      <a:pt x="939" y="64"/>
                    </a:lnTo>
                    <a:lnTo>
                      <a:pt x="942" y="69"/>
                    </a:lnTo>
                    <a:lnTo>
                      <a:pt x="945" y="74"/>
                    </a:lnTo>
                    <a:lnTo>
                      <a:pt x="948" y="77"/>
                    </a:lnTo>
                    <a:lnTo>
                      <a:pt x="950" y="78"/>
                    </a:lnTo>
                    <a:lnTo>
                      <a:pt x="955" y="80"/>
                    </a:lnTo>
                    <a:lnTo>
                      <a:pt x="958" y="82"/>
                    </a:lnTo>
                    <a:lnTo>
                      <a:pt x="960" y="87"/>
                    </a:lnTo>
                    <a:lnTo>
                      <a:pt x="962" y="90"/>
                    </a:lnTo>
                    <a:lnTo>
                      <a:pt x="964" y="94"/>
                    </a:lnTo>
                    <a:lnTo>
                      <a:pt x="969" y="95"/>
                    </a:lnTo>
                    <a:lnTo>
                      <a:pt x="974" y="95"/>
                    </a:lnTo>
                    <a:lnTo>
                      <a:pt x="977" y="93"/>
                    </a:lnTo>
                    <a:lnTo>
                      <a:pt x="981" y="90"/>
                    </a:lnTo>
                    <a:lnTo>
                      <a:pt x="984" y="88"/>
                    </a:lnTo>
                    <a:lnTo>
                      <a:pt x="989" y="88"/>
                    </a:lnTo>
                    <a:lnTo>
                      <a:pt x="995" y="90"/>
                    </a:lnTo>
                    <a:lnTo>
                      <a:pt x="1011" y="97"/>
                    </a:lnTo>
                    <a:lnTo>
                      <a:pt x="1026" y="102"/>
                    </a:lnTo>
                    <a:lnTo>
                      <a:pt x="1040" y="102"/>
                    </a:lnTo>
                    <a:lnTo>
                      <a:pt x="1057" y="101"/>
                    </a:lnTo>
                    <a:lnTo>
                      <a:pt x="1075" y="100"/>
                    </a:lnTo>
                    <a:lnTo>
                      <a:pt x="1091" y="99"/>
                    </a:lnTo>
                    <a:lnTo>
                      <a:pt x="1099" y="99"/>
                    </a:lnTo>
                    <a:lnTo>
                      <a:pt x="1105" y="100"/>
                    </a:lnTo>
                    <a:lnTo>
                      <a:pt x="1110" y="102"/>
                    </a:lnTo>
                    <a:lnTo>
                      <a:pt x="1116" y="105"/>
                    </a:lnTo>
                    <a:lnTo>
                      <a:pt x="1127" y="111"/>
                    </a:lnTo>
                    <a:lnTo>
                      <a:pt x="1139" y="116"/>
                    </a:lnTo>
                    <a:lnTo>
                      <a:pt x="1152" y="125"/>
                    </a:lnTo>
                    <a:lnTo>
                      <a:pt x="1166" y="133"/>
                    </a:lnTo>
                    <a:lnTo>
                      <a:pt x="1178" y="141"/>
                    </a:lnTo>
                    <a:lnTo>
                      <a:pt x="1188" y="150"/>
                    </a:lnTo>
                    <a:lnTo>
                      <a:pt x="1194" y="156"/>
                    </a:lnTo>
                    <a:lnTo>
                      <a:pt x="1198" y="159"/>
                    </a:lnTo>
                    <a:lnTo>
                      <a:pt x="1203" y="162"/>
                    </a:lnTo>
                    <a:lnTo>
                      <a:pt x="1207" y="162"/>
                    </a:lnTo>
                    <a:lnTo>
                      <a:pt x="1209" y="163"/>
                    </a:lnTo>
                    <a:lnTo>
                      <a:pt x="1212" y="163"/>
                    </a:lnTo>
                    <a:lnTo>
                      <a:pt x="1213" y="165"/>
                    </a:lnTo>
                    <a:lnTo>
                      <a:pt x="1214" y="168"/>
                    </a:lnTo>
                    <a:lnTo>
                      <a:pt x="1216" y="174"/>
                    </a:lnTo>
                    <a:lnTo>
                      <a:pt x="1220" y="182"/>
                    </a:lnTo>
                    <a:lnTo>
                      <a:pt x="1222" y="189"/>
                    </a:lnTo>
                    <a:lnTo>
                      <a:pt x="1226" y="195"/>
                    </a:lnTo>
                    <a:lnTo>
                      <a:pt x="1227" y="197"/>
                    </a:lnTo>
                    <a:lnTo>
                      <a:pt x="1229" y="199"/>
                    </a:lnTo>
                    <a:lnTo>
                      <a:pt x="1233" y="200"/>
                    </a:lnTo>
                    <a:lnTo>
                      <a:pt x="1237" y="200"/>
                    </a:lnTo>
                    <a:lnTo>
                      <a:pt x="1242" y="201"/>
                    </a:lnTo>
                    <a:lnTo>
                      <a:pt x="1246" y="203"/>
                    </a:lnTo>
                    <a:lnTo>
                      <a:pt x="1250" y="207"/>
                    </a:lnTo>
                    <a:lnTo>
                      <a:pt x="1253" y="212"/>
                    </a:lnTo>
                    <a:lnTo>
                      <a:pt x="1254" y="214"/>
                    </a:lnTo>
                    <a:lnTo>
                      <a:pt x="1257" y="215"/>
                    </a:lnTo>
                    <a:lnTo>
                      <a:pt x="1259" y="216"/>
                    </a:lnTo>
                    <a:lnTo>
                      <a:pt x="1261" y="216"/>
                    </a:lnTo>
                    <a:lnTo>
                      <a:pt x="1267" y="215"/>
                    </a:lnTo>
                    <a:lnTo>
                      <a:pt x="1272" y="212"/>
                    </a:lnTo>
                    <a:lnTo>
                      <a:pt x="1275" y="209"/>
                    </a:lnTo>
                    <a:lnTo>
                      <a:pt x="1277" y="207"/>
                    </a:lnTo>
                    <a:lnTo>
                      <a:pt x="1280" y="206"/>
                    </a:lnTo>
                    <a:lnTo>
                      <a:pt x="1284" y="204"/>
                    </a:lnTo>
                    <a:lnTo>
                      <a:pt x="1288" y="206"/>
                    </a:lnTo>
                    <a:lnTo>
                      <a:pt x="1290" y="207"/>
                    </a:lnTo>
                    <a:lnTo>
                      <a:pt x="1294" y="212"/>
                    </a:lnTo>
                    <a:lnTo>
                      <a:pt x="1297" y="218"/>
                    </a:lnTo>
                    <a:lnTo>
                      <a:pt x="1302" y="229"/>
                    </a:lnTo>
                    <a:lnTo>
                      <a:pt x="1304" y="240"/>
                    </a:lnTo>
                    <a:lnTo>
                      <a:pt x="1305" y="248"/>
                    </a:lnTo>
                    <a:lnTo>
                      <a:pt x="1305" y="257"/>
                    </a:lnTo>
                    <a:lnTo>
                      <a:pt x="1305" y="260"/>
                    </a:lnTo>
                    <a:lnTo>
                      <a:pt x="1307" y="262"/>
                    </a:lnTo>
                    <a:lnTo>
                      <a:pt x="1309" y="263"/>
                    </a:lnTo>
                    <a:lnTo>
                      <a:pt x="1313" y="263"/>
                    </a:lnTo>
                    <a:lnTo>
                      <a:pt x="1321" y="259"/>
                    </a:lnTo>
                    <a:lnTo>
                      <a:pt x="1330" y="253"/>
                    </a:lnTo>
                    <a:lnTo>
                      <a:pt x="1339" y="246"/>
                    </a:lnTo>
                    <a:lnTo>
                      <a:pt x="1346" y="238"/>
                    </a:lnTo>
                    <a:lnTo>
                      <a:pt x="1353" y="229"/>
                    </a:lnTo>
                    <a:lnTo>
                      <a:pt x="1358" y="222"/>
                    </a:lnTo>
                    <a:lnTo>
                      <a:pt x="1361" y="219"/>
                    </a:lnTo>
                    <a:lnTo>
                      <a:pt x="1365" y="216"/>
                    </a:lnTo>
                    <a:lnTo>
                      <a:pt x="1370" y="214"/>
                    </a:lnTo>
                    <a:lnTo>
                      <a:pt x="1376" y="213"/>
                    </a:lnTo>
                    <a:lnTo>
                      <a:pt x="1389" y="213"/>
                    </a:lnTo>
                    <a:lnTo>
                      <a:pt x="1402" y="215"/>
                    </a:lnTo>
                    <a:lnTo>
                      <a:pt x="1415" y="218"/>
                    </a:lnTo>
                    <a:lnTo>
                      <a:pt x="1424" y="221"/>
                    </a:lnTo>
                    <a:lnTo>
                      <a:pt x="1434" y="225"/>
                    </a:lnTo>
                    <a:lnTo>
                      <a:pt x="1441" y="228"/>
                    </a:lnTo>
                    <a:lnTo>
                      <a:pt x="1445" y="229"/>
                    </a:lnTo>
                    <a:lnTo>
                      <a:pt x="1447" y="229"/>
                    </a:lnTo>
                    <a:lnTo>
                      <a:pt x="1449" y="229"/>
                    </a:lnTo>
                    <a:lnTo>
                      <a:pt x="1452" y="228"/>
                    </a:lnTo>
                    <a:lnTo>
                      <a:pt x="1455" y="223"/>
                    </a:lnTo>
                    <a:lnTo>
                      <a:pt x="1461" y="215"/>
                    </a:lnTo>
                    <a:lnTo>
                      <a:pt x="1477" y="201"/>
                    </a:lnTo>
                    <a:lnTo>
                      <a:pt x="1491" y="187"/>
                    </a:lnTo>
                    <a:lnTo>
                      <a:pt x="1493" y="182"/>
                    </a:lnTo>
                    <a:lnTo>
                      <a:pt x="1496" y="177"/>
                    </a:lnTo>
                    <a:lnTo>
                      <a:pt x="1497" y="174"/>
                    </a:lnTo>
                    <a:lnTo>
                      <a:pt x="1498" y="169"/>
                    </a:lnTo>
                    <a:lnTo>
                      <a:pt x="1498" y="162"/>
                    </a:lnTo>
                    <a:lnTo>
                      <a:pt x="1499" y="156"/>
                    </a:lnTo>
                    <a:lnTo>
                      <a:pt x="1503" y="151"/>
                    </a:lnTo>
                    <a:lnTo>
                      <a:pt x="1510" y="146"/>
                    </a:lnTo>
                    <a:lnTo>
                      <a:pt x="1513" y="143"/>
                    </a:lnTo>
                    <a:lnTo>
                      <a:pt x="1518" y="140"/>
                    </a:lnTo>
                    <a:lnTo>
                      <a:pt x="1523" y="140"/>
                    </a:lnTo>
                    <a:lnTo>
                      <a:pt x="1527" y="141"/>
                    </a:lnTo>
                    <a:lnTo>
                      <a:pt x="1530" y="145"/>
                    </a:lnTo>
                    <a:lnTo>
                      <a:pt x="1531" y="149"/>
                    </a:lnTo>
                    <a:lnTo>
                      <a:pt x="1534" y="153"/>
                    </a:lnTo>
                    <a:lnTo>
                      <a:pt x="1535" y="159"/>
                    </a:lnTo>
                    <a:lnTo>
                      <a:pt x="1536" y="172"/>
                    </a:lnTo>
                    <a:lnTo>
                      <a:pt x="1536" y="184"/>
                    </a:lnTo>
                    <a:lnTo>
                      <a:pt x="1538" y="183"/>
                    </a:lnTo>
                    <a:lnTo>
                      <a:pt x="1546" y="177"/>
                    </a:lnTo>
                    <a:lnTo>
                      <a:pt x="1554" y="169"/>
                    </a:lnTo>
                    <a:lnTo>
                      <a:pt x="1559" y="160"/>
                    </a:lnTo>
                    <a:lnTo>
                      <a:pt x="1561" y="157"/>
                    </a:lnTo>
                    <a:lnTo>
                      <a:pt x="1565" y="150"/>
                    </a:lnTo>
                    <a:lnTo>
                      <a:pt x="1567" y="146"/>
                    </a:lnTo>
                    <a:lnTo>
                      <a:pt x="1569" y="144"/>
                    </a:lnTo>
                    <a:lnTo>
                      <a:pt x="1573" y="141"/>
                    </a:lnTo>
                    <a:lnTo>
                      <a:pt x="1575" y="140"/>
                    </a:lnTo>
                    <a:lnTo>
                      <a:pt x="1579" y="141"/>
                    </a:lnTo>
                    <a:lnTo>
                      <a:pt x="1581" y="145"/>
                    </a:lnTo>
                    <a:lnTo>
                      <a:pt x="1584" y="150"/>
                    </a:lnTo>
                    <a:lnTo>
                      <a:pt x="1585" y="156"/>
                    </a:lnTo>
                    <a:lnTo>
                      <a:pt x="1586" y="162"/>
                    </a:lnTo>
                    <a:lnTo>
                      <a:pt x="1586" y="168"/>
                    </a:lnTo>
                    <a:lnTo>
                      <a:pt x="1585" y="172"/>
                    </a:lnTo>
                    <a:lnTo>
                      <a:pt x="1584" y="176"/>
                    </a:lnTo>
                    <a:lnTo>
                      <a:pt x="1575" y="193"/>
                    </a:lnTo>
                    <a:lnTo>
                      <a:pt x="1566" y="204"/>
                    </a:lnTo>
                    <a:lnTo>
                      <a:pt x="1559" y="214"/>
                    </a:lnTo>
                    <a:lnTo>
                      <a:pt x="1552" y="220"/>
                    </a:lnTo>
                    <a:lnTo>
                      <a:pt x="1541" y="227"/>
                    </a:lnTo>
                    <a:lnTo>
                      <a:pt x="1538" y="231"/>
                    </a:lnTo>
                    <a:lnTo>
                      <a:pt x="1540" y="240"/>
                    </a:lnTo>
                    <a:lnTo>
                      <a:pt x="1542" y="248"/>
                    </a:lnTo>
                    <a:lnTo>
                      <a:pt x="1544" y="259"/>
                    </a:lnTo>
                    <a:lnTo>
                      <a:pt x="1548" y="270"/>
                    </a:lnTo>
                    <a:lnTo>
                      <a:pt x="1549" y="273"/>
                    </a:lnTo>
                    <a:lnTo>
                      <a:pt x="1553" y="275"/>
                    </a:lnTo>
                    <a:lnTo>
                      <a:pt x="1555" y="276"/>
                    </a:lnTo>
                    <a:lnTo>
                      <a:pt x="1560" y="273"/>
                    </a:lnTo>
                    <a:lnTo>
                      <a:pt x="1569" y="269"/>
                    </a:lnTo>
                    <a:lnTo>
                      <a:pt x="1576" y="267"/>
                    </a:lnTo>
                    <a:lnTo>
                      <a:pt x="1580" y="267"/>
                    </a:lnTo>
                    <a:lnTo>
                      <a:pt x="1584" y="269"/>
                    </a:lnTo>
                    <a:lnTo>
                      <a:pt x="1586" y="272"/>
                    </a:lnTo>
                    <a:lnTo>
                      <a:pt x="1588" y="276"/>
                    </a:lnTo>
                    <a:lnTo>
                      <a:pt x="1592" y="284"/>
                    </a:lnTo>
                    <a:lnTo>
                      <a:pt x="1594" y="289"/>
                    </a:lnTo>
                    <a:lnTo>
                      <a:pt x="1597" y="289"/>
                    </a:lnTo>
                    <a:lnTo>
                      <a:pt x="1598" y="289"/>
                    </a:lnTo>
                    <a:lnTo>
                      <a:pt x="1600" y="286"/>
                    </a:lnTo>
                    <a:lnTo>
                      <a:pt x="1603" y="284"/>
                    </a:lnTo>
                    <a:lnTo>
                      <a:pt x="1609" y="277"/>
                    </a:lnTo>
                    <a:lnTo>
                      <a:pt x="1613" y="275"/>
                    </a:lnTo>
                    <a:lnTo>
                      <a:pt x="1616" y="273"/>
                    </a:lnTo>
                    <a:lnTo>
                      <a:pt x="1618" y="275"/>
                    </a:lnTo>
                    <a:lnTo>
                      <a:pt x="1620" y="276"/>
                    </a:lnTo>
                    <a:lnTo>
                      <a:pt x="1623" y="277"/>
                    </a:lnTo>
                    <a:lnTo>
                      <a:pt x="1625" y="279"/>
                    </a:lnTo>
                    <a:lnTo>
                      <a:pt x="1629" y="279"/>
                    </a:lnTo>
                    <a:lnTo>
                      <a:pt x="1631" y="279"/>
                    </a:lnTo>
                    <a:lnTo>
                      <a:pt x="1634" y="277"/>
                    </a:lnTo>
                    <a:lnTo>
                      <a:pt x="1639" y="271"/>
                    </a:lnTo>
                    <a:lnTo>
                      <a:pt x="1645" y="262"/>
                    </a:lnTo>
                    <a:lnTo>
                      <a:pt x="1655" y="246"/>
                    </a:lnTo>
                    <a:lnTo>
                      <a:pt x="1667" y="227"/>
                    </a:lnTo>
                    <a:lnTo>
                      <a:pt x="1680" y="206"/>
                    </a:lnTo>
                    <a:lnTo>
                      <a:pt x="1693" y="188"/>
                    </a:lnTo>
                    <a:lnTo>
                      <a:pt x="1702" y="177"/>
                    </a:lnTo>
                    <a:lnTo>
                      <a:pt x="1712" y="165"/>
                    </a:lnTo>
                    <a:lnTo>
                      <a:pt x="1724" y="153"/>
                    </a:lnTo>
                    <a:lnTo>
                      <a:pt x="1736" y="140"/>
                    </a:lnTo>
                    <a:lnTo>
                      <a:pt x="1749" y="128"/>
                    </a:lnTo>
                    <a:lnTo>
                      <a:pt x="1761" y="118"/>
                    </a:lnTo>
                    <a:lnTo>
                      <a:pt x="1764" y="115"/>
                    </a:lnTo>
                    <a:lnTo>
                      <a:pt x="1767" y="115"/>
                    </a:lnTo>
                    <a:lnTo>
                      <a:pt x="1768" y="118"/>
                    </a:lnTo>
                    <a:lnTo>
                      <a:pt x="1768" y="124"/>
                    </a:lnTo>
                    <a:lnTo>
                      <a:pt x="1769" y="134"/>
                    </a:lnTo>
                    <a:lnTo>
                      <a:pt x="1770" y="146"/>
                    </a:lnTo>
                    <a:lnTo>
                      <a:pt x="1771" y="157"/>
                    </a:lnTo>
                    <a:lnTo>
                      <a:pt x="1773" y="166"/>
                    </a:lnTo>
                    <a:lnTo>
                      <a:pt x="1773" y="172"/>
                    </a:lnTo>
                    <a:lnTo>
                      <a:pt x="1774" y="176"/>
                    </a:lnTo>
                    <a:lnTo>
                      <a:pt x="1776" y="178"/>
                    </a:lnTo>
                    <a:lnTo>
                      <a:pt x="1779" y="179"/>
                    </a:lnTo>
                    <a:lnTo>
                      <a:pt x="1785" y="179"/>
                    </a:lnTo>
                    <a:lnTo>
                      <a:pt x="1795" y="178"/>
                    </a:lnTo>
                    <a:lnTo>
                      <a:pt x="1801" y="178"/>
                    </a:lnTo>
                    <a:lnTo>
                      <a:pt x="1807" y="178"/>
                    </a:lnTo>
                    <a:lnTo>
                      <a:pt x="1812" y="179"/>
                    </a:lnTo>
                    <a:lnTo>
                      <a:pt x="1817" y="181"/>
                    </a:lnTo>
                    <a:lnTo>
                      <a:pt x="1821" y="183"/>
                    </a:lnTo>
                    <a:lnTo>
                      <a:pt x="1825" y="185"/>
                    </a:lnTo>
                    <a:lnTo>
                      <a:pt x="1829" y="189"/>
                    </a:lnTo>
                    <a:lnTo>
                      <a:pt x="1830" y="194"/>
                    </a:lnTo>
                    <a:lnTo>
                      <a:pt x="1832" y="201"/>
                    </a:lnTo>
                    <a:lnTo>
                      <a:pt x="1832" y="207"/>
                    </a:lnTo>
                    <a:lnTo>
                      <a:pt x="1831" y="212"/>
                    </a:lnTo>
                    <a:lnTo>
                      <a:pt x="1830" y="218"/>
                    </a:lnTo>
                    <a:lnTo>
                      <a:pt x="1825" y="227"/>
                    </a:lnTo>
                    <a:lnTo>
                      <a:pt x="1820" y="234"/>
                    </a:lnTo>
                    <a:lnTo>
                      <a:pt x="1819" y="238"/>
                    </a:lnTo>
                    <a:lnTo>
                      <a:pt x="1819" y="241"/>
                    </a:lnTo>
                    <a:lnTo>
                      <a:pt x="1820" y="244"/>
                    </a:lnTo>
                    <a:lnTo>
                      <a:pt x="1821" y="247"/>
                    </a:lnTo>
                    <a:lnTo>
                      <a:pt x="1829" y="253"/>
                    </a:lnTo>
                    <a:lnTo>
                      <a:pt x="1838" y="258"/>
                    </a:lnTo>
                    <a:lnTo>
                      <a:pt x="1843" y="262"/>
                    </a:lnTo>
                    <a:lnTo>
                      <a:pt x="1846" y="266"/>
                    </a:lnTo>
                    <a:lnTo>
                      <a:pt x="1849" y="270"/>
                    </a:lnTo>
                    <a:lnTo>
                      <a:pt x="1850" y="275"/>
                    </a:lnTo>
                    <a:lnTo>
                      <a:pt x="1850" y="281"/>
                    </a:lnTo>
                    <a:lnTo>
                      <a:pt x="1849" y="285"/>
                    </a:lnTo>
                    <a:lnTo>
                      <a:pt x="1846" y="290"/>
                    </a:lnTo>
                    <a:lnTo>
                      <a:pt x="1843" y="294"/>
                    </a:lnTo>
                    <a:lnTo>
                      <a:pt x="1832" y="303"/>
                    </a:lnTo>
                    <a:lnTo>
                      <a:pt x="1820" y="316"/>
                    </a:lnTo>
                    <a:lnTo>
                      <a:pt x="1809" y="328"/>
                    </a:lnTo>
                    <a:lnTo>
                      <a:pt x="1801" y="338"/>
                    </a:lnTo>
                    <a:lnTo>
                      <a:pt x="1798" y="345"/>
                    </a:lnTo>
                    <a:lnTo>
                      <a:pt x="1795" y="352"/>
                    </a:lnTo>
                    <a:lnTo>
                      <a:pt x="1795" y="355"/>
                    </a:lnTo>
                    <a:lnTo>
                      <a:pt x="1795" y="359"/>
                    </a:lnTo>
                    <a:lnTo>
                      <a:pt x="1798" y="361"/>
                    </a:lnTo>
                    <a:lnTo>
                      <a:pt x="1800" y="363"/>
                    </a:lnTo>
                    <a:lnTo>
                      <a:pt x="1815" y="366"/>
                    </a:lnTo>
                    <a:lnTo>
                      <a:pt x="1829" y="371"/>
                    </a:lnTo>
                    <a:lnTo>
                      <a:pt x="1831" y="373"/>
                    </a:lnTo>
                    <a:lnTo>
                      <a:pt x="1831" y="376"/>
                    </a:lnTo>
                    <a:lnTo>
                      <a:pt x="1831" y="380"/>
                    </a:lnTo>
                    <a:lnTo>
                      <a:pt x="1830" y="384"/>
                    </a:lnTo>
                    <a:lnTo>
                      <a:pt x="1827" y="393"/>
                    </a:lnTo>
                    <a:lnTo>
                      <a:pt x="1825" y="404"/>
                    </a:lnTo>
                    <a:lnTo>
                      <a:pt x="1825" y="410"/>
                    </a:lnTo>
                    <a:lnTo>
                      <a:pt x="1826" y="416"/>
                    </a:lnTo>
                    <a:lnTo>
                      <a:pt x="1829" y="422"/>
                    </a:lnTo>
                    <a:lnTo>
                      <a:pt x="1831" y="427"/>
                    </a:lnTo>
                    <a:lnTo>
                      <a:pt x="1838" y="436"/>
                    </a:lnTo>
                    <a:lnTo>
                      <a:pt x="1844" y="442"/>
                    </a:lnTo>
                    <a:lnTo>
                      <a:pt x="1851" y="446"/>
                    </a:lnTo>
                    <a:lnTo>
                      <a:pt x="1858" y="446"/>
                    </a:lnTo>
                    <a:lnTo>
                      <a:pt x="1861" y="446"/>
                    </a:lnTo>
                    <a:lnTo>
                      <a:pt x="1863" y="445"/>
                    </a:lnTo>
                    <a:lnTo>
                      <a:pt x="1864" y="443"/>
                    </a:lnTo>
                    <a:lnTo>
                      <a:pt x="1865" y="441"/>
                    </a:lnTo>
                    <a:lnTo>
                      <a:pt x="1867" y="435"/>
                    </a:lnTo>
                    <a:lnTo>
                      <a:pt x="1869" y="430"/>
                    </a:lnTo>
                    <a:lnTo>
                      <a:pt x="1870" y="427"/>
                    </a:lnTo>
                    <a:lnTo>
                      <a:pt x="1872" y="426"/>
                    </a:lnTo>
                    <a:lnTo>
                      <a:pt x="1874" y="424"/>
                    </a:lnTo>
                    <a:lnTo>
                      <a:pt x="1877" y="423"/>
                    </a:lnTo>
                    <a:lnTo>
                      <a:pt x="1882" y="426"/>
                    </a:lnTo>
                    <a:lnTo>
                      <a:pt x="1888" y="430"/>
                    </a:lnTo>
                    <a:lnTo>
                      <a:pt x="1893" y="436"/>
                    </a:lnTo>
                    <a:lnTo>
                      <a:pt x="1897" y="443"/>
                    </a:lnTo>
                    <a:lnTo>
                      <a:pt x="1902" y="449"/>
                    </a:lnTo>
                    <a:lnTo>
                      <a:pt x="1906" y="454"/>
                    </a:lnTo>
                    <a:lnTo>
                      <a:pt x="1907" y="455"/>
                    </a:lnTo>
                    <a:lnTo>
                      <a:pt x="1909" y="455"/>
                    </a:lnTo>
                    <a:lnTo>
                      <a:pt x="1912" y="455"/>
                    </a:lnTo>
                    <a:lnTo>
                      <a:pt x="1914" y="454"/>
                    </a:lnTo>
                    <a:lnTo>
                      <a:pt x="1925" y="447"/>
                    </a:lnTo>
                    <a:lnTo>
                      <a:pt x="1931" y="443"/>
                    </a:lnTo>
                    <a:lnTo>
                      <a:pt x="1933" y="445"/>
                    </a:lnTo>
                    <a:lnTo>
                      <a:pt x="1934" y="448"/>
                    </a:lnTo>
                    <a:lnTo>
                      <a:pt x="1935" y="454"/>
                    </a:lnTo>
                    <a:lnTo>
                      <a:pt x="1935" y="462"/>
                    </a:lnTo>
                    <a:lnTo>
                      <a:pt x="1935" y="471"/>
                    </a:lnTo>
                    <a:lnTo>
                      <a:pt x="1938" y="478"/>
                    </a:lnTo>
                    <a:lnTo>
                      <a:pt x="1940" y="481"/>
                    </a:lnTo>
                    <a:lnTo>
                      <a:pt x="1943" y="484"/>
                    </a:lnTo>
                    <a:lnTo>
                      <a:pt x="1945" y="486"/>
                    </a:lnTo>
                    <a:lnTo>
                      <a:pt x="1949" y="487"/>
                    </a:lnTo>
                    <a:lnTo>
                      <a:pt x="1956" y="492"/>
                    </a:lnTo>
                    <a:lnTo>
                      <a:pt x="1964" y="499"/>
                    </a:lnTo>
                    <a:lnTo>
                      <a:pt x="1972" y="508"/>
                    </a:lnTo>
                    <a:lnTo>
                      <a:pt x="1977" y="515"/>
                    </a:lnTo>
                    <a:lnTo>
                      <a:pt x="1981" y="521"/>
                    </a:lnTo>
                    <a:lnTo>
                      <a:pt x="1984" y="527"/>
                    </a:lnTo>
                    <a:lnTo>
                      <a:pt x="1987" y="529"/>
                    </a:lnTo>
                    <a:lnTo>
                      <a:pt x="1989" y="530"/>
                    </a:lnTo>
                    <a:lnTo>
                      <a:pt x="1993" y="531"/>
                    </a:lnTo>
                    <a:lnTo>
                      <a:pt x="1996" y="531"/>
                    </a:lnTo>
                    <a:lnTo>
                      <a:pt x="2001" y="531"/>
                    </a:lnTo>
                    <a:lnTo>
                      <a:pt x="2004" y="533"/>
                    </a:lnTo>
                    <a:lnTo>
                      <a:pt x="2008" y="535"/>
                    </a:lnTo>
                    <a:lnTo>
                      <a:pt x="2010" y="537"/>
                    </a:lnTo>
                    <a:lnTo>
                      <a:pt x="2013" y="541"/>
                    </a:lnTo>
                    <a:lnTo>
                      <a:pt x="2015" y="544"/>
                    </a:lnTo>
                    <a:lnTo>
                      <a:pt x="2015" y="548"/>
                    </a:lnTo>
                    <a:lnTo>
                      <a:pt x="2016" y="553"/>
                    </a:lnTo>
                    <a:lnTo>
                      <a:pt x="2016" y="565"/>
                    </a:lnTo>
                    <a:lnTo>
                      <a:pt x="2015" y="581"/>
                    </a:lnTo>
                    <a:lnTo>
                      <a:pt x="2013" y="598"/>
                    </a:lnTo>
                    <a:lnTo>
                      <a:pt x="2010" y="612"/>
                    </a:lnTo>
                    <a:lnTo>
                      <a:pt x="2007" y="623"/>
                    </a:lnTo>
                    <a:lnTo>
                      <a:pt x="2006" y="635"/>
                    </a:lnTo>
                    <a:lnTo>
                      <a:pt x="2006" y="641"/>
                    </a:lnTo>
                    <a:lnTo>
                      <a:pt x="2007" y="645"/>
                    </a:lnTo>
                    <a:lnTo>
                      <a:pt x="2008" y="650"/>
                    </a:lnTo>
                    <a:lnTo>
                      <a:pt x="2010" y="654"/>
                    </a:lnTo>
                    <a:lnTo>
                      <a:pt x="2019" y="660"/>
                    </a:lnTo>
                    <a:lnTo>
                      <a:pt x="2027" y="664"/>
                    </a:lnTo>
                    <a:lnTo>
                      <a:pt x="2037" y="668"/>
                    </a:lnTo>
                    <a:lnTo>
                      <a:pt x="2045" y="673"/>
                    </a:lnTo>
                    <a:lnTo>
                      <a:pt x="2047" y="675"/>
                    </a:lnTo>
                    <a:lnTo>
                      <a:pt x="2050" y="678"/>
                    </a:lnTo>
                    <a:lnTo>
                      <a:pt x="2050" y="681"/>
                    </a:lnTo>
                    <a:lnTo>
                      <a:pt x="2050" y="683"/>
                    </a:lnTo>
                    <a:lnTo>
                      <a:pt x="2048" y="687"/>
                    </a:lnTo>
                    <a:lnTo>
                      <a:pt x="2046" y="689"/>
                    </a:lnTo>
                    <a:lnTo>
                      <a:pt x="2044" y="692"/>
                    </a:lnTo>
                    <a:lnTo>
                      <a:pt x="2040" y="693"/>
                    </a:lnTo>
                    <a:lnTo>
                      <a:pt x="2038" y="694"/>
                    </a:lnTo>
                    <a:lnTo>
                      <a:pt x="2037" y="697"/>
                    </a:lnTo>
                    <a:lnTo>
                      <a:pt x="2035" y="699"/>
                    </a:lnTo>
                    <a:lnTo>
                      <a:pt x="2034" y="701"/>
                    </a:lnTo>
                    <a:lnTo>
                      <a:pt x="2035" y="704"/>
                    </a:lnTo>
                    <a:lnTo>
                      <a:pt x="2037" y="707"/>
                    </a:lnTo>
                    <a:lnTo>
                      <a:pt x="2038" y="708"/>
                    </a:lnTo>
                    <a:lnTo>
                      <a:pt x="2041" y="711"/>
                    </a:lnTo>
                    <a:lnTo>
                      <a:pt x="2048" y="713"/>
                    </a:lnTo>
                    <a:lnTo>
                      <a:pt x="2056" y="717"/>
                    </a:lnTo>
                    <a:lnTo>
                      <a:pt x="2059" y="719"/>
                    </a:lnTo>
                    <a:lnTo>
                      <a:pt x="2063" y="723"/>
                    </a:lnTo>
                    <a:lnTo>
                      <a:pt x="2065" y="725"/>
                    </a:lnTo>
                    <a:lnTo>
                      <a:pt x="2066" y="729"/>
                    </a:lnTo>
                    <a:lnTo>
                      <a:pt x="2067" y="736"/>
                    </a:lnTo>
                    <a:lnTo>
                      <a:pt x="2066" y="743"/>
                    </a:lnTo>
                    <a:lnTo>
                      <a:pt x="2063" y="750"/>
                    </a:lnTo>
                    <a:lnTo>
                      <a:pt x="2056" y="760"/>
                    </a:lnTo>
                    <a:lnTo>
                      <a:pt x="2046" y="770"/>
                    </a:lnTo>
                    <a:lnTo>
                      <a:pt x="2034" y="781"/>
                    </a:lnTo>
                    <a:lnTo>
                      <a:pt x="2022" y="793"/>
                    </a:lnTo>
                    <a:lnTo>
                      <a:pt x="2014" y="805"/>
                    </a:lnTo>
                    <a:lnTo>
                      <a:pt x="2009" y="808"/>
                    </a:lnTo>
                    <a:lnTo>
                      <a:pt x="2006" y="812"/>
                    </a:lnTo>
                    <a:lnTo>
                      <a:pt x="2002" y="815"/>
                    </a:lnTo>
                    <a:lnTo>
                      <a:pt x="1997" y="818"/>
                    </a:lnTo>
                    <a:lnTo>
                      <a:pt x="1989" y="820"/>
                    </a:lnTo>
                    <a:lnTo>
                      <a:pt x="1979" y="821"/>
                    </a:lnTo>
                    <a:lnTo>
                      <a:pt x="1975" y="821"/>
                    </a:lnTo>
                    <a:lnTo>
                      <a:pt x="1972" y="823"/>
                    </a:lnTo>
                    <a:lnTo>
                      <a:pt x="1970" y="825"/>
                    </a:lnTo>
                    <a:lnTo>
                      <a:pt x="1970" y="828"/>
                    </a:lnTo>
                    <a:lnTo>
                      <a:pt x="1971" y="834"/>
                    </a:lnTo>
                    <a:lnTo>
                      <a:pt x="1975" y="842"/>
                    </a:lnTo>
                    <a:lnTo>
                      <a:pt x="1979" y="849"/>
                    </a:lnTo>
                    <a:lnTo>
                      <a:pt x="1984" y="858"/>
                    </a:lnTo>
                    <a:lnTo>
                      <a:pt x="1987" y="863"/>
                    </a:lnTo>
                    <a:lnTo>
                      <a:pt x="1988" y="868"/>
                    </a:lnTo>
                    <a:lnTo>
                      <a:pt x="1989" y="871"/>
                    </a:lnTo>
                    <a:lnTo>
                      <a:pt x="1989" y="875"/>
                    </a:lnTo>
                    <a:lnTo>
                      <a:pt x="1987" y="877"/>
                    </a:lnTo>
                    <a:lnTo>
                      <a:pt x="1983" y="880"/>
                    </a:lnTo>
                    <a:lnTo>
                      <a:pt x="1979" y="883"/>
                    </a:lnTo>
                    <a:lnTo>
                      <a:pt x="1975" y="886"/>
                    </a:lnTo>
                    <a:lnTo>
                      <a:pt x="1962" y="890"/>
                    </a:lnTo>
                    <a:lnTo>
                      <a:pt x="1947" y="894"/>
                    </a:lnTo>
                    <a:lnTo>
                      <a:pt x="1933" y="897"/>
                    </a:lnTo>
                    <a:lnTo>
                      <a:pt x="1919" y="902"/>
                    </a:lnTo>
                    <a:lnTo>
                      <a:pt x="1906" y="906"/>
                    </a:lnTo>
                    <a:lnTo>
                      <a:pt x="1893" y="912"/>
                    </a:lnTo>
                    <a:lnTo>
                      <a:pt x="1887" y="916"/>
                    </a:lnTo>
                    <a:lnTo>
                      <a:pt x="1882" y="920"/>
                    </a:lnTo>
                    <a:lnTo>
                      <a:pt x="1878" y="925"/>
                    </a:lnTo>
                    <a:lnTo>
                      <a:pt x="1876" y="929"/>
                    </a:lnTo>
                    <a:lnTo>
                      <a:pt x="1875" y="935"/>
                    </a:lnTo>
                    <a:lnTo>
                      <a:pt x="1874" y="943"/>
                    </a:lnTo>
                    <a:lnTo>
                      <a:pt x="1872" y="950"/>
                    </a:lnTo>
                    <a:lnTo>
                      <a:pt x="1874" y="957"/>
                    </a:lnTo>
                    <a:lnTo>
                      <a:pt x="1874" y="973"/>
                    </a:lnTo>
                    <a:lnTo>
                      <a:pt x="1874" y="992"/>
                    </a:lnTo>
                    <a:lnTo>
                      <a:pt x="1874" y="1001"/>
                    </a:lnTo>
                    <a:lnTo>
                      <a:pt x="1871" y="1008"/>
                    </a:lnTo>
                    <a:lnTo>
                      <a:pt x="1869" y="1015"/>
                    </a:lnTo>
                    <a:lnTo>
                      <a:pt x="1865" y="1019"/>
                    </a:lnTo>
                    <a:lnTo>
                      <a:pt x="1853" y="1029"/>
                    </a:lnTo>
                    <a:lnTo>
                      <a:pt x="1840" y="1044"/>
                    </a:lnTo>
                    <a:lnTo>
                      <a:pt x="1834" y="1052"/>
                    </a:lnTo>
                    <a:lnTo>
                      <a:pt x="1829" y="1060"/>
                    </a:lnTo>
                    <a:lnTo>
                      <a:pt x="1824" y="1070"/>
                    </a:lnTo>
                    <a:lnTo>
                      <a:pt x="1820" y="1078"/>
                    </a:lnTo>
                    <a:lnTo>
                      <a:pt x="1818" y="1085"/>
                    </a:lnTo>
                    <a:lnTo>
                      <a:pt x="1818" y="1091"/>
                    </a:lnTo>
                    <a:lnTo>
                      <a:pt x="1817" y="1097"/>
                    </a:lnTo>
                    <a:lnTo>
                      <a:pt x="1818" y="1102"/>
                    </a:lnTo>
                    <a:lnTo>
                      <a:pt x="1819" y="1105"/>
                    </a:lnTo>
                    <a:lnTo>
                      <a:pt x="1821" y="1108"/>
                    </a:lnTo>
                    <a:lnTo>
                      <a:pt x="1824" y="1110"/>
                    </a:lnTo>
                    <a:lnTo>
                      <a:pt x="1826" y="1110"/>
                    </a:lnTo>
                    <a:lnTo>
                      <a:pt x="1831" y="1111"/>
                    </a:lnTo>
                    <a:lnTo>
                      <a:pt x="1833" y="1113"/>
                    </a:lnTo>
                    <a:lnTo>
                      <a:pt x="1834" y="1114"/>
                    </a:lnTo>
                    <a:lnTo>
                      <a:pt x="1836" y="1116"/>
                    </a:lnTo>
                    <a:lnTo>
                      <a:pt x="1834" y="1117"/>
                    </a:lnTo>
                    <a:lnTo>
                      <a:pt x="1833" y="1120"/>
                    </a:lnTo>
                    <a:lnTo>
                      <a:pt x="1829" y="1127"/>
                    </a:lnTo>
                    <a:lnTo>
                      <a:pt x="1826" y="1136"/>
                    </a:lnTo>
                    <a:lnTo>
                      <a:pt x="1826" y="1141"/>
                    </a:lnTo>
                    <a:lnTo>
                      <a:pt x="1827" y="1145"/>
                    </a:lnTo>
                    <a:lnTo>
                      <a:pt x="1831" y="1147"/>
                    </a:lnTo>
                    <a:lnTo>
                      <a:pt x="1837" y="1147"/>
                    </a:lnTo>
                    <a:lnTo>
                      <a:pt x="1840" y="1148"/>
                    </a:lnTo>
                    <a:lnTo>
                      <a:pt x="1844" y="1149"/>
                    </a:lnTo>
                    <a:lnTo>
                      <a:pt x="1845" y="1153"/>
                    </a:lnTo>
                    <a:lnTo>
                      <a:pt x="1846" y="1157"/>
                    </a:lnTo>
                    <a:lnTo>
                      <a:pt x="1848" y="1160"/>
                    </a:lnTo>
                    <a:lnTo>
                      <a:pt x="1846" y="1164"/>
                    </a:lnTo>
                    <a:lnTo>
                      <a:pt x="1845" y="1167"/>
                    </a:lnTo>
                    <a:lnTo>
                      <a:pt x="1843" y="1171"/>
                    </a:lnTo>
                    <a:lnTo>
                      <a:pt x="1839" y="1174"/>
                    </a:lnTo>
                    <a:lnTo>
                      <a:pt x="1838" y="1177"/>
                    </a:lnTo>
                    <a:lnTo>
                      <a:pt x="1838" y="1179"/>
                    </a:lnTo>
                    <a:lnTo>
                      <a:pt x="1840" y="1181"/>
                    </a:lnTo>
                    <a:lnTo>
                      <a:pt x="1849" y="1187"/>
                    </a:lnTo>
                    <a:lnTo>
                      <a:pt x="1858" y="1191"/>
                    </a:lnTo>
                    <a:lnTo>
                      <a:pt x="1863" y="1192"/>
                    </a:lnTo>
                    <a:lnTo>
                      <a:pt x="1868" y="1192"/>
                    </a:lnTo>
                    <a:lnTo>
                      <a:pt x="1872" y="1191"/>
                    </a:lnTo>
                    <a:lnTo>
                      <a:pt x="1877" y="1190"/>
                    </a:lnTo>
                    <a:lnTo>
                      <a:pt x="1887" y="1186"/>
                    </a:lnTo>
                    <a:lnTo>
                      <a:pt x="1896" y="1181"/>
                    </a:lnTo>
                    <a:lnTo>
                      <a:pt x="1907" y="1177"/>
                    </a:lnTo>
                    <a:lnTo>
                      <a:pt x="1916" y="1172"/>
                    </a:lnTo>
                    <a:lnTo>
                      <a:pt x="1920" y="1171"/>
                    </a:lnTo>
                    <a:lnTo>
                      <a:pt x="1924" y="1170"/>
                    </a:lnTo>
                    <a:lnTo>
                      <a:pt x="1926" y="1170"/>
                    </a:lnTo>
                    <a:lnTo>
                      <a:pt x="1928" y="1171"/>
                    </a:lnTo>
                    <a:lnTo>
                      <a:pt x="1930" y="1173"/>
                    </a:lnTo>
                    <a:lnTo>
                      <a:pt x="1931" y="1176"/>
                    </a:lnTo>
                    <a:lnTo>
                      <a:pt x="1931" y="1179"/>
                    </a:lnTo>
                    <a:lnTo>
                      <a:pt x="1931" y="1184"/>
                    </a:lnTo>
                    <a:lnTo>
                      <a:pt x="1930" y="1195"/>
                    </a:lnTo>
                    <a:lnTo>
                      <a:pt x="1930" y="1206"/>
                    </a:lnTo>
                    <a:lnTo>
                      <a:pt x="1930" y="1218"/>
                    </a:lnTo>
                    <a:lnTo>
                      <a:pt x="1928" y="1228"/>
                    </a:lnTo>
                    <a:lnTo>
                      <a:pt x="1925" y="1237"/>
                    </a:lnTo>
                    <a:lnTo>
                      <a:pt x="1919" y="1249"/>
                    </a:lnTo>
                    <a:lnTo>
                      <a:pt x="1911" y="1262"/>
                    </a:lnTo>
                    <a:lnTo>
                      <a:pt x="1906" y="1274"/>
                    </a:lnTo>
                    <a:lnTo>
                      <a:pt x="1905" y="1281"/>
                    </a:lnTo>
                    <a:lnTo>
                      <a:pt x="1906" y="1287"/>
                    </a:lnTo>
                    <a:lnTo>
                      <a:pt x="1908" y="1292"/>
                    </a:lnTo>
                    <a:lnTo>
                      <a:pt x="1911" y="1298"/>
                    </a:lnTo>
                    <a:lnTo>
                      <a:pt x="1920" y="1309"/>
                    </a:lnTo>
                    <a:lnTo>
                      <a:pt x="1928" y="1318"/>
                    </a:lnTo>
                    <a:lnTo>
                      <a:pt x="1940" y="1329"/>
                    </a:lnTo>
                    <a:lnTo>
                      <a:pt x="1955" y="1343"/>
                    </a:lnTo>
                    <a:lnTo>
                      <a:pt x="1960" y="1349"/>
                    </a:lnTo>
                    <a:lnTo>
                      <a:pt x="1966" y="1356"/>
                    </a:lnTo>
                    <a:lnTo>
                      <a:pt x="1969" y="1361"/>
                    </a:lnTo>
                    <a:lnTo>
                      <a:pt x="1970" y="1365"/>
                    </a:lnTo>
                    <a:lnTo>
                      <a:pt x="1965" y="1370"/>
                    </a:lnTo>
                    <a:lnTo>
                      <a:pt x="1959" y="1381"/>
                    </a:lnTo>
                    <a:lnTo>
                      <a:pt x="1951" y="1394"/>
                    </a:lnTo>
                    <a:lnTo>
                      <a:pt x="1940" y="1411"/>
                    </a:lnTo>
                    <a:lnTo>
                      <a:pt x="1937" y="1419"/>
                    </a:lnTo>
                    <a:lnTo>
                      <a:pt x="1933" y="1430"/>
                    </a:lnTo>
                    <a:lnTo>
                      <a:pt x="1932" y="1439"/>
                    </a:lnTo>
                    <a:lnTo>
                      <a:pt x="1932" y="1449"/>
                    </a:lnTo>
                    <a:lnTo>
                      <a:pt x="1932" y="1458"/>
                    </a:lnTo>
                    <a:lnTo>
                      <a:pt x="1934" y="1468"/>
                    </a:lnTo>
                    <a:lnTo>
                      <a:pt x="1935" y="1475"/>
                    </a:lnTo>
                    <a:lnTo>
                      <a:pt x="1938" y="1482"/>
                    </a:lnTo>
                    <a:lnTo>
                      <a:pt x="1941" y="1488"/>
                    </a:lnTo>
                    <a:lnTo>
                      <a:pt x="1946" y="1493"/>
                    </a:lnTo>
                    <a:lnTo>
                      <a:pt x="1952" y="1496"/>
                    </a:lnTo>
                    <a:lnTo>
                      <a:pt x="1959" y="1500"/>
                    </a:lnTo>
                    <a:lnTo>
                      <a:pt x="1976" y="1505"/>
                    </a:lnTo>
                    <a:lnTo>
                      <a:pt x="1995" y="1507"/>
                    </a:lnTo>
                    <a:lnTo>
                      <a:pt x="2004" y="1508"/>
                    </a:lnTo>
                    <a:lnTo>
                      <a:pt x="2012" y="1511"/>
                    </a:lnTo>
                    <a:lnTo>
                      <a:pt x="2019" y="1514"/>
                    </a:lnTo>
                    <a:lnTo>
                      <a:pt x="2025" y="1518"/>
                    </a:lnTo>
                    <a:lnTo>
                      <a:pt x="2029" y="1521"/>
                    </a:lnTo>
                    <a:lnTo>
                      <a:pt x="2033" y="1525"/>
                    </a:lnTo>
                    <a:lnTo>
                      <a:pt x="2037" y="1530"/>
                    </a:lnTo>
                    <a:lnTo>
                      <a:pt x="2038" y="1534"/>
                    </a:lnTo>
                    <a:lnTo>
                      <a:pt x="2039" y="1546"/>
                    </a:lnTo>
                    <a:lnTo>
                      <a:pt x="2038" y="1562"/>
                    </a:lnTo>
                    <a:lnTo>
                      <a:pt x="2037" y="1570"/>
                    </a:lnTo>
                    <a:lnTo>
                      <a:pt x="2035" y="1577"/>
                    </a:lnTo>
                    <a:lnTo>
                      <a:pt x="2032" y="1583"/>
                    </a:lnTo>
                    <a:lnTo>
                      <a:pt x="2029" y="1589"/>
                    </a:lnTo>
                    <a:lnTo>
                      <a:pt x="2025" y="1594"/>
                    </a:lnTo>
                    <a:lnTo>
                      <a:pt x="2022" y="1597"/>
                    </a:lnTo>
                    <a:lnTo>
                      <a:pt x="2021" y="1602"/>
                    </a:lnTo>
                    <a:lnTo>
                      <a:pt x="2020" y="1607"/>
                    </a:lnTo>
                    <a:lnTo>
                      <a:pt x="2019" y="1616"/>
                    </a:lnTo>
                    <a:lnTo>
                      <a:pt x="2021" y="1626"/>
                    </a:lnTo>
                    <a:lnTo>
                      <a:pt x="2022" y="1631"/>
                    </a:lnTo>
                    <a:lnTo>
                      <a:pt x="2022" y="1636"/>
                    </a:lnTo>
                    <a:lnTo>
                      <a:pt x="2021" y="1640"/>
                    </a:lnTo>
                    <a:lnTo>
                      <a:pt x="2020" y="1645"/>
                    </a:lnTo>
                    <a:lnTo>
                      <a:pt x="2014" y="1653"/>
                    </a:lnTo>
                    <a:lnTo>
                      <a:pt x="2004" y="1663"/>
                    </a:lnTo>
                    <a:lnTo>
                      <a:pt x="2000" y="1669"/>
                    </a:lnTo>
                    <a:lnTo>
                      <a:pt x="1997" y="1674"/>
                    </a:lnTo>
                    <a:lnTo>
                      <a:pt x="1996" y="1679"/>
                    </a:lnTo>
                    <a:lnTo>
                      <a:pt x="1996" y="1684"/>
                    </a:lnTo>
                    <a:lnTo>
                      <a:pt x="1998" y="1688"/>
                    </a:lnTo>
                    <a:lnTo>
                      <a:pt x="2002" y="1691"/>
                    </a:lnTo>
                    <a:lnTo>
                      <a:pt x="2007" y="1694"/>
                    </a:lnTo>
                    <a:lnTo>
                      <a:pt x="2014" y="1694"/>
                    </a:lnTo>
                    <a:lnTo>
                      <a:pt x="2027" y="1691"/>
                    </a:lnTo>
                    <a:lnTo>
                      <a:pt x="2039" y="1687"/>
                    </a:lnTo>
                    <a:lnTo>
                      <a:pt x="2051" y="1682"/>
                    </a:lnTo>
                    <a:lnTo>
                      <a:pt x="2065" y="1677"/>
                    </a:lnTo>
                    <a:lnTo>
                      <a:pt x="2072" y="1676"/>
                    </a:lnTo>
                    <a:lnTo>
                      <a:pt x="2078" y="1676"/>
                    </a:lnTo>
                    <a:lnTo>
                      <a:pt x="2083" y="1677"/>
                    </a:lnTo>
                    <a:lnTo>
                      <a:pt x="2088" y="1678"/>
                    </a:lnTo>
                    <a:lnTo>
                      <a:pt x="2090" y="1682"/>
                    </a:lnTo>
                    <a:lnTo>
                      <a:pt x="2092" y="1685"/>
                    </a:lnTo>
                    <a:lnTo>
                      <a:pt x="2092" y="1690"/>
                    </a:lnTo>
                    <a:lnTo>
                      <a:pt x="2091" y="1696"/>
                    </a:lnTo>
                    <a:lnTo>
                      <a:pt x="2088" y="1702"/>
                    </a:lnTo>
                    <a:lnTo>
                      <a:pt x="2082" y="1707"/>
                    </a:lnTo>
                    <a:lnTo>
                      <a:pt x="2073" y="1713"/>
                    </a:lnTo>
                    <a:lnTo>
                      <a:pt x="2064" y="1719"/>
                    </a:lnTo>
                    <a:lnTo>
                      <a:pt x="2045" y="1731"/>
                    </a:lnTo>
                    <a:lnTo>
                      <a:pt x="2029" y="1741"/>
                    </a:lnTo>
                    <a:lnTo>
                      <a:pt x="2026" y="1747"/>
                    </a:lnTo>
                    <a:lnTo>
                      <a:pt x="2022" y="1754"/>
                    </a:lnTo>
                    <a:lnTo>
                      <a:pt x="2019" y="1763"/>
                    </a:lnTo>
                    <a:lnTo>
                      <a:pt x="2018" y="1771"/>
                    </a:lnTo>
                    <a:lnTo>
                      <a:pt x="2014" y="1792"/>
                    </a:lnTo>
                    <a:lnTo>
                      <a:pt x="2012" y="1815"/>
                    </a:lnTo>
                    <a:lnTo>
                      <a:pt x="2009" y="1827"/>
                    </a:lnTo>
                    <a:lnTo>
                      <a:pt x="2006" y="1836"/>
                    </a:lnTo>
                    <a:lnTo>
                      <a:pt x="2000" y="1845"/>
                    </a:lnTo>
                    <a:lnTo>
                      <a:pt x="1995" y="1853"/>
                    </a:lnTo>
                    <a:lnTo>
                      <a:pt x="1989" y="1861"/>
                    </a:lnTo>
                    <a:lnTo>
                      <a:pt x="1985" y="1870"/>
                    </a:lnTo>
                    <a:lnTo>
                      <a:pt x="1983" y="1873"/>
                    </a:lnTo>
                    <a:lnTo>
                      <a:pt x="1982" y="1878"/>
                    </a:lnTo>
                    <a:lnTo>
                      <a:pt x="1982" y="1883"/>
                    </a:lnTo>
                    <a:lnTo>
                      <a:pt x="1982" y="1889"/>
                    </a:lnTo>
                    <a:lnTo>
                      <a:pt x="1983" y="1898"/>
                    </a:lnTo>
                    <a:lnTo>
                      <a:pt x="1987" y="1907"/>
                    </a:lnTo>
                    <a:lnTo>
                      <a:pt x="1989" y="1912"/>
                    </a:lnTo>
                    <a:lnTo>
                      <a:pt x="1994" y="1918"/>
                    </a:lnTo>
                    <a:lnTo>
                      <a:pt x="1997" y="1923"/>
                    </a:lnTo>
                    <a:lnTo>
                      <a:pt x="2001" y="1928"/>
                    </a:lnTo>
                    <a:lnTo>
                      <a:pt x="2004" y="1934"/>
                    </a:lnTo>
                    <a:lnTo>
                      <a:pt x="2007" y="1940"/>
                    </a:lnTo>
                    <a:lnTo>
                      <a:pt x="2008" y="1955"/>
                    </a:lnTo>
                    <a:lnTo>
                      <a:pt x="2008" y="1968"/>
                    </a:lnTo>
                    <a:lnTo>
                      <a:pt x="2006" y="1980"/>
                    </a:lnTo>
                    <a:lnTo>
                      <a:pt x="2003" y="1990"/>
                    </a:lnTo>
                    <a:lnTo>
                      <a:pt x="2002" y="1996"/>
                    </a:lnTo>
                    <a:lnTo>
                      <a:pt x="2002" y="1999"/>
                    </a:lnTo>
                    <a:lnTo>
                      <a:pt x="2000" y="2002"/>
                    </a:lnTo>
                    <a:lnTo>
                      <a:pt x="1994" y="2005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江苏"/>
              <p:cNvSpPr/>
              <p:nvPr>
                <p:custDataLst>
                  <p:tags r:id="rId27"/>
                </p:custDataLst>
              </p:nvPr>
            </p:nvSpPr>
            <p:spPr bwMode="auto">
              <a:xfrm>
                <a:off x="5744281" y="3579659"/>
                <a:ext cx="763011" cy="670923"/>
              </a:xfrm>
              <a:custGeom>
                <a:avLst/>
                <a:gdLst>
                  <a:gd name="T0" fmla="*/ 1699 w 2079"/>
                  <a:gd name="T1" fmla="*/ 1399 h 1843"/>
                  <a:gd name="T2" fmla="*/ 1653 w 2079"/>
                  <a:gd name="T3" fmla="*/ 1318 h 1843"/>
                  <a:gd name="T4" fmla="*/ 1534 w 2079"/>
                  <a:gd name="T5" fmla="*/ 1336 h 1843"/>
                  <a:gd name="T6" fmla="*/ 1579 w 2079"/>
                  <a:gd name="T7" fmla="*/ 1274 h 1843"/>
                  <a:gd name="T8" fmla="*/ 1695 w 2079"/>
                  <a:gd name="T9" fmla="*/ 1372 h 1843"/>
                  <a:gd name="T10" fmla="*/ 1837 w 2079"/>
                  <a:gd name="T11" fmla="*/ 1343 h 1843"/>
                  <a:gd name="T12" fmla="*/ 2066 w 2079"/>
                  <a:gd name="T13" fmla="*/ 1401 h 1843"/>
                  <a:gd name="T14" fmla="*/ 2026 w 2079"/>
                  <a:gd name="T15" fmla="*/ 1268 h 1843"/>
                  <a:gd name="T16" fmla="*/ 1882 w 2079"/>
                  <a:gd name="T17" fmla="*/ 1198 h 1843"/>
                  <a:gd name="T18" fmla="*/ 1830 w 2079"/>
                  <a:gd name="T19" fmla="*/ 1091 h 1843"/>
                  <a:gd name="T20" fmla="*/ 1665 w 2079"/>
                  <a:gd name="T21" fmla="*/ 975 h 1843"/>
                  <a:gd name="T22" fmla="*/ 1666 w 2079"/>
                  <a:gd name="T23" fmla="*/ 898 h 1843"/>
                  <a:gd name="T24" fmla="*/ 1588 w 2079"/>
                  <a:gd name="T25" fmla="*/ 769 h 1843"/>
                  <a:gd name="T26" fmla="*/ 1502 w 2079"/>
                  <a:gd name="T27" fmla="*/ 581 h 1843"/>
                  <a:gd name="T28" fmla="*/ 1443 w 2079"/>
                  <a:gd name="T29" fmla="*/ 452 h 1843"/>
                  <a:gd name="T30" fmla="*/ 1291 w 2079"/>
                  <a:gd name="T31" fmla="*/ 273 h 1843"/>
                  <a:gd name="T32" fmla="*/ 1201 w 2079"/>
                  <a:gd name="T33" fmla="*/ 247 h 1843"/>
                  <a:gd name="T34" fmla="*/ 1119 w 2079"/>
                  <a:gd name="T35" fmla="*/ 259 h 1843"/>
                  <a:gd name="T36" fmla="*/ 1070 w 2079"/>
                  <a:gd name="T37" fmla="*/ 147 h 1843"/>
                  <a:gd name="T38" fmla="*/ 987 w 2079"/>
                  <a:gd name="T39" fmla="*/ 53 h 1843"/>
                  <a:gd name="T40" fmla="*/ 897 w 2079"/>
                  <a:gd name="T41" fmla="*/ 34 h 1843"/>
                  <a:gd name="T42" fmla="*/ 834 w 2079"/>
                  <a:gd name="T43" fmla="*/ 187 h 1843"/>
                  <a:gd name="T44" fmla="*/ 728 w 2079"/>
                  <a:gd name="T45" fmla="*/ 260 h 1843"/>
                  <a:gd name="T46" fmla="*/ 653 w 2079"/>
                  <a:gd name="T47" fmla="*/ 344 h 1843"/>
                  <a:gd name="T48" fmla="*/ 567 w 2079"/>
                  <a:gd name="T49" fmla="*/ 230 h 1843"/>
                  <a:gd name="T50" fmla="*/ 478 w 2079"/>
                  <a:gd name="T51" fmla="*/ 298 h 1843"/>
                  <a:gd name="T52" fmla="*/ 331 w 2079"/>
                  <a:gd name="T53" fmla="*/ 286 h 1843"/>
                  <a:gd name="T54" fmla="*/ 237 w 2079"/>
                  <a:gd name="T55" fmla="*/ 205 h 1843"/>
                  <a:gd name="T56" fmla="*/ 68 w 2079"/>
                  <a:gd name="T57" fmla="*/ 14 h 1843"/>
                  <a:gd name="T58" fmla="*/ 94 w 2079"/>
                  <a:gd name="T59" fmla="*/ 146 h 1843"/>
                  <a:gd name="T60" fmla="*/ 1 w 2079"/>
                  <a:gd name="T61" fmla="*/ 283 h 1843"/>
                  <a:gd name="T62" fmla="*/ 152 w 2079"/>
                  <a:gd name="T63" fmla="*/ 365 h 1843"/>
                  <a:gd name="T64" fmla="*/ 240 w 2079"/>
                  <a:gd name="T65" fmla="*/ 449 h 1843"/>
                  <a:gd name="T66" fmla="*/ 371 w 2079"/>
                  <a:gd name="T67" fmla="*/ 513 h 1843"/>
                  <a:gd name="T68" fmla="*/ 439 w 2079"/>
                  <a:gd name="T69" fmla="*/ 540 h 1843"/>
                  <a:gd name="T70" fmla="*/ 509 w 2079"/>
                  <a:gd name="T71" fmla="*/ 582 h 1843"/>
                  <a:gd name="T72" fmla="*/ 636 w 2079"/>
                  <a:gd name="T73" fmla="*/ 631 h 1843"/>
                  <a:gd name="T74" fmla="*/ 660 w 2079"/>
                  <a:gd name="T75" fmla="*/ 739 h 1843"/>
                  <a:gd name="T76" fmla="*/ 608 w 2079"/>
                  <a:gd name="T77" fmla="*/ 835 h 1843"/>
                  <a:gd name="T78" fmla="*/ 672 w 2079"/>
                  <a:gd name="T79" fmla="*/ 868 h 1843"/>
                  <a:gd name="T80" fmla="*/ 730 w 2079"/>
                  <a:gd name="T81" fmla="*/ 952 h 1843"/>
                  <a:gd name="T82" fmla="*/ 790 w 2079"/>
                  <a:gd name="T83" fmla="*/ 1061 h 1843"/>
                  <a:gd name="T84" fmla="*/ 914 w 2079"/>
                  <a:gd name="T85" fmla="*/ 1006 h 1843"/>
                  <a:gd name="T86" fmla="*/ 1002 w 2079"/>
                  <a:gd name="T87" fmla="*/ 962 h 1843"/>
                  <a:gd name="T88" fmla="*/ 1081 w 2079"/>
                  <a:gd name="T89" fmla="*/ 1109 h 1843"/>
                  <a:gd name="T90" fmla="*/ 963 w 2079"/>
                  <a:gd name="T91" fmla="*/ 1107 h 1843"/>
                  <a:gd name="T92" fmla="*/ 874 w 2079"/>
                  <a:gd name="T93" fmla="*/ 1163 h 1843"/>
                  <a:gd name="T94" fmla="*/ 891 w 2079"/>
                  <a:gd name="T95" fmla="*/ 1280 h 1843"/>
                  <a:gd name="T96" fmla="*/ 804 w 2079"/>
                  <a:gd name="T97" fmla="*/ 1362 h 1843"/>
                  <a:gd name="T98" fmla="*/ 861 w 2079"/>
                  <a:gd name="T99" fmla="*/ 1470 h 1843"/>
                  <a:gd name="T100" fmla="*/ 923 w 2079"/>
                  <a:gd name="T101" fmla="*/ 1534 h 1843"/>
                  <a:gd name="T102" fmla="*/ 977 w 2079"/>
                  <a:gd name="T103" fmla="*/ 1528 h 1843"/>
                  <a:gd name="T104" fmla="*/ 987 w 2079"/>
                  <a:gd name="T105" fmla="*/ 1638 h 1843"/>
                  <a:gd name="T106" fmla="*/ 1011 w 2079"/>
                  <a:gd name="T107" fmla="*/ 1698 h 1843"/>
                  <a:gd name="T108" fmla="*/ 1177 w 2079"/>
                  <a:gd name="T109" fmla="*/ 1665 h 1843"/>
                  <a:gd name="T110" fmla="*/ 1271 w 2079"/>
                  <a:gd name="T111" fmla="*/ 1716 h 1843"/>
                  <a:gd name="T112" fmla="*/ 1402 w 2079"/>
                  <a:gd name="T113" fmla="*/ 1699 h 1843"/>
                  <a:gd name="T114" fmla="*/ 1543 w 2079"/>
                  <a:gd name="T115" fmla="*/ 1784 h 1843"/>
                  <a:gd name="T116" fmla="*/ 1643 w 2079"/>
                  <a:gd name="T117" fmla="*/ 1821 h 1843"/>
                  <a:gd name="T118" fmla="*/ 1722 w 2079"/>
                  <a:gd name="T119" fmla="*/ 1730 h 1843"/>
                  <a:gd name="T120" fmla="*/ 1819 w 2079"/>
                  <a:gd name="T121" fmla="*/ 1555 h 1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79" h="1843">
                    <a:moveTo>
                      <a:pt x="1868" y="1488"/>
                    </a:moveTo>
                    <a:lnTo>
                      <a:pt x="1867" y="1478"/>
                    </a:lnTo>
                    <a:lnTo>
                      <a:pt x="1864" y="1470"/>
                    </a:lnTo>
                    <a:lnTo>
                      <a:pt x="1861" y="1466"/>
                    </a:lnTo>
                    <a:lnTo>
                      <a:pt x="1857" y="1460"/>
                    </a:lnTo>
                    <a:lnTo>
                      <a:pt x="1850" y="1456"/>
                    </a:lnTo>
                    <a:lnTo>
                      <a:pt x="1842" y="1449"/>
                    </a:lnTo>
                    <a:lnTo>
                      <a:pt x="1823" y="1435"/>
                    </a:lnTo>
                    <a:lnTo>
                      <a:pt x="1802" y="1424"/>
                    </a:lnTo>
                    <a:lnTo>
                      <a:pt x="1785" y="1413"/>
                    </a:lnTo>
                    <a:lnTo>
                      <a:pt x="1772" y="1406"/>
                    </a:lnTo>
                    <a:lnTo>
                      <a:pt x="1760" y="1402"/>
                    </a:lnTo>
                    <a:lnTo>
                      <a:pt x="1749" y="1400"/>
                    </a:lnTo>
                    <a:lnTo>
                      <a:pt x="1743" y="1399"/>
                    </a:lnTo>
                    <a:lnTo>
                      <a:pt x="1737" y="1399"/>
                    </a:lnTo>
                    <a:lnTo>
                      <a:pt x="1731" y="1399"/>
                    </a:lnTo>
                    <a:lnTo>
                      <a:pt x="1725" y="1400"/>
                    </a:lnTo>
                    <a:lnTo>
                      <a:pt x="1714" y="1402"/>
                    </a:lnTo>
                    <a:lnTo>
                      <a:pt x="1706" y="1401"/>
                    </a:lnTo>
                    <a:lnTo>
                      <a:pt x="1699" y="1399"/>
                    </a:lnTo>
                    <a:lnTo>
                      <a:pt x="1693" y="1394"/>
                    </a:lnTo>
                    <a:lnTo>
                      <a:pt x="1686" y="1389"/>
                    </a:lnTo>
                    <a:lnTo>
                      <a:pt x="1679" y="1386"/>
                    </a:lnTo>
                    <a:lnTo>
                      <a:pt x="1672" y="1382"/>
                    </a:lnTo>
                    <a:lnTo>
                      <a:pt x="1666" y="1380"/>
                    </a:lnTo>
                    <a:lnTo>
                      <a:pt x="1663" y="1378"/>
                    </a:lnTo>
                    <a:lnTo>
                      <a:pt x="1662" y="1377"/>
                    </a:lnTo>
                    <a:lnTo>
                      <a:pt x="1662" y="1376"/>
                    </a:lnTo>
                    <a:lnTo>
                      <a:pt x="1662" y="1375"/>
                    </a:lnTo>
                    <a:lnTo>
                      <a:pt x="1666" y="1372"/>
                    </a:lnTo>
                    <a:lnTo>
                      <a:pt x="1673" y="1371"/>
                    </a:lnTo>
                    <a:lnTo>
                      <a:pt x="1676" y="1370"/>
                    </a:lnTo>
                    <a:lnTo>
                      <a:pt x="1680" y="1369"/>
                    </a:lnTo>
                    <a:lnTo>
                      <a:pt x="1681" y="1367"/>
                    </a:lnTo>
                    <a:lnTo>
                      <a:pt x="1681" y="1364"/>
                    </a:lnTo>
                    <a:lnTo>
                      <a:pt x="1680" y="1357"/>
                    </a:lnTo>
                    <a:lnTo>
                      <a:pt x="1675" y="1347"/>
                    </a:lnTo>
                    <a:lnTo>
                      <a:pt x="1667" y="1336"/>
                    </a:lnTo>
                    <a:lnTo>
                      <a:pt x="1657" y="1323"/>
                    </a:lnTo>
                    <a:lnTo>
                      <a:pt x="1653" y="1318"/>
                    </a:lnTo>
                    <a:lnTo>
                      <a:pt x="1647" y="1312"/>
                    </a:lnTo>
                    <a:lnTo>
                      <a:pt x="1642" y="1308"/>
                    </a:lnTo>
                    <a:lnTo>
                      <a:pt x="1636" y="1305"/>
                    </a:lnTo>
                    <a:lnTo>
                      <a:pt x="1630" y="1304"/>
                    </a:lnTo>
                    <a:lnTo>
                      <a:pt x="1622" y="1304"/>
                    </a:lnTo>
                    <a:lnTo>
                      <a:pt x="1612" y="1304"/>
                    </a:lnTo>
                    <a:lnTo>
                      <a:pt x="1602" y="1305"/>
                    </a:lnTo>
                    <a:lnTo>
                      <a:pt x="1580" y="1307"/>
                    </a:lnTo>
                    <a:lnTo>
                      <a:pt x="1566" y="1308"/>
                    </a:lnTo>
                    <a:lnTo>
                      <a:pt x="1556" y="1308"/>
                    </a:lnTo>
                    <a:lnTo>
                      <a:pt x="1549" y="1308"/>
                    </a:lnTo>
                    <a:lnTo>
                      <a:pt x="1547" y="1309"/>
                    </a:lnTo>
                    <a:lnTo>
                      <a:pt x="1544" y="1311"/>
                    </a:lnTo>
                    <a:lnTo>
                      <a:pt x="1543" y="1313"/>
                    </a:lnTo>
                    <a:lnTo>
                      <a:pt x="1543" y="1317"/>
                    </a:lnTo>
                    <a:lnTo>
                      <a:pt x="1543" y="1324"/>
                    </a:lnTo>
                    <a:lnTo>
                      <a:pt x="1541" y="1328"/>
                    </a:lnTo>
                    <a:lnTo>
                      <a:pt x="1540" y="1331"/>
                    </a:lnTo>
                    <a:lnTo>
                      <a:pt x="1537" y="1333"/>
                    </a:lnTo>
                    <a:lnTo>
                      <a:pt x="1534" y="1336"/>
                    </a:lnTo>
                    <a:lnTo>
                      <a:pt x="1530" y="1337"/>
                    </a:lnTo>
                    <a:lnTo>
                      <a:pt x="1523" y="1339"/>
                    </a:lnTo>
                    <a:lnTo>
                      <a:pt x="1514" y="1343"/>
                    </a:lnTo>
                    <a:lnTo>
                      <a:pt x="1509" y="1344"/>
                    </a:lnTo>
                    <a:lnTo>
                      <a:pt x="1504" y="1344"/>
                    </a:lnTo>
                    <a:lnTo>
                      <a:pt x="1498" y="1344"/>
                    </a:lnTo>
                    <a:lnTo>
                      <a:pt x="1493" y="1343"/>
                    </a:lnTo>
                    <a:lnTo>
                      <a:pt x="1493" y="1340"/>
                    </a:lnTo>
                    <a:lnTo>
                      <a:pt x="1493" y="1338"/>
                    </a:lnTo>
                    <a:lnTo>
                      <a:pt x="1495" y="1334"/>
                    </a:lnTo>
                    <a:lnTo>
                      <a:pt x="1497" y="1332"/>
                    </a:lnTo>
                    <a:lnTo>
                      <a:pt x="1502" y="1326"/>
                    </a:lnTo>
                    <a:lnTo>
                      <a:pt x="1508" y="1320"/>
                    </a:lnTo>
                    <a:lnTo>
                      <a:pt x="1519" y="1307"/>
                    </a:lnTo>
                    <a:lnTo>
                      <a:pt x="1533" y="1295"/>
                    </a:lnTo>
                    <a:lnTo>
                      <a:pt x="1547" y="1283"/>
                    </a:lnTo>
                    <a:lnTo>
                      <a:pt x="1559" y="1276"/>
                    </a:lnTo>
                    <a:lnTo>
                      <a:pt x="1565" y="1275"/>
                    </a:lnTo>
                    <a:lnTo>
                      <a:pt x="1572" y="1274"/>
                    </a:lnTo>
                    <a:lnTo>
                      <a:pt x="1579" y="1274"/>
                    </a:lnTo>
                    <a:lnTo>
                      <a:pt x="1588" y="1274"/>
                    </a:lnTo>
                    <a:lnTo>
                      <a:pt x="1598" y="1275"/>
                    </a:lnTo>
                    <a:lnTo>
                      <a:pt x="1606" y="1276"/>
                    </a:lnTo>
                    <a:lnTo>
                      <a:pt x="1616" y="1279"/>
                    </a:lnTo>
                    <a:lnTo>
                      <a:pt x="1624" y="1282"/>
                    </a:lnTo>
                    <a:lnTo>
                      <a:pt x="1640" y="1287"/>
                    </a:lnTo>
                    <a:lnTo>
                      <a:pt x="1656" y="1293"/>
                    </a:lnTo>
                    <a:lnTo>
                      <a:pt x="1670" y="1299"/>
                    </a:lnTo>
                    <a:lnTo>
                      <a:pt x="1682" y="1305"/>
                    </a:lnTo>
                    <a:lnTo>
                      <a:pt x="1691" y="1313"/>
                    </a:lnTo>
                    <a:lnTo>
                      <a:pt x="1698" y="1324"/>
                    </a:lnTo>
                    <a:lnTo>
                      <a:pt x="1701" y="1328"/>
                    </a:lnTo>
                    <a:lnTo>
                      <a:pt x="1704" y="1334"/>
                    </a:lnTo>
                    <a:lnTo>
                      <a:pt x="1704" y="1339"/>
                    </a:lnTo>
                    <a:lnTo>
                      <a:pt x="1704" y="1344"/>
                    </a:lnTo>
                    <a:lnTo>
                      <a:pt x="1700" y="1353"/>
                    </a:lnTo>
                    <a:lnTo>
                      <a:pt x="1695" y="1363"/>
                    </a:lnTo>
                    <a:lnTo>
                      <a:pt x="1694" y="1367"/>
                    </a:lnTo>
                    <a:lnTo>
                      <a:pt x="1694" y="1370"/>
                    </a:lnTo>
                    <a:lnTo>
                      <a:pt x="1695" y="1372"/>
                    </a:lnTo>
                    <a:lnTo>
                      <a:pt x="1699" y="1374"/>
                    </a:lnTo>
                    <a:lnTo>
                      <a:pt x="1713" y="1372"/>
                    </a:lnTo>
                    <a:lnTo>
                      <a:pt x="1732" y="1368"/>
                    </a:lnTo>
                    <a:lnTo>
                      <a:pt x="1743" y="1367"/>
                    </a:lnTo>
                    <a:lnTo>
                      <a:pt x="1752" y="1365"/>
                    </a:lnTo>
                    <a:lnTo>
                      <a:pt x="1756" y="1365"/>
                    </a:lnTo>
                    <a:lnTo>
                      <a:pt x="1761" y="1365"/>
                    </a:lnTo>
                    <a:lnTo>
                      <a:pt x="1764" y="1367"/>
                    </a:lnTo>
                    <a:lnTo>
                      <a:pt x="1767" y="1369"/>
                    </a:lnTo>
                    <a:lnTo>
                      <a:pt x="1775" y="1375"/>
                    </a:lnTo>
                    <a:lnTo>
                      <a:pt x="1782" y="1378"/>
                    </a:lnTo>
                    <a:lnTo>
                      <a:pt x="1785" y="1380"/>
                    </a:lnTo>
                    <a:lnTo>
                      <a:pt x="1787" y="1378"/>
                    </a:lnTo>
                    <a:lnTo>
                      <a:pt x="1789" y="1377"/>
                    </a:lnTo>
                    <a:lnTo>
                      <a:pt x="1793" y="1374"/>
                    </a:lnTo>
                    <a:lnTo>
                      <a:pt x="1800" y="1367"/>
                    </a:lnTo>
                    <a:lnTo>
                      <a:pt x="1808" y="1358"/>
                    </a:lnTo>
                    <a:lnTo>
                      <a:pt x="1818" y="1351"/>
                    </a:lnTo>
                    <a:lnTo>
                      <a:pt x="1830" y="1345"/>
                    </a:lnTo>
                    <a:lnTo>
                      <a:pt x="1837" y="1343"/>
                    </a:lnTo>
                    <a:lnTo>
                      <a:pt x="1846" y="1342"/>
                    </a:lnTo>
                    <a:lnTo>
                      <a:pt x="1856" y="1340"/>
                    </a:lnTo>
                    <a:lnTo>
                      <a:pt x="1865" y="1340"/>
                    </a:lnTo>
                    <a:lnTo>
                      <a:pt x="1876" y="1340"/>
                    </a:lnTo>
                    <a:lnTo>
                      <a:pt x="1886" y="1342"/>
                    </a:lnTo>
                    <a:lnTo>
                      <a:pt x="1895" y="1343"/>
                    </a:lnTo>
                    <a:lnTo>
                      <a:pt x="1902" y="1345"/>
                    </a:lnTo>
                    <a:lnTo>
                      <a:pt x="1914" y="1350"/>
                    </a:lnTo>
                    <a:lnTo>
                      <a:pt x="1922" y="1355"/>
                    </a:lnTo>
                    <a:lnTo>
                      <a:pt x="1932" y="1359"/>
                    </a:lnTo>
                    <a:lnTo>
                      <a:pt x="1944" y="1363"/>
                    </a:lnTo>
                    <a:lnTo>
                      <a:pt x="1959" y="1368"/>
                    </a:lnTo>
                    <a:lnTo>
                      <a:pt x="1976" y="1374"/>
                    </a:lnTo>
                    <a:lnTo>
                      <a:pt x="1993" y="1381"/>
                    </a:lnTo>
                    <a:lnTo>
                      <a:pt x="2008" y="1388"/>
                    </a:lnTo>
                    <a:lnTo>
                      <a:pt x="2025" y="1394"/>
                    </a:lnTo>
                    <a:lnTo>
                      <a:pt x="2043" y="1399"/>
                    </a:lnTo>
                    <a:lnTo>
                      <a:pt x="2052" y="1401"/>
                    </a:lnTo>
                    <a:lnTo>
                      <a:pt x="2059" y="1401"/>
                    </a:lnTo>
                    <a:lnTo>
                      <a:pt x="2066" y="1401"/>
                    </a:lnTo>
                    <a:lnTo>
                      <a:pt x="2072" y="1400"/>
                    </a:lnTo>
                    <a:lnTo>
                      <a:pt x="2076" y="1397"/>
                    </a:lnTo>
                    <a:lnTo>
                      <a:pt x="2078" y="1394"/>
                    </a:lnTo>
                    <a:lnTo>
                      <a:pt x="2079" y="1390"/>
                    </a:lnTo>
                    <a:lnTo>
                      <a:pt x="2079" y="1386"/>
                    </a:lnTo>
                    <a:lnTo>
                      <a:pt x="2078" y="1376"/>
                    </a:lnTo>
                    <a:lnTo>
                      <a:pt x="2076" y="1367"/>
                    </a:lnTo>
                    <a:lnTo>
                      <a:pt x="2072" y="1355"/>
                    </a:lnTo>
                    <a:lnTo>
                      <a:pt x="2069" y="1339"/>
                    </a:lnTo>
                    <a:lnTo>
                      <a:pt x="2068" y="1332"/>
                    </a:lnTo>
                    <a:lnTo>
                      <a:pt x="2065" y="1325"/>
                    </a:lnTo>
                    <a:lnTo>
                      <a:pt x="2062" y="1319"/>
                    </a:lnTo>
                    <a:lnTo>
                      <a:pt x="2058" y="1315"/>
                    </a:lnTo>
                    <a:lnTo>
                      <a:pt x="2054" y="1312"/>
                    </a:lnTo>
                    <a:lnTo>
                      <a:pt x="2052" y="1307"/>
                    </a:lnTo>
                    <a:lnTo>
                      <a:pt x="2050" y="1302"/>
                    </a:lnTo>
                    <a:lnTo>
                      <a:pt x="2047" y="1296"/>
                    </a:lnTo>
                    <a:lnTo>
                      <a:pt x="2043" y="1287"/>
                    </a:lnTo>
                    <a:lnTo>
                      <a:pt x="2037" y="1277"/>
                    </a:lnTo>
                    <a:lnTo>
                      <a:pt x="2026" y="1268"/>
                    </a:lnTo>
                    <a:lnTo>
                      <a:pt x="2010" y="1258"/>
                    </a:lnTo>
                    <a:lnTo>
                      <a:pt x="1995" y="1249"/>
                    </a:lnTo>
                    <a:lnTo>
                      <a:pt x="1980" y="1241"/>
                    </a:lnTo>
                    <a:lnTo>
                      <a:pt x="1968" y="1235"/>
                    </a:lnTo>
                    <a:lnTo>
                      <a:pt x="1955" y="1230"/>
                    </a:lnTo>
                    <a:lnTo>
                      <a:pt x="1947" y="1229"/>
                    </a:lnTo>
                    <a:lnTo>
                      <a:pt x="1940" y="1227"/>
                    </a:lnTo>
                    <a:lnTo>
                      <a:pt x="1932" y="1226"/>
                    </a:lnTo>
                    <a:lnTo>
                      <a:pt x="1924" y="1226"/>
                    </a:lnTo>
                    <a:lnTo>
                      <a:pt x="1909" y="1227"/>
                    </a:lnTo>
                    <a:lnTo>
                      <a:pt x="1900" y="1227"/>
                    </a:lnTo>
                    <a:lnTo>
                      <a:pt x="1898" y="1226"/>
                    </a:lnTo>
                    <a:lnTo>
                      <a:pt x="1895" y="1225"/>
                    </a:lnTo>
                    <a:lnTo>
                      <a:pt x="1894" y="1223"/>
                    </a:lnTo>
                    <a:lnTo>
                      <a:pt x="1893" y="1218"/>
                    </a:lnTo>
                    <a:lnTo>
                      <a:pt x="1892" y="1210"/>
                    </a:lnTo>
                    <a:lnTo>
                      <a:pt x="1890" y="1202"/>
                    </a:lnTo>
                    <a:lnTo>
                      <a:pt x="1888" y="1200"/>
                    </a:lnTo>
                    <a:lnTo>
                      <a:pt x="1886" y="1199"/>
                    </a:lnTo>
                    <a:lnTo>
                      <a:pt x="1882" y="1198"/>
                    </a:lnTo>
                    <a:lnTo>
                      <a:pt x="1878" y="1199"/>
                    </a:lnTo>
                    <a:lnTo>
                      <a:pt x="1874" y="1200"/>
                    </a:lnTo>
                    <a:lnTo>
                      <a:pt x="1869" y="1200"/>
                    </a:lnTo>
                    <a:lnTo>
                      <a:pt x="1865" y="1199"/>
                    </a:lnTo>
                    <a:lnTo>
                      <a:pt x="1863" y="1198"/>
                    </a:lnTo>
                    <a:lnTo>
                      <a:pt x="1861" y="1195"/>
                    </a:lnTo>
                    <a:lnTo>
                      <a:pt x="1859" y="1192"/>
                    </a:lnTo>
                    <a:lnTo>
                      <a:pt x="1859" y="1187"/>
                    </a:lnTo>
                    <a:lnTo>
                      <a:pt x="1861" y="1182"/>
                    </a:lnTo>
                    <a:lnTo>
                      <a:pt x="1862" y="1172"/>
                    </a:lnTo>
                    <a:lnTo>
                      <a:pt x="1861" y="1161"/>
                    </a:lnTo>
                    <a:lnTo>
                      <a:pt x="1859" y="1148"/>
                    </a:lnTo>
                    <a:lnTo>
                      <a:pt x="1859" y="1135"/>
                    </a:lnTo>
                    <a:lnTo>
                      <a:pt x="1859" y="1123"/>
                    </a:lnTo>
                    <a:lnTo>
                      <a:pt x="1859" y="1113"/>
                    </a:lnTo>
                    <a:lnTo>
                      <a:pt x="1858" y="1110"/>
                    </a:lnTo>
                    <a:lnTo>
                      <a:pt x="1856" y="1105"/>
                    </a:lnTo>
                    <a:lnTo>
                      <a:pt x="1852" y="1101"/>
                    </a:lnTo>
                    <a:lnTo>
                      <a:pt x="1846" y="1098"/>
                    </a:lnTo>
                    <a:lnTo>
                      <a:pt x="1830" y="1091"/>
                    </a:lnTo>
                    <a:lnTo>
                      <a:pt x="1806" y="1084"/>
                    </a:lnTo>
                    <a:lnTo>
                      <a:pt x="1785" y="1078"/>
                    </a:lnTo>
                    <a:lnTo>
                      <a:pt x="1769" y="1074"/>
                    </a:lnTo>
                    <a:lnTo>
                      <a:pt x="1757" y="1072"/>
                    </a:lnTo>
                    <a:lnTo>
                      <a:pt x="1741" y="1068"/>
                    </a:lnTo>
                    <a:lnTo>
                      <a:pt x="1732" y="1066"/>
                    </a:lnTo>
                    <a:lnTo>
                      <a:pt x="1725" y="1063"/>
                    </a:lnTo>
                    <a:lnTo>
                      <a:pt x="1718" y="1061"/>
                    </a:lnTo>
                    <a:lnTo>
                      <a:pt x="1713" y="1057"/>
                    </a:lnTo>
                    <a:lnTo>
                      <a:pt x="1700" y="1050"/>
                    </a:lnTo>
                    <a:lnTo>
                      <a:pt x="1687" y="1043"/>
                    </a:lnTo>
                    <a:lnTo>
                      <a:pt x="1675" y="1037"/>
                    </a:lnTo>
                    <a:lnTo>
                      <a:pt x="1666" y="1030"/>
                    </a:lnTo>
                    <a:lnTo>
                      <a:pt x="1662" y="1025"/>
                    </a:lnTo>
                    <a:lnTo>
                      <a:pt x="1662" y="1021"/>
                    </a:lnTo>
                    <a:lnTo>
                      <a:pt x="1662" y="1015"/>
                    </a:lnTo>
                    <a:lnTo>
                      <a:pt x="1663" y="1009"/>
                    </a:lnTo>
                    <a:lnTo>
                      <a:pt x="1666" y="996"/>
                    </a:lnTo>
                    <a:lnTo>
                      <a:pt x="1667" y="984"/>
                    </a:lnTo>
                    <a:lnTo>
                      <a:pt x="1665" y="975"/>
                    </a:lnTo>
                    <a:lnTo>
                      <a:pt x="1663" y="972"/>
                    </a:lnTo>
                    <a:lnTo>
                      <a:pt x="1661" y="971"/>
                    </a:lnTo>
                    <a:lnTo>
                      <a:pt x="1656" y="970"/>
                    </a:lnTo>
                    <a:lnTo>
                      <a:pt x="1655" y="968"/>
                    </a:lnTo>
                    <a:lnTo>
                      <a:pt x="1653" y="966"/>
                    </a:lnTo>
                    <a:lnTo>
                      <a:pt x="1651" y="961"/>
                    </a:lnTo>
                    <a:lnTo>
                      <a:pt x="1650" y="956"/>
                    </a:lnTo>
                    <a:lnTo>
                      <a:pt x="1650" y="952"/>
                    </a:lnTo>
                    <a:lnTo>
                      <a:pt x="1651" y="947"/>
                    </a:lnTo>
                    <a:lnTo>
                      <a:pt x="1653" y="943"/>
                    </a:lnTo>
                    <a:lnTo>
                      <a:pt x="1655" y="941"/>
                    </a:lnTo>
                    <a:lnTo>
                      <a:pt x="1661" y="937"/>
                    </a:lnTo>
                    <a:lnTo>
                      <a:pt x="1667" y="934"/>
                    </a:lnTo>
                    <a:lnTo>
                      <a:pt x="1669" y="931"/>
                    </a:lnTo>
                    <a:lnTo>
                      <a:pt x="1672" y="928"/>
                    </a:lnTo>
                    <a:lnTo>
                      <a:pt x="1673" y="924"/>
                    </a:lnTo>
                    <a:lnTo>
                      <a:pt x="1673" y="920"/>
                    </a:lnTo>
                    <a:lnTo>
                      <a:pt x="1670" y="912"/>
                    </a:lnTo>
                    <a:lnTo>
                      <a:pt x="1669" y="904"/>
                    </a:lnTo>
                    <a:lnTo>
                      <a:pt x="1666" y="898"/>
                    </a:lnTo>
                    <a:lnTo>
                      <a:pt x="1660" y="891"/>
                    </a:lnTo>
                    <a:lnTo>
                      <a:pt x="1656" y="886"/>
                    </a:lnTo>
                    <a:lnTo>
                      <a:pt x="1655" y="882"/>
                    </a:lnTo>
                    <a:lnTo>
                      <a:pt x="1654" y="876"/>
                    </a:lnTo>
                    <a:lnTo>
                      <a:pt x="1653" y="870"/>
                    </a:lnTo>
                    <a:lnTo>
                      <a:pt x="1653" y="858"/>
                    </a:lnTo>
                    <a:lnTo>
                      <a:pt x="1653" y="848"/>
                    </a:lnTo>
                    <a:lnTo>
                      <a:pt x="1650" y="845"/>
                    </a:lnTo>
                    <a:lnTo>
                      <a:pt x="1646" y="841"/>
                    </a:lnTo>
                    <a:lnTo>
                      <a:pt x="1637" y="836"/>
                    </a:lnTo>
                    <a:lnTo>
                      <a:pt x="1629" y="830"/>
                    </a:lnTo>
                    <a:lnTo>
                      <a:pt x="1611" y="822"/>
                    </a:lnTo>
                    <a:lnTo>
                      <a:pt x="1602" y="817"/>
                    </a:lnTo>
                    <a:lnTo>
                      <a:pt x="1598" y="815"/>
                    </a:lnTo>
                    <a:lnTo>
                      <a:pt x="1596" y="811"/>
                    </a:lnTo>
                    <a:lnTo>
                      <a:pt x="1593" y="808"/>
                    </a:lnTo>
                    <a:lnTo>
                      <a:pt x="1591" y="804"/>
                    </a:lnTo>
                    <a:lnTo>
                      <a:pt x="1590" y="795"/>
                    </a:lnTo>
                    <a:lnTo>
                      <a:pt x="1588" y="786"/>
                    </a:lnTo>
                    <a:lnTo>
                      <a:pt x="1588" y="769"/>
                    </a:lnTo>
                    <a:lnTo>
                      <a:pt x="1587" y="758"/>
                    </a:lnTo>
                    <a:lnTo>
                      <a:pt x="1584" y="752"/>
                    </a:lnTo>
                    <a:lnTo>
                      <a:pt x="1581" y="750"/>
                    </a:lnTo>
                    <a:lnTo>
                      <a:pt x="1577" y="748"/>
                    </a:lnTo>
                    <a:lnTo>
                      <a:pt x="1571" y="748"/>
                    </a:lnTo>
                    <a:lnTo>
                      <a:pt x="1567" y="748"/>
                    </a:lnTo>
                    <a:lnTo>
                      <a:pt x="1563" y="747"/>
                    </a:lnTo>
                    <a:lnTo>
                      <a:pt x="1561" y="746"/>
                    </a:lnTo>
                    <a:lnTo>
                      <a:pt x="1559" y="744"/>
                    </a:lnTo>
                    <a:lnTo>
                      <a:pt x="1556" y="740"/>
                    </a:lnTo>
                    <a:lnTo>
                      <a:pt x="1554" y="735"/>
                    </a:lnTo>
                    <a:lnTo>
                      <a:pt x="1553" y="731"/>
                    </a:lnTo>
                    <a:lnTo>
                      <a:pt x="1552" y="723"/>
                    </a:lnTo>
                    <a:lnTo>
                      <a:pt x="1548" y="706"/>
                    </a:lnTo>
                    <a:lnTo>
                      <a:pt x="1542" y="684"/>
                    </a:lnTo>
                    <a:lnTo>
                      <a:pt x="1536" y="664"/>
                    </a:lnTo>
                    <a:lnTo>
                      <a:pt x="1531" y="646"/>
                    </a:lnTo>
                    <a:lnTo>
                      <a:pt x="1525" y="632"/>
                    </a:lnTo>
                    <a:lnTo>
                      <a:pt x="1514" y="606"/>
                    </a:lnTo>
                    <a:lnTo>
                      <a:pt x="1502" y="581"/>
                    </a:lnTo>
                    <a:lnTo>
                      <a:pt x="1493" y="565"/>
                    </a:lnTo>
                    <a:lnTo>
                      <a:pt x="1489" y="556"/>
                    </a:lnTo>
                    <a:lnTo>
                      <a:pt x="1485" y="545"/>
                    </a:lnTo>
                    <a:lnTo>
                      <a:pt x="1484" y="540"/>
                    </a:lnTo>
                    <a:lnTo>
                      <a:pt x="1481" y="537"/>
                    </a:lnTo>
                    <a:lnTo>
                      <a:pt x="1479" y="533"/>
                    </a:lnTo>
                    <a:lnTo>
                      <a:pt x="1476" y="533"/>
                    </a:lnTo>
                    <a:lnTo>
                      <a:pt x="1472" y="532"/>
                    </a:lnTo>
                    <a:lnTo>
                      <a:pt x="1471" y="531"/>
                    </a:lnTo>
                    <a:lnTo>
                      <a:pt x="1471" y="527"/>
                    </a:lnTo>
                    <a:lnTo>
                      <a:pt x="1473" y="521"/>
                    </a:lnTo>
                    <a:lnTo>
                      <a:pt x="1474" y="519"/>
                    </a:lnTo>
                    <a:lnTo>
                      <a:pt x="1474" y="515"/>
                    </a:lnTo>
                    <a:lnTo>
                      <a:pt x="1474" y="513"/>
                    </a:lnTo>
                    <a:lnTo>
                      <a:pt x="1473" y="510"/>
                    </a:lnTo>
                    <a:lnTo>
                      <a:pt x="1470" y="505"/>
                    </a:lnTo>
                    <a:lnTo>
                      <a:pt x="1466" y="498"/>
                    </a:lnTo>
                    <a:lnTo>
                      <a:pt x="1460" y="487"/>
                    </a:lnTo>
                    <a:lnTo>
                      <a:pt x="1452" y="470"/>
                    </a:lnTo>
                    <a:lnTo>
                      <a:pt x="1443" y="452"/>
                    </a:lnTo>
                    <a:lnTo>
                      <a:pt x="1436" y="438"/>
                    </a:lnTo>
                    <a:lnTo>
                      <a:pt x="1428" y="425"/>
                    </a:lnTo>
                    <a:lnTo>
                      <a:pt x="1418" y="409"/>
                    </a:lnTo>
                    <a:lnTo>
                      <a:pt x="1410" y="391"/>
                    </a:lnTo>
                    <a:lnTo>
                      <a:pt x="1405" y="376"/>
                    </a:lnTo>
                    <a:lnTo>
                      <a:pt x="1402" y="363"/>
                    </a:lnTo>
                    <a:lnTo>
                      <a:pt x="1398" y="348"/>
                    </a:lnTo>
                    <a:lnTo>
                      <a:pt x="1392" y="334"/>
                    </a:lnTo>
                    <a:lnTo>
                      <a:pt x="1386" y="322"/>
                    </a:lnTo>
                    <a:lnTo>
                      <a:pt x="1383" y="316"/>
                    </a:lnTo>
                    <a:lnTo>
                      <a:pt x="1377" y="312"/>
                    </a:lnTo>
                    <a:lnTo>
                      <a:pt x="1371" y="307"/>
                    </a:lnTo>
                    <a:lnTo>
                      <a:pt x="1364" y="303"/>
                    </a:lnTo>
                    <a:lnTo>
                      <a:pt x="1348" y="296"/>
                    </a:lnTo>
                    <a:lnTo>
                      <a:pt x="1335" y="291"/>
                    </a:lnTo>
                    <a:lnTo>
                      <a:pt x="1325" y="288"/>
                    </a:lnTo>
                    <a:lnTo>
                      <a:pt x="1316" y="286"/>
                    </a:lnTo>
                    <a:lnTo>
                      <a:pt x="1309" y="284"/>
                    </a:lnTo>
                    <a:lnTo>
                      <a:pt x="1301" y="279"/>
                    </a:lnTo>
                    <a:lnTo>
                      <a:pt x="1291" y="273"/>
                    </a:lnTo>
                    <a:lnTo>
                      <a:pt x="1282" y="268"/>
                    </a:lnTo>
                    <a:lnTo>
                      <a:pt x="1272" y="265"/>
                    </a:lnTo>
                    <a:lnTo>
                      <a:pt x="1264" y="263"/>
                    </a:lnTo>
                    <a:lnTo>
                      <a:pt x="1254" y="260"/>
                    </a:lnTo>
                    <a:lnTo>
                      <a:pt x="1243" y="256"/>
                    </a:lnTo>
                    <a:lnTo>
                      <a:pt x="1237" y="254"/>
                    </a:lnTo>
                    <a:lnTo>
                      <a:pt x="1231" y="254"/>
                    </a:lnTo>
                    <a:lnTo>
                      <a:pt x="1226" y="253"/>
                    </a:lnTo>
                    <a:lnTo>
                      <a:pt x="1221" y="254"/>
                    </a:lnTo>
                    <a:lnTo>
                      <a:pt x="1213" y="258"/>
                    </a:lnTo>
                    <a:lnTo>
                      <a:pt x="1206" y="259"/>
                    </a:lnTo>
                    <a:lnTo>
                      <a:pt x="1201" y="260"/>
                    </a:lnTo>
                    <a:lnTo>
                      <a:pt x="1196" y="259"/>
                    </a:lnTo>
                    <a:lnTo>
                      <a:pt x="1194" y="258"/>
                    </a:lnTo>
                    <a:lnTo>
                      <a:pt x="1193" y="256"/>
                    </a:lnTo>
                    <a:lnTo>
                      <a:pt x="1193" y="254"/>
                    </a:lnTo>
                    <a:lnTo>
                      <a:pt x="1193" y="253"/>
                    </a:lnTo>
                    <a:lnTo>
                      <a:pt x="1195" y="249"/>
                    </a:lnTo>
                    <a:lnTo>
                      <a:pt x="1200" y="248"/>
                    </a:lnTo>
                    <a:lnTo>
                      <a:pt x="1201" y="247"/>
                    </a:lnTo>
                    <a:lnTo>
                      <a:pt x="1202" y="244"/>
                    </a:lnTo>
                    <a:lnTo>
                      <a:pt x="1202" y="243"/>
                    </a:lnTo>
                    <a:lnTo>
                      <a:pt x="1201" y="241"/>
                    </a:lnTo>
                    <a:lnTo>
                      <a:pt x="1200" y="240"/>
                    </a:lnTo>
                    <a:lnTo>
                      <a:pt x="1196" y="237"/>
                    </a:lnTo>
                    <a:lnTo>
                      <a:pt x="1191" y="236"/>
                    </a:lnTo>
                    <a:lnTo>
                      <a:pt x="1185" y="236"/>
                    </a:lnTo>
                    <a:lnTo>
                      <a:pt x="1174" y="237"/>
                    </a:lnTo>
                    <a:lnTo>
                      <a:pt x="1163" y="241"/>
                    </a:lnTo>
                    <a:lnTo>
                      <a:pt x="1159" y="243"/>
                    </a:lnTo>
                    <a:lnTo>
                      <a:pt x="1155" y="246"/>
                    </a:lnTo>
                    <a:lnTo>
                      <a:pt x="1151" y="249"/>
                    </a:lnTo>
                    <a:lnTo>
                      <a:pt x="1149" y="253"/>
                    </a:lnTo>
                    <a:lnTo>
                      <a:pt x="1143" y="259"/>
                    </a:lnTo>
                    <a:lnTo>
                      <a:pt x="1138" y="263"/>
                    </a:lnTo>
                    <a:lnTo>
                      <a:pt x="1132" y="265"/>
                    </a:lnTo>
                    <a:lnTo>
                      <a:pt x="1126" y="263"/>
                    </a:lnTo>
                    <a:lnTo>
                      <a:pt x="1122" y="263"/>
                    </a:lnTo>
                    <a:lnTo>
                      <a:pt x="1120" y="261"/>
                    </a:lnTo>
                    <a:lnTo>
                      <a:pt x="1119" y="259"/>
                    </a:lnTo>
                    <a:lnTo>
                      <a:pt x="1119" y="258"/>
                    </a:lnTo>
                    <a:lnTo>
                      <a:pt x="1119" y="255"/>
                    </a:lnTo>
                    <a:lnTo>
                      <a:pt x="1120" y="253"/>
                    </a:lnTo>
                    <a:lnTo>
                      <a:pt x="1122" y="250"/>
                    </a:lnTo>
                    <a:lnTo>
                      <a:pt x="1125" y="248"/>
                    </a:lnTo>
                    <a:lnTo>
                      <a:pt x="1133" y="243"/>
                    </a:lnTo>
                    <a:lnTo>
                      <a:pt x="1139" y="237"/>
                    </a:lnTo>
                    <a:lnTo>
                      <a:pt x="1144" y="230"/>
                    </a:lnTo>
                    <a:lnTo>
                      <a:pt x="1147" y="224"/>
                    </a:lnTo>
                    <a:lnTo>
                      <a:pt x="1149" y="222"/>
                    </a:lnTo>
                    <a:lnTo>
                      <a:pt x="1147" y="218"/>
                    </a:lnTo>
                    <a:lnTo>
                      <a:pt x="1146" y="216"/>
                    </a:lnTo>
                    <a:lnTo>
                      <a:pt x="1143" y="214"/>
                    </a:lnTo>
                    <a:lnTo>
                      <a:pt x="1136" y="206"/>
                    </a:lnTo>
                    <a:lnTo>
                      <a:pt x="1125" y="196"/>
                    </a:lnTo>
                    <a:lnTo>
                      <a:pt x="1112" y="181"/>
                    </a:lnTo>
                    <a:lnTo>
                      <a:pt x="1095" y="165"/>
                    </a:lnTo>
                    <a:lnTo>
                      <a:pt x="1087" y="158"/>
                    </a:lnTo>
                    <a:lnTo>
                      <a:pt x="1078" y="152"/>
                    </a:lnTo>
                    <a:lnTo>
                      <a:pt x="1070" y="147"/>
                    </a:lnTo>
                    <a:lnTo>
                      <a:pt x="1062" y="145"/>
                    </a:lnTo>
                    <a:lnTo>
                      <a:pt x="1055" y="145"/>
                    </a:lnTo>
                    <a:lnTo>
                      <a:pt x="1049" y="146"/>
                    </a:lnTo>
                    <a:lnTo>
                      <a:pt x="1042" y="148"/>
                    </a:lnTo>
                    <a:lnTo>
                      <a:pt x="1034" y="149"/>
                    </a:lnTo>
                    <a:lnTo>
                      <a:pt x="1027" y="152"/>
                    </a:lnTo>
                    <a:lnTo>
                      <a:pt x="1021" y="153"/>
                    </a:lnTo>
                    <a:lnTo>
                      <a:pt x="1015" y="153"/>
                    </a:lnTo>
                    <a:lnTo>
                      <a:pt x="1011" y="152"/>
                    </a:lnTo>
                    <a:lnTo>
                      <a:pt x="1002" y="146"/>
                    </a:lnTo>
                    <a:lnTo>
                      <a:pt x="994" y="138"/>
                    </a:lnTo>
                    <a:lnTo>
                      <a:pt x="987" y="129"/>
                    </a:lnTo>
                    <a:lnTo>
                      <a:pt x="982" y="120"/>
                    </a:lnTo>
                    <a:lnTo>
                      <a:pt x="981" y="115"/>
                    </a:lnTo>
                    <a:lnTo>
                      <a:pt x="981" y="108"/>
                    </a:lnTo>
                    <a:lnTo>
                      <a:pt x="982" y="101"/>
                    </a:lnTo>
                    <a:lnTo>
                      <a:pt x="983" y="92"/>
                    </a:lnTo>
                    <a:lnTo>
                      <a:pt x="986" y="77"/>
                    </a:lnTo>
                    <a:lnTo>
                      <a:pt x="987" y="64"/>
                    </a:lnTo>
                    <a:lnTo>
                      <a:pt x="987" y="53"/>
                    </a:lnTo>
                    <a:lnTo>
                      <a:pt x="988" y="40"/>
                    </a:lnTo>
                    <a:lnTo>
                      <a:pt x="989" y="34"/>
                    </a:lnTo>
                    <a:lnTo>
                      <a:pt x="992" y="29"/>
                    </a:lnTo>
                    <a:lnTo>
                      <a:pt x="994" y="25"/>
                    </a:lnTo>
                    <a:lnTo>
                      <a:pt x="999" y="21"/>
                    </a:lnTo>
                    <a:lnTo>
                      <a:pt x="1010" y="15"/>
                    </a:lnTo>
                    <a:lnTo>
                      <a:pt x="1021" y="7"/>
                    </a:lnTo>
                    <a:lnTo>
                      <a:pt x="1007" y="2"/>
                    </a:lnTo>
                    <a:lnTo>
                      <a:pt x="990" y="0"/>
                    </a:lnTo>
                    <a:lnTo>
                      <a:pt x="982" y="0"/>
                    </a:lnTo>
                    <a:lnTo>
                      <a:pt x="975" y="0"/>
                    </a:lnTo>
                    <a:lnTo>
                      <a:pt x="969" y="1"/>
                    </a:lnTo>
                    <a:lnTo>
                      <a:pt x="962" y="3"/>
                    </a:lnTo>
                    <a:lnTo>
                      <a:pt x="951" y="9"/>
                    </a:lnTo>
                    <a:lnTo>
                      <a:pt x="942" y="16"/>
                    </a:lnTo>
                    <a:lnTo>
                      <a:pt x="935" y="21"/>
                    </a:lnTo>
                    <a:lnTo>
                      <a:pt x="927" y="25"/>
                    </a:lnTo>
                    <a:lnTo>
                      <a:pt x="920" y="28"/>
                    </a:lnTo>
                    <a:lnTo>
                      <a:pt x="913" y="31"/>
                    </a:lnTo>
                    <a:lnTo>
                      <a:pt x="897" y="34"/>
                    </a:lnTo>
                    <a:lnTo>
                      <a:pt x="879" y="38"/>
                    </a:lnTo>
                    <a:lnTo>
                      <a:pt x="870" y="40"/>
                    </a:lnTo>
                    <a:lnTo>
                      <a:pt x="866" y="42"/>
                    </a:lnTo>
                    <a:lnTo>
                      <a:pt x="863" y="47"/>
                    </a:lnTo>
                    <a:lnTo>
                      <a:pt x="861" y="52"/>
                    </a:lnTo>
                    <a:lnTo>
                      <a:pt x="862" y="66"/>
                    </a:lnTo>
                    <a:lnTo>
                      <a:pt x="862" y="83"/>
                    </a:lnTo>
                    <a:lnTo>
                      <a:pt x="861" y="92"/>
                    </a:lnTo>
                    <a:lnTo>
                      <a:pt x="859" y="101"/>
                    </a:lnTo>
                    <a:lnTo>
                      <a:pt x="855" y="108"/>
                    </a:lnTo>
                    <a:lnTo>
                      <a:pt x="851" y="115"/>
                    </a:lnTo>
                    <a:lnTo>
                      <a:pt x="841" y="127"/>
                    </a:lnTo>
                    <a:lnTo>
                      <a:pt x="830" y="139"/>
                    </a:lnTo>
                    <a:lnTo>
                      <a:pt x="825" y="145"/>
                    </a:lnTo>
                    <a:lnTo>
                      <a:pt x="824" y="149"/>
                    </a:lnTo>
                    <a:lnTo>
                      <a:pt x="824" y="155"/>
                    </a:lnTo>
                    <a:lnTo>
                      <a:pt x="825" y="161"/>
                    </a:lnTo>
                    <a:lnTo>
                      <a:pt x="831" y="172"/>
                    </a:lnTo>
                    <a:lnTo>
                      <a:pt x="835" y="183"/>
                    </a:lnTo>
                    <a:lnTo>
                      <a:pt x="834" y="187"/>
                    </a:lnTo>
                    <a:lnTo>
                      <a:pt x="831" y="191"/>
                    </a:lnTo>
                    <a:lnTo>
                      <a:pt x="828" y="193"/>
                    </a:lnTo>
                    <a:lnTo>
                      <a:pt x="823" y="195"/>
                    </a:lnTo>
                    <a:lnTo>
                      <a:pt x="816" y="196"/>
                    </a:lnTo>
                    <a:lnTo>
                      <a:pt x="810" y="196"/>
                    </a:lnTo>
                    <a:lnTo>
                      <a:pt x="803" y="195"/>
                    </a:lnTo>
                    <a:lnTo>
                      <a:pt x="794" y="192"/>
                    </a:lnTo>
                    <a:lnTo>
                      <a:pt x="788" y="191"/>
                    </a:lnTo>
                    <a:lnTo>
                      <a:pt x="781" y="191"/>
                    </a:lnTo>
                    <a:lnTo>
                      <a:pt x="774" y="191"/>
                    </a:lnTo>
                    <a:lnTo>
                      <a:pt x="767" y="192"/>
                    </a:lnTo>
                    <a:lnTo>
                      <a:pt x="761" y="195"/>
                    </a:lnTo>
                    <a:lnTo>
                      <a:pt x="754" y="198"/>
                    </a:lnTo>
                    <a:lnTo>
                      <a:pt x="747" y="203"/>
                    </a:lnTo>
                    <a:lnTo>
                      <a:pt x="740" y="210"/>
                    </a:lnTo>
                    <a:lnTo>
                      <a:pt x="736" y="216"/>
                    </a:lnTo>
                    <a:lnTo>
                      <a:pt x="733" y="223"/>
                    </a:lnTo>
                    <a:lnTo>
                      <a:pt x="730" y="233"/>
                    </a:lnTo>
                    <a:lnTo>
                      <a:pt x="729" y="244"/>
                    </a:lnTo>
                    <a:lnTo>
                      <a:pt x="728" y="260"/>
                    </a:lnTo>
                    <a:lnTo>
                      <a:pt x="728" y="275"/>
                    </a:lnTo>
                    <a:lnTo>
                      <a:pt x="727" y="288"/>
                    </a:lnTo>
                    <a:lnTo>
                      <a:pt x="727" y="299"/>
                    </a:lnTo>
                    <a:lnTo>
                      <a:pt x="727" y="305"/>
                    </a:lnTo>
                    <a:lnTo>
                      <a:pt x="725" y="310"/>
                    </a:lnTo>
                    <a:lnTo>
                      <a:pt x="724" y="315"/>
                    </a:lnTo>
                    <a:lnTo>
                      <a:pt x="722" y="317"/>
                    </a:lnTo>
                    <a:lnTo>
                      <a:pt x="719" y="319"/>
                    </a:lnTo>
                    <a:lnTo>
                      <a:pt x="716" y="321"/>
                    </a:lnTo>
                    <a:lnTo>
                      <a:pt x="711" y="322"/>
                    </a:lnTo>
                    <a:lnTo>
                      <a:pt x="706" y="323"/>
                    </a:lnTo>
                    <a:lnTo>
                      <a:pt x="696" y="324"/>
                    </a:lnTo>
                    <a:lnTo>
                      <a:pt x="687" y="328"/>
                    </a:lnTo>
                    <a:lnTo>
                      <a:pt x="681" y="331"/>
                    </a:lnTo>
                    <a:lnTo>
                      <a:pt x="674" y="338"/>
                    </a:lnTo>
                    <a:lnTo>
                      <a:pt x="670" y="341"/>
                    </a:lnTo>
                    <a:lnTo>
                      <a:pt x="666" y="343"/>
                    </a:lnTo>
                    <a:lnTo>
                      <a:pt x="661" y="344"/>
                    </a:lnTo>
                    <a:lnTo>
                      <a:pt x="656" y="344"/>
                    </a:lnTo>
                    <a:lnTo>
                      <a:pt x="653" y="344"/>
                    </a:lnTo>
                    <a:lnTo>
                      <a:pt x="649" y="342"/>
                    </a:lnTo>
                    <a:lnTo>
                      <a:pt x="646" y="340"/>
                    </a:lnTo>
                    <a:lnTo>
                      <a:pt x="643" y="335"/>
                    </a:lnTo>
                    <a:lnTo>
                      <a:pt x="640" y="325"/>
                    </a:lnTo>
                    <a:lnTo>
                      <a:pt x="637" y="312"/>
                    </a:lnTo>
                    <a:lnTo>
                      <a:pt x="634" y="299"/>
                    </a:lnTo>
                    <a:lnTo>
                      <a:pt x="630" y="287"/>
                    </a:lnTo>
                    <a:lnTo>
                      <a:pt x="624" y="278"/>
                    </a:lnTo>
                    <a:lnTo>
                      <a:pt x="618" y="269"/>
                    </a:lnTo>
                    <a:lnTo>
                      <a:pt x="616" y="266"/>
                    </a:lnTo>
                    <a:lnTo>
                      <a:pt x="612" y="261"/>
                    </a:lnTo>
                    <a:lnTo>
                      <a:pt x="610" y="256"/>
                    </a:lnTo>
                    <a:lnTo>
                      <a:pt x="609" y="250"/>
                    </a:lnTo>
                    <a:lnTo>
                      <a:pt x="607" y="244"/>
                    </a:lnTo>
                    <a:lnTo>
                      <a:pt x="603" y="241"/>
                    </a:lnTo>
                    <a:lnTo>
                      <a:pt x="598" y="236"/>
                    </a:lnTo>
                    <a:lnTo>
                      <a:pt x="591" y="234"/>
                    </a:lnTo>
                    <a:lnTo>
                      <a:pt x="584" y="233"/>
                    </a:lnTo>
                    <a:lnTo>
                      <a:pt x="576" y="231"/>
                    </a:lnTo>
                    <a:lnTo>
                      <a:pt x="567" y="230"/>
                    </a:lnTo>
                    <a:lnTo>
                      <a:pt x="558" y="231"/>
                    </a:lnTo>
                    <a:lnTo>
                      <a:pt x="549" y="233"/>
                    </a:lnTo>
                    <a:lnTo>
                      <a:pt x="542" y="235"/>
                    </a:lnTo>
                    <a:lnTo>
                      <a:pt x="534" y="239"/>
                    </a:lnTo>
                    <a:lnTo>
                      <a:pt x="527" y="242"/>
                    </a:lnTo>
                    <a:lnTo>
                      <a:pt x="521" y="247"/>
                    </a:lnTo>
                    <a:lnTo>
                      <a:pt x="516" y="252"/>
                    </a:lnTo>
                    <a:lnTo>
                      <a:pt x="511" y="258"/>
                    </a:lnTo>
                    <a:lnTo>
                      <a:pt x="509" y="263"/>
                    </a:lnTo>
                    <a:lnTo>
                      <a:pt x="507" y="273"/>
                    </a:lnTo>
                    <a:lnTo>
                      <a:pt x="502" y="287"/>
                    </a:lnTo>
                    <a:lnTo>
                      <a:pt x="500" y="294"/>
                    </a:lnTo>
                    <a:lnTo>
                      <a:pt x="496" y="299"/>
                    </a:lnTo>
                    <a:lnTo>
                      <a:pt x="495" y="300"/>
                    </a:lnTo>
                    <a:lnTo>
                      <a:pt x="494" y="302"/>
                    </a:lnTo>
                    <a:lnTo>
                      <a:pt x="491" y="302"/>
                    </a:lnTo>
                    <a:lnTo>
                      <a:pt x="490" y="300"/>
                    </a:lnTo>
                    <a:lnTo>
                      <a:pt x="486" y="297"/>
                    </a:lnTo>
                    <a:lnTo>
                      <a:pt x="483" y="296"/>
                    </a:lnTo>
                    <a:lnTo>
                      <a:pt x="478" y="298"/>
                    </a:lnTo>
                    <a:lnTo>
                      <a:pt x="471" y="304"/>
                    </a:lnTo>
                    <a:lnTo>
                      <a:pt x="460" y="312"/>
                    </a:lnTo>
                    <a:lnTo>
                      <a:pt x="450" y="321"/>
                    </a:lnTo>
                    <a:lnTo>
                      <a:pt x="444" y="324"/>
                    </a:lnTo>
                    <a:lnTo>
                      <a:pt x="438" y="328"/>
                    </a:lnTo>
                    <a:lnTo>
                      <a:pt x="432" y="330"/>
                    </a:lnTo>
                    <a:lnTo>
                      <a:pt x="427" y="331"/>
                    </a:lnTo>
                    <a:lnTo>
                      <a:pt x="419" y="332"/>
                    </a:lnTo>
                    <a:lnTo>
                      <a:pt x="412" y="332"/>
                    </a:lnTo>
                    <a:lnTo>
                      <a:pt x="403" y="332"/>
                    </a:lnTo>
                    <a:lnTo>
                      <a:pt x="396" y="331"/>
                    </a:lnTo>
                    <a:lnTo>
                      <a:pt x="390" y="328"/>
                    </a:lnTo>
                    <a:lnTo>
                      <a:pt x="383" y="325"/>
                    </a:lnTo>
                    <a:lnTo>
                      <a:pt x="377" y="321"/>
                    </a:lnTo>
                    <a:lnTo>
                      <a:pt x="372" y="316"/>
                    </a:lnTo>
                    <a:lnTo>
                      <a:pt x="365" y="309"/>
                    </a:lnTo>
                    <a:lnTo>
                      <a:pt x="358" y="303"/>
                    </a:lnTo>
                    <a:lnTo>
                      <a:pt x="350" y="297"/>
                    </a:lnTo>
                    <a:lnTo>
                      <a:pt x="341" y="291"/>
                    </a:lnTo>
                    <a:lnTo>
                      <a:pt x="331" y="286"/>
                    </a:lnTo>
                    <a:lnTo>
                      <a:pt x="321" y="283"/>
                    </a:lnTo>
                    <a:lnTo>
                      <a:pt x="309" y="279"/>
                    </a:lnTo>
                    <a:lnTo>
                      <a:pt x="297" y="277"/>
                    </a:lnTo>
                    <a:lnTo>
                      <a:pt x="282" y="275"/>
                    </a:lnTo>
                    <a:lnTo>
                      <a:pt x="265" y="277"/>
                    </a:lnTo>
                    <a:lnTo>
                      <a:pt x="257" y="277"/>
                    </a:lnTo>
                    <a:lnTo>
                      <a:pt x="250" y="275"/>
                    </a:lnTo>
                    <a:lnTo>
                      <a:pt x="243" y="273"/>
                    </a:lnTo>
                    <a:lnTo>
                      <a:pt x="236" y="269"/>
                    </a:lnTo>
                    <a:lnTo>
                      <a:pt x="234" y="267"/>
                    </a:lnTo>
                    <a:lnTo>
                      <a:pt x="233" y="265"/>
                    </a:lnTo>
                    <a:lnTo>
                      <a:pt x="233" y="261"/>
                    </a:lnTo>
                    <a:lnTo>
                      <a:pt x="233" y="258"/>
                    </a:lnTo>
                    <a:lnTo>
                      <a:pt x="236" y="252"/>
                    </a:lnTo>
                    <a:lnTo>
                      <a:pt x="238" y="243"/>
                    </a:lnTo>
                    <a:lnTo>
                      <a:pt x="243" y="236"/>
                    </a:lnTo>
                    <a:lnTo>
                      <a:pt x="245" y="230"/>
                    </a:lnTo>
                    <a:lnTo>
                      <a:pt x="248" y="224"/>
                    </a:lnTo>
                    <a:lnTo>
                      <a:pt x="246" y="220"/>
                    </a:lnTo>
                    <a:lnTo>
                      <a:pt x="237" y="205"/>
                    </a:lnTo>
                    <a:lnTo>
                      <a:pt x="225" y="191"/>
                    </a:lnTo>
                    <a:lnTo>
                      <a:pt x="213" y="178"/>
                    </a:lnTo>
                    <a:lnTo>
                      <a:pt x="204" y="167"/>
                    </a:lnTo>
                    <a:lnTo>
                      <a:pt x="187" y="147"/>
                    </a:lnTo>
                    <a:lnTo>
                      <a:pt x="166" y="123"/>
                    </a:lnTo>
                    <a:lnTo>
                      <a:pt x="154" y="110"/>
                    </a:lnTo>
                    <a:lnTo>
                      <a:pt x="142" y="99"/>
                    </a:lnTo>
                    <a:lnTo>
                      <a:pt x="130" y="89"/>
                    </a:lnTo>
                    <a:lnTo>
                      <a:pt x="119" y="79"/>
                    </a:lnTo>
                    <a:lnTo>
                      <a:pt x="108" y="70"/>
                    </a:lnTo>
                    <a:lnTo>
                      <a:pt x="101" y="60"/>
                    </a:lnTo>
                    <a:lnTo>
                      <a:pt x="94" y="51"/>
                    </a:lnTo>
                    <a:lnTo>
                      <a:pt x="89" y="40"/>
                    </a:lnTo>
                    <a:lnTo>
                      <a:pt x="82" y="21"/>
                    </a:lnTo>
                    <a:lnTo>
                      <a:pt x="78" y="6"/>
                    </a:lnTo>
                    <a:lnTo>
                      <a:pt x="74" y="2"/>
                    </a:lnTo>
                    <a:lnTo>
                      <a:pt x="72" y="1"/>
                    </a:lnTo>
                    <a:lnTo>
                      <a:pt x="70" y="3"/>
                    </a:lnTo>
                    <a:lnTo>
                      <a:pt x="69" y="8"/>
                    </a:lnTo>
                    <a:lnTo>
                      <a:pt x="68" y="14"/>
                    </a:lnTo>
                    <a:lnTo>
                      <a:pt x="68" y="21"/>
                    </a:lnTo>
                    <a:lnTo>
                      <a:pt x="69" y="29"/>
                    </a:lnTo>
                    <a:lnTo>
                      <a:pt x="70" y="36"/>
                    </a:lnTo>
                    <a:lnTo>
                      <a:pt x="74" y="45"/>
                    </a:lnTo>
                    <a:lnTo>
                      <a:pt x="78" y="53"/>
                    </a:lnTo>
                    <a:lnTo>
                      <a:pt x="83" y="63"/>
                    </a:lnTo>
                    <a:lnTo>
                      <a:pt x="89" y="72"/>
                    </a:lnTo>
                    <a:lnTo>
                      <a:pt x="101" y="88"/>
                    </a:lnTo>
                    <a:lnTo>
                      <a:pt x="111" y="99"/>
                    </a:lnTo>
                    <a:lnTo>
                      <a:pt x="119" y="107"/>
                    </a:lnTo>
                    <a:lnTo>
                      <a:pt x="129" y="116"/>
                    </a:lnTo>
                    <a:lnTo>
                      <a:pt x="132" y="120"/>
                    </a:lnTo>
                    <a:lnTo>
                      <a:pt x="133" y="123"/>
                    </a:lnTo>
                    <a:lnTo>
                      <a:pt x="133" y="126"/>
                    </a:lnTo>
                    <a:lnTo>
                      <a:pt x="133" y="127"/>
                    </a:lnTo>
                    <a:lnTo>
                      <a:pt x="132" y="128"/>
                    </a:lnTo>
                    <a:lnTo>
                      <a:pt x="130" y="129"/>
                    </a:lnTo>
                    <a:lnTo>
                      <a:pt x="119" y="135"/>
                    </a:lnTo>
                    <a:lnTo>
                      <a:pt x="107" y="140"/>
                    </a:lnTo>
                    <a:lnTo>
                      <a:pt x="94" y="146"/>
                    </a:lnTo>
                    <a:lnTo>
                      <a:pt x="83" y="151"/>
                    </a:lnTo>
                    <a:lnTo>
                      <a:pt x="67" y="158"/>
                    </a:lnTo>
                    <a:lnTo>
                      <a:pt x="49" y="165"/>
                    </a:lnTo>
                    <a:lnTo>
                      <a:pt x="39" y="170"/>
                    </a:lnTo>
                    <a:lnTo>
                      <a:pt x="32" y="174"/>
                    </a:lnTo>
                    <a:lnTo>
                      <a:pt x="28" y="179"/>
                    </a:lnTo>
                    <a:lnTo>
                      <a:pt x="24" y="185"/>
                    </a:lnTo>
                    <a:lnTo>
                      <a:pt x="22" y="197"/>
                    </a:lnTo>
                    <a:lnTo>
                      <a:pt x="18" y="209"/>
                    </a:lnTo>
                    <a:lnTo>
                      <a:pt x="13" y="220"/>
                    </a:lnTo>
                    <a:lnTo>
                      <a:pt x="6" y="231"/>
                    </a:lnTo>
                    <a:lnTo>
                      <a:pt x="3" y="237"/>
                    </a:lnTo>
                    <a:lnTo>
                      <a:pt x="0" y="246"/>
                    </a:lnTo>
                    <a:lnTo>
                      <a:pt x="0" y="255"/>
                    </a:lnTo>
                    <a:lnTo>
                      <a:pt x="0" y="263"/>
                    </a:lnTo>
                    <a:lnTo>
                      <a:pt x="1" y="271"/>
                    </a:lnTo>
                    <a:lnTo>
                      <a:pt x="1" y="275"/>
                    </a:lnTo>
                    <a:lnTo>
                      <a:pt x="0" y="279"/>
                    </a:lnTo>
                    <a:lnTo>
                      <a:pt x="0" y="281"/>
                    </a:lnTo>
                    <a:lnTo>
                      <a:pt x="1" y="283"/>
                    </a:lnTo>
                    <a:lnTo>
                      <a:pt x="6" y="281"/>
                    </a:lnTo>
                    <a:lnTo>
                      <a:pt x="12" y="280"/>
                    </a:lnTo>
                    <a:lnTo>
                      <a:pt x="17" y="281"/>
                    </a:lnTo>
                    <a:lnTo>
                      <a:pt x="29" y="290"/>
                    </a:lnTo>
                    <a:lnTo>
                      <a:pt x="43" y="303"/>
                    </a:lnTo>
                    <a:lnTo>
                      <a:pt x="56" y="317"/>
                    </a:lnTo>
                    <a:lnTo>
                      <a:pt x="67" y="328"/>
                    </a:lnTo>
                    <a:lnTo>
                      <a:pt x="70" y="331"/>
                    </a:lnTo>
                    <a:lnTo>
                      <a:pt x="74" y="335"/>
                    </a:lnTo>
                    <a:lnTo>
                      <a:pt x="79" y="338"/>
                    </a:lnTo>
                    <a:lnTo>
                      <a:pt x="83" y="341"/>
                    </a:lnTo>
                    <a:lnTo>
                      <a:pt x="94" y="344"/>
                    </a:lnTo>
                    <a:lnTo>
                      <a:pt x="106" y="346"/>
                    </a:lnTo>
                    <a:lnTo>
                      <a:pt x="119" y="346"/>
                    </a:lnTo>
                    <a:lnTo>
                      <a:pt x="130" y="347"/>
                    </a:lnTo>
                    <a:lnTo>
                      <a:pt x="135" y="348"/>
                    </a:lnTo>
                    <a:lnTo>
                      <a:pt x="139" y="349"/>
                    </a:lnTo>
                    <a:lnTo>
                      <a:pt x="143" y="351"/>
                    </a:lnTo>
                    <a:lnTo>
                      <a:pt x="146" y="356"/>
                    </a:lnTo>
                    <a:lnTo>
                      <a:pt x="152" y="365"/>
                    </a:lnTo>
                    <a:lnTo>
                      <a:pt x="160" y="372"/>
                    </a:lnTo>
                    <a:lnTo>
                      <a:pt x="164" y="374"/>
                    </a:lnTo>
                    <a:lnTo>
                      <a:pt x="170" y="376"/>
                    </a:lnTo>
                    <a:lnTo>
                      <a:pt x="176" y="378"/>
                    </a:lnTo>
                    <a:lnTo>
                      <a:pt x="183" y="378"/>
                    </a:lnTo>
                    <a:lnTo>
                      <a:pt x="199" y="376"/>
                    </a:lnTo>
                    <a:lnTo>
                      <a:pt x="209" y="375"/>
                    </a:lnTo>
                    <a:lnTo>
                      <a:pt x="214" y="376"/>
                    </a:lnTo>
                    <a:lnTo>
                      <a:pt x="218" y="378"/>
                    </a:lnTo>
                    <a:lnTo>
                      <a:pt x="220" y="381"/>
                    </a:lnTo>
                    <a:lnTo>
                      <a:pt x="221" y="385"/>
                    </a:lnTo>
                    <a:lnTo>
                      <a:pt x="221" y="395"/>
                    </a:lnTo>
                    <a:lnTo>
                      <a:pt x="221" y="405"/>
                    </a:lnTo>
                    <a:lnTo>
                      <a:pt x="221" y="410"/>
                    </a:lnTo>
                    <a:lnTo>
                      <a:pt x="221" y="414"/>
                    </a:lnTo>
                    <a:lnTo>
                      <a:pt x="223" y="418"/>
                    </a:lnTo>
                    <a:lnTo>
                      <a:pt x="225" y="423"/>
                    </a:lnTo>
                    <a:lnTo>
                      <a:pt x="231" y="431"/>
                    </a:lnTo>
                    <a:lnTo>
                      <a:pt x="236" y="441"/>
                    </a:lnTo>
                    <a:lnTo>
                      <a:pt x="240" y="449"/>
                    </a:lnTo>
                    <a:lnTo>
                      <a:pt x="243" y="458"/>
                    </a:lnTo>
                    <a:lnTo>
                      <a:pt x="244" y="466"/>
                    </a:lnTo>
                    <a:lnTo>
                      <a:pt x="246" y="474"/>
                    </a:lnTo>
                    <a:lnTo>
                      <a:pt x="249" y="477"/>
                    </a:lnTo>
                    <a:lnTo>
                      <a:pt x="252" y="482"/>
                    </a:lnTo>
                    <a:lnTo>
                      <a:pt x="258" y="487"/>
                    </a:lnTo>
                    <a:lnTo>
                      <a:pt x="267" y="492"/>
                    </a:lnTo>
                    <a:lnTo>
                      <a:pt x="275" y="496"/>
                    </a:lnTo>
                    <a:lnTo>
                      <a:pt x="284" y="501"/>
                    </a:lnTo>
                    <a:lnTo>
                      <a:pt x="294" y="505"/>
                    </a:lnTo>
                    <a:lnTo>
                      <a:pt x="303" y="508"/>
                    </a:lnTo>
                    <a:lnTo>
                      <a:pt x="313" y="511"/>
                    </a:lnTo>
                    <a:lnTo>
                      <a:pt x="322" y="512"/>
                    </a:lnTo>
                    <a:lnTo>
                      <a:pt x="331" y="512"/>
                    </a:lnTo>
                    <a:lnTo>
                      <a:pt x="339" y="511"/>
                    </a:lnTo>
                    <a:lnTo>
                      <a:pt x="352" y="507"/>
                    </a:lnTo>
                    <a:lnTo>
                      <a:pt x="363" y="507"/>
                    </a:lnTo>
                    <a:lnTo>
                      <a:pt x="366" y="508"/>
                    </a:lnTo>
                    <a:lnTo>
                      <a:pt x="369" y="510"/>
                    </a:lnTo>
                    <a:lnTo>
                      <a:pt x="371" y="513"/>
                    </a:lnTo>
                    <a:lnTo>
                      <a:pt x="374" y="518"/>
                    </a:lnTo>
                    <a:lnTo>
                      <a:pt x="376" y="521"/>
                    </a:lnTo>
                    <a:lnTo>
                      <a:pt x="378" y="525"/>
                    </a:lnTo>
                    <a:lnTo>
                      <a:pt x="382" y="527"/>
                    </a:lnTo>
                    <a:lnTo>
                      <a:pt x="385" y="529"/>
                    </a:lnTo>
                    <a:lnTo>
                      <a:pt x="390" y="529"/>
                    </a:lnTo>
                    <a:lnTo>
                      <a:pt x="395" y="527"/>
                    </a:lnTo>
                    <a:lnTo>
                      <a:pt x="401" y="526"/>
                    </a:lnTo>
                    <a:lnTo>
                      <a:pt x="406" y="523"/>
                    </a:lnTo>
                    <a:lnTo>
                      <a:pt x="412" y="520"/>
                    </a:lnTo>
                    <a:lnTo>
                      <a:pt x="415" y="518"/>
                    </a:lnTo>
                    <a:lnTo>
                      <a:pt x="420" y="518"/>
                    </a:lnTo>
                    <a:lnTo>
                      <a:pt x="423" y="518"/>
                    </a:lnTo>
                    <a:lnTo>
                      <a:pt x="426" y="519"/>
                    </a:lnTo>
                    <a:lnTo>
                      <a:pt x="428" y="521"/>
                    </a:lnTo>
                    <a:lnTo>
                      <a:pt x="431" y="525"/>
                    </a:lnTo>
                    <a:lnTo>
                      <a:pt x="432" y="530"/>
                    </a:lnTo>
                    <a:lnTo>
                      <a:pt x="434" y="534"/>
                    </a:lnTo>
                    <a:lnTo>
                      <a:pt x="437" y="538"/>
                    </a:lnTo>
                    <a:lnTo>
                      <a:pt x="439" y="540"/>
                    </a:lnTo>
                    <a:lnTo>
                      <a:pt x="442" y="542"/>
                    </a:lnTo>
                    <a:lnTo>
                      <a:pt x="450" y="542"/>
                    </a:lnTo>
                    <a:lnTo>
                      <a:pt x="458" y="539"/>
                    </a:lnTo>
                    <a:lnTo>
                      <a:pt x="462" y="539"/>
                    </a:lnTo>
                    <a:lnTo>
                      <a:pt x="466" y="538"/>
                    </a:lnTo>
                    <a:lnTo>
                      <a:pt x="470" y="538"/>
                    </a:lnTo>
                    <a:lnTo>
                      <a:pt x="472" y="539"/>
                    </a:lnTo>
                    <a:lnTo>
                      <a:pt x="475" y="542"/>
                    </a:lnTo>
                    <a:lnTo>
                      <a:pt x="477" y="544"/>
                    </a:lnTo>
                    <a:lnTo>
                      <a:pt x="478" y="549"/>
                    </a:lnTo>
                    <a:lnTo>
                      <a:pt x="479" y="552"/>
                    </a:lnTo>
                    <a:lnTo>
                      <a:pt x="479" y="562"/>
                    </a:lnTo>
                    <a:lnTo>
                      <a:pt x="482" y="569"/>
                    </a:lnTo>
                    <a:lnTo>
                      <a:pt x="484" y="574"/>
                    </a:lnTo>
                    <a:lnTo>
                      <a:pt x="489" y="580"/>
                    </a:lnTo>
                    <a:lnTo>
                      <a:pt x="492" y="581"/>
                    </a:lnTo>
                    <a:lnTo>
                      <a:pt x="497" y="582"/>
                    </a:lnTo>
                    <a:lnTo>
                      <a:pt x="501" y="582"/>
                    </a:lnTo>
                    <a:lnTo>
                      <a:pt x="505" y="582"/>
                    </a:lnTo>
                    <a:lnTo>
                      <a:pt x="509" y="582"/>
                    </a:lnTo>
                    <a:lnTo>
                      <a:pt x="511" y="583"/>
                    </a:lnTo>
                    <a:lnTo>
                      <a:pt x="514" y="586"/>
                    </a:lnTo>
                    <a:lnTo>
                      <a:pt x="514" y="589"/>
                    </a:lnTo>
                    <a:lnTo>
                      <a:pt x="513" y="599"/>
                    </a:lnTo>
                    <a:lnTo>
                      <a:pt x="511" y="609"/>
                    </a:lnTo>
                    <a:lnTo>
                      <a:pt x="510" y="619"/>
                    </a:lnTo>
                    <a:lnTo>
                      <a:pt x="509" y="630"/>
                    </a:lnTo>
                    <a:lnTo>
                      <a:pt x="510" y="634"/>
                    </a:lnTo>
                    <a:lnTo>
                      <a:pt x="510" y="637"/>
                    </a:lnTo>
                    <a:lnTo>
                      <a:pt x="513" y="639"/>
                    </a:lnTo>
                    <a:lnTo>
                      <a:pt x="516" y="641"/>
                    </a:lnTo>
                    <a:lnTo>
                      <a:pt x="525" y="643"/>
                    </a:lnTo>
                    <a:lnTo>
                      <a:pt x="540" y="643"/>
                    </a:lnTo>
                    <a:lnTo>
                      <a:pt x="558" y="643"/>
                    </a:lnTo>
                    <a:lnTo>
                      <a:pt x="573" y="643"/>
                    </a:lnTo>
                    <a:lnTo>
                      <a:pt x="588" y="640"/>
                    </a:lnTo>
                    <a:lnTo>
                      <a:pt x="605" y="637"/>
                    </a:lnTo>
                    <a:lnTo>
                      <a:pt x="616" y="636"/>
                    </a:lnTo>
                    <a:lnTo>
                      <a:pt x="627" y="633"/>
                    </a:lnTo>
                    <a:lnTo>
                      <a:pt x="636" y="631"/>
                    </a:lnTo>
                    <a:lnTo>
                      <a:pt x="645" y="630"/>
                    </a:lnTo>
                    <a:lnTo>
                      <a:pt x="652" y="630"/>
                    </a:lnTo>
                    <a:lnTo>
                      <a:pt x="656" y="630"/>
                    </a:lnTo>
                    <a:lnTo>
                      <a:pt x="660" y="632"/>
                    </a:lnTo>
                    <a:lnTo>
                      <a:pt x="664" y="636"/>
                    </a:lnTo>
                    <a:lnTo>
                      <a:pt x="665" y="639"/>
                    </a:lnTo>
                    <a:lnTo>
                      <a:pt x="666" y="643"/>
                    </a:lnTo>
                    <a:lnTo>
                      <a:pt x="667" y="649"/>
                    </a:lnTo>
                    <a:lnTo>
                      <a:pt x="667" y="653"/>
                    </a:lnTo>
                    <a:lnTo>
                      <a:pt x="667" y="662"/>
                    </a:lnTo>
                    <a:lnTo>
                      <a:pt x="665" y="670"/>
                    </a:lnTo>
                    <a:lnTo>
                      <a:pt x="662" y="678"/>
                    </a:lnTo>
                    <a:lnTo>
                      <a:pt x="660" y="685"/>
                    </a:lnTo>
                    <a:lnTo>
                      <a:pt x="658" y="693"/>
                    </a:lnTo>
                    <a:lnTo>
                      <a:pt x="659" y="700"/>
                    </a:lnTo>
                    <a:lnTo>
                      <a:pt x="660" y="706"/>
                    </a:lnTo>
                    <a:lnTo>
                      <a:pt x="661" y="713"/>
                    </a:lnTo>
                    <a:lnTo>
                      <a:pt x="664" y="727"/>
                    </a:lnTo>
                    <a:lnTo>
                      <a:pt x="664" y="738"/>
                    </a:lnTo>
                    <a:lnTo>
                      <a:pt x="660" y="739"/>
                    </a:lnTo>
                    <a:lnTo>
                      <a:pt x="653" y="739"/>
                    </a:lnTo>
                    <a:lnTo>
                      <a:pt x="645" y="738"/>
                    </a:lnTo>
                    <a:lnTo>
                      <a:pt x="639" y="737"/>
                    </a:lnTo>
                    <a:lnTo>
                      <a:pt x="631" y="734"/>
                    </a:lnTo>
                    <a:lnTo>
                      <a:pt x="627" y="734"/>
                    </a:lnTo>
                    <a:lnTo>
                      <a:pt x="626" y="738"/>
                    </a:lnTo>
                    <a:lnTo>
                      <a:pt x="624" y="745"/>
                    </a:lnTo>
                    <a:lnTo>
                      <a:pt x="623" y="756"/>
                    </a:lnTo>
                    <a:lnTo>
                      <a:pt x="624" y="767"/>
                    </a:lnTo>
                    <a:lnTo>
                      <a:pt x="626" y="777"/>
                    </a:lnTo>
                    <a:lnTo>
                      <a:pt x="627" y="785"/>
                    </a:lnTo>
                    <a:lnTo>
                      <a:pt x="626" y="789"/>
                    </a:lnTo>
                    <a:lnTo>
                      <a:pt x="624" y="791"/>
                    </a:lnTo>
                    <a:lnTo>
                      <a:pt x="623" y="795"/>
                    </a:lnTo>
                    <a:lnTo>
                      <a:pt x="620" y="798"/>
                    </a:lnTo>
                    <a:lnTo>
                      <a:pt x="615" y="804"/>
                    </a:lnTo>
                    <a:lnTo>
                      <a:pt x="611" y="809"/>
                    </a:lnTo>
                    <a:lnTo>
                      <a:pt x="609" y="816"/>
                    </a:lnTo>
                    <a:lnTo>
                      <a:pt x="609" y="826"/>
                    </a:lnTo>
                    <a:lnTo>
                      <a:pt x="608" y="835"/>
                    </a:lnTo>
                    <a:lnTo>
                      <a:pt x="607" y="844"/>
                    </a:lnTo>
                    <a:lnTo>
                      <a:pt x="605" y="847"/>
                    </a:lnTo>
                    <a:lnTo>
                      <a:pt x="607" y="852"/>
                    </a:lnTo>
                    <a:lnTo>
                      <a:pt x="608" y="855"/>
                    </a:lnTo>
                    <a:lnTo>
                      <a:pt x="609" y="860"/>
                    </a:lnTo>
                    <a:lnTo>
                      <a:pt x="614" y="866"/>
                    </a:lnTo>
                    <a:lnTo>
                      <a:pt x="617" y="871"/>
                    </a:lnTo>
                    <a:lnTo>
                      <a:pt x="620" y="877"/>
                    </a:lnTo>
                    <a:lnTo>
                      <a:pt x="622" y="883"/>
                    </a:lnTo>
                    <a:lnTo>
                      <a:pt x="623" y="888"/>
                    </a:lnTo>
                    <a:lnTo>
                      <a:pt x="626" y="890"/>
                    </a:lnTo>
                    <a:lnTo>
                      <a:pt x="628" y="891"/>
                    </a:lnTo>
                    <a:lnTo>
                      <a:pt x="634" y="891"/>
                    </a:lnTo>
                    <a:lnTo>
                      <a:pt x="640" y="891"/>
                    </a:lnTo>
                    <a:lnTo>
                      <a:pt x="647" y="891"/>
                    </a:lnTo>
                    <a:lnTo>
                      <a:pt x="654" y="889"/>
                    </a:lnTo>
                    <a:lnTo>
                      <a:pt x="661" y="885"/>
                    </a:lnTo>
                    <a:lnTo>
                      <a:pt x="665" y="882"/>
                    </a:lnTo>
                    <a:lnTo>
                      <a:pt x="668" y="876"/>
                    </a:lnTo>
                    <a:lnTo>
                      <a:pt x="672" y="868"/>
                    </a:lnTo>
                    <a:lnTo>
                      <a:pt x="674" y="861"/>
                    </a:lnTo>
                    <a:lnTo>
                      <a:pt x="678" y="853"/>
                    </a:lnTo>
                    <a:lnTo>
                      <a:pt x="680" y="846"/>
                    </a:lnTo>
                    <a:lnTo>
                      <a:pt x="684" y="841"/>
                    </a:lnTo>
                    <a:lnTo>
                      <a:pt x="687" y="839"/>
                    </a:lnTo>
                    <a:lnTo>
                      <a:pt x="692" y="840"/>
                    </a:lnTo>
                    <a:lnTo>
                      <a:pt x="696" y="841"/>
                    </a:lnTo>
                    <a:lnTo>
                      <a:pt x="698" y="844"/>
                    </a:lnTo>
                    <a:lnTo>
                      <a:pt x="700" y="848"/>
                    </a:lnTo>
                    <a:lnTo>
                      <a:pt x="703" y="853"/>
                    </a:lnTo>
                    <a:lnTo>
                      <a:pt x="704" y="858"/>
                    </a:lnTo>
                    <a:lnTo>
                      <a:pt x="705" y="865"/>
                    </a:lnTo>
                    <a:lnTo>
                      <a:pt x="706" y="871"/>
                    </a:lnTo>
                    <a:lnTo>
                      <a:pt x="708" y="892"/>
                    </a:lnTo>
                    <a:lnTo>
                      <a:pt x="711" y="904"/>
                    </a:lnTo>
                    <a:lnTo>
                      <a:pt x="714" y="916"/>
                    </a:lnTo>
                    <a:lnTo>
                      <a:pt x="718" y="929"/>
                    </a:lnTo>
                    <a:lnTo>
                      <a:pt x="721" y="936"/>
                    </a:lnTo>
                    <a:lnTo>
                      <a:pt x="725" y="943"/>
                    </a:lnTo>
                    <a:lnTo>
                      <a:pt x="730" y="952"/>
                    </a:lnTo>
                    <a:lnTo>
                      <a:pt x="736" y="959"/>
                    </a:lnTo>
                    <a:lnTo>
                      <a:pt x="738" y="961"/>
                    </a:lnTo>
                    <a:lnTo>
                      <a:pt x="738" y="964"/>
                    </a:lnTo>
                    <a:lnTo>
                      <a:pt x="737" y="966"/>
                    </a:lnTo>
                    <a:lnTo>
                      <a:pt x="735" y="968"/>
                    </a:lnTo>
                    <a:lnTo>
                      <a:pt x="731" y="971"/>
                    </a:lnTo>
                    <a:lnTo>
                      <a:pt x="729" y="974"/>
                    </a:lnTo>
                    <a:lnTo>
                      <a:pt x="727" y="977"/>
                    </a:lnTo>
                    <a:lnTo>
                      <a:pt x="725" y="980"/>
                    </a:lnTo>
                    <a:lnTo>
                      <a:pt x="725" y="986"/>
                    </a:lnTo>
                    <a:lnTo>
                      <a:pt x="725" y="993"/>
                    </a:lnTo>
                    <a:lnTo>
                      <a:pt x="728" y="1002"/>
                    </a:lnTo>
                    <a:lnTo>
                      <a:pt x="733" y="1010"/>
                    </a:lnTo>
                    <a:lnTo>
                      <a:pt x="740" y="1022"/>
                    </a:lnTo>
                    <a:lnTo>
                      <a:pt x="750" y="1035"/>
                    </a:lnTo>
                    <a:lnTo>
                      <a:pt x="762" y="1046"/>
                    </a:lnTo>
                    <a:lnTo>
                      <a:pt x="771" y="1054"/>
                    </a:lnTo>
                    <a:lnTo>
                      <a:pt x="777" y="1059"/>
                    </a:lnTo>
                    <a:lnTo>
                      <a:pt x="784" y="1061"/>
                    </a:lnTo>
                    <a:lnTo>
                      <a:pt x="790" y="1061"/>
                    </a:lnTo>
                    <a:lnTo>
                      <a:pt x="797" y="1059"/>
                    </a:lnTo>
                    <a:lnTo>
                      <a:pt x="805" y="1056"/>
                    </a:lnTo>
                    <a:lnTo>
                      <a:pt x="816" y="1055"/>
                    </a:lnTo>
                    <a:lnTo>
                      <a:pt x="829" y="1055"/>
                    </a:lnTo>
                    <a:lnTo>
                      <a:pt x="838" y="1056"/>
                    </a:lnTo>
                    <a:lnTo>
                      <a:pt x="850" y="1057"/>
                    </a:lnTo>
                    <a:lnTo>
                      <a:pt x="866" y="1055"/>
                    </a:lnTo>
                    <a:lnTo>
                      <a:pt x="880" y="1054"/>
                    </a:lnTo>
                    <a:lnTo>
                      <a:pt x="891" y="1054"/>
                    </a:lnTo>
                    <a:lnTo>
                      <a:pt x="899" y="1053"/>
                    </a:lnTo>
                    <a:lnTo>
                      <a:pt x="906" y="1052"/>
                    </a:lnTo>
                    <a:lnTo>
                      <a:pt x="908" y="1049"/>
                    </a:lnTo>
                    <a:lnTo>
                      <a:pt x="911" y="1047"/>
                    </a:lnTo>
                    <a:lnTo>
                      <a:pt x="913" y="1043"/>
                    </a:lnTo>
                    <a:lnTo>
                      <a:pt x="913" y="1040"/>
                    </a:lnTo>
                    <a:lnTo>
                      <a:pt x="912" y="1029"/>
                    </a:lnTo>
                    <a:lnTo>
                      <a:pt x="911" y="1018"/>
                    </a:lnTo>
                    <a:lnTo>
                      <a:pt x="911" y="1013"/>
                    </a:lnTo>
                    <a:lnTo>
                      <a:pt x="912" y="1010"/>
                    </a:lnTo>
                    <a:lnTo>
                      <a:pt x="914" y="1006"/>
                    </a:lnTo>
                    <a:lnTo>
                      <a:pt x="919" y="1004"/>
                    </a:lnTo>
                    <a:lnTo>
                      <a:pt x="924" y="1000"/>
                    </a:lnTo>
                    <a:lnTo>
                      <a:pt x="926" y="997"/>
                    </a:lnTo>
                    <a:lnTo>
                      <a:pt x="929" y="992"/>
                    </a:lnTo>
                    <a:lnTo>
                      <a:pt x="929" y="986"/>
                    </a:lnTo>
                    <a:lnTo>
                      <a:pt x="929" y="980"/>
                    </a:lnTo>
                    <a:lnTo>
                      <a:pt x="930" y="973"/>
                    </a:lnTo>
                    <a:lnTo>
                      <a:pt x="931" y="967"/>
                    </a:lnTo>
                    <a:lnTo>
                      <a:pt x="935" y="961"/>
                    </a:lnTo>
                    <a:lnTo>
                      <a:pt x="939" y="956"/>
                    </a:lnTo>
                    <a:lnTo>
                      <a:pt x="945" y="954"/>
                    </a:lnTo>
                    <a:lnTo>
                      <a:pt x="952" y="952"/>
                    </a:lnTo>
                    <a:lnTo>
                      <a:pt x="960" y="950"/>
                    </a:lnTo>
                    <a:lnTo>
                      <a:pt x="974" y="950"/>
                    </a:lnTo>
                    <a:lnTo>
                      <a:pt x="986" y="950"/>
                    </a:lnTo>
                    <a:lnTo>
                      <a:pt x="989" y="950"/>
                    </a:lnTo>
                    <a:lnTo>
                      <a:pt x="993" y="952"/>
                    </a:lnTo>
                    <a:lnTo>
                      <a:pt x="995" y="953"/>
                    </a:lnTo>
                    <a:lnTo>
                      <a:pt x="998" y="955"/>
                    </a:lnTo>
                    <a:lnTo>
                      <a:pt x="1002" y="962"/>
                    </a:lnTo>
                    <a:lnTo>
                      <a:pt x="1007" y="971"/>
                    </a:lnTo>
                    <a:lnTo>
                      <a:pt x="1010" y="975"/>
                    </a:lnTo>
                    <a:lnTo>
                      <a:pt x="1013" y="979"/>
                    </a:lnTo>
                    <a:lnTo>
                      <a:pt x="1017" y="983"/>
                    </a:lnTo>
                    <a:lnTo>
                      <a:pt x="1021" y="986"/>
                    </a:lnTo>
                    <a:lnTo>
                      <a:pt x="1031" y="992"/>
                    </a:lnTo>
                    <a:lnTo>
                      <a:pt x="1040" y="996"/>
                    </a:lnTo>
                    <a:lnTo>
                      <a:pt x="1051" y="1000"/>
                    </a:lnTo>
                    <a:lnTo>
                      <a:pt x="1063" y="1008"/>
                    </a:lnTo>
                    <a:lnTo>
                      <a:pt x="1068" y="1011"/>
                    </a:lnTo>
                    <a:lnTo>
                      <a:pt x="1073" y="1017"/>
                    </a:lnTo>
                    <a:lnTo>
                      <a:pt x="1076" y="1023"/>
                    </a:lnTo>
                    <a:lnTo>
                      <a:pt x="1077" y="1030"/>
                    </a:lnTo>
                    <a:lnTo>
                      <a:pt x="1081" y="1046"/>
                    </a:lnTo>
                    <a:lnTo>
                      <a:pt x="1083" y="1062"/>
                    </a:lnTo>
                    <a:lnTo>
                      <a:pt x="1084" y="1076"/>
                    </a:lnTo>
                    <a:lnTo>
                      <a:pt x="1086" y="1090"/>
                    </a:lnTo>
                    <a:lnTo>
                      <a:pt x="1084" y="1096"/>
                    </a:lnTo>
                    <a:lnTo>
                      <a:pt x="1083" y="1103"/>
                    </a:lnTo>
                    <a:lnTo>
                      <a:pt x="1081" y="1109"/>
                    </a:lnTo>
                    <a:lnTo>
                      <a:pt x="1077" y="1116"/>
                    </a:lnTo>
                    <a:lnTo>
                      <a:pt x="1071" y="1129"/>
                    </a:lnTo>
                    <a:lnTo>
                      <a:pt x="1067" y="1141"/>
                    </a:lnTo>
                    <a:lnTo>
                      <a:pt x="1063" y="1149"/>
                    </a:lnTo>
                    <a:lnTo>
                      <a:pt x="1061" y="1155"/>
                    </a:lnTo>
                    <a:lnTo>
                      <a:pt x="1057" y="1160"/>
                    </a:lnTo>
                    <a:lnTo>
                      <a:pt x="1055" y="1162"/>
                    </a:lnTo>
                    <a:lnTo>
                      <a:pt x="1054" y="1162"/>
                    </a:lnTo>
                    <a:lnTo>
                      <a:pt x="1051" y="1162"/>
                    </a:lnTo>
                    <a:lnTo>
                      <a:pt x="1049" y="1161"/>
                    </a:lnTo>
                    <a:lnTo>
                      <a:pt x="1045" y="1160"/>
                    </a:lnTo>
                    <a:lnTo>
                      <a:pt x="1039" y="1155"/>
                    </a:lnTo>
                    <a:lnTo>
                      <a:pt x="1033" y="1148"/>
                    </a:lnTo>
                    <a:lnTo>
                      <a:pt x="1024" y="1138"/>
                    </a:lnTo>
                    <a:lnTo>
                      <a:pt x="1012" y="1128"/>
                    </a:lnTo>
                    <a:lnTo>
                      <a:pt x="999" y="1119"/>
                    </a:lnTo>
                    <a:lnTo>
                      <a:pt x="987" y="1112"/>
                    </a:lnTo>
                    <a:lnTo>
                      <a:pt x="980" y="1111"/>
                    </a:lnTo>
                    <a:lnTo>
                      <a:pt x="973" y="1109"/>
                    </a:lnTo>
                    <a:lnTo>
                      <a:pt x="963" y="1107"/>
                    </a:lnTo>
                    <a:lnTo>
                      <a:pt x="954" y="1106"/>
                    </a:lnTo>
                    <a:lnTo>
                      <a:pt x="936" y="1106"/>
                    </a:lnTo>
                    <a:lnTo>
                      <a:pt x="922" y="1107"/>
                    </a:lnTo>
                    <a:lnTo>
                      <a:pt x="912" y="1109"/>
                    </a:lnTo>
                    <a:lnTo>
                      <a:pt x="901" y="1111"/>
                    </a:lnTo>
                    <a:lnTo>
                      <a:pt x="891" y="1113"/>
                    </a:lnTo>
                    <a:lnTo>
                      <a:pt x="880" y="1113"/>
                    </a:lnTo>
                    <a:lnTo>
                      <a:pt x="874" y="1113"/>
                    </a:lnTo>
                    <a:lnTo>
                      <a:pt x="869" y="1113"/>
                    </a:lnTo>
                    <a:lnTo>
                      <a:pt x="866" y="1115"/>
                    </a:lnTo>
                    <a:lnTo>
                      <a:pt x="862" y="1116"/>
                    </a:lnTo>
                    <a:lnTo>
                      <a:pt x="861" y="1118"/>
                    </a:lnTo>
                    <a:lnTo>
                      <a:pt x="860" y="1122"/>
                    </a:lnTo>
                    <a:lnTo>
                      <a:pt x="860" y="1125"/>
                    </a:lnTo>
                    <a:lnTo>
                      <a:pt x="861" y="1130"/>
                    </a:lnTo>
                    <a:lnTo>
                      <a:pt x="867" y="1143"/>
                    </a:lnTo>
                    <a:lnTo>
                      <a:pt x="870" y="1154"/>
                    </a:lnTo>
                    <a:lnTo>
                      <a:pt x="872" y="1157"/>
                    </a:lnTo>
                    <a:lnTo>
                      <a:pt x="873" y="1161"/>
                    </a:lnTo>
                    <a:lnTo>
                      <a:pt x="874" y="1163"/>
                    </a:lnTo>
                    <a:lnTo>
                      <a:pt x="876" y="1164"/>
                    </a:lnTo>
                    <a:lnTo>
                      <a:pt x="881" y="1167"/>
                    </a:lnTo>
                    <a:lnTo>
                      <a:pt x="887" y="1168"/>
                    </a:lnTo>
                    <a:lnTo>
                      <a:pt x="891" y="1169"/>
                    </a:lnTo>
                    <a:lnTo>
                      <a:pt x="894" y="1170"/>
                    </a:lnTo>
                    <a:lnTo>
                      <a:pt x="895" y="1174"/>
                    </a:lnTo>
                    <a:lnTo>
                      <a:pt x="898" y="1178"/>
                    </a:lnTo>
                    <a:lnTo>
                      <a:pt x="899" y="1186"/>
                    </a:lnTo>
                    <a:lnTo>
                      <a:pt x="900" y="1198"/>
                    </a:lnTo>
                    <a:lnTo>
                      <a:pt x="900" y="1211"/>
                    </a:lnTo>
                    <a:lnTo>
                      <a:pt x="900" y="1223"/>
                    </a:lnTo>
                    <a:lnTo>
                      <a:pt x="901" y="1235"/>
                    </a:lnTo>
                    <a:lnTo>
                      <a:pt x="903" y="1244"/>
                    </a:lnTo>
                    <a:lnTo>
                      <a:pt x="904" y="1248"/>
                    </a:lnTo>
                    <a:lnTo>
                      <a:pt x="903" y="1252"/>
                    </a:lnTo>
                    <a:lnTo>
                      <a:pt x="903" y="1257"/>
                    </a:lnTo>
                    <a:lnTo>
                      <a:pt x="901" y="1261"/>
                    </a:lnTo>
                    <a:lnTo>
                      <a:pt x="897" y="1269"/>
                    </a:lnTo>
                    <a:lnTo>
                      <a:pt x="893" y="1277"/>
                    </a:lnTo>
                    <a:lnTo>
                      <a:pt x="891" y="1280"/>
                    </a:lnTo>
                    <a:lnTo>
                      <a:pt x="886" y="1281"/>
                    </a:lnTo>
                    <a:lnTo>
                      <a:pt x="881" y="1280"/>
                    </a:lnTo>
                    <a:lnTo>
                      <a:pt x="875" y="1280"/>
                    </a:lnTo>
                    <a:lnTo>
                      <a:pt x="868" y="1279"/>
                    </a:lnTo>
                    <a:lnTo>
                      <a:pt x="861" y="1279"/>
                    </a:lnTo>
                    <a:lnTo>
                      <a:pt x="854" y="1279"/>
                    </a:lnTo>
                    <a:lnTo>
                      <a:pt x="847" y="1281"/>
                    </a:lnTo>
                    <a:lnTo>
                      <a:pt x="845" y="1287"/>
                    </a:lnTo>
                    <a:lnTo>
                      <a:pt x="848" y="1301"/>
                    </a:lnTo>
                    <a:lnTo>
                      <a:pt x="849" y="1314"/>
                    </a:lnTo>
                    <a:lnTo>
                      <a:pt x="849" y="1321"/>
                    </a:lnTo>
                    <a:lnTo>
                      <a:pt x="837" y="1330"/>
                    </a:lnTo>
                    <a:lnTo>
                      <a:pt x="826" y="1338"/>
                    </a:lnTo>
                    <a:lnTo>
                      <a:pt x="816" y="1345"/>
                    </a:lnTo>
                    <a:lnTo>
                      <a:pt x="810" y="1350"/>
                    </a:lnTo>
                    <a:lnTo>
                      <a:pt x="805" y="1352"/>
                    </a:lnTo>
                    <a:lnTo>
                      <a:pt x="803" y="1355"/>
                    </a:lnTo>
                    <a:lnTo>
                      <a:pt x="801" y="1357"/>
                    </a:lnTo>
                    <a:lnTo>
                      <a:pt x="801" y="1358"/>
                    </a:lnTo>
                    <a:lnTo>
                      <a:pt x="804" y="1362"/>
                    </a:lnTo>
                    <a:lnTo>
                      <a:pt x="806" y="1369"/>
                    </a:lnTo>
                    <a:lnTo>
                      <a:pt x="806" y="1377"/>
                    </a:lnTo>
                    <a:lnTo>
                      <a:pt x="806" y="1387"/>
                    </a:lnTo>
                    <a:lnTo>
                      <a:pt x="804" y="1395"/>
                    </a:lnTo>
                    <a:lnTo>
                      <a:pt x="803" y="1403"/>
                    </a:lnTo>
                    <a:lnTo>
                      <a:pt x="803" y="1407"/>
                    </a:lnTo>
                    <a:lnTo>
                      <a:pt x="804" y="1412"/>
                    </a:lnTo>
                    <a:lnTo>
                      <a:pt x="806" y="1415"/>
                    </a:lnTo>
                    <a:lnTo>
                      <a:pt x="810" y="1420"/>
                    </a:lnTo>
                    <a:lnTo>
                      <a:pt x="816" y="1425"/>
                    </a:lnTo>
                    <a:lnTo>
                      <a:pt x="824" y="1429"/>
                    </a:lnTo>
                    <a:lnTo>
                      <a:pt x="834" y="1433"/>
                    </a:lnTo>
                    <a:lnTo>
                      <a:pt x="842" y="1437"/>
                    </a:lnTo>
                    <a:lnTo>
                      <a:pt x="848" y="1439"/>
                    </a:lnTo>
                    <a:lnTo>
                      <a:pt x="851" y="1443"/>
                    </a:lnTo>
                    <a:lnTo>
                      <a:pt x="854" y="1446"/>
                    </a:lnTo>
                    <a:lnTo>
                      <a:pt x="855" y="1451"/>
                    </a:lnTo>
                    <a:lnTo>
                      <a:pt x="856" y="1458"/>
                    </a:lnTo>
                    <a:lnTo>
                      <a:pt x="857" y="1465"/>
                    </a:lnTo>
                    <a:lnTo>
                      <a:pt x="861" y="1470"/>
                    </a:lnTo>
                    <a:lnTo>
                      <a:pt x="864" y="1473"/>
                    </a:lnTo>
                    <a:lnTo>
                      <a:pt x="869" y="1477"/>
                    </a:lnTo>
                    <a:lnTo>
                      <a:pt x="875" y="1479"/>
                    </a:lnTo>
                    <a:lnTo>
                      <a:pt x="882" y="1481"/>
                    </a:lnTo>
                    <a:lnTo>
                      <a:pt x="891" y="1481"/>
                    </a:lnTo>
                    <a:lnTo>
                      <a:pt x="904" y="1481"/>
                    </a:lnTo>
                    <a:lnTo>
                      <a:pt x="913" y="1483"/>
                    </a:lnTo>
                    <a:lnTo>
                      <a:pt x="917" y="1484"/>
                    </a:lnTo>
                    <a:lnTo>
                      <a:pt x="920" y="1487"/>
                    </a:lnTo>
                    <a:lnTo>
                      <a:pt x="922" y="1490"/>
                    </a:lnTo>
                    <a:lnTo>
                      <a:pt x="922" y="1494"/>
                    </a:lnTo>
                    <a:lnTo>
                      <a:pt x="920" y="1502"/>
                    </a:lnTo>
                    <a:lnTo>
                      <a:pt x="917" y="1510"/>
                    </a:lnTo>
                    <a:lnTo>
                      <a:pt x="916" y="1515"/>
                    </a:lnTo>
                    <a:lnTo>
                      <a:pt x="914" y="1519"/>
                    </a:lnTo>
                    <a:lnTo>
                      <a:pt x="914" y="1522"/>
                    </a:lnTo>
                    <a:lnTo>
                      <a:pt x="916" y="1527"/>
                    </a:lnTo>
                    <a:lnTo>
                      <a:pt x="917" y="1531"/>
                    </a:lnTo>
                    <a:lnTo>
                      <a:pt x="919" y="1533"/>
                    </a:lnTo>
                    <a:lnTo>
                      <a:pt x="923" y="1534"/>
                    </a:lnTo>
                    <a:lnTo>
                      <a:pt x="925" y="1534"/>
                    </a:lnTo>
                    <a:lnTo>
                      <a:pt x="929" y="1533"/>
                    </a:lnTo>
                    <a:lnTo>
                      <a:pt x="933" y="1532"/>
                    </a:lnTo>
                    <a:lnTo>
                      <a:pt x="937" y="1529"/>
                    </a:lnTo>
                    <a:lnTo>
                      <a:pt x="941" y="1525"/>
                    </a:lnTo>
                    <a:lnTo>
                      <a:pt x="948" y="1516"/>
                    </a:lnTo>
                    <a:lnTo>
                      <a:pt x="955" y="1509"/>
                    </a:lnTo>
                    <a:lnTo>
                      <a:pt x="957" y="1507"/>
                    </a:lnTo>
                    <a:lnTo>
                      <a:pt x="960" y="1506"/>
                    </a:lnTo>
                    <a:lnTo>
                      <a:pt x="962" y="1507"/>
                    </a:lnTo>
                    <a:lnTo>
                      <a:pt x="963" y="1509"/>
                    </a:lnTo>
                    <a:lnTo>
                      <a:pt x="964" y="1517"/>
                    </a:lnTo>
                    <a:lnTo>
                      <a:pt x="966" y="1525"/>
                    </a:lnTo>
                    <a:lnTo>
                      <a:pt x="967" y="1528"/>
                    </a:lnTo>
                    <a:lnTo>
                      <a:pt x="968" y="1531"/>
                    </a:lnTo>
                    <a:lnTo>
                      <a:pt x="969" y="1533"/>
                    </a:lnTo>
                    <a:lnTo>
                      <a:pt x="971" y="1534"/>
                    </a:lnTo>
                    <a:lnTo>
                      <a:pt x="974" y="1533"/>
                    </a:lnTo>
                    <a:lnTo>
                      <a:pt x="976" y="1532"/>
                    </a:lnTo>
                    <a:lnTo>
                      <a:pt x="977" y="1528"/>
                    </a:lnTo>
                    <a:lnTo>
                      <a:pt x="980" y="1526"/>
                    </a:lnTo>
                    <a:lnTo>
                      <a:pt x="982" y="1522"/>
                    </a:lnTo>
                    <a:lnTo>
                      <a:pt x="985" y="1520"/>
                    </a:lnTo>
                    <a:lnTo>
                      <a:pt x="988" y="1519"/>
                    </a:lnTo>
                    <a:lnTo>
                      <a:pt x="993" y="1519"/>
                    </a:lnTo>
                    <a:lnTo>
                      <a:pt x="994" y="1520"/>
                    </a:lnTo>
                    <a:lnTo>
                      <a:pt x="996" y="1521"/>
                    </a:lnTo>
                    <a:lnTo>
                      <a:pt x="999" y="1523"/>
                    </a:lnTo>
                    <a:lnTo>
                      <a:pt x="1000" y="1526"/>
                    </a:lnTo>
                    <a:lnTo>
                      <a:pt x="1002" y="1533"/>
                    </a:lnTo>
                    <a:lnTo>
                      <a:pt x="1004" y="1541"/>
                    </a:lnTo>
                    <a:lnTo>
                      <a:pt x="1005" y="1558"/>
                    </a:lnTo>
                    <a:lnTo>
                      <a:pt x="1005" y="1570"/>
                    </a:lnTo>
                    <a:lnTo>
                      <a:pt x="1005" y="1580"/>
                    </a:lnTo>
                    <a:lnTo>
                      <a:pt x="1004" y="1596"/>
                    </a:lnTo>
                    <a:lnTo>
                      <a:pt x="1001" y="1604"/>
                    </a:lnTo>
                    <a:lnTo>
                      <a:pt x="1000" y="1613"/>
                    </a:lnTo>
                    <a:lnTo>
                      <a:pt x="996" y="1620"/>
                    </a:lnTo>
                    <a:lnTo>
                      <a:pt x="993" y="1627"/>
                    </a:lnTo>
                    <a:lnTo>
                      <a:pt x="987" y="1638"/>
                    </a:lnTo>
                    <a:lnTo>
                      <a:pt x="980" y="1643"/>
                    </a:lnTo>
                    <a:lnTo>
                      <a:pt x="973" y="1648"/>
                    </a:lnTo>
                    <a:lnTo>
                      <a:pt x="966" y="1651"/>
                    </a:lnTo>
                    <a:lnTo>
                      <a:pt x="962" y="1652"/>
                    </a:lnTo>
                    <a:lnTo>
                      <a:pt x="958" y="1654"/>
                    </a:lnTo>
                    <a:lnTo>
                      <a:pt x="956" y="1658"/>
                    </a:lnTo>
                    <a:lnTo>
                      <a:pt x="955" y="1660"/>
                    </a:lnTo>
                    <a:lnTo>
                      <a:pt x="954" y="1664"/>
                    </a:lnTo>
                    <a:lnTo>
                      <a:pt x="955" y="1667"/>
                    </a:lnTo>
                    <a:lnTo>
                      <a:pt x="956" y="1670"/>
                    </a:lnTo>
                    <a:lnTo>
                      <a:pt x="958" y="1673"/>
                    </a:lnTo>
                    <a:lnTo>
                      <a:pt x="966" y="1678"/>
                    </a:lnTo>
                    <a:lnTo>
                      <a:pt x="970" y="1683"/>
                    </a:lnTo>
                    <a:lnTo>
                      <a:pt x="975" y="1689"/>
                    </a:lnTo>
                    <a:lnTo>
                      <a:pt x="977" y="1695"/>
                    </a:lnTo>
                    <a:lnTo>
                      <a:pt x="980" y="1697"/>
                    </a:lnTo>
                    <a:lnTo>
                      <a:pt x="983" y="1698"/>
                    </a:lnTo>
                    <a:lnTo>
                      <a:pt x="989" y="1699"/>
                    </a:lnTo>
                    <a:lnTo>
                      <a:pt x="996" y="1699"/>
                    </a:lnTo>
                    <a:lnTo>
                      <a:pt x="1011" y="1698"/>
                    </a:lnTo>
                    <a:lnTo>
                      <a:pt x="1024" y="1697"/>
                    </a:lnTo>
                    <a:lnTo>
                      <a:pt x="1040" y="1695"/>
                    </a:lnTo>
                    <a:lnTo>
                      <a:pt x="1063" y="1693"/>
                    </a:lnTo>
                    <a:lnTo>
                      <a:pt x="1075" y="1691"/>
                    </a:lnTo>
                    <a:lnTo>
                      <a:pt x="1086" y="1690"/>
                    </a:lnTo>
                    <a:lnTo>
                      <a:pt x="1094" y="1686"/>
                    </a:lnTo>
                    <a:lnTo>
                      <a:pt x="1101" y="1683"/>
                    </a:lnTo>
                    <a:lnTo>
                      <a:pt x="1109" y="1676"/>
                    </a:lnTo>
                    <a:lnTo>
                      <a:pt x="1115" y="1668"/>
                    </a:lnTo>
                    <a:lnTo>
                      <a:pt x="1118" y="1666"/>
                    </a:lnTo>
                    <a:lnTo>
                      <a:pt x="1120" y="1665"/>
                    </a:lnTo>
                    <a:lnTo>
                      <a:pt x="1124" y="1665"/>
                    </a:lnTo>
                    <a:lnTo>
                      <a:pt x="1128" y="1667"/>
                    </a:lnTo>
                    <a:lnTo>
                      <a:pt x="1138" y="1672"/>
                    </a:lnTo>
                    <a:lnTo>
                      <a:pt x="1145" y="1676"/>
                    </a:lnTo>
                    <a:lnTo>
                      <a:pt x="1150" y="1676"/>
                    </a:lnTo>
                    <a:lnTo>
                      <a:pt x="1153" y="1677"/>
                    </a:lnTo>
                    <a:lnTo>
                      <a:pt x="1158" y="1676"/>
                    </a:lnTo>
                    <a:lnTo>
                      <a:pt x="1163" y="1674"/>
                    </a:lnTo>
                    <a:lnTo>
                      <a:pt x="1177" y="1665"/>
                    </a:lnTo>
                    <a:lnTo>
                      <a:pt x="1188" y="1660"/>
                    </a:lnTo>
                    <a:lnTo>
                      <a:pt x="1189" y="1660"/>
                    </a:lnTo>
                    <a:lnTo>
                      <a:pt x="1190" y="1661"/>
                    </a:lnTo>
                    <a:lnTo>
                      <a:pt x="1191" y="1662"/>
                    </a:lnTo>
                    <a:lnTo>
                      <a:pt x="1193" y="1665"/>
                    </a:lnTo>
                    <a:lnTo>
                      <a:pt x="1194" y="1672"/>
                    </a:lnTo>
                    <a:lnTo>
                      <a:pt x="1194" y="1683"/>
                    </a:lnTo>
                    <a:lnTo>
                      <a:pt x="1194" y="1693"/>
                    </a:lnTo>
                    <a:lnTo>
                      <a:pt x="1196" y="1703"/>
                    </a:lnTo>
                    <a:lnTo>
                      <a:pt x="1199" y="1708"/>
                    </a:lnTo>
                    <a:lnTo>
                      <a:pt x="1201" y="1710"/>
                    </a:lnTo>
                    <a:lnTo>
                      <a:pt x="1204" y="1712"/>
                    </a:lnTo>
                    <a:lnTo>
                      <a:pt x="1210" y="1714"/>
                    </a:lnTo>
                    <a:lnTo>
                      <a:pt x="1223" y="1712"/>
                    </a:lnTo>
                    <a:lnTo>
                      <a:pt x="1239" y="1710"/>
                    </a:lnTo>
                    <a:lnTo>
                      <a:pt x="1246" y="1709"/>
                    </a:lnTo>
                    <a:lnTo>
                      <a:pt x="1253" y="1708"/>
                    </a:lnTo>
                    <a:lnTo>
                      <a:pt x="1259" y="1709"/>
                    </a:lnTo>
                    <a:lnTo>
                      <a:pt x="1264" y="1711"/>
                    </a:lnTo>
                    <a:lnTo>
                      <a:pt x="1271" y="1716"/>
                    </a:lnTo>
                    <a:lnTo>
                      <a:pt x="1278" y="1720"/>
                    </a:lnTo>
                    <a:lnTo>
                      <a:pt x="1283" y="1722"/>
                    </a:lnTo>
                    <a:lnTo>
                      <a:pt x="1286" y="1722"/>
                    </a:lnTo>
                    <a:lnTo>
                      <a:pt x="1290" y="1721"/>
                    </a:lnTo>
                    <a:lnTo>
                      <a:pt x="1294" y="1720"/>
                    </a:lnTo>
                    <a:lnTo>
                      <a:pt x="1300" y="1716"/>
                    </a:lnTo>
                    <a:lnTo>
                      <a:pt x="1307" y="1710"/>
                    </a:lnTo>
                    <a:lnTo>
                      <a:pt x="1313" y="1705"/>
                    </a:lnTo>
                    <a:lnTo>
                      <a:pt x="1322" y="1700"/>
                    </a:lnTo>
                    <a:lnTo>
                      <a:pt x="1327" y="1699"/>
                    </a:lnTo>
                    <a:lnTo>
                      <a:pt x="1332" y="1697"/>
                    </a:lnTo>
                    <a:lnTo>
                      <a:pt x="1338" y="1697"/>
                    </a:lnTo>
                    <a:lnTo>
                      <a:pt x="1345" y="1696"/>
                    </a:lnTo>
                    <a:lnTo>
                      <a:pt x="1359" y="1696"/>
                    </a:lnTo>
                    <a:lnTo>
                      <a:pt x="1372" y="1696"/>
                    </a:lnTo>
                    <a:lnTo>
                      <a:pt x="1384" y="1695"/>
                    </a:lnTo>
                    <a:lnTo>
                      <a:pt x="1392" y="1695"/>
                    </a:lnTo>
                    <a:lnTo>
                      <a:pt x="1396" y="1696"/>
                    </a:lnTo>
                    <a:lnTo>
                      <a:pt x="1398" y="1697"/>
                    </a:lnTo>
                    <a:lnTo>
                      <a:pt x="1402" y="1699"/>
                    </a:lnTo>
                    <a:lnTo>
                      <a:pt x="1405" y="1703"/>
                    </a:lnTo>
                    <a:lnTo>
                      <a:pt x="1409" y="1708"/>
                    </a:lnTo>
                    <a:lnTo>
                      <a:pt x="1411" y="1714"/>
                    </a:lnTo>
                    <a:lnTo>
                      <a:pt x="1414" y="1720"/>
                    </a:lnTo>
                    <a:lnTo>
                      <a:pt x="1416" y="1725"/>
                    </a:lnTo>
                    <a:lnTo>
                      <a:pt x="1418" y="1733"/>
                    </a:lnTo>
                    <a:lnTo>
                      <a:pt x="1422" y="1740"/>
                    </a:lnTo>
                    <a:lnTo>
                      <a:pt x="1427" y="1748"/>
                    </a:lnTo>
                    <a:lnTo>
                      <a:pt x="1433" y="1755"/>
                    </a:lnTo>
                    <a:lnTo>
                      <a:pt x="1439" y="1762"/>
                    </a:lnTo>
                    <a:lnTo>
                      <a:pt x="1446" y="1769"/>
                    </a:lnTo>
                    <a:lnTo>
                      <a:pt x="1453" y="1774"/>
                    </a:lnTo>
                    <a:lnTo>
                      <a:pt x="1460" y="1778"/>
                    </a:lnTo>
                    <a:lnTo>
                      <a:pt x="1477" y="1783"/>
                    </a:lnTo>
                    <a:lnTo>
                      <a:pt x="1495" y="1786"/>
                    </a:lnTo>
                    <a:lnTo>
                      <a:pt x="1504" y="1787"/>
                    </a:lnTo>
                    <a:lnTo>
                      <a:pt x="1514" y="1787"/>
                    </a:lnTo>
                    <a:lnTo>
                      <a:pt x="1522" y="1786"/>
                    </a:lnTo>
                    <a:lnTo>
                      <a:pt x="1530" y="1785"/>
                    </a:lnTo>
                    <a:lnTo>
                      <a:pt x="1543" y="1784"/>
                    </a:lnTo>
                    <a:lnTo>
                      <a:pt x="1556" y="1783"/>
                    </a:lnTo>
                    <a:lnTo>
                      <a:pt x="1562" y="1783"/>
                    </a:lnTo>
                    <a:lnTo>
                      <a:pt x="1568" y="1783"/>
                    </a:lnTo>
                    <a:lnTo>
                      <a:pt x="1574" y="1785"/>
                    </a:lnTo>
                    <a:lnTo>
                      <a:pt x="1580" y="1786"/>
                    </a:lnTo>
                    <a:lnTo>
                      <a:pt x="1585" y="1791"/>
                    </a:lnTo>
                    <a:lnTo>
                      <a:pt x="1590" y="1796"/>
                    </a:lnTo>
                    <a:lnTo>
                      <a:pt x="1593" y="1802"/>
                    </a:lnTo>
                    <a:lnTo>
                      <a:pt x="1597" y="1809"/>
                    </a:lnTo>
                    <a:lnTo>
                      <a:pt x="1602" y="1823"/>
                    </a:lnTo>
                    <a:lnTo>
                      <a:pt x="1606" y="1836"/>
                    </a:lnTo>
                    <a:lnTo>
                      <a:pt x="1609" y="1840"/>
                    </a:lnTo>
                    <a:lnTo>
                      <a:pt x="1612" y="1842"/>
                    </a:lnTo>
                    <a:lnTo>
                      <a:pt x="1616" y="1843"/>
                    </a:lnTo>
                    <a:lnTo>
                      <a:pt x="1621" y="1843"/>
                    </a:lnTo>
                    <a:lnTo>
                      <a:pt x="1625" y="1842"/>
                    </a:lnTo>
                    <a:lnTo>
                      <a:pt x="1630" y="1840"/>
                    </a:lnTo>
                    <a:lnTo>
                      <a:pt x="1634" y="1835"/>
                    </a:lnTo>
                    <a:lnTo>
                      <a:pt x="1637" y="1830"/>
                    </a:lnTo>
                    <a:lnTo>
                      <a:pt x="1643" y="1821"/>
                    </a:lnTo>
                    <a:lnTo>
                      <a:pt x="1649" y="1813"/>
                    </a:lnTo>
                    <a:lnTo>
                      <a:pt x="1657" y="1809"/>
                    </a:lnTo>
                    <a:lnTo>
                      <a:pt x="1669" y="1803"/>
                    </a:lnTo>
                    <a:lnTo>
                      <a:pt x="1675" y="1799"/>
                    </a:lnTo>
                    <a:lnTo>
                      <a:pt x="1681" y="1794"/>
                    </a:lnTo>
                    <a:lnTo>
                      <a:pt x="1687" y="1791"/>
                    </a:lnTo>
                    <a:lnTo>
                      <a:pt x="1691" y="1786"/>
                    </a:lnTo>
                    <a:lnTo>
                      <a:pt x="1693" y="1781"/>
                    </a:lnTo>
                    <a:lnTo>
                      <a:pt x="1695" y="1777"/>
                    </a:lnTo>
                    <a:lnTo>
                      <a:pt x="1697" y="1772"/>
                    </a:lnTo>
                    <a:lnTo>
                      <a:pt x="1695" y="1768"/>
                    </a:lnTo>
                    <a:lnTo>
                      <a:pt x="1694" y="1765"/>
                    </a:lnTo>
                    <a:lnTo>
                      <a:pt x="1694" y="1760"/>
                    </a:lnTo>
                    <a:lnTo>
                      <a:pt x="1694" y="1755"/>
                    </a:lnTo>
                    <a:lnTo>
                      <a:pt x="1695" y="1752"/>
                    </a:lnTo>
                    <a:lnTo>
                      <a:pt x="1698" y="1747"/>
                    </a:lnTo>
                    <a:lnTo>
                      <a:pt x="1701" y="1743"/>
                    </a:lnTo>
                    <a:lnTo>
                      <a:pt x="1705" y="1739"/>
                    </a:lnTo>
                    <a:lnTo>
                      <a:pt x="1710" y="1736"/>
                    </a:lnTo>
                    <a:lnTo>
                      <a:pt x="1722" y="1730"/>
                    </a:lnTo>
                    <a:lnTo>
                      <a:pt x="1737" y="1725"/>
                    </a:lnTo>
                    <a:lnTo>
                      <a:pt x="1751" y="1722"/>
                    </a:lnTo>
                    <a:lnTo>
                      <a:pt x="1763" y="1720"/>
                    </a:lnTo>
                    <a:lnTo>
                      <a:pt x="1766" y="1718"/>
                    </a:lnTo>
                    <a:lnTo>
                      <a:pt x="1768" y="1718"/>
                    </a:lnTo>
                    <a:lnTo>
                      <a:pt x="1769" y="1716"/>
                    </a:lnTo>
                    <a:lnTo>
                      <a:pt x="1770" y="1709"/>
                    </a:lnTo>
                    <a:lnTo>
                      <a:pt x="1774" y="1699"/>
                    </a:lnTo>
                    <a:lnTo>
                      <a:pt x="1780" y="1689"/>
                    </a:lnTo>
                    <a:lnTo>
                      <a:pt x="1794" y="1670"/>
                    </a:lnTo>
                    <a:lnTo>
                      <a:pt x="1804" y="1655"/>
                    </a:lnTo>
                    <a:lnTo>
                      <a:pt x="1806" y="1647"/>
                    </a:lnTo>
                    <a:lnTo>
                      <a:pt x="1810" y="1634"/>
                    </a:lnTo>
                    <a:lnTo>
                      <a:pt x="1813" y="1620"/>
                    </a:lnTo>
                    <a:lnTo>
                      <a:pt x="1814" y="1610"/>
                    </a:lnTo>
                    <a:lnTo>
                      <a:pt x="1815" y="1601"/>
                    </a:lnTo>
                    <a:lnTo>
                      <a:pt x="1818" y="1588"/>
                    </a:lnTo>
                    <a:lnTo>
                      <a:pt x="1819" y="1575"/>
                    </a:lnTo>
                    <a:lnTo>
                      <a:pt x="1819" y="1564"/>
                    </a:lnTo>
                    <a:lnTo>
                      <a:pt x="1819" y="1555"/>
                    </a:lnTo>
                    <a:lnTo>
                      <a:pt x="1819" y="1547"/>
                    </a:lnTo>
                    <a:lnTo>
                      <a:pt x="1819" y="1540"/>
                    </a:lnTo>
                    <a:lnTo>
                      <a:pt x="1821" y="1534"/>
                    </a:lnTo>
                    <a:lnTo>
                      <a:pt x="1826" y="1529"/>
                    </a:lnTo>
                    <a:lnTo>
                      <a:pt x="1835" y="1522"/>
                    </a:lnTo>
                    <a:lnTo>
                      <a:pt x="1844" y="1516"/>
                    </a:lnTo>
                    <a:lnTo>
                      <a:pt x="1855" y="1509"/>
                    </a:lnTo>
                    <a:lnTo>
                      <a:pt x="1869" y="1501"/>
                    </a:lnTo>
                    <a:lnTo>
                      <a:pt x="1873" y="1497"/>
                    </a:lnTo>
                    <a:lnTo>
                      <a:pt x="1871" y="1496"/>
                    </a:lnTo>
                    <a:lnTo>
                      <a:pt x="1869" y="1492"/>
                    </a:lnTo>
                    <a:lnTo>
                      <a:pt x="1868" y="1489"/>
                    </a:lnTo>
                    <a:lnTo>
                      <a:pt x="1868" y="1488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福建"/>
              <p:cNvSpPr/>
              <p:nvPr>
                <p:custDataLst>
                  <p:tags r:id="rId28"/>
                </p:custDataLst>
              </p:nvPr>
            </p:nvSpPr>
            <p:spPr bwMode="auto">
              <a:xfrm>
                <a:off x="5770592" y="4671554"/>
                <a:ext cx="618302" cy="749855"/>
              </a:xfrm>
              <a:custGeom>
                <a:avLst/>
                <a:gdLst>
                  <a:gd name="T0" fmla="*/ 1565 w 1689"/>
                  <a:gd name="T1" fmla="*/ 334 h 2064"/>
                  <a:gd name="T2" fmla="*/ 1442 w 1689"/>
                  <a:gd name="T3" fmla="*/ 393 h 2064"/>
                  <a:gd name="T4" fmla="*/ 1376 w 1689"/>
                  <a:gd name="T5" fmla="*/ 269 h 2064"/>
                  <a:gd name="T6" fmla="*/ 1307 w 1689"/>
                  <a:gd name="T7" fmla="*/ 313 h 2064"/>
                  <a:gd name="T8" fmla="*/ 1189 w 1689"/>
                  <a:gd name="T9" fmla="*/ 346 h 2064"/>
                  <a:gd name="T10" fmla="*/ 1100 w 1689"/>
                  <a:gd name="T11" fmla="*/ 306 h 2064"/>
                  <a:gd name="T12" fmla="*/ 1033 w 1689"/>
                  <a:gd name="T13" fmla="*/ 78 h 2064"/>
                  <a:gd name="T14" fmla="*/ 963 w 1689"/>
                  <a:gd name="T15" fmla="*/ 22 h 2064"/>
                  <a:gd name="T16" fmla="*/ 872 w 1689"/>
                  <a:gd name="T17" fmla="*/ 23 h 2064"/>
                  <a:gd name="T18" fmla="*/ 792 w 1689"/>
                  <a:gd name="T19" fmla="*/ 129 h 2064"/>
                  <a:gd name="T20" fmla="*/ 666 w 1689"/>
                  <a:gd name="T21" fmla="*/ 211 h 2064"/>
                  <a:gd name="T22" fmla="*/ 545 w 1689"/>
                  <a:gd name="T23" fmla="*/ 190 h 2064"/>
                  <a:gd name="T24" fmla="*/ 413 w 1689"/>
                  <a:gd name="T25" fmla="*/ 318 h 2064"/>
                  <a:gd name="T26" fmla="*/ 406 w 1689"/>
                  <a:gd name="T27" fmla="*/ 378 h 2064"/>
                  <a:gd name="T28" fmla="*/ 378 w 1689"/>
                  <a:gd name="T29" fmla="*/ 591 h 2064"/>
                  <a:gd name="T30" fmla="*/ 213 w 1689"/>
                  <a:gd name="T31" fmla="*/ 738 h 2064"/>
                  <a:gd name="T32" fmla="*/ 249 w 1689"/>
                  <a:gd name="T33" fmla="*/ 886 h 2064"/>
                  <a:gd name="T34" fmla="*/ 186 w 1689"/>
                  <a:gd name="T35" fmla="*/ 982 h 2064"/>
                  <a:gd name="T36" fmla="*/ 97 w 1689"/>
                  <a:gd name="T37" fmla="*/ 1114 h 2064"/>
                  <a:gd name="T38" fmla="*/ 69 w 1689"/>
                  <a:gd name="T39" fmla="*/ 1267 h 2064"/>
                  <a:gd name="T40" fmla="*/ 17 w 1689"/>
                  <a:gd name="T41" fmla="*/ 1465 h 2064"/>
                  <a:gd name="T42" fmla="*/ 98 w 1689"/>
                  <a:gd name="T43" fmla="*/ 1568 h 2064"/>
                  <a:gd name="T44" fmla="*/ 220 w 1689"/>
                  <a:gd name="T45" fmla="*/ 1592 h 2064"/>
                  <a:gd name="T46" fmla="*/ 385 w 1689"/>
                  <a:gd name="T47" fmla="*/ 1629 h 2064"/>
                  <a:gd name="T48" fmla="*/ 428 w 1689"/>
                  <a:gd name="T49" fmla="*/ 1753 h 2064"/>
                  <a:gd name="T50" fmla="*/ 461 w 1689"/>
                  <a:gd name="T51" fmla="*/ 1903 h 2064"/>
                  <a:gd name="T52" fmla="*/ 562 w 1689"/>
                  <a:gd name="T53" fmla="*/ 2059 h 2064"/>
                  <a:gd name="T54" fmla="*/ 604 w 1689"/>
                  <a:gd name="T55" fmla="*/ 2032 h 2064"/>
                  <a:gd name="T56" fmla="*/ 665 w 1689"/>
                  <a:gd name="T57" fmla="*/ 1976 h 2064"/>
                  <a:gd name="T58" fmla="*/ 740 w 1689"/>
                  <a:gd name="T59" fmla="*/ 1946 h 2064"/>
                  <a:gd name="T60" fmla="*/ 753 w 1689"/>
                  <a:gd name="T61" fmla="*/ 1919 h 2064"/>
                  <a:gd name="T62" fmla="*/ 792 w 1689"/>
                  <a:gd name="T63" fmla="*/ 1923 h 2064"/>
                  <a:gd name="T64" fmla="*/ 927 w 1689"/>
                  <a:gd name="T65" fmla="*/ 1768 h 2064"/>
                  <a:gd name="T66" fmla="*/ 820 w 1689"/>
                  <a:gd name="T67" fmla="*/ 1683 h 2064"/>
                  <a:gd name="T68" fmla="*/ 832 w 1689"/>
                  <a:gd name="T69" fmla="*/ 1641 h 2064"/>
                  <a:gd name="T70" fmla="*/ 899 w 1689"/>
                  <a:gd name="T71" fmla="*/ 1685 h 2064"/>
                  <a:gd name="T72" fmla="*/ 924 w 1689"/>
                  <a:gd name="T73" fmla="*/ 1584 h 2064"/>
                  <a:gd name="T74" fmla="*/ 992 w 1689"/>
                  <a:gd name="T75" fmla="*/ 1612 h 2064"/>
                  <a:gd name="T76" fmla="*/ 1040 w 1689"/>
                  <a:gd name="T77" fmla="*/ 1592 h 2064"/>
                  <a:gd name="T78" fmla="*/ 1122 w 1689"/>
                  <a:gd name="T79" fmla="*/ 1608 h 2064"/>
                  <a:gd name="T80" fmla="*/ 1130 w 1689"/>
                  <a:gd name="T81" fmla="*/ 1518 h 2064"/>
                  <a:gd name="T82" fmla="*/ 1231 w 1689"/>
                  <a:gd name="T83" fmla="*/ 1468 h 2064"/>
                  <a:gd name="T84" fmla="*/ 1231 w 1689"/>
                  <a:gd name="T85" fmla="*/ 1403 h 2064"/>
                  <a:gd name="T86" fmla="*/ 1210 w 1689"/>
                  <a:gd name="T87" fmla="*/ 1386 h 2064"/>
                  <a:gd name="T88" fmla="*/ 1227 w 1689"/>
                  <a:gd name="T89" fmla="*/ 1327 h 2064"/>
                  <a:gd name="T90" fmla="*/ 1411 w 1689"/>
                  <a:gd name="T91" fmla="*/ 1335 h 2064"/>
                  <a:gd name="T92" fmla="*/ 1278 w 1689"/>
                  <a:gd name="T93" fmla="*/ 1222 h 2064"/>
                  <a:gd name="T94" fmla="*/ 1373 w 1689"/>
                  <a:gd name="T95" fmla="*/ 1203 h 2064"/>
                  <a:gd name="T96" fmla="*/ 1474 w 1689"/>
                  <a:gd name="T97" fmla="*/ 1215 h 2064"/>
                  <a:gd name="T98" fmla="*/ 1387 w 1689"/>
                  <a:gd name="T99" fmla="*/ 1128 h 2064"/>
                  <a:gd name="T100" fmla="*/ 1474 w 1689"/>
                  <a:gd name="T101" fmla="*/ 987 h 2064"/>
                  <a:gd name="T102" fmla="*/ 1448 w 1689"/>
                  <a:gd name="T103" fmla="*/ 862 h 2064"/>
                  <a:gd name="T104" fmla="*/ 1524 w 1689"/>
                  <a:gd name="T105" fmla="*/ 793 h 2064"/>
                  <a:gd name="T106" fmla="*/ 1443 w 1689"/>
                  <a:gd name="T107" fmla="*/ 800 h 2064"/>
                  <a:gd name="T108" fmla="*/ 1492 w 1689"/>
                  <a:gd name="T109" fmla="*/ 743 h 2064"/>
                  <a:gd name="T110" fmla="*/ 1397 w 1689"/>
                  <a:gd name="T111" fmla="*/ 703 h 2064"/>
                  <a:gd name="T112" fmla="*/ 1440 w 1689"/>
                  <a:gd name="T113" fmla="*/ 633 h 2064"/>
                  <a:gd name="T114" fmla="*/ 1448 w 1689"/>
                  <a:gd name="T115" fmla="*/ 623 h 2064"/>
                  <a:gd name="T116" fmla="*/ 1474 w 1689"/>
                  <a:gd name="T117" fmla="*/ 618 h 2064"/>
                  <a:gd name="T118" fmla="*/ 1528 w 1689"/>
                  <a:gd name="T119" fmla="*/ 603 h 2064"/>
                  <a:gd name="T120" fmla="*/ 1497 w 1689"/>
                  <a:gd name="T121" fmla="*/ 705 h 2064"/>
                  <a:gd name="T122" fmla="*/ 1598 w 1689"/>
                  <a:gd name="T123" fmla="*/ 640 h 2064"/>
                  <a:gd name="T124" fmla="*/ 1622 w 1689"/>
                  <a:gd name="T125" fmla="*/ 526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89" h="2064">
                    <a:moveTo>
                      <a:pt x="1689" y="435"/>
                    </a:moveTo>
                    <a:lnTo>
                      <a:pt x="1685" y="429"/>
                    </a:lnTo>
                    <a:lnTo>
                      <a:pt x="1680" y="425"/>
                    </a:lnTo>
                    <a:lnTo>
                      <a:pt x="1676" y="419"/>
                    </a:lnTo>
                    <a:lnTo>
                      <a:pt x="1673" y="414"/>
                    </a:lnTo>
                    <a:lnTo>
                      <a:pt x="1668" y="401"/>
                    </a:lnTo>
                    <a:lnTo>
                      <a:pt x="1663" y="385"/>
                    </a:lnTo>
                    <a:lnTo>
                      <a:pt x="1659" y="371"/>
                    </a:lnTo>
                    <a:lnTo>
                      <a:pt x="1655" y="360"/>
                    </a:lnTo>
                    <a:lnTo>
                      <a:pt x="1651" y="353"/>
                    </a:lnTo>
                    <a:lnTo>
                      <a:pt x="1649" y="346"/>
                    </a:lnTo>
                    <a:lnTo>
                      <a:pt x="1647" y="344"/>
                    </a:lnTo>
                    <a:lnTo>
                      <a:pt x="1644" y="341"/>
                    </a:lnTo>
                    <a:lnTo>
                      <a:pt x="1641" y="339"/>
                    </a:lnTo>
                    <a:lnTo>
                      <a:pt x="1637" y="338"/>
                    </a:lnTo>
                    <a:lnTo>
                      <a:pt x="1629" y="338"/>
                    </a:lnTo>
                    <a:lnTo>
                      <a:pt x="1619" y="335"/>
                    </a:lnTo>
                    <a:lnTo>
                      <a:pt x="1610" y="334"/>
                    </a:lnTo>
                    <a:lnTo>
                      <a:pt x="1599" y="330"/>
                    </a:lnTo>
                    <a:lnTo>
                      <a:pt x="1593" y="328"/>
                    </a:lnTo>
                    <a:lnTo>
                      <a:pt x="1587" y="327"/>
                    </a:lnTo>
                    <a:lnTo>
                      <a:pt x="1581" y="327"/>
                    </a:lnTo>
                    <a:lnTo>
                      <a:pt x="1575" y="328"/>
                    </a:lnTo>
                    <a:lnTo>
                      <a:pt x="1571" y="331"/>
                    </a:lnTo>
                    <a:lnTo>
                      <a:pt x="1565" y="334"/>
                    </a:lnTo>
                    <a:lnTo>
                      <a:pt x="1561" y="338"/>
                    </a:lnTo>
                    <a:lnTo>
                      <a:pt x="1557" y="343"/>
                    </a:lnTo>
                    <a:lnTo>
                      <a:pt x="1550" y="351"/>
                    </a:lnTo>
                    <a:lnTo>
                      <a:pt x="1544" y="357"/>
                    </a:lnTo>
                    <a:lnTo>
                      <a:pt x="1541" y="359"/>
                    </a:lnTo>
                    <a:lnTo>
                      <a:pt x="1538" y="360"/>
                    </a:lnTo>
                    <a:lnTo>
                      <a:pt x="1536" y="360"/>
                    </a:lnTo>
                    <a:lnTo>
                      <a:pt x="1534" y="359"/>
                    </a:lnTo>
                    <a:lnTo>
                      <a:pt x="1530" y="356"/>
                    </a:lnTo>
                    <a:lnTo>
                      <a:pt x="1524" y="352"/>
                    </a:lnTo>
                    <a:lnTo>
                      <a:pt x="1522" y="351"/>
                    </a:lnTo>
                    <a:lnTo>
                      <a:pt x="1518" y="350"/>
                    </a:lnTo>
                    <a:lnTo>
                      <a:pt x="1515" y="351"/>
                    </a:lnTo>
                    <a:lnTo>
                      <a:pt x="1512" y="353"/>
                    </a:lnTo>
                    <a:lnTo>
                      <a:pt x="1506" y="360"/>
                    </a:lnTo>
                    <a:lnTo>
                      <a:pt x="1502" y="368"/>
                    </a:lnTo>
                    <a:lnTo>
                      <a:pt x="1498" y="375"/>
                    </a:lnTo>
                    <a:lnTo>
                      <a:pt x="1496" y="379"/>
                    </a:lnTo>
                    <a:lnTo>
                      <a:pt x="1492" y="382"/>
                    </a:lnTo>
                    <a:lnTo>
                      <a:pt x="1484" y="383"/>
                    </a:lnTo>
                    <a:lnTo>
                      <a:pt x="1474" y="384"/>
                    </a:lnTo>
                    <a:lnTo>
                      <a:pt x="1466" y="384"/>
                    </a:lnTo>
                    <a:lnTo>
                      <a:pt x="1455" y="387"/>
                    </a:lnTo>
                    <a:lnTo>
                      <a:pt x="1447" y="390"/>
                    </a:lnTo>
                    <a:lnTo>
                      <a:pt x="1442" y="393"/>
                    </a:lnTo>
                    <a:lnTo>
                      <a:pt x="1441" y="393"/>
                    </a:lnTo>
                    <a:lnTo>
                      <a:pt x="1441" y="389"/>
                    </a:lnTo>
                    <a:lnTo>
                      <a:pt x="1441" y="383"/>
                    </a:lnTo>
                    <a:lnTo>
                      <a:pt x="1436" y="377"/>
                    </a:lnTo>
                    <a:lnTo>
                      <a:pt x="1430" y="370"/>
                    </a:lnTo>
                    <a:lnTo>
                      <a:pt x="1421" y="363"/>
                    </a:lnTo>
                    <a:lnTo>
                      <a:pt x="1411" y="357"/>
                    </a:lnTo>
                    <a:lnTo>
                      <a:pt x="1410" y="353"/>
                    </a:lnTo>
                    <a:lnTo>
                      <a:pt x="1409" y="350"/>
                    </a:lnTo>
                    <a:lnTo>
                      <a:pt x="1408" y="346"/>
                    </a:lnTo>
                    <a:lnTo>
                      <a:pt x="1408" y="341"/>
                    </a:lnTo>
                    <a:lnTo>
                      <a:pt x="1409" y="330"/>
                    </a:lnTo>
                    <a:lnTo>
                      <a:pt x="1409" y="319"/>
                    </a:lnTo>
                    <a:lnTo>
                      <a:pt x="1409" y="314"/>
                    </a:lnTo>
                    <a:lnTo>
                      <a:pt x="1408" y="311"/>
                    </a:lnTo>
                    <a:lnTo>
                      <a:pt x="1407" y="307"/>
                    </a:lnTo>
                    <a:lnTo>
                      <a:pt x="1404" y="303"/>
                    </a:lnTo>
                    <a:lnTo>
                      <a:pt x="1402" y="301"/>
                    </a:lnTo>
                    <a:lnTo>
                      <a:pt x="1397" y="301"/>
                    </a:lnTo>
                    <a:lnTo>
                      <a:pt x="1393" y="300"/>
                    </a:lnTo>
                    <a:lnTo>
                      <a:pt x="1389" y="300"/>
                    </a:lnTo>
                    <a:lnTo>
                      <a:pt x="1385" y="288"/>
                    </a:lnTo>
                    <a:lnTo>
                      <a:pt x="1380" y="275"/>
                    </a:lnTo>
                    <a:lnTo>
                      <a:pt x="1378" y="272"/>
                    </a:lnTo>
                    <a:lnTo>
                      <a:pt x="1376" y="269"/>
                    </a:lnTo>
                    <a:lnTo>
                      <a:pt x="1374" y="265"/>
                    </a:lnTo>
                    <a:lnTo>
                      <a:pt x="1373" y="262"/>
                    </a:lnTo>
                    <a:lnTo>
                      <a:pt x="1373" y="253"/>
                    </a:lnTo>
                    <a:lnTo>
                      <a:pt x="1373" y="245"/>
                    </a:lnTo>
                    <a:lnTo>
                      <a:pt x="1372" y="243"/>
                    </a:lnTo>
                    <a:lnTo>
                      <a:pt x="1370" y="240"/>
                    </a:lnTo>
                    <a:lnTo>
                      <a:pt x="1367" y="239"/>
                    </a:lnTo>
                    <a:lnTo>
                      <a:pt x="1365" y="238"/>
                    </a:lnTo>
                    <a:lnTo>
                      <a:pt x="1360" y="238"/>
                    </a:lnTo>
                    <a:lnTo>
                      <a:pt x="1354" y="238"/>
                    </a:lnTo>
                    <a:lnTo>
                      <a:pt x="1351" y="239"/>
                    </a:lnTo>
                    <a:lnTo>
                      <a:pt x="1347" y="242"/>
                    </a:lnTo>
                    <a:lnTo>
                      <a:pt x="1342" y="244"/>
                    </a:lnTo>
                    <a:lnTo>
                      <a:pt x="1339" y="246"/>
                    </a:lnTo>
                    <a:lnTo>
                      <a:pt x="1334" y="252"/>
                    </a:lnTo>
                    <a:lnTo>
                      <a:pt x="1329" y="259"/>
                    </a:lnTo>
                    <a:lnTo>
                      <a:pt x="1327" y="267"/>
                    </a:lnTo>
                    <a:lnTo>
                      <a:pt x="1324" y="275"/>
                    </a:lnTo>
                    <a:lnTo>
                      <a:pt x="1321" y="290"/>
                    </a:lnTo>
                    <a:lnTo>
                      <a:pt x="1317" y="302"/>
                    </a:lnTo>
                    <a:lnTo>
                      <a:pt x="1316" y="307"/>
                    </a:lnTo>
                    <a:lnTo>
                      <a:pt x="1314" y="311"/>
                    </a:lnTo>
                    <a:lnTo>
                      <a:pt x="1311" y="312"/>
                    </a:lnTo>
                    <a:lnTo>
                      <a:pt x="1309" y="313"/>
                    </a:lnTo>
                    <a:lnTo>
                      <a:pt x="1307" y="313"/>
                    </a:lnTo>
                    <a:lnTo>
                      <a:pt x="1304" y="312"/>
                    </a:lnTo>
                    <a:lnTo>
                      <a:pt x="1301" y="311"/>
                    </a:lnTo>
                    <a:lnTo>
                      <a:pt x="1298" y="308"/>
                    </a:lnTo>
                    <a:lnTo>
                      <a:pt x="1295" y="307"/>
                    </a:lnTo>
                    <a:lnTo>
                      <a:pt x="1291" y="308"/>
                    </a:lnTo>
                    <a:lnTo>
                      <a:pt x="1286" y="311"/>
                    </a:lnTo>
                    <a:lnTo>
                      <a:pt x="1282" y="314"/>
                    </a:lnTo>
                    <a:lnTo>
                      <a:pt x="1272" y="325"/>
                    </a:lnTo>
                    <a:lnTo>
                      <a:pt x="1265" y="335"/>
                    </a:lnTo>
                    <a:lnTo>
                      <a:pt x="1259" y="346"/>
                    </a:lnTo>
                    <a:lnTo>
                      <a:pt x="1252" y="356"/>
                    </a:lnTo>
                    <a:lnTo>
                      <a:pt x="1247" y="359"/>
                    </a:lnTo>
                    <a:lnTo>
                      <a:pt x="1242" y="363"/>
                    </a:lnTo>
                    <a:lnTo>
                      <a:pt x="1238" y="365"/>
                    </a:lnTo>
                    <a:lnTo>
                      <a:pt x="1232" y="368"/>
                    </a:lnTo>
                    <a:lnTo>
                      <a:pt x="1220" y="369"/>
                    </a:lnTo>
                    <a:lnTo>
                      <a:pt x="1209" y="370"/>
                    </a:lnTo>
                    <a:lnTo>
                      <a:pt x="1204" y="369"/>
                    </a:lnTo>
                    <a:lnTo>
                      <a:pt x="1201" y="368"/>
                    </a:lnTo>
                    <a:lnTo>
                      <a:pt x="1198" y="365"/>
                    </a:lnTo>
                    <a:lnTo>
                      <a:pt x="1196" y="363"/>
                    </a:lnTo>
                    <a:lnTo>
                      <a:pt x="1196" y="357"/>
                    </a:lnTo>
                    <a:lnTo>
                      <a:pt x="1195" y="353"/>
                    </a:lnTo>
                    <a:lnTo>
                      <a:pt x="1193" y="350"/>
                    </a:lnTo>
                    <a:lnTo>
                      <a:pt x="1189" y="346"/>
                    </a:lnTo>
                    <a:lnTo>
                      <a:pt x="1185" y="344"/>
                    </a:lnTo>
                    <a:lnTo>
                      <a:pt x="1181" y="343"/>
                    </a:lnTo>
                    <a:lnTo>
                      <a:pt x="1174" y="341"/>
                    </a:lnTo>
                    <a:lnTo>
                      <a:pt x="1165" y="341"/>
                    </a:lnTo>
                    <a:lnTo>
                      <a:pt x="1149" y="341"/>
                    </a:lnTo>
                    <a:lnTo>
                      <a:pt x="1134" y="344"/>
                    </a:lnTo>
                    <a:lnTo>
                      <a:pt x="1121" y="346"/>
                    </a:lnTo>
                    <a:lnTo>
                      <a:pt x="1111" y="349"/>
                    </a:lnTo>
                    <a:lnTo>
                      <a:pt x="1106" y="349"/>
                    </a:lnTo>
                    <a:lnTo>
                      <a:pt x="1102" y="349"/>
                    </a:lnTo>
                    <a:lnTo>
                      <a:pt x="1097" y="347"/>
                    </a:lnTo>
                    <a:lnTo>
                      <a:pt x="1094" y="344"/>
                    </a:lnTo>
                    <a:lnTo>
                      <a:pt x="1090" y="340"/>
                    </a:lnTo>
                    <a:lnTo>
                      <a:pt x="1088" y="337"/>
                    </a:lnTo>
                    <a:lnTo>
                      <a:pt x="1087" y="333"/>
                    </a:lnTo>
                    <a:lnTo>
                      <a:pt x="1086" y="330"/>
                    </a:lnTo>
                    <a:lnTo>
                      <a:pt x="1087" y="327"/>
                    </a:lnTo>
                    <a:lnTo>
                      <a:pt x="1087" y="324"/>
                    </a:lnTo>
                    <a:lnTo>
                      <a:pt x="1089" y="321"/>
                    </a:lnTo>
                    <a:lnTo>
                      <a:pt x="1091" y="319"/>
                    </a:lnTo>
                    <a:lnTo>
                      <a:pt x="1096" y="315"/>
                    </a:lnTo>
                    <a:lnTo>
                      <a:pt x="1100" y="312"/>
                    </a:lnTo>
                    <a:lnTo>
                      <a:pt x="1100" y="311"/>
                    </a:lnTo>
                    <a:lnTo>
                      <a:pt x="1101" y="308"/>
                    </a:lnTo>
                    <a:lnTo>
                      <a:pt x="1100" y="306"/>
                    </a:lnTo>
                    <a:lnTo>
                      <a:pt x="1099" y="302"/>
                    </a:lnTo>
                    <a:lnTo>
                      <a:pt x="1095" y="294"/>
                    </a:lnTo>
                    <a:lnTo>
                      <a:pt x="1090" y="283"/>
                    </a:lnTo>
                    <a:lnTo>
                      <a:pt x="1086" y="271"/>
                    </a:lnTo>
                    <a:lnTo>
                      <a:pt x="1081" y="257"/>
                    </a:lnTo>
                    <a:lnTo>
                      <a:pt x="1076" y="242"/>
                    </a:lnTo>
                    <a:lnTo>
                      <a:pt x="1071" y="225"/>
                    </a:lnTo>
                    <a:lnTo>
                      <a:pt x="1067" y="208"/>
                    </a:lnTo>
                    <a:lnTo>
                      <a:pt x="1061" y="194"/>
                    </a:lnTo>
                    <a:lnTo>
                      <a:pt x="1053" y="180"/>
                    </a:lnTo>
                    <a:lnTo>
                      <a:pt x="1045" y="169"/>
                    </a:lnTo>
                    <a:lnTo>
                      <a:pt x="1037" y="160"/>
                    </a:lnTo>
                    <a:lnTo>
                      <a:pt x="1028" y="151"/>
                    </a:lnTo>
                    <a:lnTo>
                      <a:pt x="1024" y="148"/>
                    </a:lnTo>
                    <a:lnTo>
                      <a:pt x="1020" y="143"/>
                    </a:lnTo>
                    <a:lnTo>
                      <a:pt x="1017" y="137"/>
                    </a:lnTo>
                    <a:lnTo>
                      <a:pt x="1014" y="132"/>
                    </a:lnTo>
                    <a:lnTo>
                      <a:pt x="1012" y="119"/>
                    </a:lnTo>
                    <a:lnTo>
                      <a:pt x="1011" y="108"/>
                    </a:lnTo>
                    <a:lnTo>
                      <a:pt x="1011" y="104"/>
                    </a:lnTo>
                    <a:lnTo>
                      <a:pt x="1013" y="99"/>
                    </a:lnTo>
                    <a:lnTo>
                      <a:pt x="1015" y="94"/>
                    </a:lnTo>
                    <a:lnTo>
                      <a:pt x="1019" y="91"/>
                    </a:lnTo>
                    <a:lnTo>
                      <a:pt x="1027" y="85"/>
                    </a:lnTo>
                    <a:lnTo>
                      <a:pt x="1033" y="78"/>
                    </a:lnTo>
                    <a:lnTo>
                      <a:pt x="1036" y="74"/>
                    </a:lnTo>
                    <a:lnTo>
                      <a:pt x="1037" y="69"/>
                    </a:lnTo>
                    <a:lnTo>
                      <a:pt x="1036" y="66"/>
                    </a:lnTo>
                    <a:lnTo>
                      <a:pt x="1036" y="62"/>
                    </a:lnTo>
                    <a:lnTo>
                      <a:pt x="1032" y="54"/>
                    </a:lnTo>
                    <a:lnTo>
                      <a:pt x="1028" y="48"/>
                    </a:lnTo>
                    <a:lnTo>
                      <a:pt x="1026" y="41"/>
                    </a:lnTo>
                    <a:lnTo>
                      <a:pt x="1026" y="32"/>
                    </a:lnTo>
                    <a:lnTo>
                      <a:pt x="1026" y="29"/>
                    </a:lnTo>
                    <a:lnTo>
                      <a:pt x="1025" y="24"/>
                    </a:lnTo>
                    <a:lnTo>
                      <a:pt x="1024" y="19"/>
                    </a:lnTo>
                    <a:lnTo>
                      <a:pt x="1020" y="13"/>
                    </a:lnTo>
                    <a:lnTo>
                      <a:pt x="1017" y="9"/>
                    </a:lnTo>
                    <a:lnTo>
                      <a:pt x="1012" y="5"/>
                    </a:lnTo>
                    <a:lnTo>
                      <a:pt x="1008" y="3"/>
                    </a:lnTo>
                    <a:lnTo>
                      <a:pt x="1004" y="0"/>
                    </a:lnTo>
                    <a:lnTo>
                      <a:pt x="999" y="0"/>
                    </a:lnTo>
                    <a:lnTo>
                      <a:pt x="994" y="1"/>
                    </a:lnTo>
                    <a:lnTo>
                      <a:pt x="989" y="4"/>
                    </a:lnTo>
                    <a:lnTo>
                      <a:pt x="986" y="9"/>
                    </a:lnTo>
                    <a:lnTo>
                      <a:pt x="977" y="16"/>
                    </a:lnTo>
                    <a:lnTo>
                      <a:pt x="970" y="21"/>
                    </a:lnTo>
                    <a:lnTo>
                      <a:pt x="968" y="22"/>
                    </a:lnTo>
                    <a:lnTo>
                      <a:pt x="965" y="22"/>
                    </a:lnTo>
                    <a:lnTo>
                      <a:pt x="963" y="22"/>
                    </a:lnTo>
                    <a:lnTo>
                      <a:pt x="961" y="21"/>
                    </a:lnTo>
                    <a:lnTo>
                      <a:pt x="958" y="17"/>
                    </a:lnTo>
                    <a:lnTo>
                      <a:pt x="955" y="13"/>
                    </a:lnTo>
                    <a:lnTo>
                      <a:pt x="952" y="12"/>
                    </a:lnTo>
                    <a:lnTo>
                      <a:pt x="949" y="11"/>
                    </a:lnTo>
                    <a:lnTo>
                      <a:pt x="945" y="11"/>
                    </a:lnTo>
                    <a:lnTo>
                      <a:pt x="941" y="12"/>
                    </a:lnTo>
                    <a:lnTo>
                      <a:pt x="936" y="13"/>
                    </a:lnTo>
                    <a:lnTo>
                      <a:pt x="933" y="16"/>
                    </a:lnTo>
                    <a:lnTo>
                      <a:pt x="931" y="18"/>
                    </a:lnTo>
                    <a:lnTo>
                      <a:pt x="930" y="22"/>
                    </a:lnTo>
                    <a:lnTo>
                      <a:pt x="927" y="24"/>
                    </a:lnTo>
                    <a:lnTo>
                      <a:pt x="925" y="26"/>
                    </a:lnTo>
                    <a:lnTo>
                      <a:pt x="920" y="29"/>
                    </a:lnTo>
                    <a:lnTo>
                      <a:pt x="914" y="30"/>
                    </a:lnTo>
                    <a:lnTo>
                      <a:pt x="906" y="30"/>
                    </a:lnTo>
                    <a:lnTo>
                      <a:pt x="900" y="29"/>
                    </a:lnTo>
                    <a:lnTo>
                      <a:pt x="895" y="26"/>
                    </a:lnTo>
                    <a:lnTo>
                      <a:pt x="892" y="23"/>
                    </a:lnTo>
                    <a:lnTo>
                      <a:pt x="889" y="21"/>
                    </a:lnTo>
                    <a:lnTo>
                      <a:pt x="887" y="19"/>
                    </a:lnTo>
                    <a:lnTo>
                      <a:pt x="885" y="18"/>
                    </a:lnTo>
                    <a:lnTo>
                      <a:pt x="882" y="18"/>
                    </a:lnTo>
                    <a:lnTo>
                      <a:pt x="878" y="21"/>
                    </a:lnTo>
                    <a:lnTo>
                      <a:pt x="872" y="23"/>
                    </a:lnTo>
                    <a:lnTo>
                      <a:pt x="868" y="25"/>
                    </a:lnTo>
                    <a:lnTo>
                      <a:pt x="864" y="28"/>
                    </a:lnTo>
                    <a:lnTo>
                      <a:pt x="862" y="31"/>
                    </a:lnTo>
                    <a:lnTo>
                      <a:pt x="860" y="35"/>
                    </a:lnTo>
                    <a:lnTo>
                      <a:pt x="858" y="40"/>
                    </a:lnTo>
                    <a:lnTo>
                      <a:pt x="858" y="43"/>
                    </a:lnTo>
                    <a:lnTo>
                      <a:pt x="860" y="48"/>
                    </a:lnTo>
                    <a:lnTo>
                      <a:pt x="863" y="54"/>
                    </a:lnTo>
                    <a:lnTo>
                      <a:pt x="867" y="60"/>
                    </a:lnTo>
                    <a:lnTo>
                      <a:pt x="869" y="66"/>
                    </a:lnTo>
                    <a:lnTo>
                      <a:pt x="870" y="73"/>
                    </a:lnTo>
                    <a:lnTo>
                      <a:pt x="872" y="80"/>
                    </a:lnTo>
                    <a:lnTo>
                      <a:pt x="872" y="86"/>
                    </a:lnTo>
                    <a:lnTo>
                      <a:pt x="872" y="92"/>
                    </a:lnTo>
                    <a:lnTo>
                      <a:pt x="869" y="98"/>
                    </a:lnTo>
                    <a:lnTo>
                      <a:pt x="867" y="101"/>
                    </a:lnTo>
                    <a:lnTo>
                      <a:pt x="862" y="105"/>
                    </a:lnTo>
                    <a:lnTo>
                      <a:pt x="857" y="107"/>
                    </a:lnTo>
                    <a:lnTo>
                      <a:pt x="850" y="110"/>
                    </a:lnTo>
                    <a:lnTo>
                      <a:pt x="843" y="112"/>
                    </a:lnTo>
                    <a:lnTo>
                      <a:pt x="826" y="117"/>
                    </a:lnTo>
                    <a:lnTo>
                      <a:pt x="811" y="120"/>
                    </a:lnTo>
                    <a:lnTo>
                      <a:pt x="804" y="123"/>
                    </a:lnTo>
                    <a:lnTo>
                      <a:pt x="797" y="125"/>
                    </a:lnTo>
                    <a:lnTo>
                      <a:pt x="792" y="129"/>
                    </a:lnTo>
                    <a:lnTo>
                      <a:pt x="787" y="132"/>
                    </a:lnTo>
                    <a:lnTo>
                      <a:pt x="784" y="136"/>
                    </a:lnTo>
                    <a:lnTo>
                      <a:pt x="780" y="141"/>
                    </a:lnTo>
                    <a:lnTo>
                      <a:pt x="778" y="147"/>
                    </a:lnTo>
                    <a:lnTo>
                      <a:pt x="776" y="151"/>
                    </a:lnTo>
                    <a:lnTo>
                      <a:pt x="775" y="156"/>
                    </a:lnTo>
                    <a:lnTo>
                      <a:pt x="774" y="158"/>
                    </a:lnTo>
                    <a:lnTo>
                      <a:pt x="772" y="161"/>
                    </a:lnTo>
                    <a:lnTo>
                      <a:pt x="768" y="161"/>
                    </a:lnTo>
                    <a:lnTo>
                      <a:pt x="761" y="161"/>
                    </a:lnTo>
                    <a:lnTo>
                      <a:pt x="753" y="157"/>
                    </a:lnTo>
                    <a:lnTo>
                      <a:pt x="747" y="157"/>
                    </a:lnTo>
                    <a:lnTo>
                      <a:pt x="741" y="157"/>
                    </a:lnTo>
                    <a:lnTo>
                      <a:pt x="734" y="158"/>
                    </a:lnTo>
                    <a:lnTo>
                      <a:pt x="727" y="161"/>
                    </a:lnTo>
                    <a:lnTo>
                      <a:pt x="718" y="163"/>
                    </a:lnTo>
                    <a:lnTo>
                      <a:pt x="710" y="167"/>
                    </a:lnTo>
                    <a:lnTo>
                      <a:pt x="703" y="171"/>
                    </a:lnTo>
                    <a:lnTo>
                      <a:pt x="696" y="176"/>
                    </a:lnTo>
                    <a:lnTo>
                      <a:pt x="689" y="181"/>
                    </a:lnTo>
                    <a:lnTo>
                      <a:pt x="683" y="187"/>
                    </a:lnTo>
                    <a:lnTo>
                      <a:pt x="677" y="193"/>
                    </a:lnTo>
                    <a:lnTo>
                      <a:pt x="672" y="199"/>
                    </a:lnTo>
                    <a:lnTo>
                      <a:pt x="668" y="205"/>
                    </a:lnTo>
                    <a:lnTo>
                      <a:pt x="666" y="211"/>
                    </a:lnTo>
                    <a:lnTo>
                      <a:pt x="664" y="215"/>
                    </a:lnTo>
                    <a:lnTo>
                      <a:pt x="664" y="220"/>
                    </a:lnTo>
                    <a:lnTo>
                      <a:pt x="662" y="224"/>
                    </a:lnTo>
                    <a:lnTo>
                      <a:pt x="660" y="229"/>
                    </a:lnTo>
                    <a:lnTo>
                      <a:pt x="656" y="232"/>
                    </a:lnTo>
                    <a:lnTo>
                      <a:pt x="653" y="236"/>
                    </a:lnTo>
                    <a:lnTo>
                      <a:pt x="648" y="238"/>
                    </a:lnTo>
                    <a:lnTo>
                      <a:pt x="642" y="239"/>
                    </a:lnTo>
                    <a:lnTo>
                      <a:pt x="636" y="240"/>
                    </a:lnTo>
                    <a:lnTo>
                      <a:pt x="630" y="239"/>
                    </a:lnTo>
                    <a:lnTo>
                      <a:pt x="623" y="237"/>
                    </a:lnTo>
                    <a:lnTo>
                      <a:pt x="617" y="232"/>
                    </a:lnTo>
                    <a:lnTo>
                      <a:pt x="611" y="227"/>
                    </a:lnTo>
                    <a:lnTo>
                      <a:pt x="606" y="223"/>
                    </a:lnTo>
                    <a:lnTo>
                      <a:pt x="597" y="209"/>
                    </a:lnTo>
                    <a:lnTo>
                      <a:pt x="590" y="198"/>
                    </a:lnTo>
                    <a:lnTo>
                      <a:pt x="585" y="192"/>
                    </a:lnTo>
                    <a:lnTo>
                      <a:pt x="582" y="187"/>
                    </a:lnTo>
                    <a:lnTo>
                      <a:pt x="577" y="185"/>
                    </a:lnTo>
                    <a:lnTo>
                      <a:pt x="572" y="182"/>
                    </a:lnTo>
                    <a:lnTo>
                      <a:pt x="568" y="181"/>
                    </a:lnTo>
                    <a:lnTo>
                      <a:pt x="564" y="181"/>
                    </a:lnTo>
                    <a:lnTo>
                      <a:pt x="559" y="182"/>
                    </a:lnTo>
                    <a:lnTo>
                      <a:pt x="554" y="183"/>
                    </a:lnTo>
                    <a:lnTo>
                      <a:pt x="545" y="190"/>
                    </a:lnTo>
                    <a:lnTo>
                      <a:pt x="534" y="199"/>
                    </a:lnTo>
                    <a:lnTo>
                      <a:pt x="523" y="208"/>
                    </a:lnTo>
                    <a:lnTo>
                      <a:pt x="515" y="217"/>
                    </a:lnTo>
                    <a:lnTo>
                      <a:pt x="511" y="219"/>
                    </a:lnTo>
                    <a:lnTo>
                      <a:pt x="508" y="221"/>
                    </a:lnTo>
                    <a:lnTo>
                      <a:pt x="504" y="224"/>
                    </a:lnTo>
                    <a:lnTo>
                      <a:pt x="501" y="225"/>
                    </a:lnTo>
                    <a:lnTo>
                      <a:pt x="492" y="226"/>
                    </a:lnTo>
                    <a:lnTo>
                      <a:pt x="485" y="227"/>
                    </a:lnTo>
                    <a:lnTo>
                      <a:pt x="482" y="227"/>
                    </a:lnTo>
                    <a:lnTo>
                      <a:pt x="479" y="231"/>
                    </a:lnTo>
                    <a:lnTo>
                      <a:pt x="477" y="236"/>
                    </a:lnTo>
                    <a:lnTo>
                      <a:pt x="476" y="242"/>
                    </a:lnTo>
                    <a:lnTo>
                      <a:pt x="475" y="256"/>
                    </a:lnTo>
                    <a:lnTo>
                      <a:pt x="473" y="269"/>
                    </a:lnTo>
                    <a:lnTo>
                      <a:pt x="471" y="276"/>
                    </a:lnTo>
                    <a:lnTo>
                      <a:pt x="467" y="282"/>
                    </a:lnTo>
                    <a:lnTo>
                      <a:pt x="461" y="288"/>
                    </a:lnTo>
                    <a:lnTo>
                      <a:pt x="456" y="293"/>
                    </a:lnTo>
                    <a:lnTo>
                      <a:pt x="442" y="301"/>
                    </a:lnTo>
                    <a:lnTo>
                      <a:pt x="433" y="306"/>
                    </a:lnTo>
                    <a:lnTo>
                      <a:pt x="425" y="309"/>
                    </a:lnTo>
                    <a:lnTo>
                      <a:pt x="417" y="312"/>
                    </a:lnTo>
                    <a:lnTo>
                      <a:pt x="415" y="314"/>
                    </a:lnTo>
                    <a:lnTo>
                      <a:pt x="413" y="318"/>
                    </a:lnTo>
                    <a:lnTo>
                      <a:pt x="412" y="320"/>
                    </a:lnTo>
                    <a:lnTo>
                      <a:pt x="410" y="325"/>
                    </a:lnTo>
                    <a:lnTo>
                      <a:pt x="410" y="328"/>
                    </a:lnTo>
                    <a:lnTo>
                      <a:pt x="409" y="331"/>
                    </a:lnTo>
                    <a:lnTo>
                      <a:pt x="408" y="333"/>
                    </a:lnTo>
                    <a:lnTo>
                      <a:pt x="406" y="334"/>
                    </a:lnTo>
                    <a:lnTo>
                      <a:pt x="400" y="334"/>
                    </a:lnTo>
                    <a:lnTo>
                      <a:pt x="394" y="333"/>
                    </a:lnTo>
                    <a:lnTo>
                      <a:pt x="387" y="331"/>
                    </a:lnTo>
                    <a:lnTo>
                      <a:pt x="382" y="330"/>
                    </a:lnTo>
                    <a:lnTo>
                      <a:pt x="379" y="331"/>
                    </a:lnTo>
                    <a:lnTo>
                      <a:pt x="378" y="333"/>
                    </a:lnTo>
                    <a:lnTo>
                      <a:pt x="377" y="337"/>
                    </a:lnTo>
                    <a:lnTo>
                      <a:pt x="376" y="343"/>
                    </a:lnTo>
                    <a:lnTo>
                      <a:pt x="376" y="349"/>
                    </a:lnTo>
                    <a:lnTo>
                      <a:pt x="377" y="355"/>
                    </a:lnTo>
                    <a:lnTo>
                      <a:pt x="378" y="360"/>
                    </a:lnTo>
                    <a:lnTo>
                      <a:pt x="381" y="365"/>
                    </a:lnTo>
                    <a:lnTo>
                      <a:pt x="383" y="370"/>
                    </a:lnTo>
                    <a:lnTo>
                      <a:pt x="387" y="372"/>
                    </a:lnTo>
                    <a:lnTo>
                      <a:pt x="390" y="375"/>
                    </a:lnTo>
                    <a:lnTo>
                      <a:pt x="395" y="375"/>
                    </a:lnTo>
                    <a:lnTo>
                      <a:pt x="400" y="375"/>
                    </a:lnTo>
                    <a:lnTo>
                      <a:pt x="403" y="376"/>
                    </a:lnTo>
                    <a:lnTo>
                      <a:pt x="406" y="378"/>
                    </a:lnTo>
                    <a:lnTo>
                      <a:pt x="408" y="382"/>
                    </a:lnTo>
                    <a:lnTo>
                      <a:pt x="410" y="389"/>
                    </a:lnTo>
                    <a:lnTo>
                      <a:pt x="415" y="397"/>
                    </a:lnTo>
                    <a:lnTo>
                      <a:pt x="419" y="404"/>
                    </a:lnTo>
                    <a:lnTo>
                      <a:pt x="421" y="412"/>
                    </a:lnTo>
                    <a:lnTo>
                      <a:pt x="422" y="421"/>
                    </a:lnTo>
                    <a:lnTo>
                      <a:pt x="421" y="433"/>
                    </a:lnTo>
                    <a:lnTo>
                      <a:pt x="422" y="440"/>
                    </a:lnTo>
                    <a:lnTo>
                      <a:pt x="423" y="447"/>
                    </a:lnTo>
                    <a:lnTo>
                      <a:pt x="426" y="453"/>
                    </a:lnTo>
                    <a:lnTo>
                      <a:pt x="429" y="459"/>
                    </a:lnTo>
                    <a:lnTo>
                      <a:pt x="435" y="470"/>
                    </a:lnTo>
                    <a:lnTo>
                      <a:pt x="440" y="480"/>
                    </a:lnTo>
                    <a:lnTo>
                      <a:pt x="441" y="486"/>
                    </a:lnTo>
                    <a:lnTo>
                      <a:pt x="440" y="491"/>
                    </a:lnTo>
                    <a:lnTo>
                      <a:pt x="438" y="496"/>
                    </a:lnTo>
                    <a:lnTo>
                      <a:pt x="435" y="501"/>
                    </a:lnTo>
                    <a:lnTo>
                      <a:pt x="428" y="511"/>
                    </a:lnTo>
                    <a:lnTo>
                      <a:pt x="420" y="522"/>
                    </a:lnTo>
                    <a:lnTo>
                      <a:pt x="413" y="535"/>
                    </a:lnTo>
                    <a:lnTo>
                      <a:pt x="407" y="551"/>
                    </a:lnTo>
                    <a:lnTo>
                      <a:pt x="401" y="564"/>
                    </a:lnTo>
                    <a:lnTo>
                      <a:pt x="395" y="574"/>
                    </a:lnTo>
                    <a:lnTo>
                      <a:pt x="388" y="583"/>
                    </a:lnTo>
                    <a:lnTo>
                      <a:pt x="378" y="591"/>
                    </a:lnTo>
                    <a:lnTo>
                      <a:pt x="373" y="595"/>
                    </a:lnTo>
                    <a:lnTo>
                      <a:pt x="369" y="598"/>
                    </a:lnTo>
                    <a:lnTo>
                      <a:pt x="365" y="599"/>
                    </a:lnTo>
                    <a:lnTo>
                      <a:pt x="360" y="601"/>
                    </a:lnTo>
                    <a:lnTo>
                      <a:pt x="352" y="601"/>
                    </a:lnTo>
                    <a:lnTo>
                      <a:pt x="345" y="602"/>
                    </a:lnTo>
                    <a:lnTo>
                      <a:pt x="337" y="604"/>
                    </a:lnTo>
                    <a:lnTo>
                      <a:pt x="326" y="608"/>
                    </a:lnTo>
                    <a:lnTo>
                      <a:pt x="314" y="612"/>
                    </a:lnTo>
                    <a:lnTo>
                      <a:pt x="302" y="616"/>
                    </a:lnTo>
                    <a:lnTo>
                      <a:pt x="288" y="621"/>
                    </a:lnTo>
                    <a:lnTo>
                      <a:pt x="272" y="626"/>
                    </a:lnTo>
                    <a:lnTo>
                      <a:pt x="264" y="630"/>
                    </a:lnTo>
                    <a:lnTo>
                      <a:pt x="256" y="636"/>
                    </a:lnTo>
                    <a:lnTo>
                      <a:pt x="247" y="645"/>
                    </a:lnTo>
                    <a:lnTo>
                      <a:pt x="240" y="653"/>
                    </a:lnTo>
                    <a:lnTo>
                      <a:pt x="228" y="671"/>
                    </a:lnTo>
                    <a:lnTo>
                      <a:pt x="221" y="683"/>
                    </a:lnTo>
                    <a:lnTo>
                      <a:pt x="220" y="688"/>
                    </a:lnTo>
                    <a:lnTo>
                      <a:pt x="219" y="694"/>
                    </a:lnTo>
                    <a:lnTo>
                      <a:pt x="218" y="702"/>
                    </a:lnTo>
                    <a:lnTo>
                      <a:pt x="218" y="709"/>
                    </a:lnTo>
                    <a:lnTo>
                      <a:pt x="217" y="723"/>
                    </a:lnTo>
                    <a:lnTo>
                      <a:pt x="214" y="734"/>
                    </a:lnTo>
                    <a:lnTo>
                      <a:pt x="213" y="738"/>
                    </a:lnTo>
                    <a:lnTo>
                      <a:pt x="212" y="743"/>
                    </a:lnTo>
                    <a:lnTo>
                      <a:pt x="211" y="748"/>
                    </a:lnTo>
                    <a:lnTo>
                      <a:pt x="212" y="753"/>
                    </a:lnTo>
                    <a:lnTo>
                      <a:pt x="212" y="759"/>
                    </a:lnTo>
                    <a:lnTo>
                      <a:pt x="214" y="762"/>
                    </a:lnTo>
                    <a:lnTo>
                      <a:pt x="215" y="767"/>
                    </a:lnTo>
                    <a:lnTo>
                      <a:pt x="219" y="769"/>
                    </a:lnTo>
                    <a:lnTo>
                      <a:pt x="224" y="775"/>
                    </a:lnTo>
                    <a:lnTo>
                      <a:pt x="226" y="782"/>
                    </a:lnTo>
                    <a:lnTo>
                      <a:pt x="228" y="792"/>
                    </a:lnTo>
                    <a:lnTo>
                      <a:pt x="230" y="804"/>
                    </a:lnTo>
                    <a:lnTo>
                      <a:pt x="231" y="810"/>
                    </a:lnTo>
                    <a:lnTo>
                      <a:pt x="233" y="816"/>
                    </a:lnTo>
                    <a:lnTo>
                      <a:pt x="237" y="820"/>
                    </a:lnTo>
                    <a:lnTo>
                      <a:pt x="240" y="825"/>
                    </a:lnTo>
                    <a:lnTo>
                      <a:pt x="249" y="835"/>
                    </a:lnTo>
                    <a:lnTo>
                      <a:pt x="256" y="842"/>
                    </a:lnTo>
                    <a:lnTo>
                      <a:pt x="258" y="845"/>
                    </a:lnTo>
                    <a:lnTo>
                      <a:pt x="259" y="850"/>
                    </a:lnTo>
                    <a:lnTo>
                      <a:pt x="261" y="855"/>
                    </a:lnTo>
                    <a:lnTo>
                      <a:pt x="259" y="860"/>
                    </a:lnTo>
                    <a:lnTo>
                      <a:pt x="256" y="869"/>
                    </a:lnTo>
                    <a:lnTo>
                      <a:pt x="252" y="879"/>
                    </a:lnTo>
                    <a:lnTo>
                      <a:pt x="251" y="882"/>
                    </a:lnTo>
                    <a:lnTo>
                      <a:pt x="249" y="886"/>
                    </a:lnTo>
                    <a:lnTo>
                      <a:pt x="247" y="888"/>
                    </a:lnTo>
                    <a:lnTo>
                      <a:pt x="245" y="888"/>
                    </a:lnTo>
                    <a:lnTo>
                      <a:pt x="243" y="888"/>
                    </a:lnTo>
                    <a:lnTo>
                      <a:pt x="240" y="887"/>
                    </a:lnTo>
                    <a:lnTo>
                      <a:pt x="238" y="885"/>
                    </a:lnTo>
                    <a:lnTo>
                      <a:pt x="236" y="881"/>
                    </a:lnTo>
                    <a:lnTo>
                      <a:pt x="232" y="879"/>
                    </a:lnTo>
                    <a:lnTo>
                      <a:pt x="228" y="876"/>
                    </a:lnTo>
                    <a:lnTo>
                      <a:pt x="225" y="876"/>
                    </a:lnTo>
                    <a:lnTo>
                      <a:pt x="221" y="876"/>
                    </a:lnTo>
                    <a:lnTo>
                      <a:pt x="218" y="879"/>
                    </a:lnTo>
                    <a:lnTo>
                      <a:pt x="214" y="882"/>
                    </a:lnTo>
                    <a:lnTo>
                      <a:pt x="211" y="886"/>
                    </a:lnTo>
                    <a:lnTo>
                      <a:pt x="208" y="892"/>
                    </a:lnTo>
                    <a:lnTo>
                      <a:pt x="201" y="906"/>
                    </a:lnTo>
                    <a:lnTo>
                      <a:pt x="193" y="924"/>
                    </a:lnTo>
                    <a:lnTo>
                      <a:pt x="189" y="935"/>
                    </a:lnTo>
                    <a:lnTo>
                      <a:pt x="186" y="944"/>
                    </a:lnTo>
                    <a:lnTo>
                      <a:pt x="183" y="954"/>
                    </a:lnTo>
                    <a:lnTo>
                      <a:pt x="182" y="962"/>
                    </a:lnTo>
                    <a:lnTo>
                      <a:pt x="181" y="969"/>
                    </a:lnTo>
                    <a:lnTo>
                      <a:pt x="182" y="974"/>
                    </a:lnTo>
                    <a:lnTo>
                      <a:pt x="182" y="977"/>
                    </a:lnTo>
                    <a:lnTo>
                      <a:pt x="184" y="980"/>
                    </a:lnTo>
                    <a:lnTo>
                      <a:pt x="186" y="982"/>
                    </a:lnTo>
                    <a:lnTo>
                      <a:pt x="189" y="983"/>
                    </a:lnTo>
                    <a:lnTo>
                      <a:pt x="193" y="983"/>
                    </a:lnTo>
                    <a:lnTo>
                      <a:pt x="196" y="983"/>
                    </a:lnTo>
                    <a:lnTo>
                      <a:pt x="205" y="984"/>
                    </a:lnTo>
                    <a:lnTo>
                      <a:pt x="211" y="987"/>
                    </a:lnTo>
                    <a:lnTo>
                      <a:pt x="213" y="989"/>
                    </a:lnTo>
                    <a:lnTo>
                      <a:pt x="214" y="992"/>
                    </a:lnTo>
                    <a:lnTo>
                      <a:pt x="214" y="995"/>
                    </a:lnTo>
                    <a:lnTo>
                      <a:pt x="213" y="1000"/>
                    </a:lnTo>
                    <a:lnTo>
                      <a:pt x="209" y="1009"/>
                    </a:lnTo>
                    <a:lnTo>
                      <a:pt x="203" y="1017"/>
                    </a:lnTo>
                    <a:lnTo>
                      <a:pt x="198" y="1025"/>
                    </a:lnTo>
                    <a:lnTo>
                      <a:pt x="189" y="1033"/>
                    </a:lnTo>
                    <a:lnTo>
                      <a:pt x="182" y="1045"/>
                    </a:lnTo>
                    <a:lnTo>
                      <a:pt x="175" y="1058"/>
                    </a:lnTo>
                    <a:lnTo>
                      <a:pt x="169" y="1072"/>
                    </a:lnTo>
                    <a:lnTo>
                      <a:pt x="161" y="1083"/>
                    </a:lnTo>
                    <a:lnTo>
                      <a:pt x="154" y="1090"/>
                    </a:lnTo>
                    <a:lnTo>
                      <a:pt x="145" y="1095"/>
                    </a:lnTo>
                    <a:lnTo>
                      <a:pt x="136" y="1099"/>
                    </a:lnTo>
                    <a:lnTo>
                      <a:pt x="121" y="1102"/>
                    </a:lnTo>
                    <a:lnTo>
                      <a:pt x="114" y="1105"/>
                    </a:lnTo>
                    <a:lnTo>
                      <a:pt x="107" y="1108"/>
                    </a:lnTo>
                    <a:lnTo>
                      <a:pt x="101" y="1110"/>
                    </a:lnTo>
                    <a:lnTo>
                      <a:pt x="97" y="1114"/>
                    </a:lnTo>
                    <a:lnTo>
                      <a:pt x="93" y="1118"/>
                    </a:lnTo>
                    <a:lnTo>
                      <a:pt x="91" y="1121"/>
                    </a:lnTo>
                    <a:lnTo>
                      <a:pt x="89" y="1125"/>
                    </a:lnTo>
                    <a:lnTo>
                      <a:pt x="88" y="1128"/>
                    </a:lnTo>
                    <a:lnTo>
                      <a:pt x="99" y="1143"/>
                    </a:lnTo>
                    <a:lnTo>
                      <a:pt x="113" y="1162"/>
                    </a:lnTo>
                    <a:lnTo>
                      <a:pt x="113" y="1164"/>
                    </a:lnTo>
                    <a:lnTo>
                      <a:pt x="113" y="1166"/>
                    </a:lnTo>
                    <a:lnTo>
                      <a:pt x="112" y="1167"/>
                    </a:lnTo>
                    <a:lnTo>
                      <a:pt x="111" y="1170"/>
                    </a:lnTo>
                    <a:lnTo>
                      <a:pt x="106" y="1172"/>
                    </a:lnTo>
                    <a:lnTo>
                      <a:pt x="101" y="1175"/>
                    </a:lnTo>
                    <a:lnTo>
                      <a:pt x="95" y="1177"/>
                    </a:lnTo>
                    <a:lnTo>
                      <a:pt x="89" y="1179"/>
                    </a:lnTo>
                    <a:lnTo>
                      <a:pt x="83" y="1183"/>
                    </a:lnTo>
                    <a:lnTo>
                      <a:pt x="80" y="1189"/>
                    </a:lnTo>
                    <a:lnTo>
                      <a:pt x="74" y="1203"/>
                    </a:lnTo>
                    <a:lnTo>
                      <a:pt x="69" y="1221"/>
                    </a:lnTo>
                    <a:lnTo>
                      <a:pt x="68" y="1229"/>
                    </a:lnTo>
                    <a:lnTo>
                      <a:pt x="67" y="1238"/>
                    </a:lnTo>
                    <a:lnTo>
                      <a:pt x="67" y="1246"/>
                    </a:lnTo>
                    <a:lnTo>
                      <a:pt x="68" y="1252"/>
                    </a:lnTo>
                    <a:lnTo>
                      <a:pt x="69" y="1258"/>
                    </a:lnTo>
                    <a:lnTo>
                      <a:pt x="69" y="1263"/>
                    </a:lnTo>
                    <a:lnTo>
                      <a:pt x="69" y="1267"/>
                    </a:lnTo>
                    <a:lnTo>
                      <a:pt x="68" y="1271"/>
                    </a:lnTo>
                    <a:lnTo>
                      <a:pt x="64" y="1278"/>
                    </a:lnTo>
                    <a:lnTo>
                      <a:pt x="60" y="1285"/>
                    </a:lnTo>
                    <a:lnTo>
                      <a:pt x="57" y="1296"/>
                    </a:lnTo>
                    <a:lnTo>
                      <a:pt x="56" y="1308"/>
                    </a:lnTo>
                    <a:lnTo>
                      <a:pt x="56" y="1320"/>
                    </a:lnTo>
                    <a:lnTo>
                      <a:pt x="53" y="1330"/>
                    </a:lnTo>
                    <a:lnTo>
                      <a:pt x="50" y="1341"/>
                    </a:lnTo>
                    <a:lnTo>
                      <a:pt x="50" y="1353"/>
                    </a:lnTo>
                    <a:lnTo>
                      <a:pt x="50" y="1359"/>
                    </a:lnTo>
                    <a:lnTo>
                      <a:pt x="49" y="1365"/>
                    </a:lnTo>
                    <a:lnTo>
                      <a:pt x="49" y="1371"/>
                    </a:lnTo>
                    <a:lnTo>
                      <a:pt x="47" y="1376"/>
                    </a:lnTo>
                    <a:lnTo>
                      <a:pt x="39" y="1385"/>
                    </a:lnTo>
                    <a:lnTo>
                      <a:pt x="30" y="1395"/>
                    </a:lnTo>
                    <a:lnTo>
                      <a:pt x="19" y="1404"/>
                    </a:lnTo>
                    <a:lnTo>
                      <a:pt x="7" y="1414"/>
                    </a:lnTo>
                    <a:lnTo>
                      <a:pt x="3" y="1419"/>
                    </a:lnTo>
                    <a:lnTo>
                      <a:pt x="0" y="1425"/>
                    </a:lnTo>
                    <a:lnTo>
                      <a:pt x="0" y="1433"/>
                    </a:lnTo>
                    <a:lnTo>
                      <a:pt x="0" y="1440"/>
                    </a:lnTo>
                    <a:lnTo>
                      <a:pt x="3" y="1447"/>
                    </a:lnTo>
                    <a:lnTo>
                      <a:pt x="6" y="1454"/>
                    </a:lnTo>
                    <a:lnTo>
                      <a:pt x="11" y="1460"/>
                    </a:lnTo>
                    <a:lnTo>
                      <a:pt x="17" y="1465"/>
                    </a:lnTo>
                    <a:lnTo>
                      <a:pt x="22" y="1469"/>
                    </a:lnTo>
                    <a:lnTo>
                      <a:pt x="25" y="1473"/>
                    </a:lnTo>
                    <a:lnTo>
                      <a:pt x="28" y="1478"/>
                    </a:lnTo>
                    <a:lnTo>
                      <a:pt x="28" y="1481"/>
                    </a:lnTo>
                    <a:lnTo>
                      <a:pt x="26" y="1485"/>
                    </a:lnTo>
                    <a:lnTo>
                      <a:pt x="23" y="1488"/>
                    </a:lnTo>
                    <a:lnTo>
                      <a:pt x="19" y="1493"/>
                    </a:lnTo>
                    <a:lnTo>
                      <a:pt x="14" y="1498"/>
                    </a:lnTo>
                    <a:lnTo>
                      <a:pt x="12" y="1500"/>
                    </a:lnTo>
                    <a:lnTo>
                      <a:pt x="11" y="1504"/>
                    </a:lnTo>
                    <a:lnTo>
                      <a:pt x="10" y="1507"/>
                    </a:lnTo>
                    <a:lnTo>
                      <a:pt x="10" y="1510"/>
                    </a:lnTo>
                    <a:lnTo>
                      <a:pt x="11" y="1517"/>
                    </a:lnTo>
                    <a:lnTo>
                      <a:pt x="13" y="1524"/>
                    </a:lnTo>
                    <a:lnTo>
                      <a:pt x="18" y="1530"/>
                    </a:lnTo>
                    <a:lnTo>
                      <a:pt x="24" y="1536"/>
                    </a:lnTo>
                    <a:lnTo>
                      <a:pt x="31" y="1540"/>
                    </a:lnTo>
                    <a:lnTo>
                      <a:pt x="38" y="1542"/>
                    </a:lnTo>
                    <a:lnTo>
                      <a:pt x="51" y="1544"/>
                    </a:lnTo>
                    <a:lnTo>
                      <a:pt x="62" y="1549"/>
                    </a:lnTo>
                    <a:lnTo>
                      <a:pt x="72" y="1554"/>
                    </a:lnTo>
                    <a:lnTo>
                      <a:pt x="80" y="1561"/>
                    </a:lnTo>
                    <a:lnTo>
                      <a:pt x="85" y="1564"/>
                    </a:lnTo>
                    <a:lnTo>
                      <a:pt x="91" y="1566"/>
                    </a:lnTo>
                    <a:lnTo>
                      <a:pt x="98" y="1568"/>
                    </a:lnTo>
                    <a:lnTo>
                      <a:pt x="104" y="1568"/>
                    </a:lnTo>
                    <a:lnTo>
                      <a:pt x="119" y="1569"/>
                    </a:lnTo>
                    <a:lnTo>
                      <a:pt x="133" y="1568"/>
                    </a:lnTo>
                    <a:lnTo>
                      <a:pt x="145" y="1569"/>
                    </a:lnTo>
                    <a:lnTo>
                      <a:pt x="154" y="1572"/>
                    </a:lnTo>
                    <a:lnTo>
                      <a:pt x="161" y="1575"/>
                    </a:lnTo>
                    <a:lnTo>
                      <a:pt x="165" y="1581"/>
                    </a:lnTo>
                    <a:lnTo>
                      <a:pt x="171" y="1586"/>
                    </a:lnTo>
                    <a:lnTo>
                      <a:pt x="176" y="1588"/>
                    </a:lnTo>
                    <a:lnTo>
                      <a:pt x="182" y="1589"/>
                    </a:lnTo>
                    <a:lnTo>
                      <a:pt x="188" y="1588"/>
                    </a:lnTo>
                    <a:lnTo>
                      <a:pt x="199" y="1578"/>
                    </a:lnTo>
                    <a:lnTo>
                      <a:pt x="213" y="1562"/>
                    </a:lnTo>
                    <a:lnTo>
                      <a:pt x="223" y="1557"/>
                    </a:lnTo>
                    <a:lnTo>
                      <a:pt x="228" y="1555"/>
                    </a:lnTo>
                    <a:lnTo>
                      <a:pt x="230" y="1556"/>
                    </a:lnTo>
                    <a:lnTo>
                      <a:pt x="231" y="1557"/>
                    </a:lnTo>
                    <a:lnTo>
                      <a:pt x="232" y="1560"/>
                    </a:lnTo>
                    <a:lnTo>
                      <a:pt x="231" y="1562"/>
                    </a:lnTo>
                    <a:lnTo>
                      <a:pt x="224" y="1572"/>
                    </a:lnTo>
                    <a:lnTo>
                      <a:pt x="214" y="1581"/>
                    </a:lnTo>
                    <a:lnTo>
                      <a:pt x="213" y="1584"/>
                    </a:lnTo>
                    <a:lnTo>
                      <a:pt x="214" y="1586"/>
                    </a:lnTo>
                    <a:lnTo>
                      <a:pt x="217" y="1588"/>
                    </a:lnTo>
                    <a:lnTo>
                      <a:pt x="220" y="1592"/>
                    </a:lnTo>
                    <a:lnTo>
                      <a:pt x="231" y="1598"/>
                    </a:lnTo>
                    <a:lnTo>
                      <a:pt x="242" y="1605"/>
                    </a:lnTo>
                    <a:lnTo>
                      <a:pt x="251" y="1612"/>
                    </a:lnTo>
                    <a:lnTo>
                      <a:pt x="258" y="1620"/>
                    </a:lnTo>
                    <a:lnTo>
                      <a:pt x="263" y="1629"/>
                    </a:lnTo>
                    <a:lnTo>
                      <a:pt x="265" y="1638"/>
                    </a:lnTo>
                    <a:lnTo>
                      <a:pt x="269" y="1648"/>
                    </a:lnTo>
                    <a:lnTo>
                      <a:pt x="271" y="1655"/>
                    </a:lnTo>
                    <a:lnTo>
                      <a:pt x="274" y="1658"/>
                    </a:lnTo>
                    <a:lnTo>
                      <a:pt x="276" y="1661"/>
                    </a:lnTo>
                    <a:lnTo>
                      <a:pt x="278" y="1662"/>
                    </a:lnTo>
                    <a:lnTo>
                      <a:pt x="283" y="1662"/>
                    </a:lnTo>
                    <a:lnTo>
                      <a:pt x="289" y="1661"/>
                    </a:lnTo>
                    <a:lnTo>
                      <a:pt x="294" y="1660"/>
                    </a:lnTo>
                    <a:lnTo>
                      <a:pt x="300" y="1656"/>
                    </a:lnTo>
                    <a:lnTo>
                      <a:pt x="307" y="1651"/>
                    </a:lnTo>
                    <a:lnTo>
                      <a:pt x="318" y="1645"/>
                    </a:lnTo>
                    <a:lnTo>
                      <a:pt x="330" y="1641"/>
                    </a:lnTo>
                    <a:lnTo>
                      <a:pt x="341" y="1637"/>
                    </a:lnTo>
                    <a:lnTo>
                      <a:pt x="353" y="1633"/>
                    </a:lnTo>
                    <a:lnTo>
                      <a:pt x="365" y="1631"/>
                    </a:lnTo>
                    <a:lnTo>
                      <a:pt x="375" y="1629"/>
                    </a:lnTo>
                    <a:lnTo>
                      <a:pt x="379" y="1627"/>
                    </a:lnTo>
                    <a:lnTo>
                      <a:pt x="383" y="1627"/>
                    </a:lnTo>
                    <a:lnTo>
                      <a:pt x="385" y="1629"/>
                    </a:lnTo>
                    <a:lnTo>
                      <a:pt x="387" y="1630"/>
                    </a:lnTo>
                    <a:lnTo>
                      <a:pt x="388" y="1636"/>
                    </a:lnTo>
                    <a:lnTo>
                      <a:pt x="387" y="1643"/>
                    </a:lnTo>
                    <a:lnTo>
                      <a:pt x="383" y="1652"/>
                    </a:lnTo>
                    <a:lnTo>
                      <a:pt x="379" y="1664"/>
                    </a:lnTo>
                    <a:lnTo>
                      <a:pt x="378" y="1670"/>
                    </a:lnTo>
                    <a:lnTo>
                      <a:pt x="377" y="1676"/>
                    </a:lnTo>
                    <a:lnTo>
                      <a:pt x="377" y="1682"/>
                    </a:lnTo>
                    <a:lnTo>
                      <a:pt x="378" y="1687"/>
                    </a:lnTo>
                    <a:lnTo>
                      <a:pt x="381" y="1692"/>
                    </a:lnTo>
                    <a:lnTo>
                      <a:pt x="382" y="1695"/>
                    </a:lnTo>
                    <a:lnTo>
                      <a:pt x="385" y="1698"/>
                    </a:lnTo>
                    <a:lnTo>
                      <a:pt x="389" y="1699"/>
                    </a:lnTo>
                    <a:lnTo>
                      <a:pt x="396" y="1701"/>
                    </a:lnTo>
                    <a:lnTo>
                      <a:pt x="401" y="1704"/>
                    </a:lnTo>
                    <a:lnTo>
                      <a:pt x="404" y="1708"/>
                    </a:lnTo>
                    <a:lnTo>
                      <a:pt x="407" y="1715"/>
                    </a:lnTo>
                    <a:lnTo>
                      <a:pt x="409" y="1725"/>
                    </a:lnTo>
                    <a:lnTo>
                      <a:pt x="410" y="1733"/>
                    </a:lnTo>
                    <a:lnTo>
                      <a:pt x="412" y="1738"/>
                    </a:lnTo>
                    <a:lnTo>
                      <a:pt x="414" y="1742"/>
                    </a:lnTo>
                    <a:lnTo>
                      <a:pt x="415" y="1744"/>
                    </a:lnTo>
                    <a:lnTo>
                      <a:pt x="419" y="1746"/>
                    </a:lnTo>
                    <a:lnTo>
                      <a:pt x="423" y="1750"/>
                    </a:lnTo>
                    <a:lnTo>
                      <a:pt x="428" y="1753"/>
                    </a:lnTo>
                    <a:lnTo>
                      <a:pt x="432" y="1761"/>
                    </a:lnTo>
                    <a:lnTo>
                      <a:pt x="434" y="1774"/>
                    </a:lnTo>
                    <a:lnTo>
                      <a:pt x="436" y="1782"/>
                    </a:lnTo>
                    <a:lnTo>
                      <a:pt x="438" y="1788"/>
                    </a:lnTo>
                    <a:lnTo>
                      <a:pt x="440" y="1794"/>
                    </a:lnTo>
                    <a:lnTo>
                      <a:pt x="444" y="1800"/>
                    </a:lnTo>
                    <a:lnTo>
                      <a:pt x="450" y="1808"/>
                    </a:lnTo>
                    <a:lnTo>
                      <a:pt x="458" y="1816"/>
                    </a:lnTo>
                    <a:lnTo>
                      <a:pt x="463" y="1821"/>
                    </a:lnTo>
                    <a:lnTo>
                      <a:pt x="466" y="1825"/>
                    </a:lnTo>
                    <a:lnTo>
                      <a:pt x="469" y="1830"/>
                    </a:lnTo>
                    <a:lnTo>
                      <a:pt x="470" y="1833"/>
                    </a:lnTo>
                    <a:lnTo>
                      <a:pt x="470" y="1838"/>
                    </a:lnTo>
                    <a:lnTo>
                      <a:pt x="469" y="1843"/>
                    </a:lnTo>
                    <a:lnTo>
                      <a:pt x="466" y="1846"/>
                    </a:lnTo>
                    <a:lnTo>
                      <a:pt x="461" y="1851"/>
                    </a:lnTo>
                    <a:lnTo>
                      <a:pt x="457" y="1856"/>
                    </a:lnTo>
                    <a:lnTo>
                      <a:pt x="453" y="1862"/>
                    </a:lnTo>
                    <a:lnTo>
                      <a:pt x="452" y="1868"/>
                    </a:lnTo>
                    <a:lnTo>
                      <a:pt x="451" y="1874"/>
                    </a:lnTo>
                    <a:lnTo>
                      <a:pt x="451" y="1879"/>
                    </a:lnTo>
                    <a:lnTo>
                      <a:pt x="452" y="1884"/>
                    </a:lnTo>
                    <a:lnTo>
                      <a:pt x="453" y="1890"/>
                    </a:lnTo>
                    <a:lnTo>
                      <a:pt x="456" y="1895"/>
                    </a:lnTo>
                    <a:lnTo>
                      <a:pt x="461" y="1903"/>
                    </a:lnTo>
                    <a:lnTo>
                      <a:pt x="465" y="1912"/>
                    </a:lnTo>
                    <a:lnTo>
                      <a:pt x="467" y="1922"/>
                    </a:lnTo>
                    <a:lnTo>
                      <a:pt x="469" y="1933"/>
                    </a:lnTo>
                    <a:lnTo>
                      <a:pt x="469" y="1939"/>
                    </a:lnTo>
                    <a:lnTo>
                      <a:pt x="470" y="1945"/>
                    </a:lnTo>
                    <a:lnTo>
                      <a:pt x="472" y="1951"/>
                    </a:lnTo>
                    <a:lnTo>
                      <a:pt x="475" y="1958"/>
                    </a:lnTo>
                    <a:lnTo>
                      <a:pt x="482" y="1971"/>
                    </a:lnTo>
                    <a:lnTo>
                      <a:pt x="492" y="1985"/>
                    </a:lnTo>
                    <a:lnTo>
                      <a:pt x="498" y="1992"/>
                    </a:lnTo>
                    <a:lnTo>
                      <a:pt x="502" y="2001"/>
                    </a:lnTo>
                    <a:lnTo>
                      <a:pt x="505" y="2009"/>
                    </a:lnTo>
                    <a:lnTo>
                      <a:pt x="508" y="2017"/>
                    </a:lnTo>
                    <a:lnTo>
                      <a:pt x="510" y="2024"/>
                    </a:lnTo>
                    <a:lnTo>
                      <a:pt x="513" y="2032"/>
                    </a:lnTo>
                    <a:lnTo>
                      <a:pt x="515" y="2039"/>
                    </a:lnTo>
                    <a:lnTo>
                      <a:pt x="519" y="2045"/>
                    </a:lnTo>
                    <a:lnTo>
                      <a:pt x="526" y="2051"/>
                    </a:lnTo>
                    <a:lnTo>
                      <a:pt x="534" y="2057"/>
                    </a:lnTo>
                    <a:lnTo>
                      <a:pt x="543" y="2060"/>
                    </a:lnTo>
                    <a:lnTo>
                      <a:pt x="555" y="2064"/>
                    </a:lnTo>
                    <a:lnTo>
                      <a:pt x="558" y="2063"/>
                    </a:lnTo>
                    <a:lnTo>
                      <a:pt x="560" y="2061"/>
                    </a:lnTo>
                    <a:lnTo>
                      <a:pt x="561" y="2060"/>
                    </a:lnTo>
                    <a:lnTo>
                      <a:pt x="562" y="2059"/>
                    </a:lnTo>
                    <a:lnTo>
                      <a:pt x="564" y="2057"/>
                    </a:lnTo>
                    <a:lnTo>
                      <a:pt x="564" y="2053"/>
                    </a:lnTo>
                    <a:lnTo>
                      <a:pt x="564" y="2047"/>
                    </a:lnTo>
                    <a:lnTo>
                      <a:pt x="561" y="2042"/>
                    </a:lnTo>
                    <a:lnTo>
                      <a:pt x="559" y="2040"/>
                    </a:lnTo>
                    <a:lnTo>
                      <a:pt x="555" y="2038"/>
                    </a:lnTo>
                    <a:lnTo>
                      <a:pt x="553" y="2034"/>
                    </a:lnTo>
                    <a:lnTo>
                      <a:pt x="551" y="2030"/>
                    </a:lnTo>
                    <a:lnTo>
                      <a:pt x="549" y="2026"/>
                    </a:lnTo>
                    <a:lnTo>
                      <a:pt x="552" y="2021"/>
                    </a:lnTo>
                    <a:lnTo>
                      <a:pt x="553" y="2020"/>
                    </a:lnTo>
                    <a:lnTo>
                      <a:pt x="555" y="2019"/>
                    </a:lnTo>
                    <a:lnTo>
                      <a:pt x="559" y="2017"/>
                    </a:lnTo>
                    <a:lnTo>
                      <a:pt x="561" y="2017"/>
                    </a:lnTo>
                    <a:lnTo>
                      <a:pt x="565" y="2019"/>
                    </a:lnTo>
                    <a:lnTo>
                      <a:pt x="568" y="2020"/>
                    </a:lnTo>
                    <a:lnTo>
                      <a:pt x="572" y="2021"/>
                    </a:lnTo>
                    <a:lnTo>
                      <a:pt x="574" y="2023"/>
                    </a:lnTo>
                    <a:lnTo>
                      <a:pt x="578" y="2027"/>
                    </a:lnTo>
                    <a:lnTo>
                      <a:pt x="584" y="2030"/>
                    </a:lnTo>
                    <a:lnTo>
                      <a:pt x="587" y="2033"/>
                    </a:lnTo>
                    <a:lnTo>
                      <a:pt x="592" y="2034"/>
                    </a:lnTo>
                    <a:lnTo>
                      <a:pt x="597" y="2034"/>
                    </a:lnTo>
                    <a:lnTo>
                      <a:pt x="602" y="2033"/>
                    </a:lnTo>
                    <a:lnTo>
                      <a:pt x="604" y="2032"/>
                    </a:lnTo>
                    <a:lnTo>
                      <a:pt x="606" y="2030"/>
                    </a:lnTo>
                    <a:lnTo>
                      <a:pt x="608" y="2028"/>
                    </a:lnTo>
                    <a:lnTo>
                      <a:pt x="608" y="2026"/>
                    </a:lnTo>
                    <a:lnTo>
                      <a:pt x="608" y="2021"/>
                    </a:lnTo>
                    <a:lnTo>
                      <a:pt x="608" y="2015"/>
                    </a:lnTo>
                    <a:lnTo>
                      <a:pt x="603" y="2004"/>
                    </a:lnTo>
                    <a:lnTo>
                      <a:pt x="599" y="1996"/>
                    </a:lnTo>
                    <a:lnTo>
                      <a:pt x="598" y="1994"/>
                    </a:lnTo>
                    <a:lnTo>
                      <a:pt x="598" y="1991"/>
                    </a:lnTo>
                    <a:lnTo>
                      <a:pt x="598" y="1988"/>
                    </a:lnTo>
                    <a:lnTo>
                      <a:pt x="601" y="1985"/>
                    </a:lnTo>
                    <a:lnTo>
                      <a:pt x="602" y="1983"/>
                    </a:lnTo>
                    <a:lnTo>
                      <a:pt x="605" y="1982"/>
                    </a:lnTo>
                    <a:lnTo>
                      <a:pt x="610" y="1982"/>
                    </a:lnTo>
                    <a:lnTo>
                      <a:pt x="616" y="1983"/>
                    </a:lnTo>
                    <a:lnTo>
                      <a:pt x="621" y="1985"/>
                    </a:lnTo>
                    <a:lnTo>
                      <a:pt x="626" y="1985"/>
                    </a:lnTo>
                    <a:lnTo>
                      <a:pt x="628" y="1984"/>
                    </a:lnTo>
                    <a:lnTo>
                      <a:pt x="630" y="1983"/>
                    </a:lnTo>
                    <a:lnTo>
                      <a:pt x="633" y="1980"/>
                    </a:lnTo>
                    <a:lnTo>
                      <a:pt x="635" y="1979"/>
                    </a:lnTo>
                    <a:lnTo>
                      <a:pt x="639" y="1978"/>
                    </a:lnTo>
                    <a:lnTo>
                      <a:pt x="643" y="1977"/>
                    </a:lnTo>
                    <a:lnTo>
                      <a:pt x="654" y="1977"/>
                    </a:lnTo>
                    <a:lnTo>
                      <a:pt x="665" y="1976"/>
                    </a:lnTo>
                    <a:lnTo>
                      <a:pt x="669" y="1975"/>
                    </a:lnTo>
                    <a:lnTo>
                      <a:pt x="674" y="1972"/>
                    </a:lnTo>
                    <a:lnTo>
                      <a:pt x="678" y="1970"/>
                    </a:lnTo>
                    <a:lnTo>
                      <a:pt x="681" y="1965"/>
                    </a:lnTo>
                    <a:lnTo>
                      <a:pt x="685" y="1957"/>
                    </a:lnTo>
                    <a:lnTo>
                      <a:pt x="689" y="1951"/>
                    </a:lnTo>
                    <a:lnTo>
                      <a:pt x="689" y="1947"/>
                    </a:lnTo>
                    <a:lnTo>
                      <a:pt x="689" y="1945"/>
                    </a:lnTo>
                    <a:lnTo>
                      <a:pt x="687" y="1942"/>
                    </a:lnTo>
                    <a:lnTo>
                      <a:pt x="686" y="1941"/>
                    </a:lnTo>
                    <a:lnTo>
                      <a:pt x="671" y="1933"/>
                    </a:lnTo>
                    <a:lnTo>
                      <a:pt x="653" y="1922"/>
                    </a:lnTo>
                    <a:lnTo>
                      <a:pt x="652" y="1920"/>
                    </a:lnTo>
                    <a:lnTo>
                      <a:pt x="650" y="1919"/>
                    </a:lnTo>
                    <a:lnTo>
                      <a:pt x="652" y="1916"/>
                    </a:lnTo>
                    <a:lnTo>
                      <a:pt x="653" y="1915"/>
                    </a:lnTo>
                    <a:lnTo>
                      <a:pt x="658" y="1914"/>
                    </a:lnTo>
                    <a:lnTo>
                      <a:pt x="667" y="1914"/>
                    </a:lnTo>
                    <a:lnTo>
                      <a:pt x="680" y="1916"/>
                    </a:lnTo>
                    <a:lnTo>
                      <a:pt x="697" y="1919"/>
                    </a:lnTo>
                    <a:lnTo>
                      <a:pt x="712" y="1922"/>
                    </a:lnTo>
                    <a:lnTo>
                      <a:pt x="723" y="1926"/>
                    </a:lnTo>
                    <a:lnTo>
                      <a:pt x="730" y="1931"/>
                    </a:lnTo>
                    <a:lnTo>
                      <a:pt x="736" y="1938"/>
                    </a:lnTo>
                    <a:lnTo>
                      <a:pt x="740" y="1946"/>
                    </a:lnTo>
                    <a:lnTo>
                      <a:pt x="742" y="1956"/>
                    </a:lnTo>
                    <a:lnTo>
                      <a:pt x="741" y="1964"/>
                    </a:lnTo>
                    <a:lnTo>
                      <a:pt x="737" y="1975"/>
                    </a:lnTo>
                    <a:lnTo>
                      <a:pt x="732" y="1985"/>
                    </a:lnTo>
                    <a:lnTo>
                      <a:pt x="728" y="1995"/>
                    </a:lnTo>
                    <a:lnTo>
                      <a:pt x="727" y="2000"/>
                    </a:lnTo>
                    <a:lnTo>
                      <a:pt x="728" y="2004"/>
                    </a:lnTo>
                    <a:lnTo>
                      <a:pt x="729" y="2008"/>
                    </a:lnTo>
                    <a:lnTo>
                      <a:pt x="730" y="2009"/>
                    </a:lnTo>
                    <a:lnTo>
                      <a:pt x="732" y="2010"/>
                    </a:lnTo>
                    <a:lnTo>
                      <a:pt x="736" y="2009"/>
                    </a:lnTo>
                    <a:lnTo>
                      <a:pt x="741" y="2007"/>
                    </a:lnTo>
                    <a:lnTo>
                      <a:pt x="746" y="2003"/>
                    </a:lnTo>
                    <a:lnTo>
                      <a:pt x="750" y="1998"/>
                    </a:lnTo>
                    <a:lnTo>
                      <a:pt x="755" y="1994"/>
                    </a:lnTo>
                    <a:lnTo>
                      <a:pt x="757" y="1988"/>
                    </a:lnTo>
                    <a:lnTo>
                      <a:pt x="760" y="1980"/>
                    </a:lnTo>
                    <a:lnTo>
                      <a:pt x="760" y="1973"/>
                    </a:lnTo>
                    <a:lnTo>
                      <a:pt x="760" y="1965"/>
                    </a:lnTo>
                    <a:lnTo>
                      <a:pt x="759" y="1957"/>
                    </a:lnTo>
                    <a:lnTo>
                      <a:pt x="756" y="1948"/>
                    </a:lnTo>
                    <a:lnTo>
                      <a:pt x="755" y="1940"/>
                    </a:lnTo>
                    <a:lnTo>
                      <a:pt x="753" y="1932"/>
                    </a:lnTo>
                    <a:lnTo>
                      <a:pt x="753" y="1925"/>
                    </a:lnTo>
                    <a:lnTo>
                      <a:pt x="753" y="1919"/>
                    </a:lnTo>
                    <a:lnTo>
                      <a:pt x="755" y="1908"/>
                    </a:lnTo>
                    <a:lnTo>
                      <a:pt x="756" y="1896"/>
                    </a:lnTo>
                    <a:lnTo>
                      <a:pt x="757" y="1884"/>
                    </a:lnTo>
                    <a:lnTo>
                      <a:pt x="760" y="1877"/>
                    </a:lnTo>
                    <a:lnTo>
                      <a:pt x="765" y="1875"/>
                    </a:lnTo>
                    <a:lnTo>
                      <a:pt x="775" y="1872"/>
                    </a:lnTo>
                    <a:lnTo>
                      <a:pt x="780" y="1871"/>
                    </a:lnTo>
                    <a:lnTo>
                      <a:pt x="785" y="1871"/>
                    </a:lnTo>
                    <a:lnTo>
                      <a:pt x="790" y="1872"/>
                    </a:lnTo>
                    <a:lnTo>
                      <a:pt x="791" y="1874"/>
                    </a:lnTo>
                    <a:lnTo>
                      <a:pt x="792" y="1876"/>
                    </a:lnTo>
                    <a:lnTo>
                      <a:pt x="792" y="1879"/>
                    </a:lnTo>
                    <a:lnTo>
                      <a:pt x="791" y="1884"/>
                    </a:lnTo>
                    <a:lnTo>
                      <a:pt x="788" y="1889"/>
                    </a:lnTo>
                    <a:lnTo>
                      <a:pt x="785" y="1896"/>
                    </a:lnTo>
                    <a:lnTo>
                      <a:pt x="780" y="1903"/>
                    </a:lnTo>
                    <a:lnTo>
                      <a:pt x="776" y="1912"/>
                    </a:lnTo>
                    <a:lnTo>
                      <a:pt x="775" y="1921"/>
                    </a:lnTo>
                    <a:lnTo>
                      <a:pt x="775" y="1923"/>
                    </a:lnTo>
                    <a:lnTo>
                      <a:pt x="778" y="1926"/>
                    </a:lnTo>
                    <a:lnTo>
                      <a:pt x="780" y="1928"/>
                    </a:lnTo>
                    <a:lnTo>
                      <a:pt x="782" y="1928"/>
                    </a:lnTo>
                    <a:lnTo>
                      <a:pt x="786" y="1928"/>
                    </a:lnTo>
                    <a:lnTo>
                      <a:pt x="790" y="1927"/>
                    </a:lnTo>
                    <a:lnTo>
                      <a:pt x="792" y="1923"/>
                    </a:lnTo>
                    <a:lnTo>
                      <a:pt x="794" y="1919"/>
                    </a:lnTo>
                    <a:lnTo>
                      <a:pt x="799" y="1908"/>
                    </a:lnTo>
                    <a:lnTo>
                      <a:pt x="806" y="1898"/>
                    </a:lnTo>
                    <a:lnTo>
                      <a:pt x="815" y="1890"/>
                    </a:lnTo>
                    <a:lnTo>
                      <a:pt x="823" y="1883"/>
                    </a:lnTo>
                    <a:lnTo>
                      <a:pt x="830" y="1877"/>
                    </a:lnTo>
                    <a:lnTo>
                      <a:pt x="836" y="1872"/>
                    </a:lnTo>
                    <a:lnTo>
                      <a:pt x="841" y="1868"/>
                    </a:lnTo>
                    <a:lnTo>
                      <a:pt x="842" y="1865"/>
                    </a:lnTo>
                    <a:lnTo>
                      <a:pt x="841" y="1849"/>
                    </a:lnTo>
                    <a:lnTo>
                      <a:pt x="841" y="1834"/>
                    </a:lnTo>
                    <a:lnTo>
                      <a:pt x="843" y="1822"/>
                    </a:lnTo>
                    <a:lnTo>
                      <a:pt x="845" y="1812"/>
                    </a:lnTo>
                    <a:lnTo>
                      <a:pt x="849" y="1805"/>
                    </a:lnTo>
                    <a:lnTo>
                      <a:pt x="854" y="1799"/>
                    </a:lnTo>
                    <a:lnTo>
                      <a:pt x="860" y="1794"/>
                    </a:lnTo>
                    <a:lnTo>
                      <a:pt x="867" y="1790"/>
                    </a:lnTo>
                    <a:lnTo>
                      <a:pt x="879" y="1789"/>
                    </a:lnTo>
                    <a:lnTo>
                      <a:pt x="892" y="1788"/>
                    </a:lnTo>
                    <a:lnTo>
                      <a:pt x="899" y="1787"/>
                    </a:lnTo>
                    <a:lnTo>
                      <a:pt x="907" y="1784"/>
                    </a:lnTo>
                    <a:lnTo>
                      <a:pt x="914" y="1781"/>
                    </a:lnTo>
                    <a:lnTo>
                      <a:pt x="921" y="1775"/>
                    </a:lnTo>
                    <a:lnTo>
                      <a:pt x="925" y="1771"/>
                    </a:lnTo>
                    <a:lnTo>
                      <a:pt x="927" y="1768"/>
                    </a:lnTo>
                    <a:lnTo>
                      <a:pt x="927" y="1763"/>
                    </a:lnTo>
                    <a:lnTo>
                      <a:pt x="927" y="1758"/>
                    </a:lnTo>
                    <a:lnTo>
                      <a:pt x="925" y="1748"/>
                    </a:lnTo>
                    <a:lnTo>
                      <a:pt x="920" y="1737"/>
                    </a:lnTo>
                    <a:lnTo>
                      <a:pt x="917" y="1734"/>
                    </a:lnTo>
                    <a:lnTo>
                      <a:pt x="910" y="1730"/>
                    </a:lnTo>
                    <a:lnTo>
                      <a:pt x="899" y="1725"/>
                    </a:lnTo>
                    <a:lnTo>
                      <a:pt x="886" y="1721"/>
                    </a:lnTo>
                    <a:lnTo>
                      <a:pt x="872" y="1718"/>
                    </a:lnTo>
                    <a:lnTo>
                      <a:pt x="856" y="1715"/>
                    </a:lnTo>
                    <a:lnTo>
                      <a:pt x="842" y="1714"/>
                    </a:lnTo>
                    <a:lnTo>
                      <a:pt x="829" y="1715"/>
                    </a:lnTo>
                    <a:lnTo>
                      <a:pt x="822" y="1717"/>
                    </a:lnTo>
                    <a:lnTo>
                      <a:pt x="816" y="1717"/>
                    </a:lnTo>
                    <a:lnTo>
                      <a:pt x="811" y="1715"/>
                    </a:lnTo>
                    <a:lnTo>
                      <a:pt x="807" y="1714"/>
                    </a:lnTo>
                    <a:lnTo>
                      <a:pt x="805" y="1712"/>
                    </a:lnTo>
                    <a:lnTo>
                      <a:pt x="804" y="1709"/>
                    </a:lnTo>
                    <a:lnTo>
                      <a:pt x="805" y="1706"/>
                    </a:lnTo>
                    <a:lnTo>
                      <a:pt x="806" y="1702"/>
                    </a:lnTo>
                    <a:lnTo>
                      <a:pt x="807" y="1698"/>
                    </a:lnTo>
                    <a:lnTo>
                      <a:pt x="810" y="1693"/>
                    </a:lnTo>
                    <a:lnTo>
                      <a:pt x="812" y="1689"/>
                    </a:lnTo>
                    <a:lnTo>
                      <a:pt x="816" y="1686"/>
                    </a:lnTo>
                    <a:lnTo>
                      <a:pt x="820" y="1683"/>
                    </a:lnTo>
                    <a:lnTo>
                      <a:pt x="828" y="1681"/>
                    </a:lnTo>
                    <a:lnTo>
                      <a:pt x="836" y="1680"/>
                    </a:lnTo>
                    <a:lnTo>
                      <a:pt x="847" y="1679"/>
                    </a:lnTo>
                    <a:lnTo>
                      <a:pt x="854" y="1679"/>
                    </a:lnTo>
                    <a:lnTo>
                      <a:pt x="858" y="1679"/>
                    </a:lnTo>
                    <a:lnTo>
                      <a:pt x="861" y="1680"/>
                    </a:lnTo>
                    <a:lnTo>
                      <a:pt x="864" y="1682"/>
                    </a:lnTo>
                    <a:lnTo>
                      <a:pt x="866" y="1682"/>
                    </a:lnTo>
                    <a:lnTo>
                      <a:pt x="868" y="1682"/>
                    </a:lnTo>
                    <a:lnTo>
                      <a:pt x="869" y="1681"/>
                    </a:lnTo>
                    <a:lnTo>
                      <a:pt x="872" y="1679"/>
                    </a:lnTo>
                    <a:lnTo>
                      <a:pt x="875" y="1674"/>
                    </a:lnTo>
                    <a:lnTo>
                      <a:pt x="878" y="1668"/>
                    </a:lnTo>
                    <a:lnTo>
                      <a:pt x="878" y="1661"/>
                    </a:lnTo>
                    <a:lnTo>
                      <a:pt x="876" y="1655"/>
                    </a:lnTo>
                    <a:lnTo>
                      <a:pt x="875" y="1652"/>
                    </a:lnTo>
                    <a:lnTo>
                      <a:pt x="872" y="1650"/>
                    </a:lnTo>
                    <a:lnTo>
                      <a:pt x="868" y="1649"/>
                    </a:lnTo>
                    <a:lnTo>
                      <a:pt x="864" y="1649"/>
                    </a:lnTo>
                    <a:lnTo>
                      <a:pt x="855" y="1648"/>
                    </a:lnTo>
                    <a:lnTo>
                      <a:pt x="845" y="1647"/>
                    </a:lnTo>
                    <a:lnTo>
                      <a:pt x="842" y="1647"/>
                    </a:lnTo>
                    <a:lnTo>
                      <a:pt x="837" y="1644"/>
                    </a:lnTo>
                    <a:lnTo>
                      <a:pt x="835" y="1643"/>
                    </a:lnTo>
                    <a:lnTo>
                      <a:pt x="832" y="1641"/>
                    </a:lnTo>
                    <a:lnTo>
                      <a:pt x="832" y="1637"/>
                    </a:lnTo>
                    <a:lnTo>
                      <a:pt x="835" y="1633"/>
                    </a:lnTo>
                    <a:lnTo>
                      <a:pt x="839" y="1630"/>
                    </a:lnTo>
                    <a:lnTo>
                      <a:pt x="845" y="1626"/>
                    </a:lnTo>
                    <a:lnTo>
                      <a:pt x="860" y="1620"/>
                    </a:lnTo>
                    <a:lnTo>
                      <a:pt x="873" y="1618"/>
                    </a:lnTo>
                    <a:lnTo>
                      <a:pt x="878" y="1618"/>
                    </a:lnTo>
                    <a:lnTo>
                      <a:pt x="882" y="1619"/>
                    </a:lnTo>
                    <a:lnTo>
                      <a:pt x="887" y="1620"/>
                    </a:lnTo>
                    <a:lnTo>
                      <a:pt x="891" y="1623"/>
                    </a:lnTo>
                    <a:lnTo>
                      <a:pt x="895" y="1625"/>
                    </a:lnTo>
                    <a:lnTo>
                      <a:pt x="898" y="1627"/>
                    </a:lnTo>
                    <a:lnTo>
                      <a:pt x="901" y="1631"/>
                    </a:lnTo>
                    <a:lnTo>
                      <a:pt x="904" y="1635"/>
                    </a:lnTo>
                    <a:lnTo>
                      <a:pt x="905" y="1638"/>
                    </a:lnTo>
                    <a:lnTo>
                      <a:pt x="905" y="1642"/>
                    </a:lnTo>
                    <a:lnTo>
                      <a:pt x="905" y="1647"/>
                    </a:lnTo>
                    <a:lnTo>
                      <a:pt x="905" y="1650"/>
                    </a:lnTo>
                    <a:lnTo>
                      <a:pt x="902" y="1657"/>
                    </a:lnTo>
                    <a:lnTo>
                      <a:pt x="899" y="1666"/>
                    </a:lnTo>
                    <a:lnTo>
                      <a:pt x="898" y="1669"/>
                    </a:lnTo>
                    <a:lnTo>
                      <a:pt x="898" y="1673"/>
                    </a:lnTo>
                    <a:lnTo>
                      <a:pt x="898" y="1676"/>
                    </a:lnTo>
                    <a:lnTo>
                      <a:pt x="898" y="1681"/>
                    </a:lnTo>
                    <a:lnTo>
                      <a:pt x="899" y="1685"/>
                    </a:lnTo>
                    <a:lnTo>
                      <a:pt x="901" y="1688"/>
                    </a:lnTo>
                    <a:lnTo>
                      <a:pt x="904" y="1692"/>
                    </a:lnTo>
                    <a:lnTo>
                      <a:pt x="907" y="1694"/>
                    </a:lnTo>
                    <a:lnTo>
                      <a:pt x="912" y="1695"/>
                    </a:lnTo>
                    <a:lnTo>
                      <a:pt x="917" y="1694"/>
                    </a:lnTo>
                    <a:lnTo>
                      <a:pt x="923" y="1692"/>
                    </a:lnTo>
                    <a:lnTo>
                      <a:pt x="929" y="1688"/>
                    </a:lnTo>
                    <a:lnTo>
                      <a:pt x="933" y="1683"/>
                    </a:lnTo>
                    <a:lnTo>
                      <a:pt x="938" y="1679"/>
                    </a:lnTo>
                    <a:lnTo>
                      <a:pt x="942" y="1675"/>
                    </a:lnTo>
                    <a:lnTo>
                      <a:pt x="944" y="1670"/>
                    </a:lnTo>
                    <a:lnTo>
                      <a:pt x="944" y="1664"/>
                    </a:lnTo>
                    <a:lnTo>
                      <a:pt x="943" y="1658"/>
                    </a:lnTo>
                    <a:lnTo>
                      <a:pt x="939" y="1654"/>
                    </a:lnTo>
                    <a:lnTo>
                      <a:pt x="933" y="1649"/>
                    </a:lnTo>
                    <a:lnTo>
                      <a:pt x="930" y="1647"/>
                    </a:lnTo>
                    <a:lnTo>
                      <a:pt x="926" y="1642"/>
                    </a:lnTo>
                    <a:lnTo>
                      <a:pt x="924" y="1637"/>
                    </a:lnTo>
                    <a:lnTo>
                      <a:pt x="921" y="1631"/>
                    </a:lnTo>
                    <a:lnTo>
                      <a:pt x="919" y="1625"/>
                    </a:lnTo>
                    <a:lnTo>
                      <a:pt x="918" y="1617"/>
                    </a:lnTo>
                    <a:lnTo>
                      <a:pt x="918" y="1608"/>
                    </a:lnTo>
                    <a:lnTo>
                      <a:pt x="919" y="1599"/>
                    </a:lnTo>
                    <a:lnTo>
                      <a:pt x="921" y="1591"/>
                    </a:lnTo>
                    <a:lnTo>
                      <a:pt x="924" y="1584"/>
                    </a:lnTo>
                    <a:lnTo>
                      <a:pt x="926" y="1580"/>
                    </a:lnTo>
                    <a:lnTo>
                      <a:pt x="929" y="1578"/>
                    </a:lnTo>
                    <a:lnTo>
                      <a:pt x="931" y="1578"/>
                    </a:lnTo>
                    <a:lnTo>
                      <a:pt x="932" y="1579"/>
                    </a:lnTo>
                    <a:lnTo>
                      <a:pt x="935" y="1581"/>
                    </a:lnTo>
                    <a:lnTo>
                      <a:pt x="936" y="1584"/>
                    </a:lnTo>
                    <a:lnTo>
                      <a:pt x="937" y="1594"/>
                    </a:lnTo>
                    <a:lnTo>
                      <a:pt x="937" y="1608"/>
                    </a:lnTo>
                    <a:lnTo>
                      <a:pt x="937" y="1623"/>
                    </a:lnTo>
                    <a:lnTo>
                      <a:pt x="938" y="1631"/>
                    </a:lnTo>
                    <a:lnTo>
                      <a:pt x="941" y="1635"/>
                    </a:lnTo>
                    <a:lnTo>
                      <a:pt x="943" y="1637"/>
                    </a:lnTo>
                    <a:lnTo>
                      <a:pt x="946" y="1638"/>
                    </a:lnTo>
                    <a:lnTo>
                      <a:pt x="949" y="1638"/>
                    </a:lnTo>
                    <a:lnTo>
                      <a:pt x="954" y="1639"/>
                    </a:lnTo>
                    <a:lnTo>
                      <a:pt x="961" y="1638"/>
                    </a:lnTo>
                    <a:lnTo>
                      <a:pt x="963" y="1638"/>
                    </a:lnTo>
                    <a:lnTo>
                      <a:pt x="967" y="1636"/>
                    </a:lnTo>
                    <a:lnTo>
                      <a:pt x="969" y="1633"/>
                    </a:lnTo>
                    <a:lnTo>
                      <a:pt x="971" y="1631"/>
                    </a:lnTo>
                    <a:lnTo>
                      <a:pt x="974" y="1626"/>
                    </a:lnTo>
                    <a:lnTo>
                      <a:pt x="977" y="1623"/>
                    </a:lnTo>
                    <a:lnTo>
                      <a:pt x="981" y="1619"/>
                    </a:lnTo>
                    <a:lnTo>
                      <a:pt x="986" y="1616"/>
                    </a:lnTo>
                    <a:lnTo>
                      <a:pt x="992" y="1612"/>
                    </a:lnTo>
                    <a:lnTo>
                      <a:pt x="996" y="1610"/>
                    </a:lnTo>
                    <a:lnTo>
                      <a:pt x="1004" y="1610"/>
                    </a:lnTo>
                    <a:lnTo>
                      <a:pt x="1009" y="1610"/>
                    </a:lnTo>
                    <a:lnTo>
                      <a:pt x="1015" y="1610"/>
                    </a:lnTo>
                    <a:lnTo>
                      <a:pt x="1020" y="1610"/>
                    </a:lnTo>
                    <a:lnTo>
                      <a:pt x="1024" y="1608"/>
                    </a:lnTo>
                    <a:lnTo>
                      <a:pt x="1026" y="1607"/>
                    </a:lnTo>
                    <a:lnTo>
                      <a:pt x="1027" y="1606"/>
                    </a:lnTo>
                    <a:lnTo>
                      <a:pt x="1028" y="1603"/>
                    </a:lnTo>
                    <a:lnTo>
                      <a:pt x="1028" y="1599"/>
                    </a:lnTo>
                    <a:lnTo>
                      <a:pt x="1027" y="1595"/>
                    </a:lnTo>
                    <a:lnTo>
                      <a:pt x="1027" y="1586"/>
                    </a:lnTo>
                    <a:lnTo>
                      <a:pt x="1027" y="1578"/>
                    </a:lnTo>
                    <a:lnTo>
                      <a:pt x="1028" y="1573"/>
                    </a:lnTo>
                    <a:lnTo>
                      <a:pt x="1028" y="1569"/>
                    </a:lnTo>
                    <a:lnTo>
                      <a:pt x="1030" y="1567"/>
                    </a:lnTo>
                    <a:lnTo>
                      <a:pt x="1032" y="1566"/>
                    </a:lnTo>
                    <a:lnTo>
                      <a:pt x="1033" y="1566"/>
                    </a:lnTo>
                    <a:lnTo>
                      <a:pt x="1034" y="1566"/>
                    </a:lnTo>
                    <a:lnTo>
                      <a:pt x="1036" y="1568"/>
                    </a:lnTo>
                    <a:lnTo>
                      <a:pt x="1037" y="1570"/>
                    </a:lnTo>
                    <a:lnTo>
                      <a:pt x="1038" y="1576"/>
                    </a:lnTo>
                    <a:lnTo>
                      <a:pt x="1039" y="1585"/>
                    </a:lnTo>
                    <a:lnTo>
                      <a:pt x="1039" y="1588"/>
                    </a:lnTo>
                    <a:lnTo>
                      <a:pt x="1040" y="1592"/>
                    </a:lnTo>
                    <a:lnTo>
                      <a:pt x="1042" y="1594"/>
                    </a:lnTo>
                    <a:lnTo>
                      <a:pt x="1044" y="1598"/>
                    </a:lnTo>
                    <a:lnTo>
                      <a:pt x="1048" y="1600"/>
                    </a:lnTo>
                    <a:lnTo>
                      <a:pt x="1051" y="1603"/>
                    </a:lnTo>
                    <a:lnTo>
                      <a:pt x="1056" y="1604"/>
                    </a:lnTo>
                    <a:lnTo>
                      <a:pt x="1062" y="1604"/>
                    </a:lnTo>
                    <a:lnTo>
                      <a:pt x="1074" y="1603"/>
                    </a:lnTo>
                    <a:lnTo>
                      <a:pt x="1083" y="1603"/>
                    </a:lnTo>
                    <a:lnTo>
                      <a:pt x="1087" y="1604"/>
                    </a:lnTo>
                    <a:lnTo>
                      <a:pt x="1089" y="1606"/>
                    </a:lnTo>
                    <a:lnTo>
                      <a:pt x="1090" y="1610"/>
                    </a:lnTo>
                    <a:lnTo>
                      <a:pt x="1090" y="1616"/>
                    </a:lnTo>
                    <a:lnTo>
                      <a:pt x="1089" y="1626"/>
                    </a:lnTo>
                    <a:lnTo>
                      <a:pt x="1090" y="1635"/>
                    </a:lnTo>
                    <a:lnTo>
                      <a:pt x="1091" y="1638"/>
                    </a:lnTo>
                    <a:lnTo>
                      <a:pt x="1093" y="1641"/>
                    </a:lnTo>
                    <a:lnTo>
                      <a:pt x="1095" y="1642"/>
                    </a:lnTo>
                    <a:lnTo>
                      <a:pt x="1097" y="1643"/>
                    </a:lnTo>
                    <a:lnTo>
                      <a:pt x="1101" y="1644"/>
                    </a:lnTo>
                    <a:lnTo>
                      <a:pt x="1103" y="1642"/>
                    </a:lnTo>
                    <a:lnTo>
                      <a:pt x="1106" y="1638"/>
                    </a:lnTo>
                    <a:lnTo>
                      <a:pt x="1108" y="1635"/>
                    </a:lnTo>
                    <a:lnTo>
                      <a:pt x="1113" y="1625"/>
                    </a:lnTo>
                    <a:lnTo>
                      <a:pt x="1118" y="1617"/>
                    </a:lnTo>
                    <a:lnTo>
                      <a:pt x="1122" y="1608"/>
                    </a:lnTo>
                    <a:lnTo>
                      <a:pt x="1126" y="1601"/>
                    </a:lnTo>
                    <a:lnTo>
                      <a:pt x="1127" y="1597"/>
                    </a:lnTo>
                    <a:lnTo>
                      <a:pt x="1127" y="1594"/>
                    </a:lnTo>
                    <a:lnTo>
                      <a:pt x="1126" y="1591"/>
                    </a:lnTo>
                    <a:lnTo>
                      <a:pt x="1124" y="1588"/>
                    </a:lnTo>
                    <a:lnTo>
                      <a:pt x="1119" y="1584"/>
                    </a:lnTo>
                    <a:lnTo>
                      <a:pt x="1114" y="1578"/>
                    </a:lnTo>
                    <a:lnTo>
                      <a:pt x="1112" y="1575"/>
                    </a:lnTo>
                    <a:lnTo>
                      <a:pt x="1111" y="1573"/>
                    </a:lnTo>
                    <a:lnTo>
                      <a:pt x="1111" y="1569"/>
                    </a:lnTo>
                    <a:lnTo>
                      <a:pt x="1112" y="1568"/>
                    </a:lnTo>
                    <a:lnTo>
                      <a:pt x="1124" y="1566"/>
                    </a:lnTo>
                    <a:lnTo>
                      <a:pt x="1137" y="1563"/>
                    </a:lnTo>
                    <a:lnTo>
                      <a:pt x="1146" y="1553"/>
                    </a:lnTo>
                    <a:lnTo>
                      <a:pt x="1157" y="1538"/>
                    </a:lnTo>
                    <a:lnTo>
                      <a:pt x="1159" y="1536"/>
                    </a:lnTo>
                    <a:lnTo>
                      <a:pt x="1160" y="1532"/>
                    </a:lnTo>
                    <a:lnTo>
                      <a:pt x="1162" y="1529"/>
                    </a:lnTo>
                    <a:lnTo>
                      <a:pt x="1162" y="1526"/>
                    </a:lnTo>
                    <a:lnTo>
                      <a:pt x="1160" y="1524"/>
                    </a:lnTo>
                    <a:lnTo>
                      <a:pt x="1159" y="1522"/>
                    </a:lnTo>
                    <a:lnTo>
                      <a:pt x="1156" y="1521"/>
                    </a:lnTo>
                    <a:lnTo>
                      <a:pt x="1152" y="1521"/>
                    </a:lnTo>
                    <a:lnTo>
                      <a:pt x="1143" y="1519"/>
                    </a:lnTo>
                    <a:lnTo>
                      <a:pt x="1130" y="1518"/>
                    </a:lnTo>
                    <a:lnTo>
                      <a:pt x="1119" y="1516"/>
                    </a:lnTo>
                    <a:lnTo>
                      <a:pt x="1112" y="1512"/>
                    </a:lnTo>
                    <a:lnTo>
                      <a:pt x="1108" y="1507"/>
                    </a:lnTo>
                    <a:lnTo>
                      <a:pt x="1106" y="1501"/>
                    </a:lnTo>
                    <a:lnTo>
                      <a:pt x="1106" y="1499"/>
                    </a:lnTo>
                    <a:lnTo>
                      <a:pt x="1107" y="1496"/>
                    </a:lnTo>
                    <a:lnTo>
                      <a:pt x="1108" y="1493"/>
                    </a:lnTo>
                    <a:lnTo>
                      <a:pt x="1111" y="1491"/>
                    </a:lnTo>
                    <a:lnTo>
                      <a:pt x="1115" y="1488"/>
                    </a:lnTo>
                    <a:lnTo>
                      <a:pt x="1120" y="1486"/>
                    </a:lnTo>
                    <a:lnTo>
                      <a:pt x="1125" y="1486"/>
                    </a:lnTo>
                    <a:lnTo>
                      <a:pt x="1130" y="1488"/>
                    </a:lnTo>
                    <a:lnTo>
                      <a:pt x="1137" y="1490"/>
                    </a:lnTo>
                    <a:lnTo>
                      <a:pt x="1149" y="1490"/>
                    </a:lnTo>
                    <a:lnTo>
                      <a:pt x="1162" y="1488"/>
                    </a:lnTo>
                    <a:lnTo>
                      <a:pt x="1174" y="1486"/>
                    </a:lnTo>
                    <a:lnTo>
                      <a:pt x="1183" y="1482"/>
                    </a:lnTo>
                    <a:lnTo>
                      <a:pt x="1191" y="1480"/>
                    </a:lnTo>
                    <a:lnTo>
                      <a:pt x="1200" y="1478"/>
                    </a:lnTo>
                    <a:lnTo>
                      <a:pt x="1213" y="1477"/>
                    </a:lnTo>
                    <a:lnTo>
                      <a:pt x="1225" y="1475"/>
                    </a:lnTo>
                    <a:lnTo>
                      <a:pt x="1232" y="1474"/>
                    </a:lnTo>
                    <a:lnTo>
                      <a:pt x="1233" y="1472"/>
                    </a:lnTo>
                    <a:lnTo>
                      <a:pt x="1232" y="1471"/>
                    </a:lnTo>
                    <a:lnTo>
                      <a:pt x="1231" y="1468"/>
                    </a:lnTo>
                    <a:lnTo>
                      <a:pt x="1227" y="1467"/>
                    </a:lnTo>
                    <a:lnTo>
                      <a:pt x="1219" y="1465"/>
                    </a:lnTo>
                    <a:lnTo>
                      <a:pt x="1209" y="1462"/>
                    </a:lnTo>
                    <a:lnTo>
                      <a:pt x="1206" y="1461"/>
                    </a:lnTo>
                    <a:lnTo>
                      <a:pt x="1201" y="1459"/>
                    </a:lnTo>
                    <a:lnTo>
                      <a:pt x="1197" y="1456"/>
                    </a:lnTo>
                    <a:lnTo>
                      <a:pt x="1194" y="1453"/>
                    </a:lnTo>
                    <a:lnTo>
                      <a:pt x="1193" y="1449"/>
                    </a:lnTo>
                    <a:lnTo>
                      <a:pt x="1193" y="1447"/>
                    </a:lnTo>
                    <a:lnTo>
                      <a:pt x="1195" y="1444"/>
                    </a:lnTo>
                    <a:lnTo>
                      <a:pt x="1198" y="1443"/>
                    </a:lnTo>
                    <a:lnTo>
                      <a:pt x="1209" y="1443"/>
                    </a:lnTo>
                    <a:lnTo>
                      <a:pt x="1219" y="1444"/>
                    </a:lnTo>
                    <a:lnTo>
                      <a:pt x="1228" y="1447"/>
                    </a:lnTo>
                    <a:lnTo>
                      <a:pt x="1235" y="1447"/>
                    </a:lnTo>
                    <a:lnTo>
                      <a:pt x="1239" y="1446"/>
                    </a:lnTo>
                    <a:lnTo>
                      <a:pt x="1240" y="1444"/>
                    </a:lnTo>
                    <a:lnTo>
                      <a:pt x="1241" y="1443"/>
                    </a:lnTo>
                    <a:lnTo>
                      <a:pt x="1242" y="1441"/>
                    </a:lnTo>
                    <a:lnTo>
                      <a:pt x="1239" y="1430"/>
                    </a:lnTo>
                    <a:lnTo>
                      <a:pt x="1237" y="1414"/>
                    </a:lnTo>
                    <a:lnTo>
                      <a:pt x="1235" y="1406"/>
                    </a:lnTo>
                    <a:lnTo>
                      <a:pt x="1234" y="1403"/>
                    </a:lnTo>
                    <a:lnTo>
                      <a:pt x="1232" y="1402"/>
                    </a:lnTo>
                    <a:lnTo>
                      <a:pt x="1231" y="1403"/>
                    </a:lnTo>
                    <a:lnTo>
                      <a:pt x="1228" y="1405"/>
                    </a:lnTo>
                    <a:lnTo>
                      <a:pt x="1226" y="1408"/>
                    </a:lnTo>
                    <a:lnTo>
                      <a:pt x="1222" y="1411"/>
                    </a:lnTo>
                    <a:lnTo>
                      <a:pt x="1219" y="1414"/>
                    </a:lnTo>
                    <a:lnTo>
                      <a:pt x="1215" y="1416"/>
                    </a:lnTo>
                    <a:lnTo>
                      <a:pt x="1212" y="1417"/>
                    </a:lnTo>
                    <a:lnTo>
                      <a:pt x="1208" y="1417"/>
                    </a:lnTo>
                    <a:lnTo>
                      <a:pt x="1204" y="1417"/>
                    </a:lnTo>
                    <a:lnTo>
                      <a:pt x="1201" y="1416"/>
                    </a:lnTo>
                    <a:lnTo>
                      <a:pt x="1200" y="1414"/>
                    </a:lnTo>
                    <a:lnTo>
                      <a:pt x="1195" y="1408"/>
                    </a:lnTo>
                    <a:lnTo>
                      <a:pt x="1190" y="1402"/>
                    </a:lnTo>
                    <a:lnTo>
                      <a:pt x="1185" y="1396"/>
                    </a:lnTo>
                    <a:lnTo>
                      <a:pt x="1181" y="1392"/>
                    </a:lnTo>
                    <a:lnTo>
                      <a:pt x="1179" y="1390"/>
                    </a:lnTo>
                    <a:lnTo>
                      <a:pt x="1178" y="1389"/>
                    </a:lnTo>
                    <a:lnTo>
                      <a:pt x="1177" y="1387"/>
                    </a:lnTo>
                    <a:lnTo>
                      <a:pt x="1177" y="1385"/>
                    </a:lnTo>
                    <a:lnTo>
                      <a:pt x="1178" y="1384"/>
                    </a:lnTo>
                    <a:lnTo>
                      <a:pt x="1181" y="1384"/>
                    </a:lnTo>
                    <a:lnTo>
                      <a:pt x="1184" y="1383"/>
                    </a:lnTo>
                    <a:lnTo>
                      <a:pt x="1188" y="1384"/>
                    </a:lnTo>
                    <a:lnTo>
                      <a:pt x="1198" y="1386"/>
                    </a:lnTo>
                    <a:lnTo>
                      <a:pt x="1207" y="1386"/>
                    </a:lnTo>
                    <a:lnTo>
                      <a:pt x="1210" y="1386"/>
                    </a:lnTo>
                    <a:lnTo>
                      <a:pt x="1214" y="1385"/>
                    </a:lnTo>
                    <a:lnTo>
                      <a:pt x="1215" y="1383"/>
                    </a:lnTo>
                    <a:lnTo>
                      <a:pt x="1216" y="1379"/>
                    </a:lnTo>
                    <a:lnTo>
                      <a:pt x="1215" y="1374"/>
                    </a:lnTo>
                    <a:lnTo>
                      <a:pt x="1214" y="1368"/>
                    </a:lnTo>
                    <a:lnTo>
                      <a:pt x="1213" y="1364"/>
                    </a:lnTo>
                    <a:lnTo>
                      <a:pt x="1210" y="1359"/>
                    </a:lnTo>
                    <a:lnTo>
                      <a:pt x="1206" y="1352"/>
                    </a:lnTo>
                    <a:lnTo>
                      <a:pt x="1200" y="1343"/>
                    </a:lnTo>
                    <a:lnTo>
                      <a:pt x="1194" y="1337"/>
                    </a:lnTo>
                    <a:lnTo>
                      <a:pt x="1189" y="1333"/>
                    </a:lnTo>
                    <a:lnTo>
                      <a:pt x="1185" y="1328"/>
                    </a:lnTo>
                    <a:lnTo>
                      <a:pt x="1184" y="1323"/>
                    </a:lnTo>
                    <a:lnTo>
                      <a:pt x="1187" y="1318"/>
                    </a:lnTo>
                    <a:lnTo>
                      <a:pt x="1189" y="1313"/>
                    </a:lnTo>
                    <a:lnTo>
                      <a:pt x="1193" y="1309"/>
                    </a:lnTo>
                    <a:lnTo>
                      <a:pt x="1197" y="1305"/>
                    </a:lnTo>
                    <a:lnTo>
                      <a:pt x="1202" y="1303"/>
                    </a:lnTo>
                    <a:lnTo>
                      <a:pt x="1207" y="1302"/>
                    </a:lnTo>
                    <a:lnTo>
                      <a:pt x="1212" y="1302"/>
                    </a:lnTo>
                    <a:lnTo>
                      <a:pt x="1215" y="1304"/>
                    </a:lnTo>
                    <a:lnTo>
                      <a:pt x="1219" y="1308"/>
                    </a:lnTo>
                    <a:lnTo>
                      <a:pt x="1221" y="1314"/>
                    </a:lnTo>
                    <a:lnTo>
                      <a:pt x="1225" y="1320"/>
                    </a:lnTo>
                    <a:lnTo>
                      <a:pt x="1227" y="1327"/>
                    </a:lnTo>
                    <a:lnTo>
                      <a:pt x="1232" y="1341"/>
                    </a:lnTo>
                    <a:lnTo>
                      <a:pt x="1237" y="1354"/>
                    </a:lnTo>
                    <a:lnTo>
                      <a:pt x="1241" y="1362"/>
                    </a:lnTo>
                    <a:lnTo>
                      <a:pt x="1245" y="1368"/>
                    </a:lnTo>
                    <a:lnTo>
                      <a:pt x="1250" y="1371"/>
                    </a:lnTo>
                    <a:lnTo>
                      <a:pt x="1252" y="1372"/>
                    </a:lnTo>
                    <a:lnTo>
                      <a:pt x="1259" y="1371"/>
                    </a:lnTo>
                    <a:lnTo>
                      <a:pt x="1265" y="1370"/>
                    </a:lnTo>
                    <a:lnTo>
                      <a:pt x="1270" y="1367"/>
                    </a:lnTo>
                    <a:lnTo>
                      <a:pt x="1273" y="1365"/>
                    </a:lnTo>
                    <a:lnTo>
                      <a:pt x="1281" y="1359"/>
                    </a:lnTo>
                    <a:lnTo>
                      <a:pt x="1286" y="1352"/>
                    </a:lnTo>
                    <a:lnTo>
                      <a:pt x="1290" y="1347"/>
                    </a:lnTo>
                    <a:lnTo>
                      <a:pt x="1295" y="1342"/>
                    </a:lnTo>
                    <a:lnTo>
                      <a:pt x="1301" y="1339"/>
                    </a:lnTo>
                    <a:lnTo>
                      <a:pt x="1310" y="1334"/>
                    </a:lnTo>
                    <a:lnTo>
                      <a:pt x="1323" y="1329"/>
                    </a:lnTo>
                    <a:lnTo>
                      <a:pt x="1335" y="1327"/>
                    </a:lnTo>
                    <a:lnTo>
                      <a:pt x="1346" y="1326"/>
                    </a:lnTo>
                    <a:lnTo>
                      <a:pt x="1357" y="1324"/>
                    </a:lnTo>
                    <a:lnTo>
                      <a:pt x="1367" y="1326"/>
                    </a:lnTo>
                    <a:lnTo>
                      <a:pt x="1376" y="1327"/>
                    </a:lnTo>
                    <a:lnTo>
                      <a:pt x="1385" y="1328"/>
                    </a:lnTo>
                    <a:lnTo>
                      <a:pt x="1393" y="1330"/>
                    </a:lnTo>
                    <a:lnTo>
                      <a:pt x="1411" y="1335"/>
                    </a:lnTo>
                    <a:lnTo>
                      <a:pt x="1427" y="1336"/>
                    </a:lnTo>
                    <a:lnTo>
                      <a:pt x="1433" y="1336"/>
                    </a:lnTo>
                    <a:lnTo>
                      <a:pt x="1437" y="1335"/>
                    </a:lnTo>
                    <a:lnTo>
                      <a:pt x="1441" y="1333"/>
                    </a:lnTo>
                    <a:lnTo>
                      <a:pt x="1445" y="1330"/>
                    </a:lnTo>
                    <a:lnTo>
                      <a:pt x="1446" y="1327"/>
                    </a:lnTo>
                    <a:lnTo>
                      <a:pt x="1446" y="1322"/>
                    </a:lnTo>
                    <a:lnTo>
                      <a:pt x="1443" y="1318"/>
                    </a:lnTo>
                    <a:lnTo>
                      <a:pt x="1440" y="1315"/>
                    </a:lnTo>
                    <a:lnTo>
                      <a:pt x="1435" y="1310"/>
                    </a:lnTo>
                    <a:lnTo>
                      <a:pt x="1428" y="1307"/>
                    </a:lnTo>
                    <a:lnTo>
                      <a:pt x="1421" y="1303"/>
                    </a:lnTo>
                    <a:lnTo>
                      <a:pt x="1411" y="1299"/>
                    </a:lnTo>
                    <a:lnTo>
                      <a:pt x="1370" y="1285"/>
                    </a:lnTo>
                    <a:lnTo>
                      <a:pt x="1326" y="1272"/>
                    </a:lnTo>
                    <a:lnTo>
                      <a:pt x="1305" y="1265"/>
                    </a:lnTo>
                    <a:lnTo>
                      <a:pt x="1291" y="1259"/>
                    </a:lnTo>
                    <a:lnTo>
                      <a:pt x="1281" y="1253"/>
                    </a:lnTo>
                    <a:lnTo>
                      <a:pt x="1272" y="1248"/>
                    </a:lnTo>
                    <a:lnTo>
                      <a:pt x="1270" y="1242"/>
                    </a:lnTo>
                    <a:lnTo>
                      <a:pt x="1270" y="1236"/>
                    </a:lnTo>
                    <a:lnTo>
                      <a:pt x="1270" y="1232"/>
                    </a:lnTo>
                    <a:lnTo>
                      <a:pt x="1272" y="1228"/>
                    </a:lnTo>
                    <a:lnTo>
                      <a:pt x="1275" y="1225"/>
                    </a:lnTo>
                    <a:lnTo>
                      <a:pt x="1278" y="1222"/>
                    </a:lnTo>
                    <a:lnTo>
                      <a:pt x="1288" y="1219"/>
                    </a:lnTo>
                    <a:lnTo>
                      <a:pt x="1296" y="1216"/>
                    </a:lnTo>
                    <a:lnTo>
                      <a:pt x="1303" y="1215"/>
                    </a:lnTo>
                    <a:lnTo>
                      <a:pt x="1310" y="1210"/>
                    </a:lnTo>
                    <a:lnTo>
                      <a:pt x="1314" y="1207"/>
                    </a:lnTo>
                    <a:lnTo>
                      <a:pt x="1317" y="1203"/>
                    </a:lnTo>
                    <a:lnTo>
                      <a:pt x="1320" y="1198"/>
                    </a:lnTo>
                    <a:lnTo>
                      <a:pt x="1322" y="1192"/>
                    </a:lnTo>
                    <a:lnTo>
                      <a:pt x="1322" y="1182"/>
                    </a:lnTo>
                    <a:lnTo>
                      <a:pt x="1321" y="1170"/>
                    </a:lnTo>
                    <a:lnTo>
                      <a:pt x="1321" y="1164"/>
                    </a:lnTo>
                    <a:lnTo>
                      <a:pt x="1322" y="1159"/>
                    </a:lnTo>
                    <a:lnTo>
                      <a:pt x="1326" y="1154"/>
                    </a:lnTo>
                    <a:lnTo>
                      <a:pt x="1329" y="1151"/>
                    </a:lnTo>
                    <a:lnTo>
                      <a:pt x="1334" y="1148"/>
                    </a:lnTo>
                    <a:lnTo>
                      <a:pt x="1339" y="1148"/>
                    </a:lnTo>
                    <a:lnTo>
                      <a:pt x="1342" y="1148"/>
                    </a:lnTo>
                    <a:lnTo>
                      <a:pt x="1347" y="1151"/>
                    </a:lnTo>
                    <a:lnTo>
                      <a:pt x="1354" y="1156"/>
                    </a:lnTo>
                    <a:lnTo>
                      <a:pt x="1361" y="1164"/>
                    </a:lnTo>
                    <a:lnTo>
                      <a:pt x="1366" y="1173"/>
                    </a:lnTo>
                    <a:lnTo>
                      <a:pt x="1371" y="1183"/>
                    </a:lnTo>
                    <a:lnTo>
                      <a:pt x="1373" y="1192"/>
                    </a:lnTo>
                    <a:lnTo>
                      <a:pt x="1373" y="1200"/>
                    </a:lnTo>
                    <a:lnTo>
                      <a:pt x="1373" y="1203"/>
                    </a:lnTo>
                    <a:lnTo>
                      <a:pt x="1376" y="1206"/>
                    </a:lnTo>
                    <a:lnTo>
                      <a:pt x="1378" y="1206"/>
                    </a:lnTo>
                    <a:lnTo>
                      <a:pt x="1382" y="1206"/>
                    </a:lnTo>
                    <a:lnTo>
                      <a:pt x="1391" y="1204"/>
                    </a:lnTo>
                    <a:lnTo>
                      <a:pt x="1403" y="1203"/>
                    </a:lnTo>
                    <a:lnTo>
                      <a:pt x="1407" y="1203"/>
                    </a:lnTo>
                    <a:lnTo>
                      <a:pt x="1409" y="1204"/>
                    </a:lnTo>
                    <a:lnTo>
                      <a:pt x="1410" y="1206"/>
                    </a:lnTo>
                    <a:lnTo>
                      <a:pt x="1412" y="1208"/>
                    </a:lnTo>
                    <a:lnTo>
                      <a:pt x="1415" y="1214"/>
                    </a:lnTo>
                    <a:lnTo>
                      <a:pt x="1416" y="1221"/>
                    </a:lnTo>
                    <a:lnTo>
                      <a:pt x="1417" y="1229"/>
                    </a:lnTo>
                    <a:lnTo>
                      <a:pt x="1418" y="1236"/>
                    </a:lnTo>
                    <a:lnTo>
                      <a:pt x="1421" y="1241"/>
                    </a:lnTo>
                    <a:lnTo>
                      <a:pt x="1423" y="1246"/>
                    </a:lnTo>
                    <a:lnTo>
                      <a:pt x="1426" y="1246"/>
                    </a:lnTo>
                    <a:lnTo>
                      <a:pt x="1428" y="1247"/>
                    </a:lnTo>
                    <a:lnTo>
                      <a:pt x="1433" y="1246"/>
                    </a:lnTo>
                    <a:lnTo>
                      <a:pt x="1436" y="1245"/>
                    </a:lnTo>
                    <a:lnTo>
                      <a:pt x="1447" y="1242"/>
                    </a:lnTo>
                    <a:lnTo>
                      <a:pt x="1456" y="1236"/>
                    </a:lnTo>
                    <a:lnTo>
                      <a:pt x="1466" y="1230"/>
                    </a:lnTo>
                    <a:lnTo>
                      <a:pt x="1472" y="1222"/>
                    </a:lnTo>
                    <a:lnTo>
                      <a:pt x="1474" y="1219"/>
                    </a:lnTo>
                    <a:lnTo>
                      <a:pt x="1474" y="1215"/>
                    </a:lnTo>
                    <a:lnTo>
                      <a:pt x="1474" y="1211"/>
                    </a:lnTo>
                    <a:lnTo>
                      <a:pt x="1472" y="1208"/>
                    </a:lnTo>
                    <a:lnTo>
                      <a:pt x="1466" y="1201"/>
                    </a:lnTo>
                    <a:lnTo>
                      <a:pt x="1459" y="1191"/>
                    </a:lnTo>
                    <a:lnTo>
                      <a:pt x="1454" y="1188"/>
                    </a:lnTo>
                    <a:lnTo>
                      <a:pt x="1449" y="1185"/>
                    </a:lnTo>
                    <a:lnTo>
                      <a:pt x="1446" y="1183"/>
                    </a:lnTo>
                    <a:lnTo>
                      <a:pt x="1441" y="1182"/>
                    </a:lnTo>
                    <a:lnTo>
                      <a:pt x="1437" y="1182"/>
                    </a:lnTo>
                    <a:lnTo>
                      <a:pt x="1435" y="1181"/>
                    </a:lnTo>
                    <a:lnTo>
                      <a:pt x="1434" y="1177"/>
                    </a:lnTo>
                    <a:lnTo>
                      <a:pt x="1433" y="1173"/>
                    </a:lnTo>
                    <a:lnTo>
                      <a:pt x="1433" y="1163"/>
                    </a:lnTo>
                    <a:lnTo>
                      <a:pt x="1433" y="1152"/>
                    </a:lnTo>
                    <a:lnTo>
                      <a:pt x="1433" y="1150"/>
                    </a:lnTo>
                    <a:lnTo>
                      <a:pt x="1431" y="1147"/>
                    </a:lnTo>
                    <a:lnTo>
                      <a:pt x="1430" y="1145"/>
                    </a:lnTo>
                    <a:lnTo>
                      <a:pt x="1428" y="1144"/>
                    </a:lnTo>
                    <a:lnTo>
                      <a:pt x="1423" y="1141"/>
                    </a:lnTo>
                    <a:lnTo>
                      <a:pt x="1417" y="1140"/>
                    </a:lnTo>
                    <a:lnTo>
                      <a:pt x="1403" y="1138"/>
                    </a:lnTo>
                    <a:lnTo>
                      <a:pt x="1393" y="1135"/>
                    </a:lnTo>
                    <a:lnTo>
                      <a:pt x="1391" y="1134"/>
                    </a:lnTo>
                    <a:lnTo>
                      <a:pt x="1389" y="1131"/>
                    </a:lnTo>
                    <a:lnTo>
                      <a:pt x="1387" y="1128"/>
                    </a:lnTo>
                    <a:lnTo>
                      <a:pt x="1386" y="1125"/>
                    </a:lnTo>
                    <a:lnTo>
                      <a:pt x="1387" y="1121"/>
                    </a:lnTo>
                    <a:lnTo>
                      <a:pt x="1389" y="1118"/>
                    </a:lnTo>
                    <a:lnTo>
                      <a:pt x="1391" y="1114"/>
                    </a:lnTo>
                    <a:lnTo>
                      <a:pt x="1393" y="1110"/>
                    </a:lnTo>
                    <a:lnTo>
                      <a:pt x="1398" y="1108"/>
                    </a:lnTo>
                    <a:lnTo>
                      <a:pt x="1403" y="1106"/>
                    </a:lnTo>
                    <a:lnTo>
                      <a:pt x="1408" y="1103"/>
                    </a:lnTo>
                    <a:lnTo>
                      <a:pt x="1414" y="1103"/>
                    </a:lnTo>
                    <a:lnTo>
                      <a:pt x="1424" y="1102"/>
                    </a:lnTo>
                    <a:lnTo>
                      <a:pt x="1436" y="1102"/>
                    </a:lnTo>
                    <a:lnTo>
                      <a:pt x="1441" y="1102"/>
                    </a:lnTo>
                    <a:lnTo>
                      <a:pt x="1445" y="1100"/>
                    </a:lnTo>
                    <a:lnTo>
                      <a:pt x="1447" y="1095"/>
                    </a:lnTo>
                    <a:lnTo>
                      <a:pt x="1448" y="1090"/>
                    </a:lnTo>
                    <a:lnTo>
                      <a:pt x="1450" y="1078"/>
                    </a:lnTo>
                    <a:lnTo>
                      <a:pt x="1450" y="1063"/>
                    </a:lnTo>
                    <a:lnTo>
                      <a:pt x="1448" y="1033"/>
                    </a:lnTo>
                    <a:lnTo>
                      <a:pt x="1448" y="1012"/>
                    </a:lnTo>
                    <a:lnTo>
                      <a:pt x="1450" y="1006"/>
                    </a:lnTo>
                    <a:lnTo>
                      <a:pt x="1454" y="1000"/>
                    </a:lnTo>
                    <a:lnTo>
                      <a:pt x="1459" y="996"/>
                    </a:lnTo>
                    <a:lnTo>
                      <a:pt x="1465" y="993"/>
                    </a:lnTo>
                    <a:lnTo>
                      <a:pt x="1470" y="990"/>
                    </a:lnTo>
                    <a:lnTo>
                      <a:pt x="1474" y="987"/>
                    </a:lnTo>
                    <a:lnTo>
                      <a:pt x="1478" y="983"/>
                    </a:lnTo>
                    <a:lnTo>
                      <a:pt x="1479" y="980"/>
                    </a:lnTo>
                    <a:lnTo>
                      <a:pt x="1480" y="974"/>
                    </a:lnTo>
                    <a:lnTo>
                      <a:pt x="1479" y="969"/>
                    </a:lnTo>
                    <a:lnTo>
                      <a:pt x="1478" y="963"/>
                    </a:lnTo>
                    <a:lnTo>
                      <a:pt x="1477" y="958"/>
                    </a:lnTo>
                    <a:lnTo>
                      <a:pt x="1473" y="950"/>
                    </a:lnTo>
                    <a:lnTo>
                      <a:pt x="1470" y="945"/>
                    </a:lnTo>
                    <a:lnTo>
                      <a:pt x="1460" y="944"/>
                    </a:lnTo>
                    <a:lnTo>
                      <a:pt x="1441" y="944"/>
                    </a:lnTo>
                    <a:lnTo>
                      <a:pt x="1421" y="945"/>
                    </a:lnTo>
                    <a:lnTo>
                      <a:pt x="1408" y="946"/>
                    </a:lnTo>
                    <a:lnTo>
                      <a:pt x="1402" y="946"/>
                    </a:lnTo>
                    <a:lnTo>
                      <a:pt x="1398" y="944"/>
                    </a:lnTo>
                    <a:lnTo>
                      <a:pt x="1397" y="942"/>
                    </a:lnTo>
                    <a:lnTo>
                      <a:pt x="1397" y="937"/>
                    </a:lnTo>
                    <a:lnTo>
                      <a:pt x="1398" y="932"/>
                    </a:lnTo>
                    <a:lnTo>
                      <a:pt x="1401" y="927"/>
                    </a:lnTo>
                    <a:lnTo>
                      <a:pt x="1404" y="921"/>
                    </a:lnTo>
                    <a:lnTo>
                      <a:pt x="1408" y="917"/>
                    </a:lnTo>
                    <a:lnTo>
                      <a:pt x="1418" y="906"/>
                    </a:lnTo>
                    <a:lnTo>
                      <a:pt x="1430" y="891"/>
                    </a:lnTo>
                    <a:lnTo>
                      <a:pt x="1441" y="876"/>
                    </a:lnTo>
                    <a:lnTo>
                      <a:pt x="1447" y="866"/>
                    </a:lnTo>
                    <a:lnTo>
                      <a:pt x="1448" y="862"/>
                    </a:lnTo>
                    <a:lnTo>
                      <a:pt x="1450" y="860"/>
                    </a:lnTo>
                    <a:lnTo>
                      <a:pt x="1454" y="857"/>
                    </a:lnTo>
                    <a:lnTo>
                      <a:pt x="1459" y="855"/>
                    </a:lnTo>
                    <a:lnTo>
                      <a:pt x="1467" y="851"/>
                    </a:lnTo>
                    <a:lnTo>
                      <a:pt x="1477" y="847"/>
                    </a:lnTo>
                    <a:lnTo>
                      <a:pt x="1489" y="838"/>
                    </a:lnTo>
                    <a:lnTo>
                      <a:pt x="1496" y="834"/>
                    </a:lnTo>
                    <a:lnTo>
                      <a:pt x="1502" y="829"/>
                    </a:lnTo>
                    <a:lnTo>
                      <a:pt x="1509" y="823"/>
                    </a:lnTo>
                    <a:lnTo>
                      <a:pt x="1517" y="816"/>
                    </a:lnTo>
                    <a:lnTo>
                      <a:pt x="1525" y="811"/>
                    </a:lnTo>
                    <a:lnTo>
                      <a:pt x="1535" y="806"/>
                    </a:lnTo>
                    <a:lnTo>
                      <a:pt x="1543" y="803"/>
                    </a:lnTo>
                    <a:lnTo>
                      <a:pt x="1547" y="801"/>
                    </a:lnTo>
                    <a:lnTo>
                      <a:pt x="1549" y="799"/>
                    </a:lnTo>
                    <a:lnTo>
                      <a:pt x="1550" y="797"/>
                    </a:lnTo>
                    <a:lnTo>
                      <a:pt x="1552" y="794"/>
                    </a:lnTo>
                    <a:lnTo>
                      <a:pt x="1552" y="793"/>
                    </a:lnTo>
                    <a:lnTo>
                      <a:pt x="1550" y="792"/>
                    </a:lnTo>
                    <a:lnTo>
                      <a:pt x="1548" y="792"/>
                    </a:lnTo>
                    <a:lnTo>
                      <a:pt x="1546" y="792"/>
                    </a:lnTo>
                    <a:lnTo>
                      <a:pt x="1538" y="794"/>
                    </a:lnTo>
                    <a:lnTo>
                      <a:pt x="1531" y="795"/>
                    </a:lnTo>
                    <a:lnTo>
                      <a:pt x="1528" y="794"/>
                    </a:lnTo>
                    <a:lnTo>
                      <a:pt x="1524" y="793"/>
                    </a:lnTo>
                    <a:lnTo>
                      <a:pt x="1521" y="792"/>
                    </a:lnTo>
                    <a:lnTo>
                      <a:pt x="1518" y="788"/>
                    </a:lnTo>
                    <a:lnTo>
                      <a:pt x="1513" y="781"/>
                    </a:lnTo>
                    <a:lnTo>
                      <a:pt x="1512" y="775"/>
                    </a:lnTo>
                    <a:lnTo>
                      <a:pt x="1511" y="774"/>
                    </a:lnTo>
                    <a:lnTo>
                      <a:pt x="1510" y="772"/>
                    </a:lnTo>
                    <a:lnTo>
                      <a:pt x="1508" y="771"/>
                    </a:lnTo>
                    <a:lnTo>
                      <a:pt x="1505" y="771"/>
                    </a:lnTo>
                    <a:lnTo>
                      <a:pt x="1502" y="772"/>
                    </a:lnTo>
                    <a:lnTo>
                      <a:pt x="1498" y="773"/>
                    </a:lnTo>
                    <a:lnTo>
                      <a:pt x="1493" y="776"/>
                    </a:lnTo>
                    <a:lnTo>
                      <a:pt x="1490" y="779"/>
                    </a:lnTo>
                    <a:lnTo>
                      <a:pt x="1481" y="787"/>
                    </a:lnTo>
                    <a:lnTo>
                      <a:pt x="1475" y="795"/>
                    </a:lnTo>
                    <a:lnTo>
                      <a:pt x="1471" y="804"/>
                    </a:lnTo>
                    <a:lnTo>
                      <a:pt x="1467" y="811"/>
                    </a:lnTo>
                    <a:lnTo>
                      <a:pt x="1465" y="814"/>
                    </a:lnTo>
                    <a:lnTo>
                      <a:pt x="1460" y="817"/>
                    </a:lnTo>
                    <a:lnTo>
                      <a:pt x="1459" y="817"/>
                    </a:lnTo>
                    <a:lnTo>
                      <a:pt x="1456" y="816"/>
                    </a:lnTo>
                    <a:lnTo>
                      <a:pt x="1455" y="814"/>
                    </a:lnTo>
                    <a:lnTo>
                      <a:pt x="1453" y="812"/>
                    </a:lnTo>
                    <a:lnTo>
                      <a:pt x="1450" y="806"/>
                    </a:lnTo>
                    <a:lnTo>
                      <a:pt x="1448" y="803"/>
                    </a:lnTo>
                    <a:lnTo>
                      <a:pt x="1443" y="800"/>
                    </a:lnTo>
                    <a:lnTo>
                      <a:pt x="1441" y="799"/>
                    </a:lnTo>
                    <a:lnTo>
                      <a:pt x="1439" y="798"/>
                    </a:lnTo>
                    <a:lnTo>
                      <a:pt x="1437" y="795"/>
                    </a:lnTo>
                    <a:lnTo>
                      <a:pt x="1436" y="793"/>
                    </a:lnTo>
                    <a:lnTo>
                      <a:pt x="1436" y="790"/>
                    </a:lnTo>
                    <a:lnTo>
                      <a:pt x="1431" y="778"/>
                    </a:lnTo>
                    <a:lnTo>
                      <a:pt x="1424" y="767"/>
                    </a:lnTo>
                    <a:lnTo>
                      <a:pt x="1423" y="760"/>
                    </a:lnTo>
                    <a:lnTo>
                      <a:pt x="1424" y="756"/>
                    </a:lnTo>
                    <a:lnTo>
                      <a:pt x="1427" y="754"/>
                    </a:lnTo>
                    <a:lnTo>
                      <a:pt x="1428" y="751"/>
                    </a:lnTo>
                    <a:lnTo>
                      <a:pt x="1429" y="750"/>
                    </a:lnTo>
                    <a:lnTo>
                      <a:pt x="1431" y="749"/>
                    </a:lnTo>
                    <a:lnTo>
                      <a:pt x="1433" y="749"/>
                    </a:lnTo>
                    <a:lnTo>
                      <a:pt x="1435" y="750"/>
                    </a:lnTo>
                    <a:lnTo>
                      <a:pt x="1441" y="753"/>
                    </a:lnTo>
                    <a:lnTo>
                      <a:pt x="1450" y="755"/>
                    </a:lnTo>
                    <a:lnTo>
                      <a:pt x="1462" y="759"/>
                    </a:lnTo>
                    <a:lnTo>
                      <a:pt x="1472" y="760"/>
                    </a:lnTo>
                    <a:lnTo>
                      <a:pt x="1479" y="759"/>
                    </a:lnTo>
                    <a:lnTo>
                      <a:pt x="1485" y="756"/>
                    </a:lnTo>
                    <a:lnTo>
                      <a:pt x="1490" y="751"/>
                    </a:lnTo>
                    <a:lnTo>
                      <a:pt x="1492" y="748"/>
                    </a:lnTo>
                    <a:lnTo>
                      <a:pt x="1493" y="746"/>
                    </a:lnTo>
                    <a:lnTo>
                      <a:pt x="1492" y="743"/>
                    </a:lnTo>
                    <a:lnTo>
                      <a:pt x="1491" y="742"/>
                    </a:lnTo>
                    <a:lnTo>
                      <a:pt x="1487" y="738"/>
                    </a:lnTo>
                    <a:lnTo>
                      <a:pt x="1484" y="735"/>
                    </a:lnTo>
                    <a:lnTo>
                      <a:pt x="1481" y="730"/>
                    </a:lnTo>
                    <a:lnTo>
                      <a:pt x="1479" y="725"/>
                    </a:lnTo>
                    <a:lnTo>
                      <a:pt x="1478" y="719"/>
                    </a:lnTo>
                    <a:lnTo>
                      <a:pt x="1475" y="712"/>
                    </a:lnTo>
                    <a:lnTo>
                      <a:pt x="1471" y="705"/>
                    </a:lnTo>
                    <a:lnTo>
                      <a:pt x="1468" y="702"/>
                    </a:lnTo>
                    <a:lnTo>
                      <a:pt x="1465" y="698"/>
                    </a:lnTo>
                    <a:lnTo>
                      <a:pt x="1461" y="694"/>
                    </a:lnTo>
                    <a:lnTo>
                      <a:pt x="1458" y="693"/>
                    </a:lnTo>
                    <a:lnTo>
                      <a:pt x="1448" y="691"/>
                    </a:lnTo>
                    <a:lnTo>
                      <a:pt x="1436" y="688"/>
                    </a:lnTo>
                    <a:lnTo>
                      <a:pt x="1431" y="688"/>
                    </a:lnTo>
                    <a:lnTo>
                      <a:pt x="1426" y="690"/>
                    </a:lnTo>
                    <a:lnTo>
                      <a:pt x="1421" y="692"/>
                    </a:lnTo>
                    <a:lnTo>
                      <a:pt x="1417" y="696"/>
                    </a:lnTo>
                    <a:lnTo>
                      <a:pt x="1414" y="699"/>
                    </a:lnTo>
                    <a:lnTo>
                      <a:pt x="1410" y="702"/>
                    </a:lnTo>
                    <a:lnTo>
                      <a:pt x="1408" y="704"/>
                    </a:lnTo>
                    <a:lnTo>
                      <a:pt x="1404" y="705"/>
                    </a:lnTo>
                    <a:lnTo>
                      <a:pt x="1402" y="705"/>
                    </a:lnTo>
                    <a:lnTo>
                      <a:pt x="1399" y="704"/>
                    </a:lnTo>
                    <a:lnTo>
                      <a:pt x="1397" y="703"/>
                    </a:lnTo>
                    <a:lnTo>
                      <a:pt x="1396" y="700"/>
                    </a:lnTo>
                    <a:lnTo>
                      <a:pt x="1392" y="688"/>
                    </a:lnTo>
                    <a:lnTo>
                      <a:pt x="1387" y="671"/>
                    </a:lnTo>
                    <a:lnTo>
                      <a:pt x="1386" y="661"/>
                    </a:lnTo>
                    <a:lnTo>
                      <a:pt x="1385" y="652"/>
                    </a:lnTo>
                    <a:lnTo>
                      <a:pt x="1384" y="645"/>
                    </a:lnTo>
                    <a:lnTo>
                      <a:pt x="1385" y="637"/>
                    </a:lnTo>
                    <a:lnTo>
                      <a:pt x="1387" y="629"/>
                    </a:lnTo>
                    <a:lnTo>
                      <a:pt x="1391" y="623"/>
                    </a:lnTo>
                    <a:lnTo>
                      <a:pt x="1393" y="622"/>
                    </a:lnTo>
                    <a:lnTo>
                      <a:pt x="1396" y="622"/>
                    </a:lnTo>
                    <a:lnTo>
                      <a:pt x="1399" y="623"/>
                    </a:lnTo>
                    <a:lnTo>
                      <a:pt x="1403" y="626"/>
                    </a:lnTo>
                    <a:lnTo>
                      <a:pt x="1412" y="633"/>
                    </a:lnTo>
                    <a:lnTo>
                      <a:pt x="1423" y="640"/>
                    </a:lnTo>
                    <a:lnTo>
                      <a:pt x="1433" y="646"/>
                    </a:lnTo>
                    <a:lnTo>
                      <a:pt x="1440" y="649"/>
                    </a:lnTo>
                    <a:lnTo>
                      <a:pt x="1441" y="648"/>
                    </a:lnTo>
                    <a:lnTo>
                      <a:pt x="1443" y="647"/>
                    </a:lnTo>
                    <a:lnTo>
                      <a:pt x="1445" y="645"/>
                    </a:lnTo>
                    <a:lnTo>
                      <a:pt x="1445" y="642"/>
                    </a:lnTo>
                    <a:lnTo>
                      <a:pt x="1445" y="640"/>
                    </a:lnTo>
                    <a:lnTo>
                      <a:pt x="1443" y="636"/>
                    </a:lnTo>
                    <a:lnTo>
                      <a:pt x="1442" y="634"/>
                    </a:lnTo>
                    <a:lnTo>
                      <a:pt x="1440" y="633"/>
                    </a:lnTo>
                    <a:lnTo>
                      <a:pt x="1433" y="628"/>
                    </a:lnTo>
                    <a:lnTo>
                      <a:pt x="1427" y="623"/>
                    </a:lnTo>
                    <a:lnTo>
                      <a:pt x="1424" y="620"/>
                    </a:lnTo>
                    <a:lnTo>
                      <a:pt x="1423" y="617"/>
                    </a:lnTo>
                    <a:lnTo>
                      <a:pt x="1423" y="612"/>
                    </a:lnTo>
                    <a:lnTo>
                      <a:pt x="1423" y="609"/>
                    </a:lnTo>
                    <a:lnTo>
                      <a:pt x="1424" y="605"/>
                    </a:lnTo>
                    <a:lnTo>
                      <a:pt x="1424" y="602"/>
                    </a:lnTo>
                    <a:lnTo>
                      <a:pt x="1423" y="598"/>
                    </a:lnTo>
                    <a:lnTo>
                      <a:pt x="1422" y="595"/>
                    </a:lnTo>
                    <a:lnTo>
                      <a:pt x="1420" y="587"/>
                    </a:lnTo>
                    <a:lnTo>
                      <a:pt x="1417" y="583"/>
                    </a:lnTo>
                    <a:lnTo>
                      <a:pt x="1416" y="580"/>
                    </a:lnTo>
                    <a:lnTo>
                      <a:pt x="1416" y="578"/>
                    </a:lnTo>
                    <a:lnTo>
                      <a:pt x="1417" y="577"/>
                    </a:lnTo>
                    <a:lnTo>
                      <a:pt x="1420" y="576"/>
                    </a:lnTo>
                    <a:lnTo>
                      <a:pt x="1422" y="574"/>
                    </a:lnTo>
                    <a:lnTo>
                      <a:pt x="1424" y="576"/>
                    </a:lnTo>
                    <a:lnTo>
                      <a:pt x="1427" y="577"/>
                    </a:lnTo>
                    <a:lnTo>
                      <a:pt x="1428" y="580"/>
                    </a:lnTo>
                    <a:lnTo>
                      <a:pt x="1434" y="590"/>
                    </a:lnTo>
                    <a:lnTo>
                      <a:pt x="1439" y="601"/>
                    </a:lnTo>
                    <a:lnTo>
                      <a:pt x="1443" y="610"/>
                    </a:lnTo>
                    <a:lnTo>
                      <a:pt x="1447" y="618"/>
                    </a:lnTo>
                    <a:lnTo>
                      <a:pt x="1448" y="623"/>
                    </a:lnTo>
                    <a:lnTo>
                      <a:pt x="1450" y="627"/>
                    </a:lnTo>
                    <a:lnTo>
                      <a:pt x="1454" y="628"/>
                    </a:lnTo>
                    <a:lnTo>
                      <a:pt x="1458" y="628"/>
                    </a:lnTo>
                    <a:lnTo>
                      <a:pt x="1459" y="627"/>
                    </a:lnTo>
                    <a:lnTo>
                      <a:pt x="1460" y="626"/>
                    </a:lnTo>
                    <a:lnTo>
                      <a:pt x="1461" y="622"/>
                    </a:lnTo>
                    <a:lnTo>
                      <a:pt x="1461" y="618"/>
                    </a:lnTo>
                    <a:lnTo>
                      <a:pt x="1461" y="610"/>
                    </a:lnTo>
                    <a:lnTo>
                      <a:pt x="1461" y="602"/>
                    </a:lnTo>
                    <a:lnTo>
                      <a:pt x="1462" y="597"/>
                    </a:lnTo>
                    <a:lnTo>
                      <a:pt x="1464" y="595"/>
                    </a:lnTo>
                    <a:lnTo>
                      <a:pt x="1465" y="591"/>
                    </a:lnTo>
                    <a:lnTo>
                      <a:pt x="1467" y="589"/>
                    </a:lnTo>
                    <a:lnTo>
                      <a:pt x="1472" y="585"/>
                    </a:lnTo>
                    <a:lnTo>
                      <a:pt x="1478" y="583"/>
                    </a:lnTo>
                    <a:lnTo>
                      <a:pt x="1480" y="582"/>
                    </a:lnTo>
                    <a:lnTo>
                      <a:pt x="1483" y="583"/>
                    </a:lnTo>
                    <a:lnTo>
                      <a:pt x="1484" y="584"/>
                    </a:lnTo>
                    <a:lnTo>
                      <a:pt x="1484" y="585"/>
                    </a:lnTo>
                    <a:lnTo>
                      <a:pt x="1483" y="591"/>
                    </a:lnTo>
                    <a:lnTo>
                      <a:pt x="1479" y="596"/>
                    </a:lnTo>
                    <a:lnTo>
                      <a:pt x="1475" y="602"/>
                    </a:lnTo>
                    <a:lnTo>
                      <a:pt x="1474" y="606"/>
                    </a:lnTo>
                    <a:lnTo>
                      <a:pt x="1474" y="611"/>
                    </a:lnTo>
                    <a:lnTo>
                      <a:pt x="1474" y="618"/>
                    </a:lnTo>
                    <a:lnTo>
                      <a:pt x="1475" y="633"/>
                    </a:lnTo>
                    <a:lnTo>
                      <a:pt x="1475" y="646"/>
                    </a:lnTo>
                    <a:lnTo>
                      <a:pt x="1477" y="649"/>
                    </a:lnTo>
                    <a:lnTo>
                      <a:pt x="1479" y="652"/>
                    </a:lnTo>
                    <a:lnTo>
                      <a:pt x="1481" y="653"/>
                    </a:lnTo>
                    <a:lnTo>
                      <a:pt x="1486" y="653"/>
                    </a:lnTo>
                    <a:lnTo>
                      <a:pt x="1490" y="652"/>
                    </a:lnTo>
                    <a:lnTo>
                      <a:pt x="1493" y="652"/>
                    </a:lnTo>
                    <a:lnTo>
                      <a:pt x="1497" y="653"/>
                    </a:lnTo>
                    <a:lnTo>
                      <a:pt x="1500" y="655"/>
                    </a:lnTo>
                    <a:lnTo>
                      <a:pt x="1503" y="656"/>
                    </a:lnTo>
                    <a:lnTo>
                      <a:pt x="1505" y="656"/>
                    </a:lnTo>
                    <a:lnTo>
                      <a:pt x="1506" y="656"/>
                    </a:lnTo>
                    <a:lnTo>
                      <a:pt x="1509" y="656"/>
                    </a:lnTo>
                    <a:lnTo>
                      <a:pt x="1512" y="653"/>
                    </a:lnTo>
                    <a:lnTo>
                      <a:pt x="1516" y="647"/>
                    </a:lnTo>
                    <a:lnTo>
                      <a:pt x="1518" y="641"/>
                    </a:lnTo>
                    <a:lnTo>
                      <a:pt x="1521" y="634"/>
                    </a:lnTo>
                    <a:lnTo>
                      <a:pt x="1522" y="627"/>
                    </a:lnTo>
                    <a:lnTo>
                      <a:pt x="1523" y="618"/>
                    </a:lnTo>
                    <a:lnTo>
                      <a:pt x="1523" y="614"/>
                    </a:lnTo>
                    <a:lnTo>
                      <a:pt x="1523" y="610"/>
                    </a:lnTo>
                    <a:lnTo>
                      <a:pt x="1524" y="606"/>
                    </a:lnTo>
                    <a:lnTo>
                      <a:pt x="1527" y="604"/>
                    </a:lnTo>
                    <a:lnTo>
                      <a:pt x="1528" y="603"/>
                    </a:lnTo>
                    <a:lnTo>
                      <a:pt x="1531" y="602"/>
                    </a:lnTo>
                    <a:lnTo>
                      <a:pt x="1534" y="601"/>
                    </a:lnTo>
                    <a:lnTo>
                      <a:pt x="1537" y="602"/>
                    </a:lnTo>
                    <a:lnTo>
                      <a:pt x="1550" y="603"/>
                    </a:lnTo>
                    <a:lnTo>
                      <a:pt x="1562" y="603"/>
                    </a:lnTo>
                    <a:lnTo>
                      <a:pt x="1566" y="604"/>
                    </a:lnTo>
                    <a:lnTo>
                      <a:pt x="1568" y="604"/>
                    </a:lnTo>
                    <a:lnTo>
                      <a:pt x="1569" y="606"/>
                    </a:lnTo>
                    <a:lnTo>
                      <a:pt x="1571" y="608"/>
                    </a:lnTo>
                    <a:lnTo>
                      <a:pt x="1571" y="610"/>
                    </a:lnTo>
                    <a:lnTo>
                      <a:pt x="1569" y="612"/>
                    </a:lnTo>
                    <a:lnTo>
                      <a:pt x="1568" y="615"/>
                    </a:lnTo>
                    <a:lnTo>
                      <a:pt x="1566" y="618"/>
                    </a:lnTo>
                    <a:lnTo>
                      <a:pt x="1560" y="623"/>
                    </a:lnTo>
                    <a:lnTo>
                      <a:pt x="1554" y="630"/>
                    </a:lnTo>
                    <a:lnTo>
                      <a:pt x="1549" y="639"/>
                    </a:lnTo>
                    <a:lnTo>
                      <a:pt x="1546" y="647"/>
                    </a:lnTo>
                    <a:lnTo>
                      <a:pt x="1543" y="656"/>
                    </a:lnTo>
                    <a:lnTo>
                      <a:pt x="1538" y="665"/>
                    </a:lnTo>
                    <a:lnTo>
                      <a:pt x="1533" y="672"/>
                    </a:lnTo>
                    <a:lnTo>
                      <a:pt x="1525" y="678"/>
                    </a:lnTo>
                    <a:lnTo>
                      <a:pt x="1517" y="684"/>
                    </a:lnTo>
                    <a:lnTo>
                      <a:pt x="1509" y="691"/>
                    </a:lnTo>
                    <a:lnTo>
                      <a:pt x="1502" y="698"/>
                    </a:lnTo>
                    <a:lnTo>
                      <a:pt x="1497" y="705"/>
                    </a:lnTo>
                    <a:lnTo>
                      <a:pt x="1494" y="712"/>
                    </a:lnTo>
                    <a:lnTo>
                      <a:pt x="1493" y="718"/>
                    </a:lnTo>
                    <a:lnTo>
                      <a:pt x="1493" y="721"/>
                    </a:lnTo>
                    <a:lnTo>
                      <a:pt x="1494" y="723"/>
                    </a:lnTo>
                    <a:lnTo>
                      <a:pt x="1497" y="724"/>
                    </a:lnTo>
                    <a:lnTo>
                      <a:pt x="1500" y="725"/>
                    </a:lnTo>
                    <a:lnTo>
                      <a:pt x="1504" y="725"/>
                    </a:lnTo>
                    <a:lnTo>
                      <a:pt x="1508" y="724"/>
                    </a:lnTo>
                    <a:lnTo>
                      <a:pt x="1511" y="723"/>
                    </a:lnTo>
                    <a:lnTo>
                      <a:pt x="1516" y="722"/>
                    </a:lnTo>
                    <a:lnTo>
                      <a:pt x="1523" y="716"/>
                    </a:lnTo>
                    <a:lnTo>
                      <a:pt x="1530" y="709"/>
                    </a:lnTo>
                    <a:lnTo>
                      <a:pt x="1535" y="699"/>
                    </a:lnTo>
                    <a:lnTo>
                      <a:pt x="1537" y="692"/>
                    </a:lnTo>
                    <a:lnTo>
                      <a:pt x="1538" y="688"/>
                    </a:lnTo>
                    <a:lnTo>
                      <a:pt x="1541" y="686"/>
                    </a:lnTo>
                    <a:lnTo>
                      <a:pt x="1543" y="685"/>
                    </a:lnTo>
                    <a:lnTo>
                      <a:pt x="1547" y="684"/>
                    </a:lnTo>
                    <a:lnTo>
                      <a:pt x="1557" y="683"/>
                    </a:lnTo>
                    <a:lnTo>
                      <a:pt x="1574" y="678"/>
                    </a:lnTo>
                    <a:lnTo>
                      <a:pt x="1588" y="673"/>
                    </a:lnTo>
                    <a:lnTo>
                      <a:pt x="1596" y="669"/>
                    </a:lnTo>
                    <a:lnTo>
                      <a:pt x="1597" y="660"/>
                    </a:lnTo>
                    <a:lnTo>
                      <a:pt x="1598" y="650"/>
                    </a:lnTo>
                    <a:lnTo>
                      <a:pt x="1598" y="640"/>
                    </a:lnTo>
                    <a:lnTo>
                      <a:pt x="1599" y="630"/>
                    </a:lnTo>
                    <a:lnTo>
                      <a:pt x="1598" y="620"/>
                    </a:lnTo>
                    <a:lnTo>
                      <a:pt x="1594" y="605"/>
                    </a:lnTo>
                    <a:lnTo>
                      <a:pt x="1592" y="599"/>
                    </a:lnTo>
                    <a:lnTo>
                      <a:pt x="1590" y="595"/>
                    </a:lnTo>
                    <a:lnTo>
                      <a:pt x="1587" y="591"/>
                    </a:lnTo>
                    <a:lnTo>
                      <a:pt x="1585" y="590"/>
                    </a:lnTo>
                    <a:lnTo>
                      <a:pt x="1580" y="591"/>
                    </a:lnTo>
                    <a:lnTo>
                      <a:pt x="1574" y="590"/>
                    </a:lnTo>
                    <a:lnTo>
                      <a:pt x="1572" y="589"/>
                    </a:lnTo>
                    <a:lnTo>
                      <a:pt x="1568" y="586"/>
                    </a:lnTo>
                    <a:lnTo>
                      <a:pt x="1566" y="584"/>
                    </a:lnTo>
                    <a:lnTo>
                      <a:pt x="1563" y="580"/>
                    </a:lnTo>
                    <a:lnTo>
                      <a:pt x="1561" y="577"/>
                    </a:lnTo>
                    <a:lnTo>
                      <a:pt x="1562" y="572"/>
                    </a:lnTo>
                    <a:lnTo>
                      <a:pt x="1563" y="566"/>
                    </a:lnTo>
                    <a:lnTo>
                      <a:pt x="1566" y="561"/>
                    </a:lnTo>
                    <a:lnTo>
                      <a:pt x="1571" y="555"/>
                    </a:lnTo>
                    <a:lnTo>
                      <a:pt x="1574" y="551"/>
                    </a:lnTo>
                    <a:lnTo>
                      <a:pt x="1579" y="547"/>
                    </a:lnTo>
                    <a:lnTo>
                      <a:pt x="1584" y="545"/>
                    </a:lnTo>
                    <a:lnTo>
                      <a:pt x="1598" y="540"/>
                    </a:lnTo>
                    <a:lnTo>
                      <a:pt x="1611" y="534"/>
                    </a:lnTo>
                    <a:lnTo>
                      <a:pt x="1617" y="530"/>
                    </a:lnTo>
                    <a:lnTo>
                      <a:pt x="1622" y="526"/>
                    </a:lnTo>
                    <a:lnTo>
                      <a:pt x="1625" y="521"/>
                    </a:lnTo>
                    <a:lnTo>
                      <a:pt x="1629" y="515"/>
                    </a:lnTo>
                    <a:lnTo>
                      <a:pt x="1630" y="508"/>
                    </a:lnTo>
                    <a:lnTo>
                      <a:pt x="1629" y="501"/>
                    </a:lnTo>
                    <a:lnTo>
                      <a:pt x="1628" y="494"/>
                    </a:lnTo>
                    <a:lnTo>
                      <a:pt x="1624" y="488"/>
                    </a:lnTo>
                    <a:lnTo>
                      <a:pt x="1622" y="480"/>
                    </a:lnTo>
                    <a:lnTo>
                      <a:pt x="1620" y="475"/>
                    </a:lnTo>
                    <a:lnTo>
                      <a:pt x="1619" y="470"/>
                    </a:lnTo>
                    <a:lnTo>
                      <a:pt x="1620" y="465"/>
                    </a:lnTo>
                    <a:lnTo>
                      <a:pt x="1623" y="463"/>
                    </a:lnTo>
                    <a:lnTo>
                      <a:pt x="1626" y="461"/>
                    </a:lnTo>
                    <a:lnTo>
                      <a:pt x="1632" y="463"/>
                    </a:lnTo>
                    <a:lnTo>
                      <a:pt x="1638" y="463"/>
                    </a:lnTo>
                    <a:lnTo>
                      <a:pt x="1650" y="466"/>
                    </a:lnTo>
                    <a:lnTo>
                      <a:pt x="1660" y="467"/>
                    </a:lnTo>
                    <a:lnTo>
                      <a:pt x="1666" y="466"/>
                    </a:lnTo>
                    <a:lnTo>
                      <a:pt x="1672" y="465"/>
                    </a:lnTo>
                    <a:lnTo>
                      <a:pt x="1675" y="461"/>
                    </a:lnTo>
                    <a:lnTo>
                      <a:pt x="1680" y="457"/>
                    </a:lnTo>
                    <a:lnTo>
                      <a:pt x="1682" y="452"/>
                    </a:lnTo>
                    <a:lnTo>
                      <a:pt x="1686" y="447"/>
                    </a:lnTo>
                    <a:lnTo>
                      <a:pt x="1687" y="441"/>
                    </a:lnTo>
                    <a:lnTo>
                      <a:pt x="1689" y="435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河南"/>
              <p:cNvSpPr/>
              <p:nvPr>
                <p:custDataLst>
                  <p:tags r:id="rId29"/>
                </p:custDataLst>
              </p:nvPr>
            </p:nvSpPr>
            <p:spPr bwMode="auto">
              <a:xfrm>
                <a:off x="4981270" y="3419414"/>
                <a:ext cx="802477" cy="789321"/>
              </a:xfrm>
              <a:custGeom>
                <a:avLst/>
                <a:gdLst>
                  <a:gd name="T0" fmla="*/ 591 w 2215"/>
                  <a:gd name="T1" fmla="*/ 492 h 2153"/>
                  <a:gd name="T2" fmla="*/ 779 w 2215"/>
                  <a:gd name="T3" fmla="*/ 510 h 2153"/>
                  <a:gd name="T4" fmla="*/ 878 w 2215"/>
                  <a:gd name="T5" fmla="*/ 497 h 2153"/>
                  <a:gd name="T6" fmla="*/ 957 w 2215"/>
                  <a:gd name="T7" fmla="*/ 458 h 2153"/>
                  <a:gd name="T8" fmla="*/ 1025 w 2215"/>
                  <a:gd name="T9" fmla="*/ 395 h 2153"/>
                  <a:gd name="T10" fmla="*/ 1115 w 2215"/>
                  <a:gd name="T11" fmla="*/ 278 h 2153"/>
                  <a:gd name="T12" fmla="*/ 1124 w 2215"/>
                  <a:gd name="T13" fmla="*/ 169 h 2153"/>
                  <a:gd name="T14" fmla="*/ 1147 w 2215"/>
                  <a:gd name="T15" fmla="*/ 12 h 2153"/>
                  <a:gd name="T16" fmla="*/ 1318 w 2215"/>
                  <a:gd name="T17" fmla="*/ 31 h 2153"/>
                  <a:gd name="T18" fmla="*/ 1549 w 2215"/>
                  <a:gd name="T19" fmla="*/ 85 h 2153"/>
                  <a:gd name="T20" fmla="*/ 1675 w 2215"/>
                  <a:gd name="T21" fmla="*/ 68 h 2153"/>
                  <a:gd name="T22" fmla="*/ 1741 w 2215"/>
                  <a:gd name="T23" fmla="*/ 117 h 2153"/>
                  <a:gd name="T24" fmla="*/ 1730 w 2215"/>
                  <a:gd name="T25" fmla="*/ 205 h 2153"/>
                  <a:gd name="T26" fmla="*/ 1853 w 2215"/>
                  <a:gd name="T27" fmla="*/ 127 h 2153"/>
                  <a:gd name="T28" fmla="*/ 1905 w 2215"/>
                  <a:gd name="T29" fmla="*/ 136 h 2153"/>
                  <a:gd name="T30" fmla="*/ 1822 w 2215"/>
                  <a:gd name="T31" fmla="*/ 236 h 2153"/>
                  <a:gd name="T32" fmla="*/ 1710 w 2215"/>
                  <a:gd name="T33" fmla="*/ 353 h 2153"/>
                  <a:gd name="T34" fmla="*/ 1587 w 2215"/>
                  <a:gd name="T35" fmla="*/ 477 h 2153"/>
                  <a:gd name="T36" fmla="*/ 1600 w 2215"/>
                  <a:gd name="T37" fmla="*/ 592 h 2153"/>
                  <a:gd name="T38" fmla="*/ 1719 w 2215"/>
                  <a:gd name="T39" fmla="*/ 647 h 2153"/>
                  <a:gd name="T40" fmla="*/ 1891 w 2215"/>
                  <a:gd name="T41" fmla="*/ 749 h 2153"/>
                  <a:gd name="T42" fmla="*/ 2033 w 2215"/>
                  <a:gd name="T43" fmla="*/ 780 h 2153"/>
                  <a:gd name="T44" fmla="*/ 2150 w 2215"/>
                  <a:gd name="T45" fmla="*/ 864 h 2153"/>
                  <a:gd name="T46" fmla="*/ 2212 w 2215"/>
                  <a:gd name="T47" fmla="*/ 994 h 2153"/>
                  <a:gd name="T48" fmla="*/ 2111 w 2215"/>
                  <a:gd name="T49" fmla="*/ 1089 h 2153"/>
                  <a:gd name="T50" fmla="*/ 1991 w 2215"/>
                  <a:gd name="T51" fmla="*/ 1044 h 2153"/>
                  <a:gd name="T52" fmla="*/ 1869 w 2215"/>
                  <a:gd name="T53" fmla="*/ 976 h 2153"/>
                  <a:gd name="T54" fmla="*/ 1848 w 2215"/>
                  <a:gd name="T55" fmla="*/ 1084 h 2153"/>
                  <a:gd name="T56" fmla="*/ 1828 w 2215"/>
                  <a:gd name="T57" fmla="*/ 1194 h 2153"/>
                  <a:gd name="T58" fmla="*/ 1762 w 2215"/>
                  <a:gd name="T59" fmla="*/ 1329 h 2153"/>
                  <a:gd name="T60" fmla="*/ 1630 w 2215"/>
                  <a:gd name="T61" fmla="*/ 1398 h 2153"/>
                  <a:gd name="T62" fmla="*/ 1658 w 2215"/>
                  <a:gd name="T63" fmla="*/ 1500 h 2153"/>
                  <a:gd name="T64" fmla="*/ 1726 w 2215"/>
                  <a:gd name="T65" fmla="*/ 1604 h 2153"/>
                  <a:gd name="T66" fmla="*/ 1803 w 2215"/>
                  <a:gd name="T67" fmla="*/ 1642 h 2153"/>
                  <a:gd name="T68" fmla="*/ 1920 w 2215"/>
                  <a:gd name="T69" fmla="*/ 1664 h 2153"/>
                  <a:gd name="T70" fmla="*/ 1999 w 2215"/>
                  <a:gd name="T71" fmla="*/ 1613 h 2153"/>
                  <a:gd name="T72" fmla="*/ 2012 w 2215"/>
                  <a:gd name="T73" fmla="*/ 1871 h 2153"/>
                  <a:gd name="T74" fmla="*/ 1890 w 2215"/>
                  <a:gd name="T75" fmla="*/ 1998 h 2153"/>
                  <a:gd name="T76" fmla="*/ 1783 w 2215"/>
                  <a:gd name="T77" fmla="*/ 2152 h 2153"/>
                  <a:gd name="T78" fmla="*/ 1750 w 2215"/>
                  <a:gd name="T79" fmla="*/ 2067 h 2153"/>
                  <a:gd name="T80" fmla="*/ 1625 w 2215"/>
                  <a:gd name="T81" fmla="*/ 2136 h 2153"/>
                  <a:gd name="T82" fmla="*/ 1532 w 2215"/>
                  <a:gd name="T83" fmla="*/ 2058 h 2153"/>
                  <a:gd name="T84" fmla="*/ 1391 w 2215"/>
                  <a:gd name="T85" fmla="*/ 1971 h 2153"/>
                  <a:gd name="T86" fmla="*/ 1309 w 2215"/>
                  <a:gd name="T87" fmla="*/ 1985 h 2153"/>
                  <a:gd name="T88" fmla="*/ 1248 w 2215"/>
                  <a:gd name="T89" fmla="*/ 1932 h 2153"/>
                  <a:gd name="T90" fmla="*/ 1225 w 2215"/>
                  <a:gd name="T91" fmla="*/ 1826 h 2153"/>
                  <a:gd name="T92" fmla="*/ 1196 w 2215"/>
                  <a:gd name="T93" fmla="*/ 1745 h 2153"/>
                  <a:gd name="T94" fmla="*/ 1078 w 2215"/>
                  <a:gd name="T95" fmla="*/ 1796 h 2153"/>
                  <a:gd name="T96" fmla="*/ 985 w 2215"/>
                  <a:gd name="T97" fmla="*/ 1765 h 2153"/>
                  <a:gd name="T98" fmla="*/ 781 w 2215"/>
                  <a:gd name="T99" fmla="*/ 1780 h 2153"/>
                  <a:gd name="T100" fmla="*/ 586 w 2215"/>
                  <a:gd name="T101" fmla="*/ 1742 h 2153"/>
                  <a:gd name="T102" fmla="*/ 442 w 2215"/>
                  <a:gd name="T103" fmla="*/ 1688 h 2153"/>
                  <a:gd name="T104" fmla="*/ 343 w 2215"/>
                  <a:gd name="T105" fmla="*/ 1563 h 2153"/>
                  <a:gd name="T106" fmla="*/ 273 w 2215"/>
                  <a:gd name="T107" fmla="*/ 1453 h 2153"/>
                  <a:gd name="T108" fmla="*/ 229 w 2215"/>
                  <a:gd name="T109" fmla="*/ 1270 h 2153"/>
                  <a:gd name="T110" fmla="*/ 84 w 2215"/>
                  <a:gd name="T111" fmla="*/ 1124 h 2153"/>
                  <a:gd name="T112" fmla="*/ 83 w 2215"/>
                  <a:gd name="T113" fmla="*/ 1025 h 2153"/>
                  <a:gd name="T114" fmla="*/ 38 w 2215"/>
                  <a:gd name="T115" fmla="*/ 914 h 2153"/>
                  <a:gd name="T116" fmla="*/ 20 w 2215"/>
                  <a:gd name="T117" fmla="*/ 806 h 2153"/>
                  <a:gd name="T118" fmla="*/ 229 w 2215"/>
                  <a:gd name="T119" fmla="*/ 744 h 2153"/>
                  <a:gd name="T120" fmla="*/ 446 w 2215"/>
                  <a:gd name="T121" fmla="*/ 649 h 2153"/>
                  <a:gd name="T122" fmla="*/ 556 w 2215"/>
                  <a:gd name="T123" fmla="*/ 583 h 2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15" h="2153">
                    <a:moveTo>
                      <a:pt x="572" y="591"/>
                    </a:moveTo>
                    <a:lnTo>
                      <a:pt x="575" y="593"/>
                    </a:lnTo>
                    <a:lnTo>
                      <a:pt x="576" y="593"/>
                    </a:lnTo>
                    <a:lnTo>
                      <a:pt x="576" y="592"/>
                    </a:lnTo>
                    <a:lnTo>
                      <a:pt x="578" y="589"/>
                    </a:lnTo>
                    <a:lnTo>
                      <a:pt x="579" y="583"/>
                    </a:lnTo>
                    <a:lnTo>
                      <a:pt x="579" y="582"/>
                    </a:lnTo>
                    <a:lnTo>
                      <a:pt x="580" y="578"/>
                    </a:lnTo>
                    <a:lnTo>
                      <a:pt x="581" y="571"/>
                    </a:lnTo>
                    <a:lnTo>
                      <a:pt x="582" y="563"/>
                    </a:lnTo>
                    <a:lnTo>
                      <a:pt x="584" y="555"/>
                    </a:lnTo>
                    <a:lnTo>
                      <a:pt x="582" y="549"/>
                    </a:lnTo>
                    <a:lnTo>
                      <a:pt x="580" y="539"/>
                    </a:lnTo>
                    <a:lnTo>
                      <a:pt x="578" y="530"/>
                    </a:lnTo>
                    <a:lnTo>
                      <a:pt x="578" y="526"/>
                    </a:lnTo>
                    <a:lnTo>
                      <a:pt x="578" y="521"/>
                    </a:lnTo>
                    <a:lnTo>
                      <a:pt x="578" y="516"/>
                    </a:lnTo>
                    <a:lnTo>
                      <a:pt x="579" y="513"/>
                    </a:lnTo>
                    <a:lnTo>
                      <a:pt x="582" y="504"/>
                    </a:lnTo>
                    <a:lnTo>
                      <a:pt x="587" y="496"/>
                    </a:lnTo>
                    <a:lnTo>
                      <a:pt x="591" y="492"/>
                    </a:lnTo>
                    <a:lnTo>
                      <a:pt x="594" y="490"/>
                    </a:lnTo>
                    <a:lnTo>
                      <a:pt x="600" y="489"/>
                    </a:lnTo>
                    <a:lnTo>
                      <a:pt x="606" y="489"/>
                    </a:lnTo>
                    <a:lnTo>
                      <a:pt x="624" y="498"/>
                    </a:lnTo>
                    <a:lnTo>
                      <a:pt x="638" y="505"/>
                    </a:lnTo>
                    <a:lnTo>
                      <a:pt x="648" y="507"/>
                    </a:lnTo>
                    <a:lnTo>
                      <a:pt x="655" y="508"/>
                    </a:lnTo>
                    <a:lnTo>
                      <a:pt x="662" y="509"/>
                    </a:lnTo>
                    <a:lnTo>
                      <a:pt x="667" y="513"/>
                    </a:lnTo>
                    <a:lnTo>
                      <a:pt x="670" y="514"/>
                    </a:lnTo>
                    <a:lnTo>
                      <a:pt x="675" y="515"/>
                    </a:lnTo>
                    <a:lnTo>
                      <a:pt x="682" y="515"/>
                    </a:lnTo>
                    <a:lnTo>
                      <a:pt x="691" y="515"/>
                    </a:lnTo>
                    <a:lnTo>
                      <a:pt x="707" y="515"/>
                    </a:lnTo>
                    <a:lnTo>
                      <a:pt x="723" y="514"/>
                    </a:lnTo>
                    <a:lnTo>
                      <a:pt x="738" y="514"/>
                    </a:lnTo>
                    <a:lnTo>
                      <a:pt x="756" y="514"/>
                    </a:lnTo>
                    <a:lnTo>
                      <a:pt x="763" y="514"/>
                    </a:lnTo>
                    <a:lnTo>
                      <a:pt x="770" y="514"/>
                    </a:lnTo>
                    <a:lnTo>
                      <a:pt x="776" y="513"/>
                    </a:lnTo>
                    <a:lnTo>
                      <a:pt x="779" y="510"/>
                    </a:lnTo>
                    <a:lnTo>
                      <a:pt x="783" y="505"/>
                    </a:lnTo>
                    <a:lnTo>
                      <a:pt x="789" y="500"/>
                    </a:lnTo>
                    <a:lnTo>
                      <a:pt x="793" y="497"/>
                    </a:lnTo>
                    <a:lnTo>
                      <a:pt x="796" y="497"/>
                    </a:lnTo>
                    <a:lnTo>
                      <a:pt x="800" y="497"/>
                    </a:lnTo>
                    <a:lnTo>
                      <a:pt x="803" y="501"/>
                    </a:lnTo>
                    <a:lnTo>
                      <a:pt x="808" y="504"/>
                    </a:lnTo>
                    <a:lnTo>
                      <a:pt x="813" y="507"/>
                    </a:lnTo>
                    <a:lnTo>
                      <a:pt x="818" y="509"/>
                    </a:lnTo>
                    <a:lnTo>
                      <a:pt x="822" y="511"/>
                    </a:lnTo>
                    <a:lnTo>
                      <a:pt x="827" y="513"/>
                    </a:lnTo>
                    <a:lnTo>
                      <a:pt x="832" y="513"/>
                    </a:lnTo>
                    <a:lnTo>
                      <a:pt x="836" y="511"/>
                    </a:lnTo>
                    <a:lnTo>
                      <a:pt x="839" y="509"/>
                    </a:lnTo>
                    <a:lnTo>
                      <a:pt x="845" y="504"/>
                    </a:lnTo>
                    <a:lnTo>
                      <a:pt x="851" y="500"/>
                    </a:lnTo>
                    <a:lnTo>
                      <a:pt x="855" y="498"/>
                    </a:lnTo>
                    <a:lnTo>
                      <a:pt x="858" y="497"/>
                    </a:lnTo>
                    <a:lnTo>
                      <a:pt x="864" y="497"/>
                    </a:lnTo>
                    <a:lnTo>
                      <a:pt x="871" y="497"/>
                    </a:lnTo>
                    <a:lnTo>
                      <a:pt x="878" y="497"/>
                    </a:lnTo>
                    <a:lnTo>
                      <a:pt x="887" y="497"/>
                    </a:lnTo>
                    <a:lnTo>
                      <a:pt x="894" y="496"/>
                    </a:lnTo>
                    <a:lnTo>
                      <a:pt x="900" y="494"/>
                    </a:lnTo>
                    <a:lnTo>
                      <a:pt x="906" y="491"/>
                    </a:lnTo>
                    <a:lnTo>
                      <a:pt x="910" y="488"/>
                    </a:lnTo>
                    <a:lnTo>
                      <a:pt x="913" y="485"/>
                    </a:lnTo>
                    <a:lnTo>
                      <a:pt x="914" y="480"/>
                    </a:lnTo>
                    <a:lnTo>
                      <a:pt x="914" y="473"/>
                    </a:lnTo>
                    <a:lnTo>
                      <a:pt x="913" y="466"/>
                    </a:lnTo>
                    <a:lnTo>
                      <a:pt x="914" y="463"/>
                    </a:lnTo>
                    <a:lnTo>
                      <a:pt x="915" y="460"/>
                    </a:lnTo>
                    <a:lnTo>
                      <a:pt x="918" y="459"/>
                    </a:lnTo>
                    <a:lnTo>
                      <a:pt x="922" y="458"/>
                    </a:lnTo>
                    <a:lnTo>
                      <a:pt x="931" y="459"/>
                    </a:lnTo>
                    <a:lnTo>
                      <a:pt x="937" y="461"/>
                    </a:lnTo>
                    <a:lnTo>
                      <a:pt x="941" y="465"/>
                    </a:lnTo>
                    <a:lnTo>
                      <a:pt x="946" y="467"/>
                    </a:lnTo>
                    <a:lnTo>
                      <a:pt x="949" y="467"/>
                    </a:lnTo>
                    <a:lnTo>
                      <a:pt x="951" y="465"/>
                    </a:lnTo>
                    <a:lnTo>
                      <a:pt x="953" y="463"/>
                    </a:lnTo>
                    <a:lnTo>
                      <a:pt x="957" y="458"/>
                    </a:lnTo>
                    <a:lnTo>
                      <a:pt x="963" y="448"/>
                    </a:lnTo>
                    <a:lnTo>
                      <a:pt x="968" y="439"/>
                    </a:lnTo>
                    <a:lnTo>
                      <a:pt x="973" y="429"/>
                    </a:lnTo>
                    <a:lnTo>
                      <a:pt x="981" y="421"/>
                    </a:lnTo>
                    <a:lnTo>
                      <a:pt x="983" y="419"/>
                    </a:lnTo>
                    <a:lnTo>
                      <a:pt x="987" y="416"/>
                    </a:lnTo>
                    <a:lnTo>
                      <a:pt x="990" y="415"/>
                    </a:lnTo>
                    <a:lnTo>
                      <a:pt x="994" y="415"/>
                    </a:lnTo>
                    <a:lnTo>
                      <a:pt x="1002" y="417"/>
                    </a:lnTo>
                    <a:lnTo>
                      <a:pt x="1010" y="420"/>
                    </a:lnTo>
                    <a:lnTo>
                      <a:pt x="1013" y="419"/>
                    </a:lnTo>
                    <a:lnTo>
                      <a:pt x="1015" y="417"/>
                    </a:lnTo>
                    <a:lnTo>
                      <a:pt x="1016" y="415"/>
                    </a:lnTo>
                    <a:lnTo>
                      <a:pt x="1015" y="412"/>
                    </a:lnTo>
                    <a:lnTo>
                      <a:pt x="1014" y="407"/>
                    </a:lnTo>
                    <a:lnTo>
                      <a:pt x="1014" y="403"/>
                    </a:lnTo>
                    <a:lnTo>
                      <a:pt x="1014" y="400"/>
                    </a:lnTo>
                    <a:lnTo>
                      <a:pt x="1016" y="397"/>
                    </a:lnTo>
                    <a:lnTo>
                      <a:pt x="1019" y="396"/>
                    </a:lnTo>
                    <a:lnTo>
                      <a:pt x="1021" y="395"/>
                    </a:lnTo>
                    <a:lnTo>
                      <a:pt x="1025" y="395"/>
                    </a:lnTo>
                    <a:lnTo>
                      <a:pt x="1029" y="395"/>
                    </a:lnTo>
                    <a:lnTo>
                      <a:pt x="1034" y="395"/>
                    </a:lnTo>
                    <a:lnTo>
                      <a:pt x="1041" y="394"/>
                    </a:lnTo>
                    <a:lnTo>
                      <a:pt x="1048" y="391"/>
                    </a:lnTo>
                    <a:lnTo>
                      <a:pt x="1055" y="388"/>
                    </a:lnTo>
                    <a:lnTo>
                      <a:pt x="1064" y="383"/>
                    </a:lnTo>
                    <a:lnTo>
                      <a:pt x="1072" y="377"/>
                    </a:lnTo>
                    <a:lnTo>
                      <a:pt x="1079" y="369"/>
                    </a:lnTo>
                    <a:lnTo>
                      <a:pt x="1085" y="360"/>
                    </a:lnTo>
                    <a:lnTo>
                      <a:pt x="1094" y="344"/>
                    </a:lnTo>
                    <a:lnTo>
                      <a:pt x="1098" y="332"/>
                    </a:lnTo>
                    <a:lnTo>
                      <a:pt x="1101" y="327"/>
                    </a:lnTo>
                    <a:lnTo>
                      <a:pt x="1103" y="325"/>
                    </a:lnTo>
                    <a:lnTo>
                      <a:pt x="1105" y="322"/>
                    </a:lnTo>
                    <a:lnTo>
                      <a:pt x="1109" y="321"/>
                    </a:lnTo>
                    <a:lnTo>
                      <a:pt x="1115" y="321"/>
                    </a:lnTo>
                    <a:lnTo>
                      <a:pt x="1118" y="319"/>
                    </a:lnTo>
                    <a:lnTo>
                      <a:pt x="1121" y="313"/>
                    </a:lnTo>
                    <a:lnTo>
                      <a:pt x="1121" y="305"/>
                    </a:lnTo>
                    <a:lnTo>
                      <a:pt x="1118" y="292"/>
                    </a:lnTo>
                    <a:lnTo>
                      <a:pt x="1115" y="278"/>
                    </a:lnTo>
                    <a:lnTo>
                      <a:pt x="1111" y="267"/>
                    </a:lnTo>
                    <a:lnTo>
                      <a:pt x="1108" y="257"/>
                    </a:lnTo>
                    <a:lnTo>
                      <a:pt x="1107" y="251"/>
                    </a:lnTo>
                    <a:lnTo>
                      <a:pt x="1107" y="246"/>
                    </a:lnTo>
                    <a:lnTo>
                      <a:pt x="1108" y="244"/>
                    </a:lnTo>
                    <a:lnTo>
                      <a:pt x="1109" y="242"/>
                    </a:lnTo>
                    <a:lnTo>
                      <a:pt x="1113" y="240"/>
                    </a:lnTo>
                    <a:lnTo>
                      <a:pt x="1116" y="239"/>
                    </a:lnTo>
                    <a:lnTo>
                      <a:pt x="1124" y="236"/>
                    </a:lnTo>
                    <a:lnTo>
                      <a:pt x="1129" y="232"/>
                    </a:lnTo>
                    <a:lnTo>
                      <a:pt x="1130" y="230"/>
                    </a:lnTo>
                    <a:lnTo>
                      <a:pt x="1132" y="226"/>
                    </a:lnTo>
                    <a:lnTo>
                      <a:pt x="1130" y="224"/>
                    </a:lnTo>
                    <a:lnTo>
                      <a:pt x="1129" y="219"/>
                    </a:lnTo>
                    <a:lnTo>
                      <a:pt x="1127" y="211"/>
                    </a:lnTo>
                    <a:lnTo>
                      <a:pt x="1123" y="200"/>
                    </a:lnTo>
                    <a:lnTo>
                      <a:pt x="1121" y="190"/>
                    </a:lnTo>
                    <a:lnTo>
                      <a:pt x="1120" y="182"/>
                    </a:lnTo>
                    <a:lnTo>
                      <a:pt x="1121" y="176"/>
                    </a:lnTo>
                    <a:lnTo>
                      <a:pt x="1123" y="171"/>
                    </a:lnTo>
                    <a:lnTo>
                      <a:pt x="1124" y="169"/>
                    </a:lnTo>
                    <a:lnTo>
                      <a:pt x="1127" y="168"/>
                    </a:lnTo>
                    <a:lnTo>
                      <a:pt x="1130" y="168"/>
                    </a:lnTo>
                    <a:lnTo>
                      <a:pt x="1133" y="167"/>
                    </a:lnTo>
                    <a:lnTo>
                      <a:pt x="1136" y="167"/>
                    </a:lnTo>
                    <a:lnTo>
                      <a:pt x="1139" y="166"/>
                    </a:lnTo>
                    <a:lnTo>
                      <a:pt x="1140" y="163"/>
                    </a:lnTo>
                    <a:lnTo>
                      <a:pt x="1141" y="161"/>
                    </a:lnTo>
                    <a:lnTo>
                      <a:pt x="1140" y="155"/>
                    </a:lnTo>
                    <a:lnTo>
                      <a:pt x="1136" y="148"/>
                    </a:lnTo>
                    <a:lnTo>
                      <a:pt x="1135" y="145"/>
                    </a:lnTo>
                    <a:lnTo>
                      <a:pt x="1134" y="141"/>
                    </a:lnTo>
                    <a:lnTo>
                      <a:pt x="1133" y="136"/>
                    </a:lnTo>
                    <a:lnTo>
                      <a:pt x="1133" y="130"/>
                    </a:lnTo>
                    <a:lnTo>
                      <a:pt x="1133" y="116"/>
                    </a:lnTo>
                    <a:lnTo>
                      <a:pt x="1135" y="100"/>
                    </a:lnTo>
                    <a:lnTo>
                      <a:pt x="1136" y="84"/>
                    </a:lnTo>
                    <a:lnTo>
                      <a:pt x="1139" y="64"/>
                    </a:lnTo>
                    <a:lnTo>
                      <a:pt x="1141" y="48"/>
                    </a:lnTo>
                    <a:lnTo>
                      <a:pt x="1143" y="32"/>
                    </a:lnTo>
                    <a:lnTo>
                      <a:pt x="1146" y="21"/>
                    </a:lnTo>
                    <a:lnTo>
                      <a:pt x="1147" y="12"/>
                    </a:lnTo>
                    <a:lnTo>
                      <a:pt x="1149" y="10"/>
                    </a:lnTo>
                    <a:lnTo>
                      <a:pt x="1152" y="9"/>
                    </a:lnTo>
                    <a:lnTo>
                      <a:pt x="1157" y="7"/>
                    </a:lnTo>
                    <a:lnTo>
                      <a:pt x="1164" y="6"/>
                    </a:lnTo>
                    <a:lnTo>
                      <a:pt x="1174" y="4"/>
                    </a:lnTo>
                    <a:lnTo>
                      <a:pt x="1185" y="1"/>
                    </a:lnTo>
                    <a:lnTo>
                      <a:pt x="1195" y="0"/>
                    </a:lnTo>
                    <a:lnTo>
                      <a:pt x="1204" y="0"/>
                    </a:lnTo>
                    <a:lnTo>
                      <a:pt x="1214" y="1"/>
                    </a:lnTo>
                    <a:lnTo>
                      <a:pt x="1221" y="4"/>
                    </a:lnTo>
                    <a:lnTo>
                      <a:pt x="1229" y="6"/>
                    </a:lnTo>
                    <a:lnTo>
                      <a:pt x="1240" y="7"/>
                    </a:lnTo>
                    <a:lnTo>
                      <a:pt x="1253" y="7"/>
                    </a:lnTo>
                    <a:lnTo>
                      <a:pt x="1266" y="7"/>
                    </a:lnTo>
                    <a:lnTo>
                      <a:pt x="1273" y="7"/>
                    </a:lnTo>
                    <a:lnTo>
                      <a:pt x="1279" y="9"/>
                    </a:lnTo>
                    <a:lnTo>
                      <a:pt x="1286" y="11"/>
                    </a:lnTo>
                    <a:lnTo>
                      <a:pt x="1292" y="13"/>
                    </a:lnTo>
                    <a:lnTo>
                      <a:pt x="1304" y="21"/>
                    </a:lnTo>
                    <a:lnTo>
                      <a:pt x="1313" y="28"/>
                    </a:lnTo>
                    <a:lnTo>
                      <a:pt x="1318" y="31"/>
                    </a:lnTo>
                    <a:lnTo>
                      <a:pt x="1324" y="32"/>
                    </a:lnTo>
                    <a:lnTo>
                      <a:pt x="1330" y="31"/>
                    </a:lnTo>
                    <a:lnTo>
                      <a:pt x="1336" y="31"/>
                    </a:lnTo>
                    <a:lnTo>
                      <a:pt x="1342" y="30"/>
                    </a:lnTo>
                    <a:lnTo>
                      <a:pt x="1348" y="29"/>
                    </a:lnTo>
                    <a:lnTo>
                      <a:pt x="1354" y="30"/>
                    </a:lnTo>
                    <a:lnTo>
                      <a:pt x="1357" y="31"/>
                    </a:lnTo>
                    <a:lnTo>
                      <a:pt x="1367" y="38"/>
                    </a:lnTo>
                    <a:lnTo>
                      <a:pt x="1379" y="47"/>
                    </a:lnTo>
                    <a:lnTo>
                      <a:pt x="1393" y="56"/>
                    </a:lnTo>
                    <a:lnTo>
                      <a:pt x="1407" y="64"/>
                    </a:lnTo>
                    <a:lnTo>
                      <a:pt x="1417" y="70"/>
                    </a:lnTo>
                    <a:lnTo>
                      <a:pt x="1425" y="74"/>
                    </a:lnTo>
                    <a:lnTo>
                      <a:pt x="1434" y="78"/>
                    </a:lnTo>
                    <a:lnTo>
                      <a:pt x="1441" y="79"/>
                    </a:lnTo>
                    <a:lnTo>
                      <a:pt x="1457" y="81"/>
                    </a:lnTo>
                    <a:lnTo>
                      <a:pt x="1479" y="81"/>
                    </a:lnTo>
                    <a:lnTo>
                      <a:pt x="1504" y="81"/>
                    </a:lnTo>
                    <a:lnTo>
                      <a:pt x="1529" y="82"/>
                    </a:lnTo>
                    <a:lnTo>
                      <a:pt x="1539" y="84"/>
                    </a:lnTo>
                    <a:lnTo>
                      <a:pt x="1549" y="85"/>
                    </a:lnTo>
                    <a:lnTo>
                      <a:pt x="1556" y="86"/>
                    </a:lnTo>
                    <a:lnTo>
                      <a:pt x="1563" y="88"/>
                    </a:lnTo>
                    <a:lnTo>
                      <a:pt x="1569" y="91"/>
                    </a:lnTo>
                    <a:lnTo>
                      <a:pt x="1574" y="92"/>
                    </a:lnTo>
                    <a:lnTo>
                      <a:pt x="1580" y="93"/>
                    </a:lnTo>
                    <a:lnTo>
                      <a:pt x="1584" y="93"/>
                    </a:lnTo>
                    <a:lnTo>
                      <a:pt x="1589" y="92"/>
                    </a:lnTo>
                    <a:lnTo>
                      <a:pt x="1594" y="89"/>
                    </a:lnTo>
                    <a:lnTo>
                      <a:pt x="1598" y="87"/>
                    </a:lnTo>
                    <a:lnTo>
                      <a:pt x="1600" y="82"/>
                    </a:lnTo>
                    <a:lnTo>
                      <a:pt x="1606" y="72"/>
                    </a:lnTo>
                    <a:lnTo>
                      <a:pt x="1613" y="61"/>
                    </a:lnTo>
                    <a:lnTo>
                      <a:pt x="1619" y="55"/>
                    </a:lnTo>
                    <a:lnTo>
                      <a:pt x="1625" y="50"/>
                    </a:lnTo>
                    <a:lnTo>
                      <a:pt x="1631" y="47"/>
                    </a:lnTo>
                    <a:lnTo>
                      <a:pt x="1639" y="45"/>
                    </a:lnTo>
                    <a:lnTo>
                      <a:pt x="1647" y="47"/>
                    </a:lnTo>
                    <a:lnTo>
                      <a:pt x="1655" y="49"/>
                    </a:lnTo>
                    <a:lnTo>
                      <a:pt x="1661" y="53"/>
                    </a:lnTo>
                    <a:lnTo>
                      <a:pt x="1667" y="57"/>
                    </a:lnTo>
                    <a:lnTo>
                      <a:pt x="1675" y="68"/>
                    </a:lnTo>
                    <a:lnTo>
                      <a:pt x="1682" y="78"/>
                    </a:lnTo>
                    <a:lnTo>
                      <a:pt x="1686" y="82"/>
                    </a:lnTo>
                    <a:lnTo>
                      <a:pt x="1689" y="85"/>
                    </a:lnTo>
                    <a:lnTo>
                      <a:pt x="1694" y="87"/>
                    </a:lnTo>
                    <a:lnTo>
                      <a:pt x="1699" y="89"/>
                    </a:lnTo>
                    <a:lnTo>
                      <a:pt x="1703" y="89"/>
                    </a:lnTo>
                    <a:lnTo>
                      <a:pt x="1708" y="88"/>
                    </a:lnTo>
                    <a:lnTo>
                      <a:pt x="1712" y="87"/>
                    </a:lnTo>
                    <a:lnTo>
                      <a:pt x="1716" y="85"/>
                    </a:lnTo>
                    <a:lnTo>
                      <a:pt x="1724" y="78"/>
                    </a:lnTo>
                    <a:lnTo>
                      <a:pt x="1733" y="69"/>
                    </a:lnTo>
                    <a:lnTo>
                      <a:pt x="1738" y="66"/>
                    </a:lnTo>
                    <a:lnTo>
                      <a:pt x="1743" y="63"/>
                    </a:lnTo>
                    <a:lnTo>
                      <a:pt x="1747" y="62"/>
                    </a:lnTo>
                    <a:lnTo>
                      <a:pt x="1751" y="63"/>
                    </a:lnTo>
                    <a:lnTo>
                      <a:pt x="1751" y="69"/>
                    </a:lnTo>
                    <a:lnTo>
                      <a:pt x="1750" y="81"/>
                    </a:lnTo>
                    <a:lnTo>
                      <a:pt x="1747" y="93"/>
                    </a:lnTo>
                    <a:lnTo>
                      <a:pt x="1746" y="99"/>
                    </a:lnTo>
                    <a:lnTo>
                      <a:pt x="1744" y="107"/>
                    </a:lnTo>
                    <a:lnTo>
                      <a:pt x="1741" y="117"/>
                    </a:lnTo>
                    <a:lnTo>
                      <a:pt x="1738" y="122"/>
                    </a:lnTo>
                    <a:lnTo>
                      <a:pt x="1734" y="126"/>
                    </a:lnTo>
                    <a:lnTo>
                      <a:pt x="1731" y="130"/>
                    </a:lnTo>
                    <a:lnTo>
                      <a:pt x="1728" y="133"/>
                    </a:lnTo>
                    <a:lnTo>
                      <a:pt x="1719" y="141"/>
                    </a:lnTo>
                    <a:lnTo>
                      <a:pt x="1710" y="148"/>
                    </a:lnTo>
                    <a:lnTo>
                      <a:pt x="1708" y="152"/>
                    </a:lnTo>
                    <a:lnTo>
                      <a:pt x="1706" y="158"/>
                    </a:lnTo>
                    <a:lnTo>
                      <a:pt x="1705" y="166"/>
                    </a:lnTo>
                    <a:lnTo>
                      <a:pt x="1703" y="173"/>
                    </a:lnTo>
                    <a:lnTo>
                      <a:pt x="1703" y="189"/>
                    </a:lnTo>
                    <a:lnTo>
                      <a:pt x="1702" y="204"/>
                    </a:lnTo>
                    <a:lnTo>
                      <a:pt x="1702" y="206"/>
                    </a:lnTo>
                    <a:lnTo>
                      <a:pt x="1703" y="208"/>
                    </a:lnTo>
                    <a:lnTo>
                      <a:pt x="1705" y="211"/>
                    </a:lnTo>
                    <a:lnTo>
                      <a:pt x="1706" y="212"/>
                    </a:lnTo>
                    <a:lnTo>
                      <a:pt x="1710" y="214"/>
                    </a:lnTo>
                    <a:lnTo>
                      <a:pt x="1715" y="214"/>
                    </a:lnTo>
                    <a:lnTo>
                      <a:pt x="1721" y="213"/>
                    </a:lnTo>
                    <a:lnTo>
                      <a:pt x="1726" y="209"/>
                    </a:lnTo>
                    <a:lnTo>
                      <a:pt x="1730" y="205"/>
                    </a:lnTo>
                    <a:lnTo>
                      <a:pt x="1733" y="198"/>
                    </a:lnTo>
                    <a:lnTo>
                      <a:pt x="1734" y="188"/>
                    </a:lnTo>
                    <a:lnTo>
                      <a:pt x="1733" y="179"/>
                    </a:lnTo>
                    <a:lnTo>
                      <a:pt x="1732" y="169"/>
                    </a:lnTo>
                    <a:lnTo>
                      <a:pt x="1732" y="161"/>
                    </a:lnTo>
                    <a:lnTo>
                      <a:pt x="1733" y="156"/>
                    </a:lnTo>
                    <a:lnTo>
                      <a:pt x="1737" y="151"/>
                    </a:lnTo>
                    <a:lnTo>
                      <a:pt x="1739" y="150"/>
                    </a:lnTo>
                    <a:lnTo>
                      <a:pt x="1741" y="149"/>
                    </a:lnTo>
                    <a:lnTo>
                      <a:pt x="1744" y="149"/>
                    </a:lnTo>
                    <a:lnTo>
                      <a:pt x="1746" y="150"/>
                    </a:lnTo>
                    <a:lnTo>
                      <a:pt x="1758" y="156"/>
                    </a:lnTo>
                    <a:lnTo>
                      <a:pt x="1772" y="163"/>
                    </a:lnTo>
                    <a:lnTo>
                      <a:pt x="1778" y="166"/>
                    </a:lnTo>
                    <a:lnTo>
                      <a:pt x="1784" y="168"/>
                    </a:lnTo>
                    <a:lnTo>
                      <a:pt x="1789" y="168"/>
                    </a:lnTo>
                    <a:lnTo>
                      <a:pt x="1794" y="166"/>
                    </a:lnTo>
                    <a:lnTo>
                      <a:pt x="1802" y="158"/>
                    </a:lnTo>
                    <a:lnTo>
                      <a:pt x="1815" y="149"/>
                    </a:lnTo>
                    <a:lnTo>
                      <a:pt x="1832" y="138"/>
                    </a:lnTo>
                    <a:lnTo>
                      <a:pt x="1853" y="127"/>
                    </a:lnTo>
                    <a:lnTo>
                      <a:pt x="1873" y="119"/>
                    </a:lnTo>
                    <a:lnTo>
                      <a:pt x="1889" y="112"/>
                    </a:lnTo>
                    <a:lnTo>
                      <a:pt x="1903" y="105"/>
                    </a:lnTo>
                    <a:lnTo>
                      <a:pt x="1917" y="98"/>
                    </a:lnTo>
                    <a:lnTo>
                      <a:pt x="1932" y="89"/>
                    </a:lnTo>
                    <a:lnTo>
                      <a:pt x="1942" y="85"/>
                    </a:lnTo>
                    <a:lnTo>
                      <a:pt x="1951" y="82"/>
                    </a:lnTo>
                    <a:lnTo>
                      <a:pt x="1955" y="82"/>
                    </a:lnTo>
                    <a:lnTo>
                      <a:pt x="1958" y="84"/>
                    </a:lnTo>
                    <a:lnTo>
                      <a:pt x="1959" y="84"/>
                    </a:lnTo>
                    <a:lnTo>
                      <a:pt x="1959" y="86"/>
                    </a:lnTo>
                    <a:lnTo>
                      <a:pt x="1959" y="87"/>
                    </a:lnTo>
                    <a:lnTo>
                      <a:pt x="1958" y="97"/>
                    </a:lnTo>
                    <a:lnTo>
                      <a:pt x="1953" y="110"/>
                    </a:lnTo>
                    <a:lnTo>
                      <a:pt x="1951" y="117"/>
                    </a:lnTo>
                    <a:lnTo>
                      <a:pt x="1946" y="122"/>
                    </a:lnTo>
                    <a:lnTo>
                      <a:pt x="1941" y="125"/>
                    </a:lnTo>
                    <a:lnTo>
                      <a:pt x="1935" y="129"/>
                    </a:lnTo>
                    <a:lnTo>
                      <a:pt x="1922" y="132"/>
                    </a:lnTo>
                    <a:lnTo>
                      <a:pt x="1910" y="133"/>
                    </a:lnTo>
                    <a:lnTo>
                      <a:pt x="1905" y="136"/>
                    </a:lnTo>
                    <a:lnTo>
                      <a:pt x="1902" y="138"/>
                    </a:lnTo>
                    <a:lnTo>
                      <a:pt x="1898" y="141"/>
                    </a:lnTo>
                    <a:lnTo>
                      <a:pt x="1895" y="145"/>
                    </a:lnTo>
                    <a:lnTo>
                      <a:pt x="1891" y="150"/>
                    </a:lnTo>
                    <a:lnTo>
                      <a:pt x="1890" y="156"/>
                    </a:lnTo>
                    <a:lnTo>
                      <a:pt x="1888" y="162"/>
                    </a:lnTo>
                    <a:lnTo>
                      <a:pt x="1886" y="169"/>
                    </a:lnTo>
                    <a:lnTo>
                      <a:pt x="1885" y="175"/>
                    </a:lnTo>
                    <a:lnTo>
                      <a:pt x="1882" y="179"/>
                    </a:lnTo>
                    <a:lnTo>
                      <a:pt x="1879" y="182"/>
                    </a:lnTo>
                    <a:lnTo>
                      <a:pt x="1875" y="185"/>
                    </a:lnTo>
                    <a:lnTo>
                      <a:pt x="1865" y="187"/>
                    </a:lnTo>
                    <a:lnTo>
                      <a:pt x="1856" y="187"/>
                    </a:lnTo>
                    <a:lnTo>
                      <a:pt x="1851" y="188"/>
                    </a:lnTo>
                    <a:lnTo>
                      <a:pt x="1846" y="192"/>
                    </a:lnTo>
                    <a:lnTo>
                      <a:pt x="1842" y="196"/>
                    </a:lnTo>
                    <a:lnTo>
                      <a:pt x="1839" y="202"/>
                    </a:lnTo>
                    <a:lnTo>
                      <a:pt x="1832" y="215"/>
                    </a:lnTo>
                    <a:lnTo>
                      <a:pt x="1827" y="227"/>
                    </a:lnTo>
                    <a:lnTo>
                      <a:pt x="1825" y="232"/>
                    </a:lnTo>
                    <a:lnTo>
                      <a:pt x="1822" y="236"/>
                    </a:lnTo>
                    <a:lnTo>
                      <a:pt x="1820" y="239"/>
                    </a:lnTo>
                    <a:lnTo>
                      <a:pt x="1816" y="240"/>
                    </a:lnTo>
                    <a:lnTo>
                      <a:pt x="1808" y="243"/>
                    </a:lnTo>
                    <a:lnTo>
                      <a:pt x="1798" y="242"/>
                    </a:lnTo>
                    <a:lnTo>
                      <a:pt x="1794" y="242"/>
                    </a:lnTo>
                    <a:lnTo>
                      <a:pt x="1788" y="243"/>
                    </a:lnTo>
                    <a:lnTo>
                      <a:pt x="1783" y="244"/>
                    </a:lnTo>
                    <a:lnTo>
                      <a:pt x="1778" y="246"/>
                    </a:lnTo>
                    <a:lnTo>
                      <a:pt x="1769" y="252"/>
                    </a:lnTo>
                    <a:lnTo>
                      <a:pt x="1762" y="259"/>
                    </a:lnTo>
                    <a:lnTo>
                      <a:pt x="1746" y="271"/>
                    </a:lnTo>
                    <a:lnTo>
                      <a:pt x="1733" y="286"/>
                    </a:lnTo>
                    <a:lnTo>
                      <a:pt x="1727" y="294"/>
                    </a:lnTo>
                    <a:lnTo>
                      <a:pt x="1722" y="300"/>
                    </a:lnTo>
                    <a:lnTo>
                      <a:pt x="1718" y="307"/>
                    </a:lnTo>
                    <a:lnTo>
                      <a:pt x="1713" y="318"/>
                    </a:lnTo>
                    <a:lnTo>
                      <a:pt x="1709" y="328"/>
                    </a:lnTo>
                    <a:lnTo>
                      <a:pt x="1708" y="335"/>
                    </a:lnTo>
                    <a:lnTo>
                      <a:pt x="1709" y="341"/>
                    </a:lnTo>
                    <a:lnTo>
                      <a:pt x="1710" y="349"/>
                    </a:lnTo>
                    <a:lnTo>
                      <a:pt x="1710" y="353"/>
                    </a:lnTo>
                    <a:lnTo>
                      <a:pt x="1709" y="357"/>
                    </a:lnTo>
                    <a:lnTo>
                      <a:pt x="1706" y="362"/>
                    </a:lnTo>
                    <a:lnTo>
                      <a:pt x="1701" y="366"/>
                    </a:lnTo>
                    <a:lnTo>
                      <a:pt x="1690" y="376"/>
                    </a:lnTo>
                    <a:lnTo>
                      <a:pt x="1682" y="383"/>
                    </a:lnTo>
                    <a:lnTo>
                      <a:pt x="1675" y="388"/>
                    </a:lnTo>
                    <a:lnTo>
                      <a:pt x="1670" y="390"/>
                    </a:lnTo>
                    <a:lnTo>
                      <a:pt x="1665" y="391"/>
                    </a:lnTo>
                    <a:lnTo>
                      <a:pt x="1659" y="391"/>
                    </a:lnTo>
                    <a:lnTo>
                      <a:pt x="1655" y="393"/>
                    </a:lnTo>
                    <a:lnTo>
                      <a:pt x="1646" y="396"/>
                    </a:lnTo>
                    <a:lnTo>
                      <a:pt x="1638" y="402"/>
                    </a:lnTo>
                    <a:lnTo>
                      <a:pt x="1626" y="412"/>
                    </a:lnTo>
                    <a:lnTo>
                      <a:pt x="1621" y="417"/>
                    </a:lnTo>
                    <a:lnTo>
                      <a:pt x="1618" y="423"/>
                    </a:lnTo>
                    <a:lnTo>
                      <a:pt x="1615" y="428"/>
                    </a:lnTo>
                    <a:lnTo>
                      <a:pt x="1614" y="433"/>
                    </a:lnTo>
                    <a:lnTo>
                      <a:pt x="1612" y="442"/>
                    </a:lnTo>
                    <a:lnTo>
                      <a:pt x="1608" y="451"/>
                    </a:lnTo>
                    <a:lnTo>
                      <a:pt x="1600" y="463"/>
                    </a:lnTo>
                    <a:lnTo>
                      <a:pt x="1587" y="477"/>
                    </a:lnTo>
                    <a:lnTo>
                      <a:pt x="1573" y="491"/>
                    </a:lnTo>
                    <a:lnTo>
                      <a:pt x="1563" y="502"/>
                    </a:lnTo>
                    <a:lnTo>
                      <a:pt x="1560" y="505"/>
                    </a:lnTo>
                    <a:lnTo>
                      <a:pt x="1557" y="510"/>
                    </a:lnTo>
                    <a:lnTo>
                      <a:pt x="1556" y="516"/>
                    </a:lnTo>
                    <a:lnTo>
                      <a:pt x="1556" y="521"/>
                    </a:lnTo>
                    <a:lnTo>
                      <a:pt x="1556" y="532"/>
                    </a:lnTo>
                    <a:lnTo>
                      <a:pt x="1556" y="541"/>
                    </a:lnTo>
                    <a:lnTo>
                      <a:pt x="1555" y="547"/>
                    </a:lnTo>
                    <a:lnTo>
                      <a:pt x="1554" y="553"/>
                    </a:lnTo>
                    <a:lnTo>
                      <a:pt x="1551" y="559"/>
                    </a:lnTo>
                    <a:lnTo>
                      <a:pt x="1549" y="566"/>
                    </a:lnTo>
                    <a:lnTo>
                      <a:pt x="1548" y="568"/>
                    </a:lnTo>
                    <a:lnTo>
                      <a:pt x="1546" y="571"/>
                    </a:lnTo>
                    <a:lnTo>
                      <a:pt x="1546" y="576"/>
                    </a:lnTo>
                    <a:lnTo>
                      <a:pt x="1550" y="577"/>
                    </a:lnTo>
                    <a:lnTo>
                      <a:pt x="1557" y="579"/>
                    </a:lnTo>
                    <a:lnTo>
                      <a:pt x="1568" y="583"/>
                    </a:lnTo>
                    <a:lnTo>
                      <a:pt x="1580" y="586"/>
                    </a:lnTo>
                    <a:lnTo>
                      <a:pt x="1590" y="590"/>
                    </a:lnTo>
                    <a:lnTo>
                      <a:pt x="1600" y="592"/>
                    </a:lnTo>
                    <a:lnTo>
                      <a:pt x="1606" y="592"/>
                    </a:lnTo>
                    <a:lnTo>
                      <a:pt x="1611" y="592"/>
                    </a:lnTo>
                    <a:lnTo>
                      <a:pt x="1614" y="591"/>
                    </a:lnTo>
                    <a:lnTo>
                      <a:pt x="1619" y="589"/>
                    </a:lnTo>
                    <a:lnTo>
                      <a:pt x="1626" y="585"/>
                    </a:lnTo>
                    <a:lnTo>
                      <a:pt x="1633" y="582"/>
                    </a:lnTo>
                    <a:lnTo>
                      <a:pt x="1638" y="580"/>
                    </a:lnTo>
                    <a:lnTo>
                      <a:pt x="1643" y="580"/>
                    </a:lnTo>
                    <a:lnTo>
                      <a:pt x="1646" y="582"/>
                    </a:lnTo>
                    <a:lnTo>
                      <a:pt x="1651" y="583"/>
                    </a:lnTo>
                    <a:lnTo>
                      <a:pt x="1656" y="584"/>
                    </a:lnTo>
                    <a:lnTo>
                      <a:pt x="1659" y="587"/>
                    </a:lnTo>
                    <a:lnTo>
                      <a:pt x="1663" y="591"/>
                    </a:lnTo>
                    <a:lnTo>
                      <a:pt x="1668" y="597"/>
                    </a:lnTo>
                    <a:lnTo>
                      <a:pt x="1675" y="610"/>
                    </a:lnTo>
                    <a:lnTo>
                      <a:pt x="1683" y="624"/>
                    </a:lnTo>
                    <a:lnTo>
                      <a:pt x="1688" y="631"/>
                    </a:lnTo>
                    <a:lnTo>
                      <a:pt x="1693" y="637"/>
                    </a:lnTo>
                    <a:lnTo>
                      <a:pt x="1699" y="642"/>
                    </a:lnTo>
                    <a:lnTo>
                      <a:pt x="1705" y="645"/>
                    </a:lnTo>
                    <a:lnTo>
                      <a:pt x="1719" y="647"/>
                    </a:lnTo>
                    <a:lnTo>
                      <a:pt x="1734" y="652"/>
                    </a:lnTo>
                    <a:lnTo>
                      <a:pt x="1741" y="655"/>
                    </a:lnTo>
                    <a:lnTo>
                      <a:pt x="1747" y="659"/>
                    </a:lnTo>
                    <a:lnTo>
                      <a:pt x="1752" y="665"/>
                    </a:lnTo>
                    <a:lnTo>
                      <a:pt x="1756" y="671"/>
                    </a:lnTo>
                    <a:lnTo>
                      <a:pt x="1759" y="684"/>
                    </a:lnTo>
                    <a:lnTo>
                      <a:pt x="1763" y="696"/>
                    </a:lnTo>
                    <a:lnTo>
                      <a:pt x="1768" y="709"/>
                    </a:lnTo>
                    <a:lnTo>
                      <a:pt x="1772" y="723"/>
                    </a:lnTo>
                    <a:lnTo>
                      <a:pt x="1777" y="729"/>
                    </a:lnTo>
                    <a:lnTo>
                      <a:pt x="1781" y="735"/>
                    </a:lnTo>
                    <a:lnTo>
                      <a:pt x="1785" y="740"/>
                    </a:lnTo>
                    <a:lnTo>
                      <a:pt x="1791" y="743"/>
                    </a:lnTo>
                    <a:lnTo>
                      <a:pt x="1797" y="747"/>
                    </a:lnTo>
                    <a:lnTo>
                      <a:pt x="1803" y="749"/>
                    </a:lnTo>
                    <a:lnTo>
                      <a:pt x="1809" y="750"/>
                    </a:lnTo>
                    <a:lnTo>
                      <a:pt x="1815" y="750"/>
                    </a:lnTo>
                    <a:lnTo>
                      <a:pt x="1832" y="750"/>
                    </a:lnTo>
                    <a:lnTo>
                      <a:pt x="1853" y="749"/>
                    </a:lnTo>
                    <a:lnTo>
                      <a:pt x="1875" y="748"/>
                    </a:lnTo>
                    <a:lnTo>
                      <a:pt x="1891" y="749"/>
                    </a:lnTo>
                    <a:lnTo>
                      <a:pt x="1903" y="750"/>
                    </a:lnTo>
                    <a:lnTo>
                      <a:pt x="1913" y="750"/>
                    </a:lnTo>
                    <a:lnTo>
                      <a:pt x="1921" y="748"/>
                    </a:lnTo>
                    <a:lnTo>
                      <a:pt x="1930" y="743"/>
                    </a:lnTo>
                    <a:lnTo>
                      <a:pt x="1942" y="737"/>
                    </a:lnTo>
                    <a:lnTo>
                      <a:pt x="1958" y="732"/>
                    </a:lnTo>
                    <a:lnTo>
                      <a:pt x="1965" y="731"/>
                    </a:lnTo>
                    <a:lnTo>
                      <a:pt x="1973" y="731"/>
                    </a:lnTo>
                    <a:lnTo>
                      <a:pt x="1980" y="731"/>
                    </a:lnTo>
                    <a:lnTo>
                      <a:pt x="1986" y="732"/>
                    </a:lnTo>
                    <a:lnTo>
                      <a:pt x="1998" y="736"/>
                    </a:lnTo>
                    <a:lnTo>
                      <a:pt x="2011" y="742"/>
                    </a:lnTo>
                    <a:lnTo>
                      <a:pt x="2023" y="747"/>
                    </a:lnTo>
                    <a:lnTo>
                      <a:pt x="2033" y="750"/>
                    </a:lnTo>
                    <a:lnTo>
                      <a:pt x="2036" y="750"/>
                    </a:lnTo>
                    <a:lnTo>
                      <a:pt x="2039" y="751"/>
                    </a:lnTo>
                    <a:lnTo>
                      <a:pt x="2041" y="753"/>
                    </a:lnTo>
                    <a:lnTo>
                      <a:pt x="2041" y="755"/>
                    </a:lnTo>
                    <a:lnTo>
                      <a:pt x="2040" y="760"/>
                    </a:lnTo>
                    <a:lnTo>
                      <a:pt x="2036" y="769"/>
                    </a:lnTo>
                    <a:lnTo>
                      <a:pt x="2033" y="780"/>
                    </a:lnTo>
                    <a:lnTo>
                      <a:pt x="2031" y="788"/>
                    </a:lnTo>
                    <a:lnTo>
                      <a:pt x="2033" y="794"/>
                    </a:lnTo>
                    <a:lnTo>
                      <a:pt x="2035" y="801"/>
                    </a:lnTo>
                    <a:lnTo>
                      <a:pt x="2037" y="809"/>
                    </a:lnTo>
                    <a:lnTo>
                      <a:pt x="2042" y="816"/>
                    </a:lnTo>
                    <a:lnTo>
                      <a:pt x="2047" y="822"/>
                    </a:lnTo>
                    <a:lnTo>
                      <a:pt x="2052" y="828"/>
                    </a:lnTo>
                    <a:lnTo>
                      <a:pt x="2056" y="831"/>
                    </a:lnTo>
                    <a:lnTo>
                      <a:pt x="2061" y="834"/>
                    </a:lnTo>
                    <a:lnTo>
                      <a:pt x="2066" y="835"/>
                    </a:lnTo>
                    <a:lnTo>
                      <a:pt x="2072" y="837"/>
                    </a:lnTo>
                    <a:lnTo>
                      <a:pt x="2077" y="841"/>
                    </a:lnTo>
                    <a:lnTo>
                      <a:pt x="2081" y="844"/>
                    </a:lnTo>
                    <a:lnTo>
                      <a:pt x="2091" y="853"/>
                    </a:lnTo>
                    <a:lnTo>
                      <a:pt x="2099" y="864"/>
                    </a:lnTo>
                    <a:lnTo>
                      <a:pt x="2104" y="869"/>
                    </a:lnTo>
                    <a:lnTo>
                      <a:pt x="2110" y="872"/>
                    </a:lnTo>
                    <a:lnTo>
                      <a:pt x="2116" y="873"/>
                    </a:lnTo>
                    <a:lnTo>
                      <a:pt x="2123" y="873"/>
                    </a:lnTo>
                    <a:lnTo>
                      <a:pt x="2137" y="869"/>
                    </a:lnTo>
                    <a:lnTo>
                      <a:pt x="2150" y="864"/>
                    </a:lnTo>
                    <a:lnTo>
                      <a:pt x="2155" y="862"/>
                    </a:lnTo>
                    <a:lnTo>
                      <a:pt x="2159" y="860"/>
                    </a:lnTo>
                    <a:lnTo>
                      <a:pt x="2162" y="860"/>
                    </a:lnTo>
                    <a:lnTo>
                      <a:pt x="2165" y="860"/>
                    </a:lnTo>
                    <a:lnTo>
                      <a:pt x="2167" y="863"/>
                    </a:lnTo>
                    <a:lnTo>
                      <a:pt x="2168" y="867"/>
                    </a:lnTo>
                    <a:lnTo>
                      <a:pt x="2168" y="874"/>
                    </a:lnTo>
                    <a:lnTo>
                      <a:pt x="2167" y="885"/>
                    </a:lnTo>
                    <a:lnTo>
                      <a:pt x="2167" y="896"/>
                    </a:lnTo>
                    <a:lnTo>
                      <a:pt x="2167" y="907"/>
                    </a:lnTo>
                    <a:lnTo>
                      <a:pt x="2169" y="917"/>
                    </a:lnTo>
                    <a:lnTo>
                      <a:pt x="2172" y="926"/>
                    </a:lnTo>
                    <a:lnTo>
                      <a:pt x="2174" y="936"/>
                    </a:lnTo>
                    <a:lnTo>
                      <a:pt x="2179" y="944"/>
                    </a:lnTo>
                    <a:lnTo>
                      <a:pt x="2185" y="950"/>
                    </a:lnTo>
                    <a:lnTo>
                      <a:pt x="2191" y="956"/>
                    </a:lnTo>
                    <a:lnTo>
                      <a:pt x="2198" y="962"/>
                    </a:lnTo>
                    <a:lnTo>
                      <a:pt x="2203" y="968"/>
                    </a:lnTo>
                    <a:lnTo>
                      <a:pt x="2206" y="974"/>
                    </a:lnTo>
                    <a:lnTo>
                      <a:pt x="2209" y="981"/>
                    </a:lnTo>
                    <a:lnTo>
                      <a:pt x="2212" y="994"/>
                    </a:lnTo>
                    <a:lnTo>
                      <a:pt x="2213" y="1009"/>
                    </a:lnTo>
                    <a:lnTo>
                      <a:pt x="2215" y="1017"/>
                    </a:lnTo>
                    <a:lnTo>
                      <a:pt x="2213" y="1021"/>
                    </a:lnTo>
                    <a:lnTo>
                      <a:pt x="2211" y="1024"/>
                    </a:lnTo>
                    <a:lnTo>
                      <a:pt x="2209" y="1026"/>
                    </a:lnTo>
                    <a:lnTo>
                      <a:pt x="2200" y="1027"/>
                    </a:lnTo>
                    <a:lnTo>
                      <a:pt x="2190" y="1028"/>
                    </a:lnTo>
                    <a:lnTo>
                      <a:pt x="2182" y="1031"/>
                    </a:lnTo>
                    <a:lnTo>
                      <a:pt x="2175" y="1034"/>
                    </a:lnTo>
                    <a:lnTo>
                      <a:pt x="2167" y="1038"/>
                    </a:lnTo>
                    <a:lnTo>
                      <a:pt x="2159" y="1044"/>
                    </a:lnTo>
                    <a:lnTo>
                      <a:pt x="2152" y="1050"/>
                    </a:lnTo>
                    <a:lnTo>
                      <a:pt x="2144" y="1055"/>
                    </a:lnTo>
                    <a:lnTo>
                      <a:pt x="2140" y="1061"/>
                    </a:lnTo>
                    <a:lnTo>
                      <a:pt x="2136" y="1066"/>
                    </a:lnTo>
                    <a:lnTo>
                      <a:pt x="2132" y="1075"/>
                    </a:lnTo>
                    <a:lnTo>
                      <a:pt x="2128" y="1081"/>
                    </a:lnTo>
                    <a:lnTo>
                      <a:pt x="2125" y="1083"/>
                    </a:lnTo>
                    <a:lnTo>
                      <a:pt x="2122" y="1085"/>
                    </a:lnTo>
                    <a:lnTo>
                      <a:pt x="2117" y="1087"/>
                    </a:lnTo>
                    <a:lnTo>
                      <a:pt x="2111" y="1089"/>
                    </a:lnTo>
                    <a:lnTo>
                      <a:pt x="2099" y="1093"/>
                    </a:lnTo>
                    <a:lnTo>
                      <a:pt x="2089" y="1099"/>
                    </a:lnTo>
                    <a:lnTo>
                      <a:pt x="2077" y="1105"/>
                    </a:lnTo>
                    <a:lnTo>
                      <a:pt x="2064" y="1112"/>
                    </a:lnTo>
                    <a:lnTo>
                      <a:pt x="2056" y="1114"/>
                    </a:lnTo>
                    <a:lnTo>
                      <a:pt x="2049" y="1115"/>
                    </a:lnTo>
                    <a:lnTo>
                      <a:pt x="2043" y="1114"/>
                    </a:lnTo>
                    <a:lnTo>
                      <a:pt x="2037" y="1110"/>
                    </a:lnTo>
                    <a:lnTo>
                      <a:pt x="2033" y="1107"/>
                    </a:lnTo>
                    <a:lnTo>
                      <a:pt x="2027" y="1102"/>
                    </a:lnTo>
                    <a:lnTo>
                      <a:pt x="2023" y="1096"/>
                    </a:lnTo>
                    <a:lnTo>
                      <a:pt x="2018" y="1091"/>
                    </a:lnTo>
                    <a:lnTo>
                      <a:pt x="2016" y="1085"/>
                    </a:lnTo>
                    <a:lnTo>
                      <a:pt x="2014" y="1080"/>
                    </a:lnTo>
                    <a:lnTo>
                      <a:pt x="2012" y="1075"/>
                    </a:lnTo>
                    <a:lnTo>
                      <a:pt x="2011" y="1069"/>
                    </a:lnTo>
                    <a:lnTo>
                      <a:pt x="2009" y="1063"/>
                    </a:lnTo>
                    <a:lnTo>
                      <a:pt x="2008" y="1058"/>
                    </a:lnTo>
                    <a:lnTo>
                      <a:pt x="2004" y="1053"/>
                    </a:lnTo>
                    <a:lnTo>
                      <a:pt x="1999" y="1050"/>
                    </a:lnTo>
                    <a:lnTo>
                      <a:pt x="1991" y="1044"/>
                    </a:lnTo>
                    <a:lnTo>
                      <a:pt x="1985" y="1038"/>
                    </a:lnTo>
                    <a:lnTo>
                      <a:pt x="1980" y="1030"/>
                    </a:lnTo>
                    <a:lnTo>
                      <a:pt x="1977" y="1018"/>
                    </a:lnTo>
                    <a:lnTo>
                      <a:pt x="1974" y="1012"/>
                    </a:lnTo>
                    <a:lnTo>
                      <a:pt x="1972" y="1007"/>
                    </a:lnTo>
                    <a:lnTo>
                      <a:pt x="1968" y="1002"/>
                    </a:lnTo>
                    <a:lnTo>
                      <a:pt x="1964" y="1000"/>
                    </a:lnTo>
                    <a:lnTo>
                      <a:pt x="1955" y="998"/>
                    </a:lnTo>
                    <a:lnTo>
                      <a:pt x="1948" y="996"/>
                    </a:lnTo>
                    <a:lnTo>
                      <a:pt x="1941" y="996"/>
                    </a:lnTo>
                    <a:lnTo>
                      <a:pt x="1934" y="995"/>
                    </a:lnTo>
                    <a:lnTo>
                      <a:pt x="1927" y="994"/>
                    </a:lnTo>
                    <a:lnTo>
                      <a:pt x="1921" y="990"/>
                    </a:lnTo>
                    <a:lnTo>
                      <a:pt x="1916" y="984"/>
                    </a:lnTo>
                    <a:lnTo>
                      <a:pt x="1910" y="979"/>
                    </a:lnTo>
                    <a:lnTo>
                      <a:pt x="1905" y="976"/>
                    </a:lnTo>
                    <a:lnTo>
                      <a:pt x="1901" y="974"/>
                    </a:lnTo>
                    <a:lnTo>
                      <a:pt x="1895" y="973"/>
                    </a:lnTo>
                    <a:lnTo>
                      <a:pt x="1886" y="973"/>
                    </a:lnTo>
                    <a:lnTo>
                      <a:pt x="1877" y="974"/>
                    </a:lnTo>
                    <a:lnTo>
                      <a:pt x="1869" y="976"/>
                    </a:lnTo>
                    <a:lnTo>
                      <a:pt x="1860" y="980"/>
                    </a:lnTo>
                    <a:lnTo>
                      <a:pt x="1853" y="986"/>
                    </a:lnTo>
                    <a:lnTo>
                      <a:pt x="1847" y="992"/>
                    </a:lnTo>
                    <a:lnTo>
                      <a:pt x="1841" y="998"/>
                    </a:lnTo>
                    <a:lnTo>
                      <a:pt x="1837" y="1006"/>
                    </a:lnTo>
                    <a:lnTo>
                      <a:pt x="1834" y="1014"/>
                    </a:lnTo>
                    <a:lnTo>
                      <a:pt x="1832" y="1021"/>
                    </a:lnTo>
                    <a:lnTo>
                      <a:pt x="1831" y="1030"/>
                    </a:lnTo>
                    <a:lnTo>
                      <a:pt x="1831" y="1037"/>
                    </a:lnTo>
                    <a:lnTo>
                      <a:pt x="1832" y="1043"/>
                    </a:lnTo>
                    <a:lnTo>
                      <a:pt x="1834" y="1047"/>
                    </a:lnTo>
                    <a:lnTo>
                      <a:pt x="1837" y="1052"/>
                    </a:lnTo>
                    <a:lnTo>
                      <a:pt x="1840" y="1056"/>
                    </a:lnTo>
                    <a:lnTo>
                      <a:pt x="1844" y="1058"/>
                    </a:lnTo>
                    <a:lnTo>
                      <a:pt x="1846" y="1061"/>
                    </a:lnTo>
                    <a:lnTo>
                      <a:pt x="1850" y="1064"/>
                    </a:lnTo>
                    <a:lnTo>
                      <a:pt x="1851" y="1068"/>
                    </a:lnTo>
                    <a:lnTo>
                      <a:pt x="1851" y="1071"/>
                    </a:lnTo>
                    <a:lnTo>
                      <a:pt x="1851" y="1076"/>
                    </a:lnTo>
                    <a:lnTo>
                      <a:pt x="1850" y="1080"/>
                    </a:lnTo>
                    <a:lnTo>
                      <a:pt x="1848" y="1084"/>
                    </a:lnTo>
                    <a:lnTo>
                      <a:pt x="1847" y="1088"/>
                    </a:lnTo>
                    <a:lnTo>
                      <a:pt x="1842" y="1096"/>
                    </a:lnTo>
                    <a:lnTo>
                      <a:pt x="1840" y="1103"/>
                    </a:lnTo>
                    <a:lnTo>
                      <a:pt x="1839" y="1112"/>
                    </a:lnTo>
                    <a:lnTo>
                      <a:pt x="1840" y="1120"/>
                    </a:lnTo>
                    <a:lnTo>
                      <a:pt x="1841" y="1132"/>
                    </a:lnTo>
                    <a:lnTo>
                      <a:pt x="1839" y="1144"/>
                    </a:lnTo>
                    <a:lnTo>
                      <a:pt x="1839" y="1150"/>
                    </a:lnTo>
                    <a:lnTo>
                      <a:pt x="1840" y="1154"/>
                    </a:lnTo>
                    <a:lnTo>
                      <a:pt x="1844" y="1160"/>
                    </a:lnTo>
                    <a:lnTo>
                      <a:pt x="1847" y="1166"/>
                    </a:lnTo>
                    <a:lnTo>
                      <a:pt x="1853" y="1175"/>
                    </a:lnTo>
                    <a:lnTo>
                      <a:pt x="1858" y="1183"/>
                    </a:lnTo>
                    <a:lnTo>
                      <a:pt x="1860" y="1187"/>
                    </a:lnTo>
                    <a:lnTo>
                      <a:pt x="1860" y="1189"/>
                    </a:lnTo>
                    <a:lnTo>
                      <a:pt x="1860" y="1191"/>
                    </a:lnTo>
                    <a:lnTo>
                      <a:pt x="1860" y="1192"/>
                    </a:lnTo>
                    <a:lnTo>
                      <a:pt x="1856" y="1192"/>
                    </a:lnTo>
                    <a:lnTo>
                      <a:pt x="1850" y="1192"/>
                    </a:lnTo>
                    <a:lnTo>
                      <a:pt x="1839" y="1192"/>
                    </a:lnTo>
                    <a:lnTo>
                      <a:pt x="1828" y="1194"/>
                    </a:lnTo>
                    <a:lnTo>
                      <a:pt x="1817" y="1196"/>
                    </a:lnTo>
                    <a:lnTo>
                      <a:pt x="1807" y="1198"/>
                    </a:lnTo>
                    <a:lnTo>
                      <a:pt x="1802" y="1201"/>
                    </a:lnTo>
                    <a:lnTo>
                      <a:pt x="1797" y="1203"/>
                    </a:lnTo>
                    <a:lnTo>
                      <a:pt x="1793" y="1207"/>
                    </a:lnTo>
                    <a:lnTo>
                      <a:pt x="1788" y="1211"/>
                    </a:lnTo>
                    <a:lnTo>
                      <a:pt x="1772" y="1222"/>
                    </a:lnTo>
                    <a:lnTo>
                      <a:pt x="1763" y="1228"/>
                    </a:lnTo>
                    <a:lnTo>
                      <a:pt x="1760" y="1232"/>
                    </a:lnTo>
                    <a:lnTo>
                      <a:pt x="1759" y="1238"/>
                    </a:lnTo>
                    <a:lnTo>
                      <a:pt x="1759" y="1246"/>
                    </a:lnTo>
                    <a:lnTo>
                      <a:pt x="1759" y="1254"/>
                    </a:lnTo>
                    <a:lnTo>
                      <a:pt x="1762" y="1272"/>
                    </a:lnTo>
                    <a:lnTo>
                      <a:pt x="1765" y="1286"/>
                    </a:lnTo>
                    <a:lnTo>
                      <a:pt x="1769" y="1298"/>
                    </a:lnTo>
                    <a:lnTo>
                      <a:pt x="1770" y="1309"/>
                    </a:lnTo>
                    <a:lnTo>
                      <a:pt x="1769" y="1314"/>
                    </a:lnTo>
                    <a:lnTo>
                      <a:pt x="1769" y="1317"/>
                    </a:lnTo>
                    <a:lnTo>
                      <a:pt x="1768" y="1321"/>
                    </a:lnTo>
                    <a:lnTo>
                      <a:pt x="1765" y="1324"/>
                    </a:lnTo>
                    <a:lnTo>
                      <a:pt x="1762" y="1329"/>
                    </a:lnTo>
                    <a:lnTo>
                      <a:pt x="1759" y="1335"/>
                    </a:lnTo>
                    <a:lnTo>
                      <a:pt x="1758" y="1343"/>
                    </a:lnTo>
                    <a:lnTo>
                      <a:pt x="1758" y="1352"/>
                    </a:lnTo>
                    <a:lnTo>
                      <a:pt x="1758" y="1360"/>
                    </a:lnTo>
                    <a:lnTo>
                      <a:pt x="1758" y="1370"/>
                    </a:lnTo>
                    <a:lnTo>
                      <a:pt x="1757" y="1374"/>
                    </a:lnTo>
                    <a:lnTo>
                      <a:pt x="1754" y="1379"/>
                    </a:lnTo>
                    <a:lnTo>
                      <a:pt x="1751" y="1384"/>
                    </a:lnTo>
                    <a:lnTo>
                      <a:pt x="1746" y="1387"/>
                    </a:lnTo>
                    <a:lnTo>
                      <a:pt x="1734" y="1396"/>
                    </a:lnTo>
                    <a:lnTo>
                      <a:pt x="1721" y="1403"/>
                    </a:lnTo>
                    <a:lnTo>
                      <a:pt x="1707" y="1409"/>
                    </a:lnTo>
                    <a:lnTo>
                      <a:pt x="1691" y="1412"/>
                    </a:lnTo>
                    <a:lnTo>
                      <a:pt x="1683" y="1414"/>
                    </a:lnTo>
                    <a:lnTo>
                      <a:pt x="1676" y="1414"/>
                    </a:lnTo>
                    <a:lnTo>
                      <a:pt x="1669" y="1412"/>
                    </a:lnTo>
                    <a:lnTo>
                      <a:pt x="1662" y="1410"/>
                    </a:lnTo>
                    <a:lnTo>
                      <a:pt x="1649" y="1405"/>
                    </a:lnTo>
                    <a:lnTo>
                      <a:pt x="1638" y="1399"/>
                    </a:lnTo>
                    <a:lnTo>
                      <a:pt x="1633" y="1398"/>
                    </a:lnTo>
                    <a:lnTo>
                      <a:pt x="1630" y="1398"/>
                    </a:lnTo>
                    <a:lnTo>
                      <a:pt x="1626" y="1400"/>
                    </a:lnTo>
                    <a:lnTo>
                      <a:pt x="1625" y="1404"/>
                    </a:lnTo>
                    <a:lnTo>
                      <a:pt x="1624" y="1409"/>
                    </a:lnTo>
                    <a:lnTo>
                      <a:pt x="1624" y="1414"/>
                    </a:lnTo>
                    <a:lnTo>
                      <a:pt x="1624" y="1419"/>
                    </a:lnTo>
                    <a:lnTo>
                      <a:pt x="1625" y="1425"/>
                    </a:lnTo>
                    <a:lnTo>
                      <a:pt x="1626" y="1437"/>
                    </a:lnTo>
                    <a:lnTo>
                      <a:pt x="1626" y="1448"/>
                    </a:lnTo>
                    <a:lnTo>
                      <a:pt x="1625" y="1460"/>
                    </a:lnTo>
                    <a:lnTo>
                      <a:pt x="1623" y="1469"/>
                    </a:lnTo>
                    <a:lnTo>
                      <a:pt x="1621" y="1474"/>
                    </a:lnTo>
                    <a:lnTo>
                      <a:pt x="1621" y="1479"/>
                    </a:lnTo>
                    <a:lnTo>
                      <a:pt x="1623" y="1485"/>
                    </a:lnTo>
                    <a:lnTo>
                      <a:pt x="1624" y="1490"/>
                    </a:lnTo>
                    <a:lnTo>
                      <a:pt x="1626" y="1494"/>
                    </a:lnTo>
                    <a:lnTo>
                      <a:pt x="1631" y="1498"/>
                    </a:lnTo>
                    <a:lnTo>
                      <a:pt x="1636" y="1500"/>
                    </a:lnTo>
                    <a:lnTo>
                      <a:pt x="1642" y="1503"/>
                    </a:lnTo>
                    <a:lnTo>
                      <a:pt x="1649" y="1503"/>
                    </a:lnTo>
                    <a:lnTo>
                      <a:pt x="1653" y="1501"/>
                    </a:lnTo>
                    <a:lnTo>
                      <a:pt x="1658" y="1500"/>
                    </a:lnTo>
                    <a:lnTo>
                      <a:pt x="1663" y="1498"/>
                    </a:lnTo>
                    <a:lnTo>
                      <a:pt x="1670" y="1494"/>
                    </a:lnTo>
                    <a:lnTo>
                      <a:pt x="1678" y="1491"/>
                    </a:lnTo>
                    <a:lnTo>
                      <a:pt x="1683" y="1491"/>
                    </a:lnTo>
                    <a:lnTo>
                      <a:pt x="1688" y="1492"/>
                    </a:lnTo>
                    <a:lnTo>
                      <a:pt x="1693" y="1494"/>
                    </a:lnTo>
                    <a:lnTo>
                      <a:pt x="1697" y="1497"/>
                    </a:lnTo>
                    <a:lnTo>
                      <a:pt x="1707" y="1503"/>
                    </a:lnTo>
                    <a:lnTo>
                      <a:pt x="1714" y="1510"/>
                    </a:lnTo>
                    <a:lnTo>
                      <a:pt x="1718" y="1516"/>
                    </a:lnTo>
                    <a:lnTo>
                      <a:pt x="1721" y="1524"/>
                    </a:lnTo>
                    <a:lnTo>
                      <a:pt x="1722" y="1535"/>
                    </a:lnTo>
                    <a:lnTo>
                      <a:pt x="1721" y="1547"/>
                    </a:lnTo>
                    <a:lnTo>
                      <a:pt x="1719" y="1563"/>
                    </a:lnTo>
                    <a:lnTo>
                      <a:pt x="1715" y="1581"/>
                    </a:lnTo>
                    <a:lnTo>
                      <a:pt x="1712" y="1592"/>
                    </a:lnTo>
                    <a:lnTo>
                      <a:pt x="1712" y="1597"/>
                    </a:lnTo>
                    <a:lnTo>
                      <a:pt x="1715" y="1598"/>
                    </a:lnTo>
                    <a:lnTo>
                      <a:pt x="1721" y="1599"/>
                    </a:lnTo>
                    <a:lnTo>
                      <a:pt x="1724" y="1601"/>
                    </a:lnTo>
                    <a:lnTo>
                      <a:pt x="1726" y="1604"/>
                    </a:lnTo>
                    <a:lnTo>
                      <a:pt x="1727" y="1606"/>
                    </a:lnTo>
                    <a:lnTo>
                      <a:pt x="1727" y="1611"/>
                    </a:lnTo>
                    <a:lnTo>
                      <a:pt x="1727" y="1618"/>
                    </a:lnTo>
                    <a:lnTo>
                      <a:pt x="1730" y="1624"/>
                    </a:lnTo>
                    <a:lnTo>
                      <a:pt x="1731" y="1626"/>
                    </a:lnTo>
                    <a:lnTo>
                      <a:pt x="1733" y="1629"/>
                    </a:lnTo>
                    <a:lnTo>
                      <a:pt x="1737" y="1629"/>
                    </a:lnTo>
                    <a:lnTo>
                      <a:pt x="1740" y="1630"/>
                    </a:lnTo>
                    <a:lnTo>
                      <a:pt x="1749" y="1630"/>
                    </a:lnTo>
                    <a:lnTo>
                      <a:pt x="1753" y="1631"/>
                    </a:lnTo>
                    <a:lnTo>
                      <a:pt x="1756" y="1632"/>
                    </a:lnTo>
                    <a:lnTo>
                      <a:pt x="1758" y="1636"/>
                    </a:lnTo>
                    <a:lnTo>
                      <a:pt x="1760" y="1639"/>
                    </a:lnTo>
                    <a:lnTo>
                      <a:pt x="1764" y="1643"/>
                    </a:lnTo>
                    <a:lnTo>
                      <a:pt x="1766" y="1644"/>
                    </a:lnTo>
                    <a:lnTo>
                      <a:pt x="1770" y="1645"/>
                    </a:lnTo>
                    <a:lnTo>
                      <a:pt x="1773" y="1645"/>
                    </a:lnTo>
                    <a:lnTo>
                      <a:pt x="1778" y="1644"/>
                    </a:lnTo>
                    <a:lnTo>
                      <a:pt x="1788" y="1642"/>
                    </a:lnTo>
                    <a:lnTo>
                      <a:pt x="1798" y="1641"/>
                    </a:lnTo>
                    <a:lnTo>
                      <a:pt x="1803" y="1642"/>
                    </a:lnTo>
                    <a:lnTo>
                      <a:pt x="1809" y="1643"/>
                    </a:lnTo>
                    <a:lnTo>
                      <a:pt x="1814" y="1645"/>
                    </a:lnTo>
                    <a:lnTo>
                      <a:pt x="1820" y="1649"/>
                    </a:lnTo>
                    <a:lnTo>
                      <a:pt x="1829" y="1661"/>
                    </a:lnTo>
                    <a:lnTo>
                      <a:pt x="1839" y="1673"/>
                    </a:lnTo>
                    <a:lnTo>
                      <a:pt x="1848" y="1683"/>
                    </a:lnTo>
                    <a:lnTo>
                      <a:pt x="1854" y="1692"/>
                    </a:lnTo>
                    <a:lnTo>
                      <a:pt x="1859" y="1695"/>
                    </a:lnTo>
                    <a:lnTo>
                      <a:pt x="1864" y="1696"/>
                    </a:lnTo>
                    <a:lnTo>
                      <a:pt x="1871" y="1699"/>
                    </a:lnTo>
                    <a:lnTo>
                      <a:pt x="1877" y="1700"/>
                    </a:lnTo>
                    <a:lnTo>
                      <a:pt x="1884" y="1699"/>
                    </a:lnTo>
                    <a:lnTo>
                      <a:pt x="1891" y="1698"/>
                    </a:lnTo>
                    <a:lnTo>
                      <a:pt x="1896" y="1695"/>
                    </a:lnTo>
                    <a:lnTo>
                      <a:pt x="1901" y="1692"/>
                    </a:lnTo>
                    <a:lnTo>
                      <a:pt x="1905" y="1683"/>
                    </a:lnTo>
                    <a:lnTo>
                      <a:pt x="1909" y="1675"/>
                    </a:lnTo>
                    <a:lnTo>
                      <a:pt x="1910" y="1671"/>
                    </a:lnTo>
                    <a:lnTo>
                      <a:pt x="1913" y="1669"/>
                    </a:lnTo>
                    <a:lnTo>
                      <a:pt x="1916" y="1667"/>
                    </a:lnTo>
                    <a:lnTo>
                      <a:pt x="1920" y="1664"/>
                    </a:lnTo>
                    <a:lnTo>
                      <a:pt x="1924" y="1663"/>
                    </a:lnTo>
                    <a:lnTo>
                      <a:pt x="1928" y="1662"/>
                    </a:lnTo>
                    <a:lnTo>
                      <a:pt x="1932" y="1663"/>
                    </a:lnTo>
                    <a:lnTo>
                      <a:pt x="1934" y="1664"/>
                    </a:lnTo>
                    <a:lnTo>
                      <a:pt x="1940" y="1667"/>
                    </a:lnTo>
                    <a:lnTo>
                      <a:pt x="1947" y="1668"/>
                    </a:lnTo>
                    <a:lnTo>
                      <a:pt x="1951" y="1667"/>
                    </a:lnTo>
                    <a:lnTo>
                      <a:pt x="1954" y="1666"/>
                    </a:lnTo>
                    <a:lnTo>
                      <a:pt x="1957" y="1664"/>
                    </a:lnTo>
                    <a:lnTo>
                      <a:pt x="1958" y="1662"/>
                    </a:lnTo>
                    <a:lnTo>
                      <a:pt x="1961" y="1656"/>
                    </a:lnTo>
                    <a:lnTo>
                      <a:pt x="1966" y="1649"/>
                    </a:lnTo>
                    <a:lnTo>
                      <a:pt x="1970" y="1641"/>
                    </a:lnTo>
                    <a:lnTo>
                      <a:pt x="1976" y="1632"/>
                    </a:lnTo>
                    <a:lnTo>
                      <a:pt x="1982" y="1624"/>
                    </a:lnTo>
                    <a:lnTo>
                      <a:pt x="1989" y="1617"/>
                    </a:lnTo>
                    <a:lnTo>
                      <a:pt x="1993" y="1612"/>
                    </a:lnTo>
                    <a:lnTo>
                      <a:pt x="1999" y="1611"/>
                    </a:lnTo>
                    <a:lnTo>
                      <a:pt x="2001" y="1611"/>
                    </a:lnTo>
                    <a:lnTo>
                      <a:pt x="2001" y="1612"/>
                    </a:lnTo>
                    <a:lnTo>
                      <a:pt x="1999" y="1613"/>
                    </a:lnTo>
                    <a:lnTo>
                      <a:pt x="1999" y="1617"/>
                    </a:lnTo>
                    <a:lnTo>
                      <a:pt x="1996" y="1623"/>
                    </a:lnTo>
                    <a:lnTo>
                      <a:pt x="1993" y="1630"/>
                    </a:lnTo>
                    <a:lnTo>
                      <a:pt x="1987" y="1648"/>
                    </a:lnTo>
                    <a:lnTo>
                      <a:pt x="1983" y="1662"/>
                    </a:lnTo>
                    <a:lnTo>
                      <a:pt x="1982" y="1667"/>
                    </a:lnTo>
                    <a:lnTo>
                      <a:pt x="1982" y="1670"/>
                    </a:lnTo>
                    <a:lnTo>
                      <a:pt x="1983" y="1675"/>
                    </a:lnTo>
                    <a:lnTo>
                      <a:pt x="1984" y="1680"/>
                    </a:lnTo>
                    <a:lnTo>
                      <a:pt x="1986" y="1690"/>
                    </a:lnTo>
                    <a:lnTo>
                      <a:pt x="1989" y="1702"/>
                    </a:lnTo>
                    <a:lnTo>
                      <a:pt x="1991" y="1714"/>
                    </a:lnTo>
                    <a:lnTo>
                      <a:pt x="1993" y="1727"/>
                    </a:lnTo>
                    <a:lnTo>
                      <a:pt x="1996" y="1745"/>
                    </a:lnTo>
                    <a:lnTo>
                      <a:pt x="1997" y="1761"/>
                    </a:lnTo>
                    <a:lnTo>
                      <a:pt x="1999" y="1774"/>
                    </a:lnTo>
                    <a:lnTo>
                      <a:pt x="2002" y="1788"/>
                    </a:lnTo>
                    <a:lnTo>
                      <a:pt x="2004" y="1806"/>
                    </a:lnTo>
                    <a:lnTo>
                      <a:pt x="2006" y="1830"/>
                    </a:lnTo>
                    <a:lnTo>
                      <a:pt x="2010" y="1853"/>
                    </a:lnTo>
                    <a:lnTo>
                      <a:pt x="2012" y="1871"/>
                    </a:lnTo>
                    <a:lnTo>
                      <a:pt x="2014" y="1883"/>
                    </a:lnTo>
                    <a:lnTo>
                      <a:pt x="2012" y="1894"/>
                    </a:lnTo>
                    <a:lnTo>
                      <a:pt x="2009" y="1903"/>
                    </a:lnTo>
                    <a:lnTo>
                      <a:pt x="2005" y="1912"/>
                    </a:lnTo>
                    <a:lnTo>
                      <a:pt x="2004" y="1915"/>
                    </a:lnTo>
                    <a:lnTo>
                      <a:pt x="2004" y="1920"/>
                    </a:lnTo>
                    <a:lnTo>
                      <a:pt x="2004" y="1925"/>
                    </a:lnTo>
                    <a:lnTo>
                      <a:pt x="2005" y="1931"/>
                    </a:lnTo>
                    <a:lnTo>
                      <a:pt x="2006" y="1942"/>
                    </a:lnTo>
                    <a:lnTo>
                      <a:pt x="2008" y="1952"/>
                    </a:lnTo>
                    <a:lnTo>
                      <a:pt x="2006" y="1956"/>
                    </a:lnTo>
                    <a:lnTo>
                      <a:pt x="2003" y="1959"/>
                    </a:lnTo>
                    <a:lnTo>
                      <a:pt x="1999" y="1961"/>
                    </a:lnTo>
                    <a:lnTo>
                      <a:pt x="1993" y="1963"/>
                    </a:lnTo>
                    <a:lnTo>
                      <a:pt x="1979" y="1966"/>
                    </a:lnTo>
                    <a:lnTo>
                      <a:pt x="1963" y="1970"/>
                    </a:lnTo>
                    <a:lnTo>
                      <a:pt x="1945" y="1976"/>
                    </a:lnTo>
                    <a:lnTo>
                      <a:pt x="1928" y="1982"/>
                    </a:lnTo>
                    <a:lnTo>
                      <a:pt x="1913" y="1989"/>
                    </a:lnTo>
                    <a:lnTo>
                      <a:pt x="1897" y="1995"/>
                    </a:lnTo>
                    <a:lnTo>
                      <a:pt x="1890" y="1998"/>
                    </a:lnTo>
                    <a:lnTo>
                      <a:pt x="1883" y="2002"/>
                    </a:lnTo>
                    <a:lnTo>
                      <a:pt x="1877" y="2008"/>
                    </a:lnTo>
                    <a:lnTo>
                      <a:pt x="1870" y="2014"/>
                    </a:lnTo>
                    <a:lnTo>
                      <a:pt x="1864" y="2020"/>
                    </a:lnTo>
                    <a:lnTo>
                      <a:pt x="1858" y="2027"/>
                    </a:lnTo>
                    <a:lnTo>
                      <a:pt x="1853" y="2033"/>
                    </a:lnTo>
                    <a:lnTo>
                      <a:pt x="1850" y="2040"/>
                    </a:lnTo>
                    <a:lnTo>
                      <a:pt x="1842" y="2055"/>
                    </a:lnTo>
                    <a:lnTo>
                      <a:pt x="1838" y="2076"/>
                    </a:lnTo>
                    <a:lnTo>
                      <a:pt x="1833" y="2095"/>
                    </a:lnTo>
                    <a:lnTo>
                      <a:pt x="1832" y="2110"/>
                    </a:lnTo>
                    <a:lnTo>
                      <a:pt x="1829" y="2128"/>
                    </a:lnTo>
                    <a:lnTo>
                      <a:pt x="1827" y="2145"/>
                    </a:lnTo>
                    <a:lnTo>
                      <a:pt x="1825" y="2145"/>
                    </a:lnTo>
                    <a:lnTo>
                      <a:pt x="1820" y="2145"/>
                    </a:lnTo>
                    <a:lnTo>
                      <a:pt x="1814" y="2147"/>
                    </a:lnTo>
                    <a:lnTo>
                      <a:pt x="1807" y="2149"/>
                    </a:lnTo>
                    <a:lnTo>
                      <a:pt x="1797" y="2152"/>
                    </a:lnTo>
                    <a:lnTo>
                      <a:pt x="1789" y="2153"/>
                    </a:lnTo>
                    <a:lnTo>
                      <a:pt x="1785" y="2153"/>
                    </a:lnTo>
                    <a:lnTo>
                      <a:pt x="1783" y="2152"/>
                    </a:lnTo>
                    <a:lnTo>
                      <a:pt x="1782" y="2150"/>
                    </a:lnTo>
                    <a:lnTo>
                      <a:pt x="1781" y="2148"/>
                    </a:lnTo>
                    <a:lnTo>
                      <a:pt x="1781" y="2143"/>
                    </a:lnTo>
                    <a:lnTo>
                      <a:pt x="1779" y="2141"/>
                    </a:lnTo>
                    <a:lnTo>
                      <a:pt x="1777" y="2140"/>
                    </a:lnTo>
                    <a:lnTo>
                      <a:pt x="1773" y="2140"/>
                    </a:lnTo>
                    <a:lnTo>
                      <a:pt x="1769" y="2140"/>
                    </a:lnTo>
                    <a:lnTo>
                      <a:pt x="1765" y="2139"/>
                    </a:lnTo>
                    <a:lnTo>
                      <a:pt x="1762" y="2135"/>
                    </a:lnTo>
                    <a:lnTo>
                      <a:pt x="1759" y="2128"/>
                    </a:lnTo>
                    <a:lnTo>
                      <a:pt x="1759" y="2123"/>
                    </a:lnTo>
                    <a:lnTo>
                      <a:pt x="1759" y="2118"/>
                    </a:lnTo>
                    <a:lnTo>
                      <a:pt x="1760" y="2112"/>
                    </a:lnTo>
                    <a:lnTo>
                      <a:pt x="1762" y="2108"/>
                    </a:lnTo>
                    <a:lnTo>
                      <a:pt x="1764" y="2097"/>
                    </a:lnTo>
                    <a:lnTo>
                      <a:pt x="1765" y="2086"/>
                    </a:lnTo>
                    <a:lnTo>
                      <a:pt x="1764" y="2082"/>
                    </a:lnTo>
                    <a:lnTo>
                      <a:pt x="1763" y="2077"/>
                    </a:lnTo>
                    <a:lnTo>
                      <a:pt x="1759" y="2073"/>
                    </a:lnTo>
                    <a:lnTo>
                      <a:pt x="1754" y="2070"/>
                    </a:lnTo>
                    <a:lnTo>
                      <a:pt x="1750" y="2067"/>
                    </a:lnTo>
                    <a:lnTo>
                      <a:pt x="1745" y="2065"/>
                    </a:lnTo>
                    <a:lnTo>
                      <a:pt x="1739" y="2065"/>
                    </a:lnTo>
                    <a:lnTo>
                      <a:pt x="1734" y="2065"/>
                    </a:lnTo>
                    <a:lnTo>
                      <a:pt x="1730" y="2068"/>
                    </a:lnTo>
                    <a:lnTo>
                      <a:pt x="1726" y="2073"/>
                    </a:lnTo>
                    <a:lnTo>
                      <a:pt x="1724" y="2079"/>
                    </a:lnTo>
                    <a:lnTo>
                      <a:pt x="1722" y="2086"/>
                    </a:lnTo>
                    <a:lnTo>
                      <a:pt x="1719" y="2102"/>
                    </a:lnTo>
                    <a:lnTo>
                      <a:pt x="1716" y="2116"/>
                    </a:lnTo>
                    <a:lnTo>
                      <a:pt x="1714" y="2121"/>
                    </a:lnTo>
                    <a:lnTo>
                      <a:pt x="1710" y="2124"/>
                    </a:lnTo>
                    <a:lnTo>
                      <a:pt x="1707" y="2127"/>
                    </a:lnTo>
                    <a:lnTo>
                      <a:pt x="1702" y="2128"/>
                    </a:lnTo>
                    <a:lnTo>
                      <a:pt x="1691" y="2130"/>
                    </a:lnTo>
                    <a:lnTo>
                      <a:pt x="1681" y="2131"/>
                    </a:lnTo>
                    <a:lnTo>
                      <a:pt x="1667" y="2134"/>
                    </a:lnTo>
                    <a:lnTo>
                      <a:pt x="1652" y="2137"/>
                    </a:lnTo>
                    <a:lnTo>
                      <a:pt x="1645" y="2139"/>
                    </a:lnTo>
                    <a:lnTo>
                      <a:pt x="1638" y="2139"/>
                    </a:lnTo>
                    <a:lnTo>
                      <a:pt x="1632" y="2139"/>
                    </a:lnTo>
                    <a:lnTo>
                      <a:pt x="1625" y="2136"/>
                    </a:lnTo>
                    <a:lnTo>
                      <a:pt x="1619" y="2134"/>
                    </a:lnTo>
                    <a:lnTo>
                      <a:pt x="1611" y="2129"/>
                    </a:lnTo>
                    <a:lnTo>
                      <a:pt x="1602" y="2124"/>
                    </a:lnTo>
                    <a:lnTo>
                      <a:pt x="1594" y="2117"/>
                    </a:lnTo>
                    <a:lnTo>
                      <a:pt x="1579" y="2105"/>
                    </a:lnTo>
                    <a:lnTo>
                      <a:pt x="1568" y="2095"/>
                    </a:lnTo>
                    <a:lnTo>
                      <a:pt x="1564" y="2090"/>
                    </a:lnTo>
                    <a:lnTo>
                      <a:pt x="1561" y="2087"/>
                    </a:lnTo>
                    <a:lnTo>
                      <a:pt x="1558" y="2085"/>
                    </a:lnTo>
                    <a:lnTo>
                      <a:pt x="1556" y="2085"/>
                    </a:lnTo>
                    <a:lnTo>
                      <a:pt x="1550" y="2086"/>
                    </a:lnTo>
                    <a:lnTo>
                      <a:pt x="1543" y="2091"/>
                    </a:lnTo>
                    <a:lnTo>
                      <a:pt x="1538" y="2093"/>
                    </a:lnTo>
                    <a:lnTo>
                      <a:pt x="1535" y="2093"/>
                    </a:lnTo>
                    <a:lnTo>
                      <a:pt x="1532" y="2092"/>
                    </a:lnTo>
                    <a:lnTo>
                      <a:pt x="1529" y="2090"/>
                    </a:lnTo>
                    <a:lnTo>
                      <a:pt x="1527" y="2086"/>
                    </a:lnTo>
                    <a:lnTo>
                      <a:pt x="1526" y="2082"/>
                    </a:lnTo>
                    <a:lnTo>
                      <a:pt x="1526" y="2077"/>
                    </a:lnTo>
                    <a:lnTo>
                      <a:pt x="1526" y="2073"/>
                    </a:lnTo>
                    <a:lnTo>
                      <a:pt x="1532" y="2058"/>
                    </a:lnTo>
                    <a:lnTo>
                      <a:pt x="1539" y="2042"/>
                    </a:lnTo>
                    <a:lnTo>
                      <a:pt x="1539" y="2032"/>
                    </a:lnTo>
                    <a:lnTo>
                      <a:pt x="1539" y="2020"/>
                    </a:lnTo>
                    <a:lnTo>
                      <a:pt x="1538" y="2015"/>
                    </a:lnTo>
                    <a:lnTo>
                      <a:pt x="1536" y="2010"/>
                    </a:lnTo>
                    <a:lnTo>
                      <a:pt x="1532" y="2008"/>
                    </a:lnTo>
                    <a:lnTo>
                      <a:pt x="1529" y="2007"/>
                    </a:lnTo>
                    <a:lnTo>
                      <a:pt x="1513" y="2015"/>
                    </a:lnTo>
                    <a:lnTo>
                      <a:pt x="1497" y="2022"/>
                    </a:lnTo>
                    <a:lnTo>
                      <a:pt x="1483" y="2023"/>
                    </a:lnTo>
                    <a:lnTo>
                      <a:pt x="1468" y="2022"/>
                    </a:lnTo>
                    <a:lnTo>
                      <a:pt x="1454" y="2021"/>
                    </a:lnTo>
                    <a:lnTo>
                      <a:pt x="1444" y="2019"/>
                    </a:lnTo>
                    <a:lnTo>
                      <a:pt x="1436" y="2013"/>
                    </a:lnTo>
                    <a:lnTo>
                      <a:pt x="1424" y="2002"/>
                    </a:lnTo>
                    <a:lnTo>
                      <a:pt x="1413" y="1991"/>
                    </a:lnTo>
                    <a:lnTo>
                      <a:pt x="1405" y="1982"/>
                    </a:lnTo>
                    <a:lnTo>
                      <a:pt x="1401" y="1978"/>
                    </a:lnTo>
                    <a:lnTo>
                      <a:pt x="1398" y="1975"/>
                    </a:lnTo>
                    <a:lnTo>
                      <a:pt x="1394" y="1972"/>
                    </a:lnTo>
                    <a:lnTo>
                      <a:pt x="1391" y="1971"/>
                    </a:lnTo>
                    <a:lnTo>
                      <a:pt x="1387" y="1971"/>
                    </a:lnTo>
                    <a:lnTo>
                      <a:pt x="1384" y="1972"/>
                    </a:lnTo>
                    <a:lnTo>
                      <a:pt x="1380" y="1976"/>
                    </a:lnTo>
                    <a:lnTo>
                      <a:pt x="1375" y="1980"/>
                    </a:lnTo>
                    <a:lnTo>
                      <a:pt x="1367" y="1995"/>
                    </a:lnTo>
                    <a:lnTo>
                      <a:pt x="1359" y="2008"/>
                    </a:lnTo>
                    <a:lnTo>
                      <a:pt x="1354" y="2014"/>
                    </a:lnTo>
                    <a:lnTo>
                      <a:pt x="1349" y="2020"/>
                    </a:lnTo>
                    <a:lnTo>
                      <a:pt x="1343" y="2024"/>
                    </a:lnTo>
                    <a:lnTo>
                      <a:pt x="1338" y="2028"/>
                    </a:lnTo>
                    <a:lnTo>
                      <a:pt x="1328" y="2034"/>
                    </a:lnTo>
                    <a:lnTo>
                      <a:pt x="1318" y="2036"/>
                    </a:lnTo>
                    <a:lnTo>
                      <a:pt x="1315" y="2036"/>
                    </a:lnTo>
                    <a:lnTo>
                      <a:pt x="1312" y="2035"/>
                    </a:lnTo>
                    <a:lnTo>
                      <a:pt x="1310" y="2034"/>
                    </a:lnTo>
                    <a:lnTo>
                      <a:pt x="1309" y="2032"/>
                    </a:lnTo>
                    <a:lnTo>
                      <a:pt x="1308" y="2023"/>
                    </a:lnTo>
                    <a:lnTo>
                      <a:pt x="1308" y="2014"/>
                    </a:lnTo>
                    <a:lnTo>
                      <a:pt x="1309" y="2003"/>
                    </a:lnTo>
                    <a:lnTo>
                      <a:pt x="1310" y="1990"/>
                    </a:lnTo>
                    <a:lnTo>
                      <a:pt x="1309" y="1985"/>
                    </a:lnTo>
                    <a:lnTo>
                      <a:pt x="1308" y="1982"/>
                    </a:lnTo>
                    <a:lnTo>
                      <a:pt x="1305" y="1978"/>
                    </a:lnTo>
                    <a:lnTo>
                      <a:pt x="1303" y="1977"/>
                    </a:lnTo>
                    <a:lnTo>
                      <a:pt x="1299" y="1977"/>
                    </a:lnTo>
                    <a:lnTo>
                      <a:pt x="1297" y="1978"/>
                    </a:lnTo>
                    <a:lnTo>
                      <a:pt x="1293" y="1979"/>
                    </a:lnTo>
                    <a:lnTo>
                      <a:pt x="1291" y="1982"/>
                    </a:lnTo>
                    <a:lnTo>
                      <a:pt x="1287" y="1986"/>
                    </a:lnTo>
                    <a:lnTo>
                      <a:pt x="1283" y="1990"/>
                    </a:lnTo>
                    <a:lnTo>
                      <a:pt x="1280" y="1991"/>
                    </a:lnTo>
                    <a:lnTo>
                      <a:pt x="1278" y="1991"/>
                    </a:lnTo>
                    <a:lnTo>
                      <a:pt x="1275" y="1990"/>
                    </a:lnTo>
                    <a:lnTo>
                      <a:pt x="1273" y="1989"/>
                    </a:lnTo>
                    <a:lnTo>
                      <a:pt x="1269" y="1983"/>
                    </a:lnTo>
                    <a:lnTo>
                      <a:pt x="1267" y="1976"/>
                    </a:lnTo>
                    <a:lnTo>
                      <a:pt x="1265" y="1966"/>
                    </a:lnTo>
                    <a:lnTo>
                      <a:pt x="1262" y="1957"/>
                    </a:lnTo>
                    <a:lnTo>
                      <a:pt x="1259" y="1946"/>
                    </a:lnTo>
                    <a:lnTo>
                      <a:pt x="1255" y="1939"/>
                    </a:lnTo>
                    <a:lnTo>
                      <a:pt x="1252" y="1934"/>
                    </a:lnTo>
                    <a:lnTo>
                      <a:pt x="1248" y="1932"/>
                    </a:lnTo>
                    <a:lnTo>
                      <a:pt x="1243" y="1929"/>
                    </a:lnTo>
                    <a:lnTo>
                      <a:pt x="1240" y="1928"/>
                    </a:lnTo>
                    <a:lnTo>
                      <a:pt x="1237" y="1926"/>
                    </a:lnTo>
                    <a:lnTo>
                      <a:pt x="1236" y="1921"/>
                    </a:lnTo>
                    <a:lnTo>
                      <a:pt x="1236" y="1915"/>
                    </a:lnTo>
                    <a:lnTo>
                      <a:pt x="1236" y="1909"/>
                    </a:lnTo>
                    <a:lnTo>
                      <a:pt x="1235" y="1903"/>
                    </a:lnTo>
                    <a:lnTo>
                      <a:pt x="1231" y="1896"/>
                    </a:lnTo>
                    <a:lnTo>
                      <a:pt x="1229" y="1893"/>
                    </a:lnTo>
                    <a:lnTo>
                      <a:pt x="1228" y="1889"/>
                    </a:lnTo>
                    <a:lnTo>
                      <a:pt x="1227" y="1885"/>
                    </a:lnTo>
                    <a:lnTo>
                      <a:pt x="1228" y="1881"/>
                    </a:lnTo>
                    <a:lnTo>
                      <a:pt x="1229" y="1871"/>
                    </a:lnTo>
                    <a:lnTo>
                      <a:pt x="1234" y="1860"/>
                    </a:lnTo>
                    <a:lnTo>
                      <a:pt x="1236" y="1856"/>
                    </a:lnTo>
                    <a:lnTo>
                      <a:pt x="1237" y="1851"/>
                    </a:lnTo>
                    <a:lnTo>
                      <a:pt x="1237" y="1846"/>
                    </a:lnTo>
                    <a:lnTo>
                      <a:pt x="1237" y="1843"/>
                    </a:lnTo>
                    <a:lnTo>
                      <a:pt x="1235" y="1838"/>
                    </a:lnTo>
                    <a:lnTo>
                      <a:pt x="1230" y="1832"/>
                    </a:lnTo>
                    <a:lnTo>
                      <a:pt x="1225" y="1826"/>
                    </a:lnTo>
                    <a:lnTo>
                      <a:pt x="1223" y="1819"/>
                    </a:lnTo>
                    <a:lnTo>
                      <a:pt x="1222" y="1814"/>
                    </a:lnTo>
                    <a:lnTo>
                      <a:pt x="1222" y="1811"/>
                    </a:lnTo>
                    <a:lnTo>
                      <a:pt x="1223" y="1808"/>
                    </a:lnTo>
                    <a:lnTo>
                      <a:pt x="1224" y="1806"/>
                    </a:lnTo>
                    <a:lnTo>
                      <a:pt x="1229" y="1800"/>
                    </a:lnTo>
                    <a:lnTo>
                      <a:pt x="1233" y="1793"/>
                    </a:lnTo>
                    <a:lnTo>
                      <a:pt x="1235" y="1789"/>
                    </a:lnTo>
                    <a:lnTo>
                      <a:pt x="1235" y="1784"/>
                    </a:lnTo>
                    <a:lnTo>
                      <a:pt x="1236" y="1780"/>
                    </a:lnTo>
                    <a:lnTo>
                      <a:pt x="1235" y="1776"/>
                    </a:lnTo>
                    <a:lnTo>
                      <a:pt x="1231" y="1764"/>
                    </a:lnTo>
                    <a:lnTo>
                      <a:pt x="1228" y="1750"/>
                    </a:lnTo>
                    <a:lnTo>
                      <a:pt x="1225" y="1744"/>
                    </a:lnTo>
                    <a:lnTo>
                      <a:pt x="1224" y="1739"/>
                    </a:lnTo>
                    <a:lnTo>
                      <a:pt x="1222" y="1738"/>
                    </a:lnTo>
                    <a:lnTo>
                      <a:pt x="1221" y="1737"/>
                    </a:lnTo>
                    <a:lnTo>
                      <a:pt x="1217" y="1737"/>
                    </a:lnTo>
                    <a:lnTo>
                      <a:pt x="1214" y="1738"/>
                    </a:lnTo>
                    <a:lnTo>
                      <a:pt x="1204" y="1740"/>
                    </a:lnTo>
                    <a:lnTo>
                      <a:pt x="1196" y="1745"/>
                    </a:lnTo>
                    <a:lnTo>
                      <a:pt x="1180" y="1759"/>
                    </a:lnTo>
                    <a:lnTo>
                      <a:pt x="1162" y="1776"/>
                    </a:lnTo>
                    <a:lnTo>
                      <a:pt x="1159" y="1778"/>
                    </a:lnTo>
                    <a:lnTo>
                      <a:pt x="1154" y="1781"/>
                    </a:lnTo>
                    <a:lnTo>
                      <a:pt x="1149" y="1783"/>
                    </a:lnTo>
                    <a:lnTo>
                      <a:pt x="1146" y="1783"/>
                    </a:lnTo>
                    <a:lnTo>
                      <a:pt x="1138" y="1784"/>
                    </a:lnTo>
                    <a:lnTo>
                      <a:pt x="1130" y="1784"/>
                    </a:lnTo>
                    <a:lnTo>
                      <a:pt x="1126" y="1784"/>
                    </a:lnTo>
                    <a:lnTo>
                      <a:pt x="1123" y="1786"/>
                    </a:lnTo>
                    <a:lnTo>
                      <a:pt x="1120" y="1789"/>
                    </a:lnTo>
                    <a:lnTo>
                      <a:pt x="1114" y="1794"/>
                    </a:lnTo>
                    <a:lnTo>
                      <a:pt x="1111" y="1796"/>
                    </a:lnTo>
                    <a:lnTo>
                      <a:pt x="1108" y="1799"/>
                    </a:lnTo>
                    <a:lnTo>
                      <a:pt x="1103" y="1800"/>
                    </a:lnTo>
                    <a:lnTo>
                      <a:pt x="1099" y="1801"/>
                    </a:lnTo>
                    <a:lnTo>
                      <a:pt x="1096" y="1802"/>
                    </a:lnTo>
                    <a:lnTo>
                      <a:pt x="1091" y="1801"/>
                    </a:lnTo>
                    <a:lnTo>
                      <a:pt x="1088" y="1800"/>
                    </a:lnTo>
                    <a:lnTo>
                      <a:pt x="1083" y="1799"/>
                    </a:lnTo>
                    <a:lnTo>
                      <a:pt x="1078" y="1796"/>
                    </a:lnTo>
                    <a:lnTo>
                      <a:pt x="1073" y="1793"/>
                    </a:lnTo>
                    <a:lnTo>
                      <a:pt x="1069" y="1789"/>
                    </a:lnTo>
                    <a:lnTo>
                      <a:pt x="1065" y="1786"/>
                    </a:lnTo>
                    <a:lnTo>
                      <a:pt x="1059" y="1776"/>
                    </a:lnTo>
                    <a:lnTo>
                      <a:pt x="1054" y="1768"/>
                    </a:lnTo>
                    <a:lnTo>
                      <a:pt x="1050" y="1759"/>
                    </a:lnTo>
                    <a:lnTo>
                      <a:pt x="1045" y="1755"/>
                    </a:lnTo>
                    <a:lnTo>
                      <a:pt x="1038" y="1751"/>
                    </a:lnTo>
                    <a:lnTo>
                      <a:pt x="1029" y="1750"/>
                    </a:lnTo>
                    <a:lnTo>
                      <a:pt x="1023" y="1750"/>
                    </a:lnTo>
                    <a:lnTo>
                      <a:pt x="1020" y="1751"/>
                    </a:lnTo>
                    <a:lnTo>
                      <a:pt x="1016" y="1752"/>
                    </a:lnTo>
                    <a:lnTo>
                      <a:pt x="1014" y="1753"/>
                    </a:lnTo>
                    <a:lnTo>
                      <a:pt x="1009" y="1758"/>
                    </a:lnTo>
                    <a:lnTo>
                      <a:pt x="1006" y="1763"/>
                    </a:lnTo>
                    <a:lnTo>
                      <a:pt x="1003" y="1767"/>
                    </a:lnTo>
                    <a:lnTo>
                      <a:pt x="1001" y="1768"/>
                    </a:lnTo>
                    <a:lnTo>
                      <a:pt x="998" y="1769"/>
                    </a:lnTo>
                    <a:lnTo>
                      <a:pt x="996" y="1770"/>
                    </a:lnTo>
                    <a:lnTo>
                      <a:pt x="990" y="1769"/>
                    </a:lnTo>
                    <a:lnTo>
                      <a:pt x="985" y="1765"/>
                    </a:lnTo>
                    <a:lnTo>
                      <a:pt x="982" y="1762"/>
                    </a:lnTo>
                    <a:lnTo>
                      <a:pt x="979" y="1759"/>
                    </a:lnTo>
                    <a:lnTo>
                      <a:pt x="973" y="1756"/>
                    </a:lnTo>
                    <a:lnTo>
                      <a:pt x="964" y="1753"/>
                    </a:lnTo>
                    <a:lnTo>
                      <a:pt x="958" y="1752"/>
                    </a:lnTo>
                    <a:lnTo>
                      <a:pt x="952" y="1753"/>
                    </a:lnTo>
                    <a:lnTo>
                      <a:pt x="946" y="1755"/>
                    </a:lnTo>
                    <a:lnTo>
                      <a:pt x="940" y="1757"/>
                    </a:lnTo>
                    <a:lnTo>
                      <a:pt x="927" y="1763"/>
                    </a:lnTo>
                    <a:lnTo>
                      <a:pt x="913" y="1767"/>
                    </a:lnTo>
                    <a:lnTo>
                      <a:pt x="899" y="1771"/>
                    </a:lnTo>
                    <a:lnTo>
                      <a:pt x="884" y="1777"/>
                    </a:lnTo>
                    <a:lnTo>
                      <a:pt x="878" y="1780"/>
                    </a:lnTo>
                    <a:lnTo>
                      <a:pt x="871" y="1782"/>
                    </a:lnTo>
                    <a:lnTo>
                      <a:pt x="865" y="1783"/>
                    </a:lnTo>
                    <a:lnTo>
                      <a:pt x="861" y="1784"/>
                    </a:lnTo>
                    <a:lnTo>
                      <a:pt x="849" y="1783"/>
                    </a:lnTo>
                    <a:lnTo>
                      <a:pt x="837" y="1781"/>
                    </a:lnTo>
                    <a:lnTo>
                      <a:pt x="821" y="1780"/>
                    </a:lnTo>
                    <a:lnTo>
                      <a:pt x="802" y="1778"/>
                    </a:lnTo>
                    <a:lnTo>
                      <a:pt x="781" y="1780"/>
                    </a:lnTo>
                    <a:lnTo>
                      <a:pt x="761" y="1782"/>
                    </a:lnTo>
                    <a:lnTo>
                      <a:pt x="744" y="1786"/>
                    </a:lnTo>
                    <a:lnTo>
                      <a:pt x="731" y="1789"/>
                    </a:lnTo>
                    <a:lnTo>
                      <a:pt x="721" y="1790"/>
                    </a:lnTo>
                    <a:lnTo>
                      <a:pt x="710" y="1792"/>
                    </a:lnTo>
                    <a:lnTo>
                      <a:pt x="704" y="1790"/>
                    </a:lnTo>
                    <a:lnTo>
                      <a:pt x="699" y="1789"/>
                    </a:lnTo>
                    <a:lnTo>
                      <a:pt x="693" y="1788"/>
                    </a:lnTo>
                    <a:lnTo>
                      <a:pt x="688" y="1786"/>
                    </a:lnTo>
                    <a:lnTo>
                      <a:pt x="676" y="1778"/>
                    </a:lnTo>
                    <a:lnTo>
                      <a:pt x="662" y="1771"/>
                    </a:lnTo>
                    <a:lnTo>
                      <a:pt x="649" y="1765"/>
                    </a:lnTo>
                    <a:lnTo>
                      <a:pt x="641" y="1759"/>
                    </a:lnTo>
                    <a:lnTo>
                      <a:pt x="635" y="1755"/>
                    </a:lnTo>
                    <a:lnTo>
                      <a:pt x="629" y="1750"/>
                    </a:lnTo>
                    <a:lnTo>
                      <a:pt x="619" y="1748"/>
                    </a:lnTo>
                    <a:lnTo>
                      <a:pt x="606" y="1746"/>
                    </a:lnTo>
                    <a:lnTo>
                      <a:pt x="599" y="1746"/>
                    </a:lnTo>
                    <a:lnTo>
                      <a:pt x="594" y="1745"/>
                    </a:lnTo>
                    <a:lnTo>
                      <a:pt x="590" y="1744"/>
                    </a:lnTo>
                    <a:lnTo>
                      <a:pt x="586" y="1742"/>
                    </a:lnTo>
                    <a:lnTo>
                      <a:pt x="580" y="1736"/>
                    </a:lnTo>
                    <a:lnTo>
                      <a:pt x="573" y="1730"/>
                    </a:lnTo>
                    <a:lnTo>
                      <a:pt x="563" y="1724"/>
                    </a:lnTo>
                    <a:lnTo>
                      <a:pt x="553" y="1720"/>
                    </a:lnTo>
                    <a:lnTo>
                      <a:pt x="541" y="1718"/>
                    </a:lnTo>
                    <a:lnTo>
                      <a:pt x="530" y="1717"/>
                    </a:lnTo>
                    <a:lnTo>
                      <a:pt x="525" y="1715"/>
                    </a:lnTo>
                    <a:lnTo>
                      <a:pt x="521" y="1714"/>
                    </a:lnTo>
                    <a:lnTo>
                      <a:pt x="516" y="1712"/>
                    </a:lnTo>
                    <a:lnTo>
                      <a:pt x="512" y="1709"/>
                    </a:lnTo>
                    <a:lnTo>
                      <a:pt x="506" y="1701"/>
                    </a:lnTo>
                    <a:lnTo>
                      <a:pt x="500" y="1692"/>
                    </a:lnTo>
                    <a:lnTo>
                      <a:pt x="498" y="1688"/>
                    </a:lnTo>
                    <a:lnTo>
                      <a:pt x="494" y="1686"/>
                    </a:lnTo>
                    <a:lnTo>
                      <a:pt x="491" y="1685"/>
                    </a:lnTo>
                    <a:lnTo>
                      <a:pt x="485" y="1685"/>
                    </a:lnTo>
                    <a:lnTo>
                      <a:pt x="473" y="1686"/>
                    </a:lnTo>
                    <a:lnTo>
                      <a:pt x="459" y="1689"/>
                    </a:lnTo>
                    <a:lnTo>
                      <a:pt x="452" y="1689"/>
                    </a:lnTo>
                    <a:lnTo>
                      <a:pt x="446" y="1689"/>
                    </a:lnTo>
                    <a:lnTo>
                      <a:pt x="442" y="1688"/>
                    </a:lnTo>
                    <a:lnTo>
                      <a:pt x="439" y="1686"/>
                    </a:lnTo>
                    <a:lnTo>
                      <a:pt x="431" y="1679"/>
                    </a:lnTo>
                    <a:lnTo>
                      <a:pt x="423" y="1671"/>
                    </a:lnTo>
                    <a:lnTo>
                      <a:pt x="414" y="1662"/>
                    </a:lnTo>
                    <a:lnTo>
                      <a:pt x="404" y="1651"/>
                    </a:lnTo>
                    <a:lnTo>
                      <a:pt x="397" y="1641"/>
                    </a:lnTo>
                    <a:lnTo>
                      <a:pt x="391" y="1632"/>
                    </a:lnTo>
                    <a:lnTo>
                      <a:pt x="386" y="1624"/>
                    </a:lnTo>
                    <a:lnTo>
                      <a:pt x="380" y="1613"/>
                    </a:lnTo>
                    <a:lnTo>
                      <a:pt x="378" y="1607"/>
                    </a:lnTo>
                    <a:lnTo>
                      <a:pt x="377" y="1603"/>
                    </a:lnTo>
                    <a:lnTo>
                      <a:pt x="377" y="1598"/>
                    </a:lnTo>
                    <a:lnTo>
                      <a:pt x="378" y="1594"/>
                    </a:lnTo>
                    <a:lnTo>
                      <a:pt x="380" y="1587"/>
                    </a:lnTo>
                    <a:lnTo>
                      <a:pt x="379" y="1581"/>
                    </a:lnTo>
                    <a:lnTo>
                      <a:pt x="378" y="1578"/>
                    </a:lnTo>
                    <a:lnTo>
                      <a:pt x="377" y="1575"/>
                    </a:lnTo>
                    <a:lnTo>
                      <a:pt x="373" y="1574"/>
                    </a:lnTo>
                    <a:lnTo>
                      <a:pt x="368" y="1573"/>
                    </a:lnTo>
                    <a:lnTo>
                      <a:pt x="357" y="1569"/>
                    </a:lnTo>
                    <a:lnTo>
                      <a:pt x="343" y="1563"/>
                    </a:lnTo>
                    <a:lnTo>
                      <a:pt x="330" y="1556"/>
                    </a:lnTo>
                    <a:lnTo>
                      <a:pt x="321" y="1549"/>
                    </a:lnTo>
                    <a:lnTo>
                      <a:pt x="317" y="1545"/>
                    </a:lnTo>
                    <a:lnTo>
                      <a:pt x="315" y="1541"/>
                    </a:lnTo>
                    <a:lnTo>
                      <a:pt x="314" y="1535"/>
                    </a:lnTo>
                    <a:lnTo>
                      <a:pt x="313" y="1528"/>
                    </a:lnTo>
                    <a:lnTo>
                      <a:pt x="311" y="1516"/>
                    </a:lnTo>
                    <a:lnTo>
                      <a:pt x="313" y="1504"/>
                    </a:lnTo>
                    <a:lnTo>
                      <a:pt x="313" y="1499"/>
                    </a:lnTo>
                    <a:lnTo>
                      <a:pt x="311" y="1496"/>
                    </a:lnTo>
                    <a:lnTo>
                      <a:pt x="310" y="1492"/>
                    </a:lnTo>
                    <a:lnTo>
                      <a:pt x="309" y="1488"/>
                    </a:lnTo>
                    <a:lnTo>
                      <a:pt x="307" y="1486"/>
                    </a:lnTo>
                    <a:lnTo>
                      <a:pt x="304" y="1482"/>
                    </a:lnTo>
                    <a:lnTo>
                      <a:pt x="301" y="1481"/>
                    </a:lnTo>
                    <a:lnTo>
                      <a:pt x="297" y="1479"/>
                    </a:lnTo>
                    <a:lnTo>
                      <a:pt x="289" y="1475"/>
                    </a:lnTo>
                    <a:lnTo>
                      <a:pt x="283" y="1471"/>
                    </a:lnTo>
                    <a:lnTo>
                      <a:pt x="278" y="1466"/>
                    </a:lnTo>
                    <a:lnTo>
                      <a:pt x="276" y="1460"/>
                    </a:lnTo>
                    <a:lnTo>
                      <a:pt x="273" y="1453"/>
                    </a:lnTo>
                    <a:lnTo>
                      <a:pt x="271" y="1447"/>
                    </a:lnTo>
                    <a:lnTo>
                      <a:pt x="267" y="1441"/>
                    </a:lnTo>
                    <a:lnTo>
                      <a:pt x="261" y="1435"/>
                    </a:lnTo>
                    <a:lnTo>
                      <a:pt x="245" y="1423"/>
                    </a:lnTo>
                    <a:lnTo>
                      <a:pt x="227" y="1408"/>
                    </a:lnTo>
                    <a:lnTo>
                      <a:pt x="222" y="1404"/>
                    </a:lnTo>
                    <a:lnTo>
                      <a:pt x="219" y="1400"/>
                    </a:lnTo>
                    <a:lnTo>
                      <a:pt x="216" y="1398"/>
                    </a:lnTo>
                    <a:lnTo>
                      <a:pt x="216" y="1397"/>
                    </a:lnTo>
                    <a:lnTo>
                      <a:pt x="217" y="1392"/>
                    </a:lnTo>
                    <a:lnTo>
                      <a:pt x="222" y="1386"/>
                    </a:lnTo>
                    <a:lnTo>
                      <a:pt x="227" y="1377"/>
                    </a:lnTo>
                    <a:lnTo>
                      <a:pt x="230" y="1370"/>
                    </a:lnTo>
                    <a:lnTo>
                      <a:pt x="233" y="1358"/>
                    </a:lnTo>
                    <a:lnTo>
                      <a:pt x="235" y="1343"/>
                    </a:lnTo>
                    <a:lnTo>
                      <a:pt x="235" y="1327"/>
                    </a:lnTo>
                    <a:lnTo>
                      <a:pt x="236" y="1310"/>
                    </a:lnTo>
                    <a:lnTo>
                      <a:pt x="236" y="1296"/>
                    </a:lnTo>
                    <a:lnTo>
                      <a:pt x="234" y="1283"/>
                    </a:lnTo>
                    <a:lnTo>
                      <a:pt x="232" y="1276"/>
                    </a:lnTo>
                    <a:lnTo>
                      <a:pt x="229" y="1270"/>
                    </a:lnTo>
                    <a:lnTo>
                      <a:pt x="226" y="1264"/>
                    </a:lnTo>
                    <a:lnTo>
                      <a:pt x="220" y="1258"/>
                    </a:lnTo>
                    <a:lnTo>
                      <a:pt x="208" y="1246"/>
                    </a:lnTo>
                    <a:lnTo>
                      <a:pt x="194" y="1234"/>
                    </a:lnTo>
                    <a:lnTo>
                      <a:pt x="179" y="1223"/>
                    </a:lnTo>
                    <a:lnTo>
                      <a:pt x="165" y="1210"/>
                    </a:lnTo>
                    <a:lnTo>
                      <a:pt x="160" y="1204"/>
                    </a:lnTo>
                    <a:lnTo>
                      <a:pt x="157" y="1198"/>
                    </a:lnTo>
                    <a:lnTo>
                      <a:pt x="154" y="1191"/>
                    </a:lnTo>
                    <a:lnTo>
                      <a:pt x="152" y="1184"/>
                    </a:lnTo>
                    <a:lnTo>
                      <a:pt x="150" y="1171"/>
                    </a:lnTo>
                    <a:lnTo>
                      <a:pt x="145" y="1157"/>
                    </a:lnTo>
                    <a:lnTo>
                      <a:pt x="140" y="1150"/>
                    </a:lnTo>
                    <a:lnTo>
                      <a:pt x="135" y="1145"/>
                    </a:lnTo>
                    <a:lnTo>
                      <a:pt x="129" y="1141"/>
                    </a:lnTo>
                    <a:lnTo>
                      <a:pt x="122" y="1139"/>
                    </a:lnTo>
                    <a:lnTo>
                      <a:pt x="109" y="1134"/>
                    </a:lnTo>
                    <a:lnTo>
                      <a:pt x="95" y="1132"/>
                    </a:lnTo>
                    <a:lnTo>
                      <a:pt x="90" y="1129"/>
                    </a:lnTo>
                    <a:lnTo>
                      <a:pt x="87" y="1127"/>
                    </a:lnTo>
                    <a:lnTo>
                      <a:pt x="84" y="1124"/>
                    </a:lnTo>
                    <a:lnTo>
                      <a:pt x="84" y="1120"/>
                    </a:lnTo>
                    <a:lnTo>
                      <a:pt x="84" y="1116"/>
                    </a:lnTo>
                    <a:lnTo>
                      <a:pt x="85" y="1112"/>
                    </a:lnTo>
                    <a:lnTo>
                      <a:pt x="88" y="1108"/>
                    </a:lnTo>
                    <a:lnTo>
                      <a:pt x="90" y="1105"/>
                    </a:lnTo>
                    <a:lnTo>
                      <a:pt x="95" y="1097"/>
                    </a:lnTo>
                    <a:lnTo>
                      <a:pt x="99" y="1091"/>
                    </a:lnTo>
                    <a:lnTo>
                      <a:pt x="100" y="1088"/>
                    </a:lnTo>
                    <a:lnTo>
                      <a:pt x="100" y="1085"/>
                    </a:lnTo>
                    <a:lnTo>
                      <a:pt x="100" y="1082"/>
                    </a:lnTo>
                    <a:lnTo>
                      <a:pt x="99" y="1080"/>
                    </a:lnTo>
                    <a:lnTo>
                      <a:pt x="94" y="1074"/>
                    </a:lnTo>
                    <a:lnTo>
                      <a:pt x="88" y="1066"/>
                    </a:lnTo>
                    <a:lnTo>
                      <a:pt x="84" y="1062"/>
                    </a:lnTo>
                    <a:lnTo>
                      <a:pt x="82" y="1057"/>
                    </a:lnTo>
                    <a:lnTo>
                      <a:pt x="80" y="1051"/>
                    </a:lnTo>
                    <a:lnTo>
                      <a:pt x="78" y="1045"/>
                    </a:lnTo>
                    <a:lnTo>
                      <a:pt x="78" y="1039"/>
                    </a:lnTo>
                    <a:lnTo>
                      <a:pt x="80" y="1033"/>
                    </a:lnTo>
                    <a:lnTo>
                      <a:pt x="81" y="1028"/>
                    </a:lnTo>
                    <a:lnTo>
                      <a:pt x="83" y="1025"/>
                    </a:lnTo>
                    <a:lnTo>
                      <a:pt x="89" y="1018"/>
                    </a:lnTo>
                    <a:lnTo>
                      <a:pt x="94" y="1012"/>
                    </a:lnTo>
                    <a:lnTo>
                      <a:pt x="96" y="1007"/>
                    </a:lnTo>
                    <a:lnTo>
                      <a:pt x="97" y="1001"/>
                    </a:lnTo>
                    <a:lnTo>
                      <a:pt x="96" y="999"/>
                    </a:lnTo>
                    <a:lnTo>
                      <a:pt x="95" y="995"/>
                    </a:lnTo>
                    <a:lnTo>
                      <a:pt x="91" y="993"/>
                    </a:lnTo>
                    <a:lnTo>
                      <a:pt x="88" y="989"/>
                    </a:lnTo>
                    <a:lnTo>
                      <a:pt x="75" y="982"/>
                    </a:lnTo>
                    <a:lnTo>
                      <a:pt x="57" y="975"/>
                    </a:lnTo>
                    <a:lnTo>
                      <a:pt x="40" y="967"/>
                    </a:lnTo>
                    <a:lnTo>
                      <a:pt x="26" y="959"/>
                    </a:lnTo>
                    <a:lnTo>
                      <a:pt x="21" y="956"/>
                    </a:lnTo>
                    <a:lnTo>
                      <a:pt x="20" y="951"/>
                    </a:lnTo>
                    <a:lnTo>
                      <a:pt x="19" y="948"/>
                    </a:lnTo>
                    <a:lnTo>
                      <a:pt x="20" y="943"/>
                    </a:lnTo>
                    <a:lnTo>
                      <a:pt x="25" y="933"/>
                    </a:lnTo>
                    <a:lnTo>
                      <a:pt x="32" y="925"/>
                    </a:lnTo>
                    <a:lnTo>
                      <a:pt x="34" y="921"/>
                    </a:lnTo>
                    <a:lnTo>
                      <a:pt x="37" y="918"/>
                    </a:lnTo>
                    <a:lnTo>
                      <a:pt x="38" y="914"/>
                    </a:lnTo>
                    <a:lnTo>
                      <a:pt x="39" y="911"/>
                    </a:lnTo>
                    <a:lnTo>
                      <a:pt x="38" y="907"/>
                    </a:lnTo>
                    <a:lnTo>
                      <a:pt x="37" y="904"/>
                    </a:lnTo>
                    <a:lnTo>
                      <a:pt x="34" y="899"/>
                    </a:lnTo>
                    <a:lnTo>
                      <a:pt x="32" y="895"/>
                    </a:lnTo>
                    <a:lnTo>
                      <a:pt x="24" y="888"/>
                    </a:lnTo>
                    <a:lnTo>
                      <a:pt x="14" y="880"/>
                    </a:lnTo>
                    <a:lnTo>
                      <a:pt x="9" y="875"/>
                    </a:lnTo>
                    <a:lnTo>
                      <a:pt x="6" y="869"/>
                    </a:lnTo>
                    <a:lnTo>
                      <a:pt x="2" y="862"/>
                    </a:lnTo>
                    <a:lnTo>
                      <a:pt x="1" y="853"/>
                    </a:lnTo>
                    <a:lnTo>
                      <a:pt x="0" y="843"/>
                    </a:lnTo>
                    <a:lnTo>
                      <a:pt x="1" y="834"/>
                    </a:lnTo>
                    <a:lnTo>
                      <a:pt x="3" y="825"/>
                    </a:lnTo>
                    <a:lnTo>
                      <a:pt x="6" y="818"/>
                    </a:lnTo>
                    <a:lnTo>
                      <a:pt x="7" y="814"/>
                    </a:lnTo>
                    <a:lnTo>
                      <a:pt x="8" y="812"/>
                    </a:lnTo>
                    <a:lnTo>
                      <a:pt x="11" y="809"/>
                    </a:lnTo>
                    <a:lnTo>
                      <a:pt x="12" y="807"/>
                    </a:lnTo>
                    <a:lnTo>
                      <a:pt x="14" y="806"/>
                    </a:lnTo>
                    <a:lnTo>
                      <a:pt x="20" y="806"/>
                    </a:lnTo>
                    <a:lnTo>
                      <a:pt x="37" y="805"/>
                    </a:lnTo>
                    <a:lnTo>
                      <a:pt x="55" y="805"/>
                    </a:lnTo>
                    <a:lnTo>
                      <a:pt x="74" y="804"/>
                    </a:lnTo>
                    <a:lnTo>
                      <a:pt x="94" y="803"/>
                    </a:lnTo>
                    <a:lnTo>
                      <a:pt x="102" y="801"/>
                    </a:lnTo>
                    <a:lnTo>
                      <a:pt x="110" y="799"/>
                    </a:lnTo>
                    <a:lnTo>
                      <a:pt x="116" y="797"/>
                    </a:lnTo>
                    <a:lnTo>
                      <a:pt x="121" y="793"/>
                    </a:lnTo>
                    <a:lnTo>
                      <a:pt x="129" y="787"/>
                    </a:lnTo>
                    <a:lnTo>
                      <a:pt x="138" y="782"/>
                    </a:lnTo>
                    <a:lnTo>
                      <a:pt x="147" y="778"/>
                    </a:lnTo>
                    <a:lnTo>
                      <a:pt x="159" y="775"/>
                    </a:lnTo>
                    <a:lnTo>
                      <a:pt x="170" y="772"/>
                    </a:lnTo>
                    <a:lnTo>
                      <a:pt x="179" y="767"/>
                    </a:lnTo>
                    <a:lnTo>
                      <a:pt x="185" y="762"/>
                    </a:lnTo>
                    <a:lnTo>
                      <a:pt x="190" y="757"/>
                    </a:lnTo>
                    <a:lnTo>
                      <a:pt x="196" y="754"/>
                    </a:lnTo>
                    <a:lnTo>
                      <a:pt x="203" y="750"/>
                    </a:lnTo>
                    <a:lnTo>
                      <a:pt x="211" y="748"/>
                    </a:lnTo>
                    <a:lnTo>
                      <a:pt x="220" y="747"/>
                    </a:lnTo>
                    <a:lnTo>
                      <a:pt x="229" y="744"/>
                    </a:lnTo>
                    <a:lnTo>
                      <a:pt x="240" y="741"/>
                    </a:lnTo>
                    <a:lnTo>
                      <a:pt x="251" y="735"/>
                    </a:lnTo>
                    <a:lnTo>
                      <a:pt x="259" y="729"/>
                    </a:lnTo>
                    <a:lnTo>
                      <a:pt x="265" y="722"/>
                    </a:lnTo>
                    <a:lnTo>
                      <a:pt x="272" y="717"/>
                    </a:lnTo>
                    <a:lnTo>
                      <a:pt x="276" y="715"/>
                    </a:lnTo>
                    <a:lnTo>
                      <a:pt x="280" y="712"/>
                    </a:lnTo>
                    <a:lnTo>
                      <a:pt x="285" y="711"/>
                    </a:lnTo>
                    <a:lnTo>
                      <a:pt x="291" y="710"/>
                    </a:lnTo>
                    <a:lnTo>
                      <a:pt x="303" y="708"/>
                    </a:lnTo>
                    <a:lnTo>
                      <a:pt x="317" y="705"/>
                    </a:lnTo>
                    <a:lnTo>
                      <a:pt x="333" y="703"/>
                    </a:lnTo>
                    <a:lnTo>
                      <a:pt x="349" y="700"/>
                    </a:lnTo>
                    <a:lnTo>
                      <a:pt x="370" y="698"/>
                    </a:lnTo>
                    <a:lnTo>
                      <a:pt x="391" y="693"/>
                    </a:lnTo>
                    <a:lnTo>
                      <a:pt x="400" y="691"/>
                    </a:lnTo>
                    <a:lnTo>
                      <a:pt x="409" y="688"/>
                    </a:lnTo>
                    <a:lnTo>
                      <a:pt x="416" y="685"/>
                    </a:lnTo>
                    <a:lnTo>
                      <a:pt x="421" y="681"/>
                    </a:lnTo>
                    <a:lnTo>
                      <a:pt x="435" y="665"/>
                    </a:lnTo>
                    <a:lnTo>
                      <a:pt x="446" y="649"/>
                    </a:lnTo>
                    <a:lnTo>
                      <a:pt x="450" y="645"/>
                    </a:lnTo>
                    <a:lnTo>
                      <a:pt x="454" y="641"/>
                    </a:lnTo>
                    <a:lnTo>
                      <a:pt x="456" y="637"/>
                    </a:lnTo>
                    <a:lnTo>
                      <a:pt x="458" y="633"/>
                    </a:lnTo>
                    <a:lnTo>
                      <a:pt x="459" y="628"/>
                    </a:lnTo>
                    <a:lnTo>
                      <a:pt x="461" y="623"/>
                    </a:lnTo>
                    <a:lnTo>
                      <a:pt x="465" y="620"/>
                    </a:lnTo>
                    <a:lnTo>
                      <a:pt x="468" y="617"/>
                    </a:lnTo>
                    <a:lnTo>
                      <a:pt x="475" y="615"/>
                    </a:lnTo>
                    <a:lnTo>
                      <a:pt x="483" y="611"/>
                    </a:lnTo>
                    <a:lnTo>
                      <a:pt x="491" y="606"/>
                    </a:lnTo>
                    <a:lnTo>
                      <a:pt x="498" y="599"/>
                    </a:lnTo>
                    <a:lnTo>
                      <a:pt x="504" y="593"/>
                    </a:lnTo>
                    <a:lnTo>
                      <a:pt x="510" y="587"/>
                    </a:lnTo>
                    <a:lnTo>
                      <a:pt x="513" y="586"/>
                    </a:lnTo>
                    <a:lnTo>
                      <a:pt x="519" y="584"/>
                    </a:lnTo>
                    <a:lnTo>
                      <a:pt x="525" y="583"/>
                    </a:lnTo>
                    <a:lnTo>
                      <a:pt x="532" y="582"/>
                    </a:lnTo>
                    <a:lnTo>
                      <a:pt x="541" y="582"/>
                    </a:lnTo>
                    <a:lnTo>
                      <a:pt x="549" y="582"/>
                    </a:lnTo>
                    <a:lnTo>
                      <a:pt x="556" y="583"/>
                    </a:lnTo>
                    <a:lnTo>
                      <a:pt x="562" y="584"/>
                    </a:lnTo>
                    <a:lnTo>
                      <a:pt x="568" y="586"/>
                    </a:lnTo>
                    <a:lnTo>
                      <a:pt x="572" y="59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辽宁"/>
              <p:cNvSpPr>
                <a:spLocks noEditPoint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967922" y="2172036"/>
                <a:ext cx="815632" cy="802477"/>
              </a:xfrm>
              <a:custGeom>
                <a:avLst/>
                <a:gdLst>
                  <a:gd name="T0" fmla="*/ 259 w 2212"/>
                  <a:gd name="T1" fmla="*/ 1537 h 2187"/>
                  <a:gd name="T2" fmla="*/ 137 w 2212"/>
                  <a:gd name="T3" fmla="*/ 1452 h 2187"/>
                  <a:gd name="T4" fmla="*/ 8 w 2212"/>
                  <a:gd name="T5" fmla="*/ 1353 h 2187"/>
                  <a:gd name="T6" fmla="*/ 26 w 2212"/>
                  <a:gd name="T7" fmla="*/ 1249 h 2187"/>
                  <a:gd name="T8" fmla="*/ 103 w 2212"/>
                  <a:gd name="T9" fmla="*/ 1131 h 2187"/>
                  <a:gd name="T10" fmla="*/ 154 w 2212"/>
                  <a:gd name="T11" fmla="*/ 1037 h 2187"/>
                  <a:gd name="T12" fmla="*/ 115 w 2212"/>
                  <a:gd name="T13" fmla="*/ 918 h 2187"/>
                  <a:gd name="T14" fmla="*/ 84 w 2212"/>
                  <a:gd name="T15" fmla="*/ 727 h 2187"/>
                  <a:gd name="T16" fmla="*/ 219 w 2212"/>
                  <a:gd name="T17" fmla="*/ 704 h 2187"/>
                  <a:gd name="T18" fmla="*/ 340 w 2212"/>
                  <a:gd name="T19" fmla="*/ 910 h 2187"/>
                  <a:gd name="T20" fmla="*/ 449 w 2212"/>
                  <a:gd name="T21" fmla="*/ 787 h 2187"/>
                  <a:gd name="T22" fmla="*/ 623 w 2212"/>
                  <a:gd name="T23" fmla="*/ 652 h 2187"/>
                  <a:gd name="T24" fmla="*/ 820 w 2212"/>
                  <a:gd name="T25" fmla="*/ 538 h 2187"/>
                  <a:gd name="T26" fmla="*/ 931 w 2212"/>
                  <a:gd name="T27" fmla="*/ 415 h 2187"/>
                  <a:gd name="T28" fmla="*/ 1051 w 2212"/>
                  <a:gd name="T29" fmla="*/ 392 h 2187"/>
                  <a:gd name="T30" fmla="*/ 1120 w 2212"/>
                  <a:gd name="T31" fmla="*/ 362 h 2187"/>
                  <a:gd name="T32" fmla="*/ 1258 w 2212"/>
                  <a:gd name="T33" fmla="*/ 331 h 2187"/>
                  <a:gd name="T34" fmla="*/ 1343 w 2212"/>
                  <a:gd name="T35" fmla="*/ 211 h 2187"/>
                  <a:gd name="T36" fmla="*/ 1422 w 2212"/>
                  <a:gd name="T37" fmla="*/ 0 h 2187"/>
                  <a:gd name="T38" fmla="*/ 1601 w 2212"/>
                  <a:gd name="T39" fmla="*/ 94 h 2187"/>
                  <a:gd name="T40" fmla="*/ 1638 w 2212"/>
                  <a:gd name="T41" fmla="*/ 197 h 2187"/>
                  <a:gd name="T42" fmla="*/ 1695 w 2212"/>
                  <a:gd name="T43" fmla="*/ 236 h 2187"/>
                  <a:gd name="T44" fmla="*/ 1797 w 2212"/>
                  <a:gd name="T45" fmla="*/ 181 h 2187"/>
                  <a:gd name="T46" fmla="*/ 1854 w 2212"/>
                  <a:gd name="T47" fmla="*/ 319 h 2187"/>
                  <a:gd name="T48" fmla="*/ 1930 w 2212"/>
                  <a:gd name="T49" fmla="*/ 415 h 2187"/>
                  <a:gd name="T50" fmla="*/ 2003 w 2212"/>
                  <a:gd name="T51" fmla="*/ 508 h 2187"/>
                  <a:gd name="T52" fmla="*/ 2001 w 2212"/>
                  <a:gd name="T53" fmla="*/ 622 h 2187"/>
                  <a:gd name="T54" fmla="*/ 2075 w 2212"/>
                  <a:gd name="T55" fmla="*/ 758 h 2187"/>
                  <a:gd name="T56" fmla="*/ 2191 w 2212"/>
                  <a:gd name="T57" fmla="*/ 907 h 2187"/>
                  <a:gd name="T58" fmla="*/ 2156 w 2212"/>
                  <a:gd name="T59" fmla="*/ 1031 h 2187"/>
                  <a:gd name="T60" fmla="*/ 2188 w 2212"/>
                  <a:gd name="T61" fmla="*/ 1096 h 2187"/>
                  <a:gd name="T62" fmla="*/ 2033 w 2212"/>
                  <a:gd name="T63" fmla="*/ 1210 h 2187"/>
                  <a:gd name="T64" fmla="*/ 1844 w 2212"/>
                  <a:gd name="T65" fmla="*/ 1409 h 2187"/>
                  <a:gd name="T66" fmla="*/ 1732 w 2212"/>
                  <a:gd name="T67" fmla="*/ 1586 h 2187"/>
                  <a:gd name="T68" fmla="*/ 1548 w 2212"/>
                  <a:gd name="T69" fmla="*/ 1630 h 2187"/>
                  <a:gd name="T70" fmla="*/ 1334 w 2212"/>
                  <a:gd name="T71" fmla="*/ 1752 h 2187"/>
                  <a:gd name="T72" fmla="*/ 1129 w 2212"/>
                  <a:gd name="T73" fmla="*/ 1956 h 2187"/>
                  <a:gd name="T74" fmla="*/ 1116 w 2212"/>
                  <a:gd name="T75" fmla="*/ 1997 h 2187"/>
                  <a:gd name="T76" fmla="*/ 1078 w 2212"/>
                  <a:gd name="T77" fmla="*/ 2064 h 2187"/>
                  <a:gd name="T78" fmla="*/ 995 w 2212"/>
                  <a:gd name="T79" fmla="*/ 2048 h 2187"/>
                  <a:gd name="T80" fmla="*/ 975 w 2212"/>
                  <a:gd name="T81" fmla="*/ 2107 h 2187"/>
                  <a:gd name="T82" fmla="*/ 853 w 2212"/>
                  <a:gd name="T83" fmla="*/ 2185 h 2187"/>
                  <a:gd name="T84" fmla="*/ 857 w 2212"/>
                  <a:gd name="T85" fmla="*/ 2091 h 2187"/>
                  <a:gd name="T86" fmla="*/ 966 w 2212"/>
                  <a:gd name="T87" fmla="*/ 2027 h 2187"/>
                  <a:gd name="T88" fmla="*/ 975 w 2212"/>
                  <a:gd name="T89" fmla="*/ 1946 h 2187"/>
                  <a:gd name="T90" fmla="*/ 1042 w 2212"/>
                  <a:gd name="T91" fmla="*/ 1886 h 2187"/>
                  <a:gd name="T92" fmla="*/ 940 w 2212"/>
                  <a:gd name="T93" fmla="*/ 1897 h 2187"/>
                  <a:gd name="T94" fmla="*/ 903 w 2212"/>
                  <a:gd name="T95" fmla="*/ 1739 h 2187"/>
                  <a:gd name="T96" fmla="*/ 1002 w 2212"/>
                  <a:gd name="T97" fmla="*/ 1599 h 2187"/>
                  <a:gd name="T98" fmla="*/ 1070 w 2212"/>
                  <a:gd name="T99" fmla="*/ 1496 h 2187"/>
                  <a:gd name="T100" fmla="*/ 1059 w 2212"/>
                  <a:gd name="T101" fmla="*/ 1302 h 2187"/>
                  <a:gd name="T102" fmla="*/ 952 w 2212"/>
                  <a:gd name="T103" fmla="*/ 1152 h 2187"/>
                  <a:gd name="T104" fmla="*/ 905 w 2212"/>
                  <a:gd name="T105" fmla="*/ 1225 h 2187"/>
                  <a:gd name="T106" fmla="*/ 786 w 2212"/>
                  <a:gd name="T107" fmla="*/ 1207 h 2187"/>
                  <a:gd name="T108" fmla="*/ 655 w 2212"/>
                  <a:gd name="T109" fmla="*/ 1301 h 2187"/>
                  <a:gd name="T110" fmla="*/ 618 w 2212"/>
                  <a:gd name="T111" fmla="*/ 1401 h 2187"/>
                  <a:gd name="T112" fmla="*/ 534 w 2212"/>
                  <a:gd name="T113" fmla="*/ 1566 h 2187"/>
                  <a:gd name="T114" fmla="*/ 878 w 2212"/>
                  <a:gd name="T115" fmla="*/ 1788 h 2187"/>
                  <a:gd name="T116" fmla="*/ 850 w 2212"/>
                  <a:gd name="T117" fmla="*/ 1838 h 2187"/>
                  <a:gd name="T118" fmla="*/ 899 w 2212"/>
                  <a:gd name="T119" fmla="*/ 1886 h 2187"/>
                  <a:gd name="T120" fmla="*/ 845 w 2212"/>
                  <a:gd name="T121" fmla="*/ 1899 h 2187"/>
                  <a:gd name="T122" fmla="*/ 1229 w 2212"/>
                  <a:gd name="T123" fmla="*/ 1939 h 2187"/>
                  <a:gd name="T124" fmla="*/ 1350 w 2212"/>
                  <a:gd name="T125" fmla="*/ 1990 h 2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12" h="2187">
                    <a:moveTo>
                      <a:pt x="372" y="1668"/>
                    </a:moveTo>
                    <a:lnTo>
                      <a:pt x="368" y="1659"/>
                    </a:lnTo>
                    <a:lnTo>
                      <a:pt x="365" y="1648"/>
                    </a:lnTo>
                    <a:lnTo>
                      <a:pt x="364" y="1642"/>
                    </a:lnTo>
                    <a:lnTo>
                      <a:pt x="362" y="1638"/>
                    </a:lnTo>
                    <a:lnTo>
                      <a:pt x="360" y="1635"/>
                    </a:lnTo>
                    <a:lnTo>
                      <a:pt x="358" y="1635"/>
                    </a:lnTo>
                    <a:lnTo>
                      <a:pt x="348" y="1635"/>
                    </a:lnTo>
                    <a:lnTo>
                      <a:pt x="340" y="1635"/>
                    </a:lnTo>
                    <a:lnTo>
                      <a:pt x="336" y="1634"/>
                    </a:lnTo>
                    <a:lnTo>
                      <a:pt x="334" y="1632"/>
                    </a:lnTo>
                    <a:lnTo>
                      <a:pt x="332" y="1629"/>
                    </a:lnTo>
                    <a:lnTo>
                      <a:pt x="330" y="1624"/>
                    </a:lnTo>
                    <a:lnTo>
                      <a:pt x="327" y="1612"/>
                    </a:lnTo>
                    <a:lnTo>
                      <a:pt x="322" y="1602"/>
                    </a:lnTo>
                    <a:lnTo>
                      <a:pt x="319" y="1597"/>
                    </a:lnTo>
                    <a:lnTo>
                      <a:pt x="315" y="1592"/>
                    </a:lnTo>
                    <a:lnTo>
                      <a:pt x="311" y="1587"/>
                    </a:lnTo>
                    <a:lnTo>
                      <a:pt x="307" y="1584"/>
                    </a:lnTo>
                    <a:lnTo>
                      <a:pt x="289" y="1572"/>
                    </a:lnTo>
                    <a:lnTo>
                      <a:pt x="275" y="1560"/>
                    </a:lnTo>
                    <a:lnTo>
                      <a:pt x="269" y="1554"/>
                    </a:lnTo>
                    <a:lnTo>
                      <a:pt x="264" y="1546"/>
                    </a:lnTo>
                    <a:lnTo>
                      <a:pt x="259" y="1537"/>
                    </a:lnTo>
                    <a:lnTo>
                      <a:pt x="258" y="1528"/>
                    </a:lnTo>
                    <a:lnTo>
                      <a:pt x="258" y="1514"/>
                    </a:lnTo>
                    <a:lnTo>
                      <a:pt x="260" y="1497"/>
                    </a:lnTo>
                    <a:lnTo>
                      <a:pt x="260" y="1490"/>
                    </a:lnTo>
                    <a:lnTo>
                      <a:pt x="259" y="1481"/>
                    </a:lnTo>
                    <a:lnTo>
                      <a:pt x="257" y="1473"/>
                    </a:lnTo>
                    <a:lnTo>
                      <a:pt x="253" y="1464"/>
                    </a:lnTo>
                    <a:lnTo>
                      <a:pt x="251" y="1460"/>
                    </a:lnTo>
                    <a:lnTo>
                      <a:pt x="247" y="1457"/>
                    </a:lnTo>
                    <a:lnTo>
                      <a:pt x="244" y="1454"/>
                    </a:lnTo>
                    <a:lnTo>
                      <a:pt x="240" y="1452"/>
                    </a:lnTo>
                    <a:lnTo>
                      <a:pt x="232" y="1448"/>
                    </a:lnTo>
                    <a:lnTo>
                      <a:pt x="222" y="1447"/>
                    </a:lnTo>
                    <a:lnTo>
                      <a:pt x="213" y="1447"/>
                    </a:lnTo>
                    <a:lnTo>
                      <a:pt x="204" y="1448"/>
                    </a:lnTo>
                    <a:lnTo>
                      <a:pt x="196" y="1451"/>
                    </a:lnTo>
                    <a:lnTo>
                      <a:pt x="189" y="1453"/>
                    </a:lnTo>
                    <a:lnTo>
                      <a:pt x="177" y="1459"/>
                    </a:lnTo>
                    <a:lnTo>
                      <a:pt x="166" y="1461"/>
                    </a:lnTo>
                    <a:lnTo>
                      <a:pt x="162" y="1461"/>
                    </a:lnTo>
                    <a:lnTo>
                      <a:pt x="156" y="1461"/>
                    </a:lnTo>
                    <a:lnTo>
                      <a:pt x="150" y="1459"/>
                    </a:lnTo>
                    <a:lnTo>
                      <a:pt x="144" y="1457"/>
                    </a:lnTo>
                    <a:lnTo>
                      <a:pt x="137" y="1452"/>
                    </a:lnTo>
                    <a:lnTo>
                      <a:pt x="131" y="1448"/>
                    </a:lnTo>
                    <a:lnTo>
                      <a:pt x="124" y="1442"/>
                    </a:lnTo>
                    <a:lnTo>
                      <a:pt x="118" y="1437"/>
                    </a:lnTo>
                    <a:lnTo>
                      <a:pt x="113" y="1432"/>
                    </a:lnTo>
                    <a:lnTo>
                      <a:pt x="109" y="1426"/>
                    </a:lnTo>
                    <a:lnTo>
                      <a:pt x="107" y="1420"/>
                    </a:lnTo>
                    <a:lnTo>
                      <a:pt x="106" y="1414"/>
                    </a:lnTo>
                    <a:lnTo>
                      <a:pt x="106" y="1405"/>
                    </a:lnTo>
                    <a:lnTo>
                      <a:pt x="105" y="1401"/>
                    </a:lnTo>
                    <a:lnTo>
                      <a:pt x="103" y="1399"/>
                    </a:lnTo>
                    <a:lnTo>
                      <a:pt x="101" y="1399"/>
                    </a:lnTo>
                    <a:lnTo>
                      <a:pt x="97" y="1401"/>
                    </a:lnTo>
                    <a:lnTo>
                      <a:pt x="94" y="1402"/>
                    </a:lnTo>
                    <a:lnTo>
                      <a:pt x="86" y="1407"/>
                    </a:lnTo>
                    <a:lnTo>
                      <a:pt x="78" y="1408"/>
                    </a:lnTo>
                    <a:lnTo>
                      <a:pt x="74" y="1408"/>
                    </a:lnTo>
                    <a:lnTo>
                      <a:pt x="69" y="1407"/>
                    </a:lnTo>
                    <a:lnTo>
                      <a:pt x="63" y="1404"/>
                    </a:lnTo>
                    <a:lnTo>
                      <a:pt x="56" y="1399"/>
                    </a:lnTo>
                    <a:lnTo>
                      <a:pt x="42" y="1389"/>
                    </a:lnTo>
                    <a:lnTo>
                      <a:pt x="26" y="1374"/>
                    </a:lnTo>
                    <a:lnTo>
                      <a:pt x="19" y="1367"/>
                    </a:lnTo>
                    <a:lnTo>
                      <a:pt x="13" y="1360"/>
                    </a:lnTo>
                    <a:lnTo>
                      <a:pt x="8" y="1353"/>
                    </a:lnTo>
                    <a:lnTo>
                      <a:pt x="6" y="1347"/>
                    </a:lnTo>
                    <a:lnTo>
                      <a:pt x="2" y="1335"/>
                    </a:lnTo>
                    <a:lnTo>
                      <a:pt x="0" y="1323"/>
                    </a:lnTo>
                    <a:lnTo>
                      <a:pt x="0" y="1317"/>
                    </a:lnTo>
                    <a:lnTo>
                      <a:pt x="2" y="1311"/>
                    </a:lnTo>
                    <a:lnTo>
                      <a:pt x="6" y="1306"/>
                    </a:lnTo>
                    <a:lnTo>
                      <a:pt x="11" y="1300"/>
                    </a:lnTo>
                    <a:lnTo>
                      <a:pt x="15" y="1296"/>
                    </a:lnTo>
                    <a:lnTo>
                      <a:pt x="23" y="1292"/>
                    </a:lnTo>
                    <a:lnTo>
                      <a:pt x="30" y="1291"/>
                    </a:lnTo>
                    <a:lnTo>
                      <a:pt x="38" y="1290"/>
                    </a:lnTo>
                    <a:lnTo>
                      <a:pt x="44" y="1288"/>
                    </a:lnTo>
                    <a:lnTo>
                      <a:pt x="50" y="1287"/>
                    </a:lnTo>
                    <a:lnTo>
                      <a:pt x="52" y="1285"/>
                    </a:lnTo>
                    <a:lnTo>
                      <a:pt x="53" y="1284"/>
                    </a:lnTo>
                    <a:lnTo>
                      <a:pt x="55" y="1282"/>
                    </a:lnTo>
                    <a:lnTo>
                      <a:pt x="56" y="1281"/>
                    </a:lnTo>
                    <a:lnTo>
                      <a:pt x="55" y="1276"/>
                    </a:lnTo>
                    <a:lnTo>
                      <a:pt x="53" y="1272"/>
                    </a:lnTo>
                    <a:lnTo>
                      <a:pt x="51" y="1269"/>
                    </a:lnTo>
                    <a:lnTo>
                      <a:pt x="49" y="1265"/>
                    </a:lnTo>
                    <a:lnTo>
                      <a:pt x="42" y="1259"/>
                    </a:lnTo>
                    <a:lnTo>
                      <a:pt x="34" y="1254"/>
                    </a:lnTo>
                    <a:lnTo>
                      <a:pt x="26" y="1249"/>
                    </a:lnTo>
                    <a:lnTo>
                      <a:pt x="19" y="1243"/>
                    </a:lnTo>
                    <a:lnTo>
                      <a:pt x="17" y="1239"/>
                    </a:lnTo>
                    <a:lnTo>
                      <a:pt x="14" y="1237"/>
                    </a:lnTo>
                    <a:lnTo>
                      <a:pt x="13" y="1233"/>
                    </a:lnTo>
                    <a:lnTo>
                      <a:pt x="13" y="1229"/>
                    </a:lnTo>
                    <a:lnTo>
                      <a:pt x="13" y="1226"/>
                    </a:lnTo>
                    <a:lnTo>
                      <a:pt x="15" y="1225"/>
                    </a:lnTo>
                    <a:lnTo>
                      <a:pt x="18" y="1222"/>
                    </a:lnTo>
                    <a:lnTo>
                      <a:pt x="20" y="1221"/>
                    </a:lnTo>
                    <a:lnTo>
                      <a:pt x="27" y="1220"/>
                    </a:lnTo>
                    <a:lnTo>
                      <a:pt x="37" y="1219"/>
                    </a:lnTo>
                    <a:lnTo>
                      <a:pt x="46" y="1219"/>
                    </a:lnTo>
                    <a:lnTo>
                      <a:pt x="55" y="1219"/>
                    </a:lnTo>
                    <a:lnTo>
                      <a:pt x="63" y="1218"/>
                    </a:lnTo>
                    <a:lnTo>
                      <a:pt x="68" y="1215"/>
                    </a:lnTo>
                    <a:lnTo>
                      <a:pt x="72" y="1212"/>
                    </a:lnTo>
                    <a:lnTo>
                      <a:pt x="76" y="1206"/>
                    </a:lnTo>
                    <a:lnTo>
                      <a:pt x="80" y="1197"/>
                    </a:lnTo>
                    <a:lnTo>
                      <a:pt x="83" y="1189"/>
                    </a:lnTo>
                    <a:lnTo>
                      <a:pt x="90" y="1171"/>
                    </a:lnTo>
                    <a:lnTo>
                      <a:pt x="95" y="1157"/>
                    </a:lnTo>
                    <a:lnTo>
                      <a:pt x="99" y="1146"/>
                    </a:lnTo>
                    <a:lnTo>
                      <a:pt x="101" y="1138"/>
                    </a:lnTo>
                    <a:lnTo>
                      <a:pt x="103" y="1131"/>
                    </a:lnTo>
                    <a:lnTo>
                      <a:pt x="105" y="1125"/>
                    </a:lnTo>
                    <a:lnTo>
                      <a:pt x="107" y="1123"/>
                    </a:lnTo>
                    <a:lnTo>
                      <a:pt x="109" y="1120"/>
                    </a:lnTo>
                    <a:lnTo>
                      <a:pt x="115" y="1117"/>
                    </a:lnTo>
                    <a:lnTo>
                      <a:pt x="127" y="1111"/>
                    </a:lnTo>
                    <a:lnTo>
                      <a:pt x="132" y="1107"/>
                    </a:lnTo>
                    <a:lnTo>
                      <a:pt x="135" y="1103"/>
                    </a:lnTo>
                    <a:lnTo>
                      <a:pt x="138" y="1100"/>
                    </a:lnTo>
                    <a:lnTo>
                      <a:pt x="139" y="1096"/>
                    </a:lnTo>
                    <a:lnTo>
                      <a:pt x="140" y="1093"/>
                    </a:lnTo>
                    <a:lnTo>
                      <a:pt x="139" y="1089"/>
                    </a:lnTo>
                    <a:lnTo>
                      <a:pt x="138" y="1086"/>
                    </a:lnTo>
                    <a:lnTo>
                      <a:pt x="135" y="1082"/>
                    </a:lnTo>
                    <a:lnTo>
                      <a:pt x="134" y="1079"/>
                    </a:lnTo>
                    <a:lnTo>
                      <a:pt x="133" y="1076"/>
                    </a:lnTo>
                    <a:lnTo>
                      <a:pt x="133" y="1073"/>
                    </a:lnTo>
                    <a:lnTo>
                      <a:pt x="134" y="1070"/>
                    </a:lnTo>
                    <a:lnTo>
                      <a:pt x="139" y="1065"/>
                    </a:lnTo>
                    <a:lnTo>
                      <a:pt x="145" y="1060"/>
                    </a:lnTo>
                    <a:lnTo>
                      <a:pt x="149" y="1056"/>
                    </a:lnTo>
                    <a:lnTo>
                      <a:pt x="152" y="1051"/>
                    </a:lnTo>
                    <a:lnTo>
                      <a:pt x="154" y="1046"/>
                    </a:lnTo>
                    <a:lnTo>
                      <a:pt x="154" y="1042"/>
                    </a:lnTo>
                    <a:lnTo>
                      <a:pt x="154" y="1037"/>
                    </a:lnTo>
                    <a:lnTo>
                      <a:pt x="152" y="1032"/>
                    </a:lnTo>
                    <a:lnTo>
                      <a:pt x="147" y="1027"/>
                    </a:lnTo>
                    <a:lnTo>
                      <a:pt x="141" y="1023"/>
                    </a:lnTo>
                    <a:lnTo>
                      <a:pt x="134" y="1019"/>
                    </a:lnTo>
                    <a:lnTo>
                      <a:pt x="132" y="1016"/>
                    </a:lnTo>
                    <a:lnTo>
                      <a:pt x="131" y="1011"/>
                    </a:lnTo>
                    <a:lnTo>
                      <a:pt x="132" y="1007"/>
                    </a:lnTo>
                    <a:lnTo>
                      <a:pt x="139" y="1000"/>
                    </a:lnTo>
                    <a:lnTo>
                      <a:pt x="149" y="993"/>
                    </a:lnTo>
                    <a:lnTo>
                      <a:pt x="152" y="991"/>
                    </a:lnTo>
                    <a:lnTo>
                      <a:pt x="153" y="986"/>
                    </a:lnTo>
                    <a:lnTo>
                      <a:pt x="152" y="981"/>
                    </a:lnTo>
                    <a:lnTo>
                      <a:pt x="151" y="976"/>
                    </a:lnTo>
                    <a:lnTo>
                      <a:pt x="147" y="972"/>
                    </a:lnTo>
                    <a:lnTo>
                      <a:pt x="143" y="966"/>
                    </a:lnTo>
                    <a:lnTo>
                      <a:pt x="138" y="961"/>
                    </a:lnTo>
                    <a:lnTo>
                      <a:pt x="131" y="957"/>
                    </a:lnTo>
                    <a:lnTo>
                      <a:pt x="120" y="953"/>
                    </a:lnTo>
                    <a:lnTo>
                      <a:pt x="115" y="951"/>
                    </a:lnTo>
                    <a:lnTo>
                      <a:pt x="114" y="949"/>
                    </a:lnTo>
                    <a:lnTo>
                      <a:pt x="114" y="947"/>
                    </a:lnTo>
                    <a:lnTo>
                      <a:pt x="114" y="942"/>
                    </a:lnTo>
                    <a:lnTo>
                      <a:pt x="114" y="934"/>
                    </a:lnTo>
                    <a:lnTo>
                      <a:pt x="115" y="918"/>
                    </a:lnTo>
                    <a:lnTo>
                      <a:pt x="114" y="907"/>
                    </a:lnTo>
                    <a:lnTo>
                      <a:pt x="115" y="897"/>
                    </a:lnTo>
                    <a:lnTo>
                      <a:pt x="119" y="886"/>
                    </a:lnTo>
                    <a:lnTo>
                      <a:pt x="120" y="881"/>
                    </a:lnTo>
                    <a:lnTo>
                      <a:pt x="120" y="875"/>
                    </a:lnTo>
                    <a:lnTo>
                      <a:pt x="120" y="869"/>
                    </a:lnTo>
                    <a:lnTo>
                      <a:pt x="119" y="863"/>
                    </a:lnTo>
                    <a:lnTo>
                      <a:pt x="118" y="852"/>
                    </a:lnTo>
                    <a:lnTo>
                      <a:pt x="118" y="838"/>
                    </a:lnTo>
                    <a:lnTo>
                      <a:pt x="119" y="825"/>
                    </a:lnTo>
                    <a:lnTo>
                      <a:pt x="121" y="811"/>
                    </a:lnTo>
                    <a:lnTo>
                      <a:pt x="122" y="805"/>
                    </a:lnTo>
                    <a:lnTo>
                      <a:pt x="124" y="798"/>
                    </a:lnTo>
                    <a:lnTo>
                      <a:pt x="124" y="792"/>
                    </a:lnTo>
                    <a:lnTo>
                      <a:pt x="122" y="786"/>
                    </a:lnTo>
                    <a:lnTo>
                      <a:pt x="119" y="775"/>
                    </a:lnTo>
                    <a:lnTo>
                      <a:pt x="114" y="765"/>
                    </a:lnTo>
                    <a:lnTo>
                      <a:pt x="108" y="755"/>
                    </a:lnTo>
                    <a:lnTo>
                      <a:pt x="101" y="748"/>
                    </a:lnTo>
                    <a:lnTo>
                      <a:pt x="94" y="741"/>
                    </a:lnTo>
                    <a:lnTo>
                      <a:pt x="89" y="735"/>
                    </a:lnTo>
                    <a:lnTo>
                      <a:pt x="87" y="733"/>
                    </a:lnTo>
                    <a:lnTo>
                      <a:pt x="86" y="730"/>
                    </a:lnTo>
                    <a:lnTo>
                      <a:pt x="84" y="727"/>
                    </a:lnTo>
                    <a:lnTo>
                      <a:pt x="84" y="722"/>
                    </a:lnTo>
                    <a:lnTo>
                      <a:pt x="86" y="718"/>
                    </a:lnTo>
                    <a:lnTo>
                      <a:pt x="88" y="714"/>
                    </a:lnTo>
                    <a:lnTo>
                      <a:pt x="93" y="709"/>
                    </a:lnTo>
                    <a:lnTo>
                      <a:pt x="97" y="703"/>
                    </a:lnTo>
                    <a:lnTo>
                      <a:pt x="108" y="693"/>
                    </a:lnTo>
                    <a:lnTo>
                      <a:pt x="121" y="682"/>
                    </a:lnTo>
                    <a:lnTo>
                      <a:pt x="134" y="670"/>
                    </a:lnTo>
                    <a:lnTo>
                      <a:pt x="146" y="657"/>
                    </a:lnTo>
                    <a:lnTo>
                      <a:pt x="153" y="646"/>
                    </a:lnTo>
                    <a:lnTo>
                      <a:pt x="157" y="639"/>
                    </a:lnTo>
                    <a:lnTo>
                      <a:pt x="159" y="639"/>
                    </a:lnTo>
                    <a:lnTo>
                      <a:pt x="160" y="640"/>
                    </a:lnTo>
                    <a:lnTo>
                      <a:pt x="163" y="645"/>
                    </a:lnTo>
                    <a:lnTo>
                      <a:pt x="166" y="652"/>
                    </a:lnTo>
                    <a:lnTo>
                      <a:pt x="172" y="667"/>
                    </a:lnTo>
                    <a:lnTo>
                      <a:pt x="179" y="682"/>
                    </a:lnTo>
                    <a:lnTo>
                      <a:pt x="183" y="687"/>
                    </a:lnTo>
                    <a:lnTo>
                      <a:pt x="188" y="693"/>
                    </a:lnTo>
                    <a:lnTo>
                      <a:pt x="194" y="697"/>
                    </a:lnTo>
                    <a:lnTo>
                      <a:pt x="200" y="699"/>
                    </a:lnTo>
                    <a:lnTo>
                      <a:pt x="206" y="702"/>
                    </a:lnTo>
                    <a:lnTo>
                      <a:pt x="212" y="703"/>
                    </a:lnTo>
                    <a:lnTo>
                      <a:pt x="219" y="704"/>
                    </a:lnTo>
                    <a:lnTo>
                      <a:pt x="226" y="704"/>
                    </a:lnTo>
                    <a:lnTo>
                      <a:pt x="239" y="704"/>
                    </a:lnTo>
                    <a:lnTo>
                      <a:pt x="251" y="705"/>
                    </a:lnTo>
                    <a:lnTo>
                      <a:pt x="256" y="708"/>
                    </a:lnTo>
                    <a:lnTo>
                      <a:pt x="260" y="710"/>
                    </a:lnTo>
                    <a:lnTo>
                      <a:pt x="263" y="714"/>
                    </a:lnTo>
                    <a:lnTo>
                      <a:pt x="265" y="718"/>
                    </a:lnTo>
                    <a:lnTo>
                      <a:pt x="267" y="730"/>
                    </a:lnTo>
                    <a:lnTo>
                      <a:pt x="270" y="742"/>
                    </a:lnTo>
                    <a:lnTo>
                      <a:pt x="272" y="754"/>
                    </a:lnTo>
                    <a:lnTo>
                      <a:pt x="278" y="766"/>
                    </a:lnTo>
                    <a:lnTo>
                      <a:pt x="286" y="780"/>
                    </a:lnTo>
                    <a:lnTo>
                      <a:pt x="296" y="794"/>
                    </a:lnTo>
                    <a:lnTo>
                      <a:pt x="305" y="811"/>
                    </a:lnTo>
                    <a:lnTo>
                      <a:pt x="315" y="828"/>
                    </a:lnTo>
                    <a:lnTo>
                      <a:pt x="324" y="843"/>
                    </a:lnTo>
                    <a:lnTo>
                      <a:pt x="332" y="856"/>
                    </a:lnTo>
                    <a:lnTo>
                      <a:pt x="334" y="862"/>
                    </a:lnTo>
                    <a:lnTo>
                      <a:pt x="336" y="869"/>
                    </a:lnTo>
                    <a:lnTo>
                      <a:pt x="338" y="875"/>
                    </a:lnTo>
                    <a:lnTo>
                      <a:pt x="339" y="882"/>
                    </a:lnTo>
                    <a:lnTo>
                      <a:pt x="339" y="895"/>
                    </a:lnTo>
                    <a:lnTo>
                      <a:pt x="339" y="905"/>
                    </a:lnTo>
                    <a:lnTo>
                      <a:pt x="340" y="910"/>
                    </a:lnTo>
                    <a:lnTo>
                      <a:pt x="341" y="912"/>
                    </a:lnTo>
                    <a:lnTo>
                      <a:pt x="343" y="915"/>
                    </a:lnTo>
                    <a:lnTo>
                      <a:pt x="347" y="917"/>
                    </a:lnTo>
                    <a:lnTo>
                      <a:pt x="355" y="919"/>
                    </a:lnTo>
                    <a:lnTo>
                      <a:pt x="365" y="920"/>
                    </a:lnTo>
                    <a:lnTo>
                      <a:pt x="368" y="919"/>
                    </a:lnTo>
                    <a:lnTo>
                      <a:pt x="372" y="918"/>
                    </a:lnTo>
                    <a:lnTo>
                      <a:pt x="374" y="915"/>
                    </a:lnTo>
                    <a:lnTo>
                      <a:pt x="376" y="911"/>
                    </a:lnTo>
                    <a:lnTo>
                      <a:pt x="374" y="899"/>
                    </a:lnTo>
                    <a:lnTo>
                      <a:pt x="374" y="887"/>
                    </a:lnTo>
                    <a:lnTo>
                      <a:pt x="376" y="880"/>
                    </a:lnTo>
                    <a:lnTo>
                      <a:pt x="378" y="873"/>
                    </a:lnTo>
                    <a:lnTo>
                      <a:pt x="382" y="866"/>
                    </a:lnTo>
                    <a:lnTo>
                      <a:pt x="386" y="859"/>
                    </a:lnTo>
                    <a:lnTo>
                      <a:pt x="397" y="846"/>
                    </a:lnTo>
                    <a:lnTo>
                      <a:pt x="404" y="832"/>
                    </a:lnTo>
                    <a:lnTo>
                      <a:pt x="410" y="821"/>
                    </a:lnTo>
                    <a:lnTo>
                      <a:pt x="415" y="811"/>
                    </a:lnTo>
                    <a:lnTo>
                      <a:pt x="420" y="803"/>
                    </a:lnTo>
                    <a:lnTo>
                      <a:pt x="426" y="797"/>
                    </a:lnTo>
                    <a:lnTo>
                      <a:pt x="433" y="793"/>
                    </a:lnTo>
                    <a:lnTo>
                      <a:pt x="440" y="791"/>
                    </a:lnTo>
                    <a:lnTo>
                      <a:pt x="449" y="787"/>
                    </a:lnTo>
                    <a:lnTo>
                      <a:pt x="459" y="781"/>
                    </a:lnTo>
                    <a:lnTo>
                      <a:pt x="464" y="777"/>
                    </a:lnTo>
                    <a:lnTo>
                      <a:pt x="468" y="773"/>
                    </a:lnTo>
                    <a:lnTo>
                      <a:pt x="471" y="768"/>
                    </a:lnTo>
                    <a:lnTo>
                      <a:pt x="472" y="764"/>
                    </a:lnTo>
                    <a:lnTo>
                      <a:pt x="471" y="753"/>
                    </a:lnTo>
                    <a:lnTo>
                      <a:pt x="469" y="741"/>
                    </a:lnTo>
                    <a:lnTo>
                      <a:pt x="469" y="735"/>
                    </a:lnTo>
                    <a:lnTo>
                      <a:pt x="471" y="730"/>
                    </a:lnTo>
                    <a:lnTo>
                      <a:pt x="472" y="724"/>
                    </a:lnTo>
                    <a:lnTo>
                      <a:pt x="477" y="721"/>
                    </a:lnTo>
                    <a:lnTo>
                      <a:pt x="492" y="711"/>
                    </a:lnTo>
                    <a:lnTo>
                      <a:pt x="513" y="699"/>
                    </a:lnTo>
                    <a:lnTo>
                      <a:pt x="536" y="689"/>
                    </a:lnTo>
                    <a:lnTo>
                      <a:pt x="552" y="680"/>
                    </a:lnTo>
                    <a:lnTo>
                      <a:pt x="560" y="676"/>
                    </a:lnTo>
                    <a:lnTo>
                      <a:pt x="571" y="668"/>
                    </a:lnTo>
                    <a:lnTo>
                      <a:pt x="582" y="659"/>
                    </a:lnTo>
                    <a:lnTo>
                      <a:pt x="593" y="649"/>
                    </a:lnTo>
                    <a:lnTo>
                      <a:pt x="603" y="642"/>
                    </a:lnTo>
                    <a:lnTo>
                      <a:pt x="609" y="640"/>
                    </a:lnTo>
                    <a:lnTo>
                      <a:pt x="613" y="642"/>
                    </a:lnTo>
                    <a:lnTo>
                      <a:pt x="619" y="647"/>
                    </a:lnTo>
                    <a:lnTo>
                      <a:pt x="623" y="652"/>
                    </a:lnTo>
                    <a:lnTo>
                      <a:pt x="626" y="654"/>
                    </a:lnTo>
                    <a:lnTo>
                      <a:pt x="630" y="655"/>
                    </a:lnTo>
                    <a:lnTo>
                      <a:pt x="632" y="655"/>
                    </a:lnTo>
                    <a:lnTo>
                      <a:pt x="639" y="651"/>
                    </a:lnTo>
                    <a:lnTo>
                      <a:pt x="648" y="642"/>
                    </a:lnTo>
                    <a:lnTo>
                      <a:pt x="663" y="628"/>
                    </a:lnTo>
                    <a:lnTo>
                      <a:pt x="678" y="613"/>
                    </a:lnTo>
                    <a:lnTo>
                      <a:pt x="689" y="600"/>
                    </a:lnTo>
                    <a:lnTo>
                      <a:pt x="705" y="581"/>
                    </a:lnTo>
                    <a:lnTo>
                      <a:pt x="720" y="561"/>
                    </a:lnTo>
                    <a:lnTo>
                      <a:pt x="735" y="545"/>
                    </a:lnTo>
                    <a:lnTo>
                      <a:pt x="742" y="539"/>
                    </a:lnTo>
                    <a:lnTo>
                      <a:pt x="748" y="535"/>
                    </a:lnTo>
                    <a:lnTo>
                      <a:pt x="754" y="533"/>
                    </a:lnTo>
                    <a:lnTo>
                      <a:pt x="758" y="532"/>
                    </a:lnTo>
                    <a:lnTo>
                      <a:pt x="769" y="531"/>
                    </a:lnTo>
                    <a:lnTo>
                      <a:pt x="779" y="528"/>
                    </a:lnTo>
                    <a:lnTo>
                      <a:pt x="787" y="526"/>
                    </a:lnTo>
                    <a:lnTo>
                      <a:pt x="795" y="523"/>
                    </a:lnTo>
                    <a:lnTo>
                      <a:pt x="800" y="522"/>
                    </a:lnTo>
                    <a:lnTo>
                      <a:pt x="805" y="522"/>
                    </a:lnTo>
                    <a:lnTo>
                      <a:pt x="807" y="525"/>
                    </a:lnTo>
                    <a:lnTo>
                      <a:pt x="811" y="528"/>
                    </a:lnTo>
                    <a:lnTo>
                      <a:pt x="820" y="538"/>
                    </a:lnTo>
                    <a:lnTo>
                      <a:pt x="831" y="548"/>
                    </a:lnTo>
                    <a:lnTo>
                      <a:pt x="833" y="551"/>
                    </a:lnTo>
                    <a:lnTo>
                      <a:pt x="837" y="552"/>
                    </a:lnTo>
                    <a:lnTo>
                      <a:pt x="839" y="553"/>
                    </a:lnTo>
                    <a:lnTo>
                      <a:pt x="842" y="552"/>
                    </a:lnTo>
                    <a:lnTo>
                      <a:pt x="845" y="548"/>
                    </a:lnTo>
                    <a:lnTo>
                      <a:pt x="848" y="542"/>
                    </a:lnTo>
                    <a:lnTo>
                      <a:pt x="855" y="531"/>
                    </a:lnTo>
                    <a:lnTo>
                      <a:pt x="862" y="516"/>
                    </a:lnTo>
                    <a:lnTo>
                      <a:pt x="869" y="508"/>
                    </a:lnTo>
                    <a:lnTo>
                      <a:pt x="880" y="497"/>
                    </a:lnTo>
                    <a:lnTo>
                      <a:pt x="884" y="490"/>
                    </a:lnTo>
                    <a:lnTo>
                      <a:pt x="889" y="484"/>
                    </a:lnTo>
                    <a:lnTo>
                      <a:pt x="894" y="478"/>
                    </a:lnTo>
                    <a:lnTo>
                      <a:pt x="896" y="474"/>
                    </a:lnTo>
                    <a:lnTo>
                      <a:pt x="900" y="462"/>
                    </a:lnTo>
                    <a:lnTo>
                      <a:pt x="903" y="449"/>
                    </a:lnTo>
                    <a:lnTo>
                      <a:pt x="907" y="436"/>
                    </a:lnTo>
                    <a:lnTo>
                      <a:pt x="912" y="426"/>
                    </a:lnTo>
                    <a:lnTo>
                      <a:pt x="913" y="424"/>
                    </a:lnTo>
                    <a:lnTo>
                      <a:pt x="915" y="421"/>
                    </a:lnTo>
                    <a:lnTo>
                      <a:pt x="919" y="419"/>
                    </a:lnTo>
                    <a:lnTo>
                      <a:pt x="922" y="418"/>
                    </a:lnTo>
                    <a:lnTo>
                      <a:pt x="931" y="415"/>
                    </a:lnTo>
                    <a:lnTo>
                      <a:pt x="941" y="415"/>
                    </a:lnTo>
                    <a:lnTo>
                      <a:pt x="951" y="416"/>
                    </a:lnTo>
                    <a:lnTo>
                      <a:pt x="959" y="418"/>
                    </a:lnTo>
                    <a:lnTo>
                      <a:pt x="966" y="416"/>
                    </a:lnTo>
                    <a:lnTo>
                      <a:pt x="970" y="415"/>
                    </a:lnTo>
                    <a:lnTo>
                      <a:pt x="974" y="412"/>
                    </a:lnTo>
                    <a:lnTo>
                      <a:pt x="976" y="409"/>
                    </a:lnTo>
                    <a:lnTo>
                      <a:pt x="978" y="407"/>
                    </a:lnTo>
                    <a:lnTo>
                      <a:pt x="981" y="405"/>
                    </a:lnTo>
                    <a:lnTo>
                      <a:pt x="984" y="406"/>
                    </a:lnTo>
                    <a:lnTo>
                      <a:pt x="989" y="408"/>
                    </a:lnTo>
                    <a:lnTo>
                      <a:pt x="994" y="412"/>
                    </a:lnTo>
                    <a:lnTo>
                      <a:pt x="1000" y="415"/>
                    </a:lnTo>
                    <a:lnTo>
                      <a:pt x="1004" y="416"/>
                    </a:lnTo>
                    <a:lnTo>
                      <a:pt x="1010" y="418"/>
                    </a:lnTo>
                    <a:lnTo>
                      <a:pt x="1016" y="419"/>
                    </a:lnTo>
                    <a:lnTo>
                      <a:pt x="1022" y="419"/>
                    </a:lnTo>
                    <a:lnTo>
                      <a:pt x="1028" y="418"/>
                    </a:lnTo>
                    <a:lnTo>
                      <a:pt x="1033" y="415"/>
                    </a:lnTo>
                    <a:lnTo>
                      <a:pt x="1039" y="413"/>
                    </a:lnTo>
                    <a:lnTo>
                      <a:pt x="1044" y="408"/>
                    </a:lnTo>
                    <a:lnTo>
                      <a:pt x="1047" y="403"/>
                    </a:lnTo>
                    <a:lnTo>
                      <a:pt x="1050" y="397"/>
                    </a:lnTo>
                    <a:lnTo>
                      <a:pt x="1051" y="392"/>
                    </a:lnTo>
                    <a:lnTo>
                      <a:pt x="1052" y="386"/>
                    </a:lnTo>
                    <a:lnTo>
                      <a:pt x="1051" y="381"/>
                    </a:lnTo>
                    <a:lnTo>
                      <a:pt x="1047" y="377"/>
                    </a:lnTo>
                    <a:lnTo>
                      <a:pt x="1038" y="374"/>
                    </a:lnTo>
                    <a:lnTo>
                      <a:pt x="1028" y="369"/>
                    </a:lnTo>
                    <a:lnTo>
                      <a:pt x="1025" y="368"/>
                    </a:lnTo>
                    <a:lnTo>
                      <a:pt x="1021" y="364"/>
                    </a:lnTo>
                    <a:lnTo>
                      <a:pt x="1019" y="362"/>
                    </a:lnTo>
                    <a:lnTo>
                      <a:pt x="1018" y="358"/>
                    </a:lnTo>
                    <a:lnTo>
                      <a:pt x="1018" y="355"/>
                    </a:lnTo>
                    <a:lnTo>
                      <a:pt x="1020" y="351"/>
                    </a:lnTo>
                    <a:lnTo>
                      <a:pt x="1022" y="348"/>
                    </a:lnTo>
                    <a:lnTo>
                      <a:pt x="1027" y="345"/>
                    </a:lnTo>
                    <a:lnTo>
                      <a:pt x="1033" y="343"/>
                    </a:lnTo>
                    <a:lnTo>
                      <a:pt x="1039" y="340"/>
                    </a:lnTo>
                    <a:lnTo>
                      <a:pt x="1047" y="340"/>
                    </a:lnTo>
                    <a:lnTo>
                      <a:pt x="1056" y="340"/>
                    </a:lnTo>
                    <a:lnTo>
                      <a:pt x="1069" y="344"/>
                    </a:lnTo>
                    <a:lnTo>
                      <a:pt x="1078" y="348"/>
                    </a:lnTo>
                    <a:lnTo>
                      <a:pt x="1084" y="351"/>
                    </a:lnTo>
                    <a:lnTo>
                      <a:pt x="1092" y="356"/>
                    </a:lnTo>
                    <a:lnTo>
                      <a:pt x="1101" y="359"/>
                    </a:lnTo>
                    <a:lnTo>
                      <a:pt x="1110" y="362"/>
                    </a:lnTo>
                    <a:lnTo>
                      <a:pt x="1120" y="362"/>
                    </a:lnTo>
                    <a:lnTo>
                      <a:pt x="1127" y="362"/>
                    </a:lnTo>
                    <a:lnTo>
                      <a:pt x="1133" y="362"/>
                    </a:lnTo>
                    <a:lnTo>
                      <a:pt x="1141" y="363"/>
                    </a:lnTo>
                    <a:lnTo>
                      <a:pt x="1149" y="365"/>
                    </a:lnTo>
                    <a:lnTo>
                      <a:pt x="1159" y="370"/>
                    </a:lnTo>
                    <a:lnTo>
                      <a:pt x="1163" y="373"/>
                    </a:lnTo>
                    <a:lnTo>
                      <a:pt x="1166" y="374"/>
                    </a:lnTo>
                    <a:lnTo>
                      <a:pt x="1170" y="375"/>
                    </a:lnTo>
                    <a:lnTo>
                      <a:pt x="1173" y="375"/>
                    </a:lnTo>
                    <a:lnTo>
                      <a:pt x="1176" y="375"/>
                    </a:lnTo>
                    <a:lnTo>
                      <a:pt x="1177" y="373"/>
                    </a:lnTo>
                    <a:lnTo>
                      <a:pt x="1178" y="371"/>
                    </a:lnTo>
                    <a:lnTo>
                      <a:pt x="1179" y="369"/>
                    </a:lnTo>
                    <a:lnTo>
                      <a:pt x="1183" y="362"/>
                    </a:lnTo>
                    <a:lnTo>
                      <a:pt x="1190" y="350"/>
                    </a:lnTo>
                    <a:lnTo>
                      <a:pt x="1193" y="345"/>
                    </a:lnTo>
                    <a:lnTo>
                      <a:pt x="1197" y="340"/>
                    </a:lnTo>
                    <a:lnTo>
                      <a:pt x="1202" y="338"/>
                    </a:lnTo>
                    <a:lnTo>
                      <a:pt x="1204" y="337"/>
                    </a:lnTo>
                    <a:lnTo>
                      <a:pt x="1217" y="340"/>
                    </a:lnTo>
                    <a:lnTo>
                      <a:pt x="1227" y="342"/>
                    </a:lnTo>
                    <a:lnTo>
                      <a:pt x="1235" y="342"/>
                    </a:lnTo>
                    <a:lnTo>
                      <a:pt x="1242" y="339"/>
                    </a:lnTo>
                    <a:lnTo>
                      <a:pt x="1258" y="331"/>
                    </a:lnTo>
                    <a:lnTo>
                      <a:pt x="1274" y="324"/>
                    </a:lnTo>
                    <a:lnTo>
                      <a:pt x="1286" y="319"/>
                    </a:lnTo>
                    <a:lnTo>
                      <a:pt x="1293" y="313"/>
                    </a:lnTo>
                    <a:lnTo>
                      <a:pt x="1294" y="311"/>
                    </a:lnTo>
                    <a:lnTo>
                      <a:pt x="1296" y="308"/>
                    </a:lnTo>
                    <a:lnTo>
                      <a:pt x="1294" y="307"/>
                    </a:lnTo>
                    <a:lnTo>
                      <a:pt x="1292" y="305"/>
                    </a:lnTo>
                    <a:lnTo>
                      <a:pt x="1284" y="300"/>
                    </a:lnTo>
                    <a:lnTo>
                      <a:pt x="1277" y="293"/>
                    </a:lnTo>
                    <a:lnTo>
                      <a:pt x="1273" y="288"/>
                    </a:lnTo>
                    <a:lnTo>
                      <a:pt x="1272" y="283"/>
                    </a:lnTo>
                    <a:lnTo>
                      <a:pt x="1271" y="277"/>
                    </a:lnTo>
                    <a:lnTo>
                      <a:pt x="1273" y="271"/>
                    </a:lnTo>
                    <a:lnTo>
                      <a:pt x="1275" y="266"/>
                    </a:lnTo>
                    <a:lnTo>
                      <a:pt x="1279" y="260"/>
                    </a:lnTo>
                    <a:lnTo>
                      <a:pt x="1284" y="252"/>
                    </a:lnTo>
                    <a:lnTo>
                      <a:pt x="1289" y="247"/>
                    </a:lnTo>
                    <a:lnTo>
                      <a:pt x="1294" y="241"/>
                    </a:lnTo>
                    <a:lnTo>
                      <a:pt x="1300" y="236"/>
                    </a:lnTo>
                    <a:lnTo>
                      <a:pt x="1306" y="231"/>
                    </a:lnTo>
                    <a:lnTo>
                      <a:pt x="1312" y="228"/>
                    </a:lnTo>
                    <a:lnTo>
                      <a:pt x="1324" y="222"/>
                    </a:lnTo>
                    <a:lnTo>
                      <a:pt x="1336" y="214"/>
                    </a:lnTo>
                    <a:lnTo>
                      <a:pt x="1343" y="211"/>
                    </a:lnTo>
                    <a:lnTo>
                      <a:pt x="1350" y="208"/>
                    </a:lnTo>
                    <a:lnTo>
                      <a:pt x="1359" y="207"/>
                    </a:lnTo>
                    <a:lnTo>
                      <a:pt x="1366" y="207"/>
                    </a:lnTo>
                    <a:lnTo>
                      <a:pt x="1369" y="210"/>
                    </a:lnTo>
                    <a:lnTo>
                      <a:pt x="1375" y="214"/>
                    </a:lnTo>
                    <a:lnTo>
                      <a:pt x="1379" y="216"/>
                    </a:lnTo>
                    <a:lnTo>
                      <a:pt x="1381" y="216"/>
                    </a:lnTo>
                    <a:lnTo>
                      <a:pt x="1385" y="216"/>
                    </a:lnTo>
                    <a:lnTo>
                      <a:pt x="1387" y="213"/>
                    </a:lnTo>
                    <a:lnTo>
                      <a:pt x="1392" y="207"/>
                    </a:lnTo>
                    <a:lnTo>
                      <a:pt x="1396" y="199"/>
                    </a:lnTo>
                    <a:lnTo>
                      <a:pt x="1398" y="191"/>
                    </a:lnTo>
                    <a:lnTo>
                      <a:pt x="1400" y="180"/>
                    </a:lnTo>
                    <a:lnTo>
                      <a:pt x="1400" y="168"/>
                    </a:lnTo>
                    <a:lnTo>
                      <a:pt x="1401" y="155"/>
                    </a:lnTo>
                    <a:lnTo>
                      <a:pt x="1403" y="130"/>
                    </a:lnTo>
                    <a:lnTo>
                      <a:pt x="1404" y="109"/>
                    </a:lnTo>
                    <a:lnTo>
                      <a:pt x="1407" y="87"/>
                    </a:lnTo>
                    <a:lnTo>
                      <a:pt x="1407" y="66"/>
                    </a:lnTo>
                    <a:lnTo>
                      <a:pt x="1410" y="44"/>
                    </a:lnTo>
                    <a:lnTo>
                      <a:pt x="1413" y="22"/>
                    </a:lnTo>
                    <a:lnTo>
                      <a:pt x="1416" y="10"/>
                    </a:lnTo>
                    <a:lnTo>
                      <a:pt x="1419" y="2"/>
                    </a:lnTo>
                    <a:lnTo>
                      <a:pt x="1422" y="0"/>
                    </a:lnTo>
                    <a:lnTo>
                      <a:pt x="1425" y="0"/>
                    </a:lnTo>
                    <a:lnTo>
                      <a:pt x="1429" y="2"/>
                    </a:lnTo>
                    <a:lnTo>
                      <a:pt x="1432" y="3"/>
                    </a:lnTo>
                    <a:lnTo>
                      <a:pt x="1438" y="4"/>
                    </a:lnTo>
                    <a:lnTo>
                      <a:pt x="1443" y="6"/>
                    </a:lnTo>
                    <a:lnTo>
                      <a:pt x="1449" y="10"/>
                    </a:lnTo>
                    <a:lnTo>
                      <a:pt x="1451" y="15"/>
                    </a:lnTo>
                    <a:lnTo>
                      <a:pt x="1456" y="25"/>
                    </a:lnTo>
                    <a:lnTo>
                      <a:pt x="1462" y="36"/>
                    </a:lnTo>
                    <a:lnTo>
                      <a:pt x="1466" y="42"/>
                    </a:lnTo>
                    <a:lnTo>
                      <a:pt x="1469" y="47"/>
                    </a:lnTo>
                    <a:lnTo>
                      <a:pt x="1474" y="50"/>
                    </a:lnTo>
                    <a:lnTo>
                      <a:pt x="1479" y="54"/>
                    </a:lnTo>
                    <a:lnTo>
                      <a:pt x="1491" y="62"/>
                    </a:lnTo>
                    <a:lnTo>
                      <a:pt x="1507" y="69"/>
                    </a:lnTo>
                    <a:lnTo>
                      <a:pt x="1525" y="78"/>
                    </a:lnTo>
                    <a:lnTo>
                      <a:pt x="1539" y="82"/>
                    </a:lnTo>
                    <a:lnTo>
                      <a:pt x="1550" y="86"/>
                    </a:lnTo>
                    <a:lnTo>
                      <a:pt x="1561" y="87"/>
                    </a:lnTo>
                    <a:lnTo>
                      <a:pt x="1571" y="90"/>
                    </a:lnTo>
                    <a:lnTo>
                      <a:pt x="1582" y="90"/>
                    </a:lnTo>
                    <a:lnTo>
                      <a:pt x="1592" y="91"/>
                    </a:lnTo>
                    <a:lnTo>
                      <a:pt x="1599" y="93"/>
                    </a:lnTo>
                    <a:lnTo>
                      <a:pt x="1601" y="94"/>
                    </a:lnTo>
                    <a:lnTo>
                      <a:pt x="1604" y="97"/>
                    </a:lnTo>
                    <a:lnTo>
                      <a:pt x="1605" y="100"/>
                    </a:lnTo>
                    <a:lnTo>
                      <a:pt x="1606" y="104"/>
                    </a:lnTo>
                    <a:lnTo>
                      <a:pt x="1608" y="113"/>
                    </a:lnTo>
                    <a:lnTo>
                      <a:pt x="1614" y="123"/>
                    </a:lnTo>
                    <a:lnTo>
                      <a:pt x="1618" y="129"/>
                    </a:lnTo>
                    <a:lnTo>
                      <a:pt x="1623" y="134"/>
                    </a:lnTo>
                    <a:lnTo>
                      <a:pt x="1627" y="137"/>
                    </a:lnTo>
                    <a:lnTo>
                      <a:pt x="1633" y="142"/>
                    </a:lnTo>
                    <a:lnTo>
                      <a:pt x="1638" y="145"/>
                    </a:lnTo>
                    <a:lnTo>
                      <a:pt x="1642" y="148"/>
                    </a:lnTo>
                    <a:lnTo>
                      <a:pt x="1644" y="151"/>
                    </a:lnTo>
                    <a:lnTo>
                      <a:pt x="1646" y="154"/>
                    </a:lnTo>
                    <a:lnTo>
                      <a:pt x="1646" y="157"/>
                    </a:lnTo>
                    <a:lnTo>
                      <a:pt x="1646" y="160"/>
                    </a:lnTo>
                    <a:lnTo>
                      <a:pt x="1646" y="162"/>
                    </a:lnTo>
                    <a:lnTo>
                      <a:pt x="1645" y="166"/>
                    </a:lnTo>
                    <a:lnTo>
                      <a:pt x="1642" y="173"/>
                    </a:lnTo>
                    <a:lnTo>
                      <a:pt x="1638" y="179"/>
                    </a:lnTo>
                    <a:lnTo>
                      <a:pt x="1637" y="186"/>
                    </a:lnTo>
                    <a:lnTo>
                      <a:pt x="1636" y="191"/>
                    </a:lnTo>
                    <a:lnTo>
                      <a:pt x="1636" y="193"/>
                    </a:lnTo>
                    <a:lnTo>
                      <a:pt x="1637" y="195"/>
                    </a:lnTo>
                    <a:lnTo>
                      <a:pt x="1638" y="197"/>
                    </a:lnTo>
                    <a:lnTo>
                      <a:pt x="1639" y="198"/>
                    </a:lnTo>
                    <a:lnTo>
                      <a:pt x="1645" y="200"/>
                    </a:lnTo>
                    <a:lnTo>
                      <a:pt x="1651" y="200"/>
                    </a:lnTo>
                    <a:lnTo>
                      <a:pt x="1655" y="201"/>
                    </a:lnTo>
                    <a:lnTo>
                      <a:pt x="1656" y="203"/>
                    </a:lnTo>
                    <a:lnTo>
                      <a:pt x="1657" y="204"/>
                    </a:lnTo>
                    <a:lnTo>
                      <a:pt x="1658" y="206"/>
                    </a:lnTo>
                    <a:lnTo>
                      <a:pt x="1656" y="210"/>
                    </a:lnTo>
                    <a:lnTo>
                      <a:pt x="1653" y="214"/>
                    </a:lnTo>
                    <a:lnTo>
                      <a:pt x="1650" y="219"/>
                    </a:lnTo>
                    <a:lnTo>
                      <a:pt x="1648" y="228"/>
                    </a:lnTo>
                    <a:lnTo>
                      <a:pt x="1648" y="231"/>
                    </a:lnTo>
                    <a:lnTo>
                      <a:pt x="1649" y="235"/>
                    </a:lnTo>
                    <a:lnTo>
                      <a:pt x="1650" y="239"/>
                    </a:lnTo>
                    <a:lnTo>
                      <a:pt x="1653" y="243"/>
                    </a:lnTo>
                    <a:lnTo>
                      <a:pt x="1658" y="245"/>
                    </a:lnTo>
                    <a:lnTo>
                      <a:pt x="1662" y="248"/>
                    </a:lnTo>
                    <a:lnTo>
                      <a:pt x="1665" y="250"/>
                    </a:lnTo>
                    <a:lnTo>
                      <a:pt x="1670" y="251"/>
                    </a:lnTo>
                    <a:lnTo>
                      <a:pt x="1674" y="251"/>
                    </a:lnTo>
                    <a:lnTo>
                      <a:pt x="1678" y="250"/>
                    </a:lnTo>
                    <a:lnTo>
                      <a:pt x="1682" y="248"/>
                    </a:lnTo>
                    <a:lnTo>
                      <a:pt x="1687" y="245"/>
                    </a:lnTo>
                    <a:lnTo>
                      <a:pt x="1695" y="236"/>
                    </a:lnTo>
                    <a:lnTo>
                      <a:pt x="1703" y="226"/>
                    </a:lnTo>
                    <a:lnTo>
                      <a:pt x="1711" y="216"/>
                    </a:lnTo>
                    <a:lnTo>
                      <a:pt x="1718" y="204"/>
                    </a:lnTo>
                    <a:lnTo>
                      <a:pt x="1725" y="188"/>
                    </a:lnTo>
                    <a:lnTo>
                      <a:pt x="1733" y="169"/>
                    </a:lnTo>
                    <a:lnTo>
                      <a:pt x="1743" y="150"/>
                    </a:lnTo>
                    <a:lnTo>
                      <a:pt x="1750" y="136"/>
                    </a:lnTo>
                    <a:lnTo>
                      <a:pt x="1755" y="130"/>
                    </a:lnTo>
                    <a:lnTo>
                      <a:pt x="1759" y="125"/>
                    </a:lnTo>
                    <a:lnTo>
                      <a:pt x="1764" y="122"/>
                    </a:lnTo>
                    <a:lnTo>
                      <a:pt x="1770" y="119"/>
                    </a:lnTo>
                    <a:lnTo>
                      <a:pt x="1776" y="118"/>
                    </a:lnTo>
                    <a:lnTo>
                      <a:pt x="1782" y="119"/>
                    </a:lnTo>
                    <a:lnTo>
                      <a:pt x="1784" y="121"/>
                    </a:lnTo>
                    <a:lnTo>
                      <a:pt x="1787" y="123"/>
                    </a:lnTo>
                    <a:lnTo>
                      <a:pt x="1789" y="126"/>
                    </a:lnTo>
                    <a:lnTo>
                      <a:pt x="1789" y="130"/>
                    </a:lnTo>
                    <a:lnTo>
                      <a:pt x="1787" y="147"/>
                    </a:lnTo>
                    <a:lnTo>
                      <a:pt x="1785" y="163"/>
                    </a:lnTo>
                    <a:lnTo>
                      <a:pt x="1787" y="167"/>
                    </a:lnTo>
                    <a:lnTo>
                      <a:pt x="1788" y="170"/>
                    </a:lnTo>
                    <a:lnTo>
                      <a:pt x="1789" y="173"/>
                    </a:lnTo>
                    <a:lnTo>
                      <a:pt x="1793" y="176"/>
                    </a:lnTo>
                    <a:lnTo>
                      <a:pt x="1797" y="181"/>
                    </a:lnTo>
                    <a:lnTo>
                      <a:pt x="1802" y="187"/>
                    </a:lnTo>
                    <a:lnTo>
                      <a:pt x="1803" y="189"/>
                    </a:lnTo>
                    <a:lnTo>
                      <a:pt x="1804" y="193"/>
                    </a:lnTo>
                    <a:lnTo>
                      <a:pt x="1806" y="198"/>
                    </a:lnTo>
                    <a:lnTo>
                      <a:pt x="1806" y="203"/>
                    </a:lnTo>
                    <a:lnTo>
                      <a:pt x="1803" y="211"/>
                    </a:lnTo>
                    <a:lnTo>
                      <a:pt x="1801" y="218"/>
                    </a:lnTo>
                    <a:lnTo>
                      <a:pt x="1800" y="222"/>
                    </a:lnTo>
                    <a:lnTo>
                      <a:pt x="1800" y="225"/>
                    </a:lnTo>
                    <a:lnTo>
                      <a:pt x="1801" y="229"/>
                    </a:lnTo>
                    <a:lnTo>
                      <a:pt x="1803" y="233"/>
                    </a:lnTo>
                    <a:lnTo>
                      <a:pt x="1810" y="242"/>
                    </a:lnTo>
                    <a:lnTo>
                      <a:pt x="1820" y="251"/>
                    </a:lnTo>
                    <a:lnTo>
                      <a:pt x="1825" y="256"/>
                    </a:lnTo>
                    <a:lnTo>
                      <a:pt x="1829" y="262"/>
                    </a:lnTo>
                    <a:lnTo>
                      <a:pt x="1834" y="268"/>
                    </a:lnTo>
                    <a:lnTo>
                      <a:pt x="1837" y="276"/>
                    </a:lnTo>
                    <a:lnTo>
                      <a:pt x="1840" y="291"/>
                    </a:lnTo>
                    <a:lnTo>
                      <a:pt x="1842" y="302"/>
                    </a:lnTo>
                    <a:lnTo>
                      <a:pt x="1844" y="307"/>
                    </a:lnTo>
                    <a:lnTo>
                      <a:pt x="1846" y="311"/>
                    </a:lnTo>
                    <a:lnTo>
                      <a:pt x="1847" y="314"/>
                    </a:lnTo>
                    <a:lnTo>
                      <a:pt x="1851" y="317"/>
                    </a:lnTo>
                    <a:lnTo>
                      <a:pt x="1854" y="319"/>
                    </a:lnTo>
                    <a:lnTo>
                      <a:pt x="1858" y="320"/>
                    </a:lnTo>
                    <a:lnTo>
                      <a:pt x="1862" y="320"/>
                    </a:lnTo>
                    <a:lnTo>
                      <a:pt x="1864" y="320"/>
                    </a:lnTo>
                    <a:lnTo>
                      <a:pt x="1871" y="319"/>
                    </a:lnTo>
                    <a:lnTo>
                      <a:pt x="1878" y="319"/>
                    </a:lnTo>
                    <a:lnTo>
                      <a:pt x="1882" y="319"/>
                    </a:lnTo>
                    <a:lnTo>
                      <a:pt x="1885" y="320"/>
                    </a:lnTo>
                    <a:lnTo>
                      <a:pt x="1888" y="321"/>
                    </a:lnTo>
                    <a:lnTo>
                      <a:pt x="1890" y="325"/>
                    </a:lnTo>
                    <a:lnTo>
                      <a:pt x="1892" y="329"/>
                    </a:lnTo>
                    <a:lnTo>
                      <a:pt x="1894" y="332"/>
                    </a:lnTo>
                    <a:lnTo>
                      <a:pt x="1895" y="337"/>
                    </a:lnTo>
                    <a:lnTo>
                      <a:pt x="1896" y="342"/>
                    </a:lnTo>
                    <a:lnTo>
                      <a:pt x="1896" y="352"/>
                    </a:lnTo>
                    <a:lnTo>
                      <a:pt x="1898" y="363"/>
                    </a:lnTo>
                    <a:lnTo>
                      <a:pt x="1900" y="368"/>
                    </a:lnTo>
                    <a:lnTo>
                      <a:pt x="1901" y="373"/>
                    </a:lnTo>
                    <a:lnTo>
                      <a:pt x="1904" y="377"/>
                    </a:lnTo>
                    <a:lnTo>
                      <a:pt x="1908" y="382"/>
                    </a:lnTo>
                    <a:lnTo>
                      <a:pt x="1916" y="392"/>
                    </a:lnTo>
                    <a:lnTo>
                      <a:pt x="1925" y="401"/>
                    </a:lnTo>
                    <a:lnTo>
                      <a:pt x="1927" y="406"/>
                    </a:lnTo>
                    <a:lnTo>
                      <a:pt x="1929" y="411"/>
                    </a:lnTo>
                    <a:lnTo>
                      <a:pt x="1930" y="415"/>
                    </a:lnTo>
                    <a:lnTo>
                      <a:pt x="1932" y="420"/>
                    </a:lnTo>
                    <a:lnTo>
                      <a:pt x="1932" y="431"/>
                    </a:lnTo>
                    <a:lnTo>
                      <a:pt x="1932" y="439"/>
                    </a:lnTo>
                    <a:lnTo>
                      <a:pt x="1933" y="441"/>
                    </a:lnTo>
                    <a:lnTo>
                      <a:pt x="1935" y="445"/>
                    </a:lnTo>
                    <a:lnTo>
                      <a:pt x="1938" y="446"/>
                    </a:lnTo>
                    <a:lnTo>
                      <a:pt x="1942" y="446"/>
                    </a:lnTo>
                    <a:lnTo>
                      <a:pt x="1952" y="447"/>
                    </a:lnTo>
                    <a:lnTo>
                      <a:pt x="1961" y="450"/>
                    </a:lnTo>
                    <a:lnTo>
                      <a:pt x="1965" y="452"/>
                    </a:lnTo>
                    <a:lnTo>
                      <a:pt x="1969" y="457"/>
                    </a:lnTo>
                    <a:lnTo>
                      <a:pt x="1972" y="462"/>
                    </a:lnTo>
                    <a:lnTo>
                      <a:pt x="1974" y="469"/>
                    </a:lnTo>
                    <a:lnTo>
                      <a:pt x="1980" y="482"/>
                    </a:lnTo>
                    <a:lnTo>
                      <a:pt x="1985" y="493"/>
                    </a:lnTo>
                    <a:lnTo>
                      <a:pt x="1989" y="501"/>
                    </a:lnTo>
                    <a:lnTo>
                      <a:pt x="1991" y="509"/>
                    </a:lnTo>
                    <a:lnTo>
                      <a:pt x="1992" y="516"/>
                    </a:lnTo>
                    <a:lnTo>
                      <a:pt x="1995" y="521"/>
                    </a:lnTo>
                    <a:lnTo>
                      <a:pt x="1996" y="521"/>
                    </a:lnTo>
                    <a:lnTo>
                      <a:pt x="1997" y="520"/>
                    </a:lnTo>
                    <a:lnTo>
                      <a:pt x="1999" y="516"/>
                    </a:lnTo>
                    <a:lnTo>
                      <a:pt x="2001" y="513"/>
                    </a:lnTo>
                    <a:lnTo>
                      <a:pt x="2003" y="508"/>
                    </a:lnTo>
                    <a:lnTo>
                      <a:pt x="2005" y="504"/>
                    </a:lnTo>
                    <a:lnTo>
                      <a:pt x="2008" y="502"/>
                    </a:lnTo>
                    <a:lnTo>
                      <a:pt x="2011" y="501"/>
                    </a:lnTo>
                    <a:lnTo>
                      <a:pt x="2018" y="501"/>
                    </a:lnTo>
                    <a:lnTo>
                      <a:pt x="2028" y="503"/>
                    </a:lnTo>
                    <a:lnTo>
                      <a:pt x="2033" y="504"/>
                    </a:lnTo>
                    <a:lnTo>
                      <a:pt x="2036" y="507"/>
                    </a:lnTo>
                    <a:lnTo>
                      <a:pt x="2040" y="509"/>
                    </a:lnTo>
                    <a:lnTo>
                      <a:pt x="2042" y="512"/>
                    </a:lnTo>
                    <a:lnTo>
                      <a:pt x="2043" y="514"/>
                    </a:lnTo>
                    <a:lnTo>
                      <a:pt x="2043" y="518"/>
                    </a:lnTo>
                    <a:lnTo>
                      <a:pt x="2042" y="521"/>
                    </a:lnTo>
                    <a:lnTo>
                      <a:pt x="2040" y="525"/>
                    </a:lnTo>
                    <a:lnTo>
                      <a:pt x="2033" y="537"/>
                    </a:lnTo>
                    <a:lnTo>
                      <a:pt x="2023" y="551"/>
                    </a:lnTo>
                    <a:lnTo>
                      <a:pt x="2014" y="564"/>
                    </a:lnTo>
                    <a:lnTo>
                      <a:pt x="2008" y="575"/>
                    </a:lnTo>
                    <a:lnTo>
                      <a:pt x="2004" y="582"/>
                    </a:lnTo>
                    <a:lnTo>
                      <a:pt x="1999" y="590"/>
                    </a:lnTo>
                    <a:lnTo>
                      <a:pt x="1998" y="594"/>
                    </a:lnTo>
                    <a:lnTo>
                      <a:pt x="1998" y="598"/>
                    </a:lnTo>
                    <a:lnTo>
                      <a:pt x="1998" y="603"/>
                    </a:lnTo>
                    <a:lnTo>
                      <a:pt x="1998" y="609"/>
                    </a:lnTo>
                    <a:lnTo>
                      <a:pt x="2001" y="622"/>
                    </a:lnTo>
                    <a:lnTo>
                      <a:pt x="2002" y="635"/>
                    </a:lnTo>
                    <a:lnTo>
                      <a:pt x="2003" y="647"/>
                    </a:lnTo>
                    <a:lnTo>
                      <a:pt x="2004" y="657"/>
                    </a:lnTo>
                    <a:lnTo>
                      <a:pt x="2012" y="668"/>
                    </a:lnTo>
                    <a:lnTo>
                      <a:pt x="2022" y="686"/>
                    </a:lnTo>
                    <a:lnTo>
                      <a:pt x="2023" y="698"/>
                    </a:lnTo>
                    <a:lnTo>
                      <a:pt x="2024" y="710"/>
                    </a:lnTo>
                    <a:lnTo>
                      <a:pt x="2027" y="714"/>
                    </a:lnTo>
                    <a:lnTo>
                      <a:pt x="2029" y="715"/>
                    </a:lnTo>
                    <a:lnTo>
                      <a:pt x="2033" y="714"/>
                    </a:lnTo>
                    <a:lnTo>
                      <a:pt x="2039" y="709"/>
                    </a:lnTo>
                    <a:lnTo>
                      <a:pt x="2046" y="704"/>
                    </a:lnTo>
                    <a:lnTo>
                      <a:pt x="2052" y="701"/>
                    </a:lnTo>
                    <a:lnTo>
                      <a:pt x="2056" y="698"/>
                    </a:lnTo>
                    <a:lnTo>
                      <a:pt x="2061" y="699"/>
                    </a:lnTo>
                    <a:lnTo>
                      <a:pt x="2065" y="701"/>
                    </a:lnTo>
                    <a:lnTo>
                      <a:pt x="2068" y="703"/>
                    </a:lnTo>
                    <a:lnTo>
                      <a:pt x="2070" y="708"/>
                    </a:lnTo>
                    <a:lnTo>
                      <a:pt x="2070" y="712"/>
                    </a:lnTo>
                    <a:lnTo>
                      <a:pt x="2070" y="726"/>
                    </a:lnTo>
                    <a:lnTo>
                      <a:pt x="2070" y="740"/>
                    </a:lnTo>
                    <a:lnTo>
                      <a:pt x="2071" y="746"/>
                    </a:lnTo>
                    <a:lnTo>
                      <a:pt x="2073" y="753"/>
                    </a:lnTo>
                    <a:lnTo>
                      <a:pt x="2075" y="758"/>
                    </a:lnTo>
                    <a:lnTo>
                      <a:pt x="2078" y="764"/>
                    </a:lnTo>
                    <a:lnTo>
                      <a:pt x="2084" y="773"/>
                    </a:lnTo>
                    <a:lnTo>
                      <a:pt x="2092" y="785"/>
                    </a:lnTo>
                    <a:lnTo>
                      <a:pt x="2099" y="798"/>
                    </a:lnTo>
                    <a:lnTo>
                      <a:pt x="2108" y="813"/>
                    </a:lnTo>
                    <a:lnTo>
                      <a:pt x="2116" y="830"/>
                    </a:lnTo>
                    <a:lnTo>
                      <a:pt x="2125" y="848"/>
                    </a:lnTo>
                    <a:lnTo>
                      <a:pt x="2135" y="866"/>
                    </a:lnTo>
                    <a:lnTo>
                      <a:pt x="2143" y="879"/>
                    </a:lnTo>
                    <a:lnTo>
                      <a:pt x="2153" y="876"/>
                    </a:lnTo>
                    <a:lnTo>
                      <a:pt x="2161" y="874"/>
                    </a:lnTo>
                    <a:lnTo>
                      <a:pt x="2165" y="881"/>
                    </a:lnTo>
                    <a:lnTo>
                      <a:pt x="2166" y="887"/>
                    </a:lnTo>
                    <a:lnTo>
                      <a:pt x="2167" y="890"/>
                    </a:lnTo>
                    <a:lnTo>
                      <a:pt x="2168" y="891"/>
                    </a:lnTo>
                    <a:lnTo>
                      <a:pt x="2171" y="891"/>
                    </a:lnTo>
                    <a:lnTo>
                      <a:pt x="2175" y="890"/>
                    </a:lnTo>
                    <a:lnTo>
                      <a:pt x="2181" y="888"/>
                    </a:lnTo>
                    <a:lnTo>
                      <a:pt x="2186" y="887"/>
                    </a:lnTo>
                    <a:lnTo>
                      <a:pt x="2188" y="887"/>
                    </a:lnTo>
                    <a:lnTo>
                      <a:pt x="2190" y="887"/>
                    </a:lnTo>
                    <a:lnTo>
                      <a:pt x="2191" y="888"/>
                    </a:lnTo>
                    <a:lnTo>
                      <a:pt x="2192" y="890"/>
                    </a:lnTo>
                    <a:lnTo>
                      <a:pt x="2191" y="907"/>
                    </a:lnTo>
                    <a:lnTo>
                      <a:pt x="2190" y="920"/>
                    </a:lnTo>
                    <a:lnTo>
                      <a:pt x="2200" y="923"/>
                    </a:lnTo>
                    <a:lnTo>
                      <a:pt x="2211" y="926"/>
                    </a:lnTo>
                    <a:lnTo>
                      <a:pt x="2212" y="928"/>
                    </a:lnTo>
                    <a:lnTo>
                      <a:pt x="2211" y="929"/>
                    </a:lnTo>
                    <a:lnTo>
                      <a:pt x="2210" y="930"/>
                    </a:lnTo>
                    <a:lnTo>
                      <a:pt x="2209" y="932"/>
                    </a:lnTo>
                    <a:lnTo>
                      <a:pt x="2203" y="936"/>
                    </a:lnTo>
                    <a:lnTo>
                      <a:pt x="2198" y="939"/>
                    </a:lnTo>
                    <a:lnTo>
                      <a:pt x="2194" y="942"/>
                    </a:lnTo>
                    <a:lnTo>
                      <a:pt x="2192" y="945"/>
                    </a:lnTo>
                    <a:lnTo>
                      <a:pt x="2190" y="949"/>
                    </a:lnTo>
                    <a:lnTo>
                      <a:pt x="2188" y="954"/>
                    </a:lnTo>
                    <a:lnTo>
                      <a:pt x="2190" y="962"/>
                    </a:lnTo>
                    <a:lnTo>
                      <a:pt x="2191" y="970"/>
                    </a:lnTo>
                    <a:lnTo>
                      <a:pt x="2192" y="979"/>
                    </a:lnTo>
                    <a:lnTo>
                      <a:pt x="2193" y="985"/>
                    </a:lnTo>
                    <a:lnTo>
                      <a:pt x="2193" y="988"/>
                    </a:lnTo>
                    <a:lnTo>
                      <a:pt x="2192" y="992"/>
                    </a:lnTo>
                    <a:lnTo>
                      <a:pt x="2190" y="995"/>
                    </a:lnTo>
                    <a:lnTo>
                      <a:pt x="2187" y="999"/>
                    </a:lnTo>
                    <a:lnTo>
                      <a:pt x="2177" y="1011"/>
                    </a:lnTo>
                    <a:lnTo>
                      <a:pt x="2163" y="1025"/>
                    </a:lnTo>
                    <a:lnTo>
                      <a:pt x="2156" y="1031"/>
                    </a:lnTo>
                    <a:lnTo>
                      <a:pt x="2152" y="1036"/>
                    </a:lnTo>
                    <a:lnTo>
                      <a:pt x="2150" y="1038"/>
                    </a:lnTo>
                    <a:lnTo>
                      <a:pt x="2149" y="1041"/>
                    </a:lnTo>
                    <a:lnTo>
                      <a:pt x="2149" y="1042"/>
                    </a:lnTo>
                    <a:lnTo>
                      <a:pt x="2150" y="1044"/>
                    </a:lnTo>
                    <a:lnTo>
                      <a:pt x="2153" y="1045"/>
                    </a:lnTo>
                    <a:lnTo>
                      <a:pt x="2155" y="1046"/>
                    </a:lnTo>
                    <a:lnTo>
                      <a:pt x="2158" y="1046"/>
                    </a:lnTo>
                    <a:lnTo>
                      <a:pt x="2161" y="1046"/>
                    </a:lnTo>
                    <a:lnTo>
                      <a:pt x="2167" y="1045"/>
                    </a:lnTo>
                    <a:lnTo>
                      <a:pt x="2174" y="1043"/>
                    </a:lnTo>
                    <a:lnTo>
                      <a:pt x="2181" y="1041"/>
                    </a:lnTo>
                    <a:lnTo>
                      <a:pt x="2192" y="1041"/>
                    </a:lnTo>
                    <a:lnTo>
                      <a:pt x="2199" y="1043"/>
                    </a:lnTo>
                    <a:lnTo>
                      <a:pt x="2204" y="1044"/>
                    </a:lnTo>
                    <a:lnTo>
                      <a:pt x="2205" y="1046"/>
                    </a:lnTo>
                    <a:lnTo>
                      <a:pt x="2205" y="1049"/>
                    </a:lnTo>
                    <a:lnTo>
                      <a:pt x="2201" y="1055"/>
                    </a:lnTo>
                    <a:lnTo>
                      <a:pt x="2197" y="1062"/>
                    </a:lnTo>
                    <a:lnTo>
                      <a:pt x="2193" y="1069"/>
                    </a:lnTo>
                    <a:lnTo>
                      <a:pt x="2191" y="1077"/>
                    </a:lnTo>
                    <a:lnTo>
                      <a:pt x="2190" y="1084"/>
                    </a:lnTo>
                    <a:lnTo>
                      <a:pt x="2188" y="1092"/>
                    </a:lnTo>
                    <a:lnTo>
                      <a:pt x="2188" y="1096"/>
                    </a:lnTo>
                    <a:lnTo>
                      <a:pt x="2187" y="1100"/>
                    </a:lnTo>
                    <a:lnTo>
                      <a:pt x="2184" y="1102"/>
                    </a:lnTo>
                    <a:lnTo>
                      <a:pt x="2181" y="1105"/>
                    </a:lnTo>
                    <a:lnTo>
                      <a:pt x="2173" y="1107"/>
                    </a:lnTo>
                    <a:lnTo>
                      <a:pt x="2165" y="1107"/>
                    </a:lnTo>
                    <a:lnTo>
                      <a:pt x="2160" y="1108"/>
                    </a:lnTo>
                    <a:lnTo>
                      <a:pt x="2158" y="1109"/>
                    </a:lnTo>
                    <a:lnTo>
                      <a:pt x="2155" y="1115"/>
                    </a:lnTo>
                    <a:lnTo>
                      <a:pt x="2149" y="1127"/>
                    </a:lnTo>
                    <a:lnTo>
                      <a:pt x="2136" y="1142"/>
                    </a:lnTo>
                    <a:lnTo>
                      <a:pt x="2124" y="1155"/>
                    </a:lnTo>
                    <a:lnTo>
                      <a:pt x="2119" y="1161"/>
                    </a:lnTo>
                    <a:lnTo>
                      <a:pt x="2115" y="1165"/>
                    </a:lnTo>
                    <a:lnTo>
                      <a:pt x="2106" y="1168"/>
                    </a:lnTo>
                    <a:lnTo>
                      <a:pt x="2095" y="1170"/>
                    </a:lnTo>
                    <a:lnTo>
                      <a:pt x="2087" y="1172"/>
                    </a:lnTo>
                    <a:lnTo>
                      <a:pt x="2081" y="1175"/>
                    </a:lnTo>
                    <a:lnTo>
                      <a:pt x="2075" y="1177"/>
                    </a:lnTo>
                    <a:lnTo>
                      <a:pt x="2071" y="1181"/>
                    </a:lnTo>
                    <a:lnTo>
                      <a:pt x="2062" y="1188"/>
                    </a:lnTo>
                    <a:lnTo>
                      <a:pt x="2054" y="1194"/>
                    </a:lnTo>
                    <a:lnTo>
                      <a:pt x="2047" y="1200"/>
                    </a:lnTo>
                    <a:lnTo>
                      <a:pt x="2040" y="1206"/>
                    </a:lnTo>
                    <a:lnTo>
                      <a:pt x="2033" y="1210"/>
                    </a:lnTo>
                    <a:lnTo>
                      <a:pt x="2022" y="1214"/>
                    </a:lnTo>
                    <a:lnTo>
                      <a:pt x="2012" y="1220"/>
                    </a:lnTo>
                    <a:lnTo>
                      <a:pt x="2005" y="1226"/>
                    </a:lnTo>
                    <a:lnTo>
                      <a:pt x="2003" y="1228"/>
                    </a:lnTo>
                    <a:lnTo>
                      <a:pt x="2001" y="1232"/>
                    </a:lnTo>
                    <a:lnTo>
                      <a:pt x="1999" y="1235"/>
                    </a:lnTo>
                    <a:lnTo>
                      <a:pt x="1998" y="1238"/>
                    </a:lnTo>
                    <a:lnTo>
                      <a:pt x="1997" y="1244"/>
                    </a:lnTo>
                    <a:lnTo>
                      <a:pt x="1995" y="1250"/>
                    </a:lnTo>
                    <a:lnTo>
                      <a:pt x="1992" y="1254"/>
                    </a:lnTo>
                    <a:lnTo>
                      <a:pt x="1989" y="1258"/>
                    </a:lnTo>
                    <a:lnTo>
                      <a:pt x="1979" y="1265"/>
                    </a:lnTo>
                    <a:lnTo>
                      <a:pt x="1970" y="1272"/>
                    </a:lnTo>
                    <a:lnTo>
                      <a:pt x="1958" y="1281"/>
                    </a:lnTo>
                    <a:lnTo>
                      <a:pt x="1945" y="1290"/>
                    </a:lnTo>
                    <a:lnTo>
                      <a:pt x="1933" y="1298"/>
                    </a:lnTo>
                    <a:lnTo>
                      <a:pt x="1923" y="1308"/>
                    </a:lnTo>
                    <a:lnTo>
                      <a:pt x="1916" y="1317"/>
                    </a:lnTo>
                    <a:lnTo>
                      <a:pt x="1910" y="1329"/>
                    </a:lnTo>
                    <a:lnTo>
                      <a:pt x="1902" y="1341"/>
                    </a:lnTo>
                    <a:lnTo>
                      <a:pt x="1892" y="1353"/>
                    </a:lnTo>
                    <a:lnTo>
                      <a:pt x="1878" y="1369"/>
                    </a:lnTo>
                    <a:lnTo>
                      <a:pt x="1862" y="1389"/>
                    </a:lnTo>
                    <a:lnTo>
                      <a:pt x="1844" y="1409"/>
                    </a:lnTo>
                    <a:lnTo>
                      <a:pt x="1827" y="1426"/>
                    </a:lnTo>
                    <a:lnTo>
                      <a:pt x="1821" y="1430"/>
                    </a:lnTo>
                    <a:lnTo>
                      <a:pt x="1818" y="1436"/>
                    </a:lnTo>
                    <a:lnTo>
                      <a:pt x="1815" y="1441"/>
                    </a:lnTo>
                    <a:lnTo>
                      <a:pt x="1814" y="1445"/>
                    </a:lnTo>
                    <a:lnTo>
                      <a:pt x="1813" y="1446"/>
                    </a:lnTo>
                    <a:lnTo>
                      <a:pt x="1812" y="1448"/>
                    </a:lnTo>
                    <a:lnTo>
                      <a:pt x="1809" y="1457"/>
                    </a:lnTo>
                    <a:lnTo>
                      <a:pt x="1808" y="1466"/>
                    </a:lnTo>
                    <a:lnTo>
                      <a:pt x="1807" y="1477"/>
                    </a:lnTo>
                    <a:lnTo>
                      <a:pt x="1807" y="1485"/>
                    </a:lnTo>
                    <a:lnTo>
                      <a:pt x="1800" y="1500"/>
                    </a:lnTo>
                    <a:lnTo>
                      <a:pt x="1790" y="1520"/>
                    </a:lnTo>
                    <a:lnTo>
                      <a:pt x="1785" y="1529"/>
                    </a:lnTo>
                    <a:lnTo>
                      <a:pt x="1782" y="1537"/>
                    </a:lnTo>
                    <a:lnTo>
                      <a:pt x="1776" y="1544"/>
                    </a:lnTo>
                    <a:lnTo>
                      <a:pt x="1769" y="1554"/>
                    </a:lnTo>
                    <a:lnTo>
                      <a:pt x="1763" y="1563"/>
                    </a:lnTo>
                    <a:lnTo>
                      <a:pt x="1757" y="1571"/>
                    </a:lnTo>
                    <a:lnTo>
                      <a:pt x="1751" y="1575"/>
                    </a:lnTo>
                    <a:lnTo>
                      <a:pt x="1745" y="1580"/>
                    </a:lnTo>
                    <a:lnTo>
                      <a:pt x="1740" y="1582"/>
                    </a:lnTo>
                    <a:lnTo>
                      <a:pt x="1736" y="1585"/>
                    </a:lnTo>
                    <a:lnTo>
                      <a:pt x="1732" y="1586"/>
                    </a:lnTo>
                    <a:lnTo>
                      <a:pt x="1727" y="1586"/>
                    </a:lnTo>
                    <a:lnTo>
                      <a:pt x="1708" y="1582"/>
                    </a:lnTo>
                    <a:lnTo>
                      <a:pt x="1682" y="1578"/>
                    </a:lnTo>
                    <a:lnTo>
                      <a:pt x="1676" y="1579"/>
                    </a:lnTo>
                    <a:lnTo>
                      <a:pt x="1671" y="1580"/>
                    </a:lnTo>
                    <a:lnTo>
                      <a:pt x="1667" y="1582"/>
                    </a:lnTo>
                    <a:lnTo>
                      <a:pt x="1662" y="1586"/>
                    </a:lnTo>
                    <a:lnTo>
                      <a:pt x="1657" y="1588"/>
                    </a:lnTo>
                    <a:lnTo>
                      <a:pt x="1651" y="1592"/>
                    </a:lnTo>
                    <a:lnTo>
                      <a:pt x="1645" y="1594"/>
                    </a:lnTo>
                    <a:lnTo>
                      <a:pt x="1639" y="1596"/>
                    </a:lnTo>
                    <a:lnTo>
                      <a:pt x="1633" y="1596"/>
                    </a:lnTo>
                    <a:lnTo>
                      <a:pt x="1627" y="1594"/>
                    </a:lnTo>
                    <a:lnTo>
                      <a:pt x="1620" y="1593"/>
                    </a:lnTo>
                    <a:lnTo>
                      <a:pt x="1615" y="1592"/>
                    </a:lnTo>
                    <a:lnTo>
                      <a:pt x="1609" y="1590"/>
                    </a:lnTo>
                    <a:lnTo>
                      <a:pt x="1604" y="1590"/>
                    </a:lnTo>
                    <a:lnTo>
                      <a:pt x="1598" y="1590"/>
                    </a:lnTo>
                    <a:lnTo>
                      <a:pt x="1592" y="1591"/>
                    </a:lnTo>
                    <a:lnTo>
                      <a:pt x="1585" y="1594"/>
                    </a:lnTo>
                    <a:lnTo>
                      <a:pt x="1577" y="1600"/>
                    </a:lnTo>
                    <a:lnTo>
                      <a:pt x="1570" y="1607"/>
                    </a:lnTo>
                    <a:lnTo>
                      <a:pt x="1562" y="1615"/>
                    </a:lnTo>
                    <a:lnTo>
                      <a:pt x="1548" y="1630"/>
                    </a:lnTo>
                    <a:lnTo>
                      <a:pt x="1536" y="1641"/>
                    </a:lnTo>
                    <a:lnTo>
                      <a:pt x="1479" y="1678"/>
                    </a:lnTo>
                    <a:lnTo>
                      <a:pt x="1466" y="1687"/>
                    </a:lnTo>
                    <a:lnTo>
                      <a:pt x="1456" y="1694"/>
                    </a:lnTo>
                    <a:lnTo>
                      <a:pt x="1450" y="1697"/>
                    </a:lnTo>
                    <a:lnTo>
                      <a:pt x="1442" y="1698"/>
                    </a:lnTo>
                    <a:lnTo>
                      <a:pt x="1431" y="1697"/>
                    </a:lnTo>
                    <a:lnTo>
                      <a:pt x="1417" y="1695"/>
                    </a:lnTo>
                    <a:lnTo>
                      <a:pt x="1410" y="1694"/>
                    </a:lnTo>
                    <a:lnTo>
                      <a:pt x="1405" y="1695"/>
                    </a:lnTo>
                    <a:lnTo>
                      <a:pt x="1401" y="1697"/>
                    </a:lnTo>
                    <a:lnTo>
                      <a:pt x="1398" y="1699"/>
                    </a:lnTo>
                    <a:lnTo>
                      <a:pt x="1394" y="1706"/>
                    </a:lnTo>
                    <a:lnTo>
                      <a:pt x="1391" y="1717"/>
                    </a:lnTo>
                    <a:lnTo>
                      <a:pt x="1390" y="1720"/>
                    </a:lnTo>
                    <a:lnTo>
                      <a:pt x="1387" y="1723"/>
                    </a:lnTo>
                    <a:lnTo>
                      <a:pt x="1385" y="1725"/>
                    </a:lnTo>
                    <a:lnTo>
                      <a:pt x="1381" y="1728"/>
                    </a:lnTo>
                    <a:lnTo>
                      <a:pt x="1374" y="1731"/>
                    </a:lnTo>
                    <a:lnTo>
                      <a:pt x="1365" y="1736"/>
                    </a:lnTo>
                    <a:lnTo>
                      <a:pt x="1355" y="1739"/>
                    </a:lnTo>
                    <a:lnTo>
                      <a:pt x="1347" y="1743"/>
                    </a:lnTo>
                    <a:lnTo>
                      <a:pt x="1340" y="1748"/>
                    </a:lnTo>
                    <a:lnTo>
                      <a:pt x="1334" y="1752"/>
                    </a:lnTo>
                    <a:lnTo>
                      <a:pt x="1322" y="1767"/>
                    </a:lnTo>
                    <a:lnTo>
                      <a:pt x="1304" y="1786"/>
                    </a:lnTo>
                    <a:lnTo>
                      <a:pt x="1286" y="1804"/>
                    </a:lnTo>
                    <a:lnTo>
                      <a:pt x="1272" y="1817"/>
                    </a:lnTo>
                    <a:lnTo>
                      <a:pt x="1259" y="1824"/>
                    </a:lnTo>
                    <a:lnTo>
                      <a:pt x="1247" y="1829"/>
                    </a:lnTo>
                    <a:lnTo>
                      <a:pt x="1234" y="1833"/>
                    </a:lnTo>
                    <a:lnTo>
                      <a:pt x="1222" y="1838"/>
                    </a:lnTo>
                    <a:lnTo>
                      <a:pt x="1216" y="1843"/>
                    </a:lnTo>
                    <a:lnTo>
                      <a:pt x="1210" y="1850"/>
                    </a:lnTo>
                    <a:lnTo>
                      <a:pt x="1204" y="1858"/>
                    </a:lnTo>
                    <a:lnTo>
                      <a:pt x="1198" y="1868"/>
                    </a:lnTo>
                    <a:lnTo>
                      <a:pt x="1189" y="1886"/>
                    </a:lnTo>
                    <a:lnTo>
                      <a:pt x="1180" y="1897"/>
                    </a:lnTo>
                    <a:lnTo>
                      <a:pt x="1174" y="1905"/>
                    </a:lnTo>
                    <a:lnTo>
                      <a:pt x="1168" y="1911"/>
                    </a:lnTo>
                    <a:lnTo>
                      <a:pt x="1163" y="1914"/>
                    </a:lnTo>
                    <a:lnTo>
                      <a:pt x="1158" y="1918"/>
                    </a:lnTo>
                    <a:lnTo>
                      <a:pt x="1154" y="1920"/>
                    </a:lnTo>
                    <a:lnTo>
                      <a:pt x="1148" y="1924"/>
                    </a:lnTo>
                    <a:lnTo>
                      <a:pt x="1141" y="1931"/>
                    </a:lnTo>
                    <a:lnTo>
                      <a:pt x="1135" y="1939"/>
                    </a:lnTo>
                    <a:lnTo>
                      <a:pt x="1130" y="1949"/>
                    </a:lnTo>
                    <a:lnTo>
                      <a:pt x="1129" y="1956"/>
                    </a:lnTo>
                    <a:lnTo>
                      <a:pt x="1129" y="1957"/>
                    </a:lnTo>
                    <a:lnTo>
                      <a:pt x="1130" y="1959"/>
                    </a:lnTo>
                    <a:lnTo>
                      <a:pt x="1132" y="1959"/>
                    </a:lnTo>
                    <a:lnTo>
                      <a:pt x="1134" y="1959"/>
                    </a:lnTo>
                    <a:lnTo>
                      <a:pt x="1140" y="1959"/>
                    </a:lnTo>
                    <a:lnTo>
                      <a:pt x="1145" y="1960"/>
                    </a:lnTo>
                    <a:lnTo>
                      <a:pt x="1147" y="1962"/>
                    </a:lnTo>
                    <a:lnTo>
                      <a:pt x="1148" y="1964"/>
                    </a:lnTo>
                    <a:lnTo>
                      <a:pt x="1148" y="1965"/>
                    </a:lnTo>
                    <a:lnTo>
                      <a:pt x="1147" y="1968"/>
                    </a:lnTo>
                    <a:lnTo>
                      <a:pt x="1144" y="1972"/>
                    </a:lnTo>
                    <a:lnTo>
                      <a:pt x="1138" y="1977"/>
                    </a:lnTo>
                    <a:lnTo>
                      <a:pt x="1134" y="1978"/>
                    </a:lnTo>
                    <a:lnTo>
                      <a:pt x="1130" y="1978"/>
                    </a:lnTo>
                    <a:lnTo>
                      <a:pt x="1127" y="1979"/>
                    </a:lnTo>
                    <a:lnTo>
                      <a:pt x="1122" y="1978"/>
                    </a:lnTo>
                    <a:lnTo>
                      <a:pt x="1117" y="1978"/>
                    </a:lnTo>
                    <a:lnTo>
                      <a:pt x="1115" y="1978"/>
                    </a:lnTo>
                    <a:lnTo>
                      <a:pt x="1113" y="1979"/>
                    </a:lnTo>
                    <a:lnTo>
                      <a:pt x="1113" y="1981"/>
                    </a:lnTo>
                    <a:lnTo>
                      <a:pt x="1113" y="1985"/>
                    </a:lnTo>
                    <a:lnTo>
                      <a:pt x="1114" y="1990"/>
                    </a:lnTo>
                    <a:lnTo>
                      <a:pt x="1115" y="1994"/>
                    </a:lnTo>
                    <a:lnTo>
                      <a:pt x="1116" y="1997"/>
                    </a:lnTo>
                    <a:lnTo>
                      <a:pt x="1115" y="2002"/>
                    </a:lnTo>
                    <a:lnTo>
                      <a:pt x="1114" y="2006"/>
                    </a:lnTo>
                    <a:lnTo>
                      <a:pt x="1110" y="2013"/>
                    </a:lnTo>
                    <a:lnTo>
                      <a:pt x="1105" y="2020"/>
                    </a:lnTo>
                    <a:lnTo>
                      <a:pt x="1098" y="2025"/>
                    </a:lnTo>
                    <a:lnTo>
                      <a:pt x="1091" y="2028"/>
                    </a:lnTo>
                    <a:lnTo>
                      <a:pt x="1088" y="2029"/>
                    </a:lnTo>
                    <a:lnTo>
                      <a:pt x="1083" y="2031"/>
                    </a:lnTo>
                    <a:lnTo>
                      <a:pt x="1079" y="2031"/>
                    </a:lnTo>
                    <a:lnTo>
                      <a:pt x="1077" y="2029"/>
                    </a:lnTo>
                    <a:lnTo>
                      <a:pt x="1073" y="2029"/>
                    </a:lnTo>
                    <a:lnTo>
                      <a:pt x="1070" y="2028"/>
                    </a:lnTo>
                    <a:lnTo>
                      <a:pt x="1067" y="2029"/>
                    </a:lnTo>
                    <a:lnTo>
                      <a:pt x="1066" y="2031"/>
                    </a:lnTo>
                    <a:lnTo>
                      <a:pt x="1065" y="2032"/>
                    </a:lnTo>
                    <a:lnTo>
                      <a:pt x="1066" y="2034"/>
                    </a:lnTo>
                    <a:lnTo>
                      <a:pt x="1069" y="2037"/>
                    </a:lnTo>
                    <a:lnTo>
                      <a:pt x="1072" y="2039"/>
                    </a:lnTo>
                    <a:lnTo>
                      <a:pt x="1076" y="2042"/>
                    </a:lnTo>
                    <a:lnTo>
                      <a:pt x="1079" y="2047"/>
                    </a:lnTo>
                    <a:lnTo>
                      <a:pt x="1081" y="2052"/>
                    </a:lnTo>
                    <a:lnTo>
                      <a:pt x="1081" y="2057"/>
                    </a:lnTo>
                    <a:lnTo>
                      <a:pt x="1081" y="2060"/>
                    </a:lnTo>
                    <a:lnTo>
                      <a:pt x="1078" y="2064"/>
                    </a:lnTo>
                    <a:lnTo>
                      <a:pt x="1076" y="2065"/>
                    </a:lnTo>
                    <a:lnTo>
                      <a:pt x="1071" y="2066"/>
                    </a:lnTo>
                    <a:lnTo>
                      <a:pt x="1066" y="2064"/>
                    </a:lnTo>
                    <a:lnTo>
                      <a:pt x="1061" y="2061"/>
                    </a:lnTo>
                    <a:lnTo>
                      <a:pt x="1057" y="2059"/>
                    </a:lnTo>
                    <a:lnTo>
                      <a:pt x="1052" y="2054"/>
                    </a:lnTo>
                    <a:lnTo>
                      <a:pt x="1044" y="2045"/>
                    </a:lnTo>
                    <a:lnTo>
                      <a:pt x="1037" y="2035"/>
                    </a:lnTo>
                    <a:lnTo>
                      <a:pt x="1033" y="2031"/>
                    </a:lnTo>
                    <a:lnTo>
                      <a:pt x="1029" y="2027"/>
                    </a:lnTo>
                    <a:lnTo>
                      <a:pt x="1027" y="2026"/>
                    </a:lnTo>
                    <a:lnTo>
                      <a:pt x="1023" y="2025"/>
                    </a:lnTo>
                    <a:lnTo>
                      <a:pt x="1021" y="2025"/>
                    </a:lnTo>
                    <a:lnTo>
                      <a:pt x="1020" y="2026"/>
                    </a:lnTo>
                    <a:lnTo>
                      <a:pt x="1019" y="2027"/>
                    </a:lnTo>
                    <a:lnTo>
                      <a:pt x="1018" y="2029"/>
                    </a:lnTo>
                    <a:lnTo>
                      <a:pt x="1018" y="2035"/>
                    </a:lnTo>
                    <a:lnTo>
                      <a:pt x="1016" y="2040"/>
                    </a:lnTo>
                    <a:lnTo>
                      <a:pt x="1015" y="2042"/>
                    </a:lnTo>
                    <a:lnTo>
                      <a:pt x="1014" y="2044"/>
                    </a:lnTo>
                    <a:lnTo>
                      <a:pt x="1012" y="2045"/>
                    </a:lnTo>
                    <a:lnTo>
                      <a:pt x="1008" y="2045"/>
                    </a:lnTo>
                    <a:lnTo>
                      <a:pt x="1002" y="2046"/>
                    </a:lnTo>
                    <a:lnTo>
                      <a:pt x="995" y="2048"/>
                    </a:lnTo>
                    <a:lnTo>
                      <a:pt x="993" y="2050"/>
                    </a:lnTo>
                    <a:lnTo>
                      <a:pt x="989" y="2052"/>
                    </a:lnTo>
                    <a:lnTo>
                      <a:pt x="988" y="2056"/>
                    </a:lnTo>
                    <a:lnTo>
                      <a:pt x="987" y="2059"/>
                    </a:lnTo>
                    <a:lnTo>
                      <a:pt x="987" y="2063"/>
                    </a:lnTo>
                    <a:lnTo>
                      <a:pt x="988" y="2066"/>
                    </a:lnTo>
                    <a:lnTo>
                      <a:pt x="990" y="2069"/>
                    </a:lnTo>
                    <a:lnTo>
                      <a:pt x="993" y="2072"/>
                    </a:lnTo>
                    <a:lnTo>
                      <a:pt x="1000" y="2076"/>
                    </a:lnTo>
                    <a:lnTo>
                      <a:pt x="1008" y="2079"/>
                    </a:lnTo>
                    <a:lnTo>
                      <a:pt x="1014" y="2084"/>
                    </a:lnTo>
                    <a:lnTo>
                      <a:pt x="1020" y="2090"/>
                    </a:lnTo>
                    <a:lnTo>
                      <a:pt x="1022" y="2094"/>
                    </a:lnTo>
                    <a:lnTo>
                      <a:pt x="1023" y="2097"/>
                    </a:lnTo>
                    <a:lnTo>
                      <a:pt x="1023" y="2100"/>
                    </a:lnTo>
                    <a:lnTo>
                      <a:pt x="1023" y="2102"/>
                    </a:lnTo>
                    <a:lnTo>
                      <a:pt x="1021" y="2103"/>
                    </a:lnTo>
                    <a:lnTo>
                      <a:pt x="1018" y="2104"/>
                    </a:lnTo>
                    <a:lnTo>
                      <a:pt x="1014" y="2105"/>
                    </a:lnTo>
                    <a:lnTo>
                      <a:pt x="1008" y="2105"/>
                    </a:lnTo>
                    <a:lnTo>
                      <a:pt x="997" y="2105"/>
                    </a:lnTo>
                    <a:lnTo>
                      <a:pt x="985" y="2105"/>
                    </a:lnTo>
                    <a:lnTo>
                      <a:pt x="979" y="2105"/>
                    </a:lnTo>
                    <a:lnTo>
                      <a:pt x="975" y="2107"/>
                    </a:lnTo>
                    <a:lnTo>
                      <a:pt x="971" y="2108"/>
                    </a:lnTo>
                    <a:lnTo>
                      <a:pt x="969" y="2110"/>
                    </a:lnTo>
                    <a:lnTo>
                      <a:pt x="964" y="2116"/>
                    </a:lnTo>
                    <a:lnTo>
                      <a:pt x="960" y="2123"/>
                    </a:lnTo>
                    <a:lnTo>
                      <a:pt x="957" y="2128"/>
                    </a:lnTo>
                    <a:lnTo>
                      <a:pt x="952" y="2133"/>
                    </a:lnTo>
                    <a:lnTo>
                      <a:pt x="945" y="2134"/>
                    </a:lnTo>
                    <a:lnTo>
                      <a:pt x="934" y="2135"/>
                    </a:lnTo>
                    <a:lnTo>
                      <a:pt x="924" y="2135"/>
                    </a:lnTo>
                    <a:lnTo>
                      <a:pt x="915" y="2136"/>
                    </a:lnTo>
                    <a:lnTo>
                      <a:pt x="908" y="2139"/>
                    </a:lnTo>
                    <a:lnTo>
                      <a:pt x="903" y="2142"/>
                    </a:lnTo>
                    <a:lnTo>
                      <a:pt x="897" y="2147"/>
                    </a:lnTo>
                    <a:lnTo>
                      <a:pt x="891" y="2151"/>
                    </a:lnTo>
                    <a:lnTo>
                      <a:pt x="884" y="2153"/>
                    </a:lnTo>
                    <a:lnTo>
                      <a:pt x="877" y="2153"/>
                    </a:lnTo>
                    <a:lnTo>
                      <a:pt x="872" y="2153"/>
                    </a:lnTo>
                    <a:lnTo>
                      <a:pt x="870" y="2154"/>
                    </a:lnTo>
                    <a:lnTo>
                      <a:pt x="867" y="2157"/>
                    </a:lnTo>
                    <a:lnTo>
                      <a:pt x="864" y="2160"/>
                    </a:lnTo>
                    <a:lnTo>
                      <a:pt x="861" y="2167"/>
                    </a:lnTo>
                    <a:lnTo>
                      <a:pt x="859" y="2174"/>
                    </a:lnTo>
                    <a:lnTo>
                      <a:pt x="857" y="2182"/>
                    </a:lnTo>
                    <a:lnTo>
                      <a:pt x="853" y="2185"/>
                    </a:lnTo>
                    <a:lnTo>
                      <a:pt x="852" y="2186"/>
                    </a:lnTo>
                    <a:lnTo>
                      <a:pt x="850" y="2187"/>
                    </a:lnTo>
                    <a:lnTo>
                      <a:pt x="846" y="2187"/>
                    </a:lnTo>
                    <a:lnTo>
                      <a:pt x="844" y="2186"/>
                    </a:lnTo>
                    <a:lnTo>
                      <a:pt x="840" y="2185"/>
                    </a:lnTo>
                    <a:lnTo>
                      <a:pt x="838" y="2183"/>
                    </a:lnTo>
                    <a:lnTo>
                      <a:pt x="837" y="2179"/>
                    </a:lnTo>
                    <a:lnTo>
                      <a:pt x="834" y="2176"/>
                    </a:lnTo>
                    <a:lnTo>
                      <a:pt x="833" y="2165"/>
                    </a:lnTo>
                    <a:lnTo>
                      <a:pt x="832" y="2153"/>
                    </a:lnTo>
                    <a:lnTo>
                      <a:pt x="832" y="2146"/>
                    </a:lnTo>
                    <a:lnTo>
                      <a:pt x="830" y="2140"/>
                    </a:lnTo>
                    <a:lnTo>
                      <a:pt x="827" y="2134"/>
                    </a:lnTo>
                    <a:lnTo>
                      <a:pt x="825" y="2129"/>
                    </a:lnTo>
                    <a:lnTo>
                      <a:pt x="819" y="2120"/>
                    </a:lnTo>
                    <a:lnTo>
                      <a:pt x="817" y="2114"/>
                    </a:lnTo>
                    <a:lnTo>
                      <a:pt x="817" y="2109"/>
                    </a:lnTo>
                    <a:lnTo>
                      <a:pt x="818" y="2103"/>
                    </a:lnTo>
                    <a:lnTo>
                      <a:pt x="819" y="2100"/>
                    </a:lnTo>
                    <a:lnTo>
                      <a:pt x="821" y="2097"/>
                    </a:lnTo>
                    <a:lnTo>
                      <a:pt x="825" y="2096"/>
                    </a:lnTo>
                    <a:lnTo>
                      <a:pt x="830" y="2095"/>
                    </a:lnTo>
                    <a:lnTo>
                      <a:pt x="843" y="2094"/>
                    </a:lnTo>
                    <a:lnTo>
                      <a:pt x="857" y="2091"/>
                    </a:lnTo>
                    <a:lnTo>
                      <a:pt x="871" y="2088"/>
                    </a:lnTo>
                    <a:lnTo>
                      <a:pt x="883" y="2083"/>
                    </a:lnTo>
                    <a:lnTo>
                      <a:pt x="887" y="2079"/>
                    </a:lnTo>
                    <a:lnTo>
                      <a:pt x="889" y="2076"/>
                    </a:lnTo>
                    <a:lnTo>
                      <a:pt x="890" y="2072"/>
                    </a:lnTo>
                    <a:lnTo>
                      <a:pt x="891" y="2069"/>
                    </a:lnTo>
                    <a:lnTo>
                      <a:pt x="890" y="2059"/>
                    </a:lnTo>
                    <a:lnTo>
                      <a:pt x="889" y="2050"/>
                    </a:lnTo>
                    <a:lnTo>
                      <a:pt x="890" y="2046"/>
                    </a:lnTo>
                    <a:lnTo>
                      <a:pt x="891" y="2042"/>
                    </a:lnTo>
                    <a:lnTo>
                      <a:pt x="894" y="2040"/>
                    </a:lnTo>
                    <a:lnTo>
                      <a:pt x="896" y="2038"/>
                    </a:lnTo>
                    <a:lnTo>
                      <a:pt x="900" y="2037"/>
                    </a:lnTo>
                    <a:lnTo>
                      <a:pt x="903" y="2037"/>
                    </a:lnTo>
                    <a:lnTo>
                      <a:pt x="907" y="2038"/>
                    </a:lnTo>
                    <a:lnTo>
                      <a:pt x="909" y="2039"/>
                    </a:lnTo>
                    <a:lnTo>
                      <a:pt x="915" y="2042"/>
                    </a:lnTo>
                    <a:lnTo>
                      <a:pt x="921" y="2045"/>
                    </a:lnTo>
                    <a:lnTo>
                      <a:pt x="928" y="2046"/>
                    </a:lnTo>
                    <a:lnTo>
                      <a:pt x="938" y="2044"/>
                    </a:lnTo>
                    <a:lnTo>
                      <a:pt x="944" y="2041"/>
                    </a:lnTo>
                    <a:lnTo>
                      <a:pt x="951" y="2038"/>
                    </a:lnTo>
                    <a:lnTo>
                      <a:pt x="958" y="2033"/>
                    </a:lnTo>
                    <a:lnTo>
                      <a:pt x="966" y="2027"/>
                    </a:lnTo>
                    <a:lnTo>
                      <a:pt x="975" y="2020"/>
                    </a:lnTo>
                    <a:lnTo>
                      <a:pt x="981" y="2013"/>
                    </a:lnTo>
                    <a:lnTo>
                      <a:pt x="987" y="2006"/>
                    </a:lnTo>
                    <a:lnTo>
                      <a:pt x="990" y="2000"/>
                    </a:lnTo>
                    <a:lnTo>
                      <a:pt x="993" y="1993"/>
                    </a:lnTo>
                    <a:lnTo>
                      <a:pt x="993" y="1988"/>
                    </a:lnTo>
                    <a:lnTo>
                      <a:pt x="993" y="1983"/>
                    </a:lnTo>
                    <a:lnTo>
                      <a:pt x="990" y="1979"/>
                    </a:lnTo>
                    <a:lnTo>
                      <a:pt x="988" y="1977"/>
                    </a:lnTo>
                    <a:lnTo>
                      <a:pt x="984" y="1975"/>
                    </a:lnTo>
                    <a:lnTo>
                      <a:pt x="979" y="1974"/>
                    </a:lnTo>
                    <a:lnTo>
                      <a:pt x="976" y="1974"/>
                    </a:lnTo>
                    <a:lnTo>
                      <a:pt x="968" y="1974"/>
                    </a:lnTo>
                    <a:lnTo>
                      <a:pt x="960" y="1972"/>
                    </a:lnTo>
                    <a:lnTo>
                      <a:pt x="958" y="1971"/>
                    </a:lnTo>
                    <a:lnTo>
                      <a:pt x="957" y="1970"/>
                    </a:lnTo>
                    <a:lnTo>
                      <a:pt x="956" y="1968"/>
                    </a:lnTo>
                    <a:lnTo>
                      <a:pt x="956" y="1965"/>
                    </a:lnTo>
                    <a:lnTo>
                      <a:pt x="958" y="1962"/>
                    </a:lnTo>
                    <a:lnTo>
                      <a:pt x="963" y="1957"/>
                    </a:lnTo>
                    <a:lnTo>
                      <a:pt x="966" y="1955"/>
                    </a:lnTo>
                    <a:lnTo>
                      <a:pt x="971" y="1952"/>
                    </a:lnTo>
                    <a:lnTo>
                      <a:pt x="974" y="1950"/>
                    </a:lnTo>
                    <a:lnTo>
                      <a:pt x="975" y="1946"/>
                    </a:lnTo>
                    <a:lnTo>
                      <a:pt x="974" y="1945"/>
                    </a:lnTo>
                    <a:lnTo>
                      <a:pt x="972" y="1944"/>
                    </a:lnTo>
                    <a:lnTo>
                      <a:pt x="969" y="1941"/>
                    </a:lnTo>
                    <a:lnTo>
                      <a:pt x="965" y="1940"/>
                    </a:lnTo>
                    <a:lnTo>
                      <a:pt x="960" y="1939"/>
                    </a:lnTo>
                    <a:lnTo>
                      <a:pt x="959" y="1938"/>
                    </a:lnTo>
                    <a:lnTo>
                      <a:pt x="959" y="1936"/>
                    </a:lnTo>
                    <a:lnTo>
                      <a:pt x="960" y="1933"/>
                    </a:lnTo>
                    <a:lnTo>
                      <a:pt x="964" y="1932"/>
                    </a:lnTo>
                    <a:lnTo>
                      <a:pt x="968" y="1930"/>
                    </a:lnTo>
                    <a:lnTo>
                      <a:pt x="972" y="1928"/>
                    </a:lnTo>
                    <a:lnTo>
                      <a:pt x="978" y="1928"/>
                    </a:lnTo>
                    <a:lnTo>
                      <a:pt x="983" y="1927"/>
                    </a:lnTo>
                    <a:lnTo>
                      <a:pt x="988" y="1926"/>
                    </a:lnTo>
                    <a:lnTo>
                      <a:pt x="991" y="1925"/>
                    </a:lnTo>
                    <a:lnTo>
                      <a:pt x="995" y="1922"/>
                    </a:lnTo>
                    <a:lnTo>
                      <a:pt x="998" y="1918"/>
                    </a:lnTo>
                    <a:lnTo>
                      <a:pt x="1001" y="1912"/>
                    </a:lnTo>
                    <a:lnTo>
                      <a:pt x="1001" y="1907"/>
                    </a:lnTo>
                    <a:lnTo>
                      <a:pt x="1003" y="1902"/>
                    </a:lnTo>
                    <a:lnTo>
                      <a:pt x="1009" y="1899"/>
                    </a:lnTo>
                    <a:lnTo>
                      <a:pt x="1019" y="1894"/>
                    </a:lnTo>
                    <a:lnTo>
                      <a:pt x="1031" y="1890"/>
                    </a:lnTo>
                    <a:lnTo>
                      <a:pt x="1042" y="1886"/>
                    </a:lnTo>
                    <a:lnTo>
                      <a:pt x="1054" y="1882"/>
                    </a:lnTo>
                    <a:lnTo>
                      <a:pt x="1064" y="1880"/>
                    </a:lnTo>
                    <a:lnTo>
                      <a:pt x="1069" y="1878"/>
                    </a:lnTo>
                    <a:lnTo>
                      <a:pt x="1072" y="1876"/>
                    </a:lnTo>
                    <a:lnTo>
                      <a:pt x="1075" y="1873"/>
                    </a:lnTo>
                    <a:lnTo>
                      <a:pt x="1077" y="1870"/>
                    </a:lnTo>
                    <a:lnTo>
                      <a:pt x="1078" y="1867"/>
                    </a:lnTo>
                    <a:lnTo>
                      <a:pt x="1077" y="1864"/>
                    </a:lnTo>
                    <a:lnTo>
                      <a:pt x="1076" y="1862"/>
                    </a:lnTo>
                    <a:lnTo>
                      <a:pt x="1073" y="1859"/>
                    </a:lnTo>
                    <a:lnTo>
                      <a:pt x="1065" y="1858"/>
                    </a:lnTo>
                    <a:lnTo>
                      <a:pt x="1052" y="1858"/>
                    </a:lnTo>
                    <a:lnTo>
                      <a:pt x="1037" y="1859"/>
                    </a:lnTo>
                    <a:lnTo>
                      <a:pt x="1023" y="1862"/>
                    </a:lnTo>
                    <a:lnTo>
                      <a:pt x="1012" y="1867"/>
                    </a:lnTo>
                    <a:lnTo>
                      <a:pt x="998" y="1875"/>
                    </a:lnTo>
                    <a:lnTo>
                      <a:pt x="985" y="1882"/>
                    </a:lnTo>
                    <a:lnTo>
                      <a:pt x="975" y="1890"/>
                    </a:lnTo>
                    <a:lnTo>
                      <a:pt x="970" y="1893"/>
                    </a:lnTo>
                    <a:lnTo>
                      <a:pt x="964" y="1895"/>
                    </a:lnTo>
                    <a:lnTo>
                      <a:pt x="958" y="1897"/>
                    </a:lnTo>
                    <a:lnTo>
                      <a:pt x="952" y="1899"/>
                    </a:lnTo>
                    <a:lnTo>
                      <a:pt x="945" y="1899"/>
                    </a:lnTo>
                    <a:lnTo>
                      <a:pt x="940" y="1897"/>
                    </a:lnTo>
                    <a:lnTo>
                      <a:pt x="935" y="1897"/>
                    </a:lnTo>
                    <a:lnTo>
                      <a:pt x="932" y="1895"/>
                    </a:lnTo>
                    <a:lnTo>
                      <a:pt x="926" y="1889"/>
                    </a:lnTo>
                    <a:lnTo>
                      <a:pt x="919" y="1880"/>
                    </a:lnTo>
                    <a:lnTo>
                      <a:pt x="913" y="1867"/>
                    </a:lnTo>
                    <a:lnTo>
                      <a:pt x="909" y="1853"/>
                    </a:lnTo>
                    <a:lnTo>
                      <a:pt x="908" y="1848"/>
                    </a:lnTo>
                    <a:lnTo>
                      <a:pt x="909" y="1843"/>
                    </a:lnTo>
                    <a:lnTo>
                      <a:pt x="911" y="1839"/>
                    </a:lnTo>
                    <a:lnTo>
                      <a:pt x="914" y="1837"/>
                    </a:lnTo>
                    <a:lnTo>
                      <a:pt x="920" y="1833"/>
                    </a:lnTo>
                    <a:lnTo>
                      <a:pt x="925" y="1830"/>
                    </a:lnTo>
                    <a:lnTo>
                      <a:pt x="926" y="1826"/>
                    </a:lnTo>
                    <a:lnTo>
                      <a:pt x="927" y="1821"/>
                    </a:lnTo>
                    <a:lnTo>
                      <a:pt x="927" y="1814"/>
                    </a:lnTo>
                    <a:lnTo>
                      <a:pt x="927" y="1806"/>
                    </a:lnTo>
                    <a:lnTo>
                      <a:pt x="926" y="1788"/>
                    </a:lnTo>
                    <a:lnTo>
                      <a:pt x="925" y="1773"/>
                    </a:lnTo>
                    <a:lnTo>
                      <a:pt x="924" y="1766"/>
                    </a:lnTo>
                    <a:lnTo>
                      <a:pt x="922" y="1760"/>
                    </a:lnTo>
                    <a:lnTo>
                      <a:pt x="920" y="1756"/>
                    </a:lnTo>
                    <a:lnTo>
                      <a:pt x="916" y="1751"/>
                    </a:lnTo>
                    <a:lnTo>
                      <a:pt x="911" y="1745"/>
                    </a:lnTo>
                    <a:lnTo>
                      <a:pt x="903" y="1739"/>
                    </a:lnTo>
                    <a:lnTo>
                      <a:pt x="901" y="1735"/>
                    </a:lnTo>
                    <a:lnTo>
                      <a:pt x="899" y="1730"/>
                    </a:lnTo>
                    <a:lnTo>
                      <a:pt x="897" y="1723"/>
                    </a:lnTo>
                    <a:lnTo>
                      <a:pt x="897" y="1716"/>
                    </a:lnTo>
                    <a:lnTo>
                      <a:pt x="899" y="1708"/>
                    </a:lnTo>
                    <a:lnTo>
                      <a:pt x="900" y="1701"/>
                    </a:lnTo>
                    <a:lnTo>
                      <a:pt x="902" y="1694"/>
                    </a:lnTo>
                    <a:lnTo>
                      <a:pt x="905" y="1687"/>
                    </a:lnTo>
                    <a:lnTo>
                      <a:pt x="907" y="1682"/>
                    </a:lnTo>
                    <a:lnTo>
                      <a:pt x="911" y="1679"/>
                    </a:lnTo>
                    <a:lnTo>
                      <a:pt x="915" y="1675"/>
                    </a:lnTo>
                    <a:lnTo>
                      <a:pt x="921" y="1672"/>
                    </a:lnTo>
                    <a:lnTo>
                      <a:pt x="932" y="1666"/>
                    </a:lnTo>
                    <a:lnTo>
                      <a:pt x="943" y="1661"/>
                    </a:lnTo>
                    <a:lnTo>
                      <a:pt x="960" y="1648"/>
                    </a:lnTo>
                    <a:lnTo>
                      <a:pt x="977" y="1637"/>
                    </a:lnTo>
                    <a:lnTo>
                      <a:pt x="982" y="1635"/>
                    </a:lnTo>
                    <a:lnTo>
                      <a:pt x="987" y="1630"/>
                    </a:lnTo>
                    <a:lnTo>
                      <a:pt x="993" y="1625"/>
                    </a:lnTo>
                    <a:lnTo>
                      <a:pt x="996" y="1619"/>
                    </a:lnTo>
                    <a:lnTo>
                      <a:pt x="1001" y="1613"/>
                    </a:lnTo>
                    <a:lnTo>
                      <a:pt x="1003" y="1609"/>
                    </a:lnTo>
                    <a:lnTo>
                      <a:pt x="1003" y="1603"/>
                    </a:lnTo>
                    <a:lnTo>
                      <a:pt x="1002" y="1599"/>
                    </a:lnTo>
                    <a:lnTo>
                      <a:pt x="1001" y="1596"/>
                    </a:lnTo>
                    <a:lnTo>
                      <a:pt x="1000" y="1592"/>
                    </a:lnTo>
                    <a:lnTo>
                      <a:pt x="1000" y="1590"/>
                    </a:lnTo>
                    <a:lnTo>
                      <a:pt x="1001" y="1588"/>
                    </a:lnTo>
                    <a:lnTo>
                      <a:pt x="1004" y="1585"/>
                    </a:lnTo>
                    <a:lnTo>
                      <a:pt x="1010" y="1582"/>
                    </a:lnTo>
                    <a:lnTo>
                      <a:pt x="1015" y="1578"/>
                    </a:lnTo>
                    <a:lnTo>
                      <a:pt x="1021" y="1571"/>
                    </a:lnTo>
                    <a:lnTo>
                      <a:pt x="1025" y="1562"/>
                    </a:lnTo>
                    <a:lnTo>
                      <a:pt x="1029" y="1554"/>
                    </a:lnTo>
                    <a:lnTo>
                      <a:pt x="1034" y="1548"/>
                    </a:lnTo>
                    <a:lnTo>
                      <a:pt x="1039" y="1542"/>
                    </a:lnTo>
                    <a:lnTo>
                      <a:pt x="1041" y="1539"/>
                    </a:lnTo>
                    <a:lnTo>
                      <a:pt x="1042" y="1535"/>
                    </a:lnTo>
                    <a:lnTo>
                      <a:pt x="1044" y="1531"/>
                    </a:lnTo>
                    <a:lnTo>
                      <a:pt x="1044" y="1527"/>
                    </a:lnTo>
                    <a:lnTo>
                      <a:pt x="1044" y="1523"/>
                    </a:lnTo>
                    <a:lnTo>
                      <a:pt x="1045" y="1518"/>
                    </a:lnTo>
                    <a:lnTo>
                      <a:pt x="1047" y="1516"/>
                    </a:lnTo>
                    <a:lnTo>
                      <a:pt x="1048" y="1512"/>
                    </a:lnTo>
                    <a:lnTo>
                      <a:pt x="1056" y="1508"/>
                    </a:lnTo>
                    <a:lnTo>
                      <a:pt x="1063" y="1503"/>
                    </a:lnTo>
                    <a:lnTo>
                      <a:pt x="1066" y="1499"/>
                    </a:lnTo>
                    <a:lnTo>
                      <a:pt x="1070" y="1496"/>
                    </a:lnTo>
                    <a:lnTo>
                      <a:pt x="1072" y="1491"/>
                    </a:lnTo>
                    <a:lnTo>
                      <a:pt x="1073" y="1486"/>
                    </a:lnTo>
                    <a:lnTo>
                      <a:pt x="1075" y="1476"/>
                    </a:lnTo>
                    <a:lnTo>
                      <a:pt x="1073" y="1466"/>
                    </a:lnTo>
                    <a:lnTo>
                      <a:pt x="1073" y="1461"/>
                    </a:lnTo>
                    <a:lnTo>
                      <a:pt x="1073" y="1458"/>
                    </a:lnTo>
                    <a:lnTo>
                      <a:pt x="1073" y="1454"/>
                    </a:lnTo>
                    <a:lnTo>
                      <a:pt x="1076" y="1449"/>
                    </a:lnTo>
                    <a:lnTo>
                      <a:pt x="1082" y="1440"/>
                    </a:lnTo>
                    <a:lnTo>
                      <a:pt x="1091" y="1427"/>
                    </a:lnTo>
                    <a:lnTo>
                      <a:pt x="1103" y="1413"/>
                    </a:lnTo>
                    <a:lnTo>
                      <a:pt x="1110" y="1398"/>
                    </a:lnTo>
                    <a:lnTo>
                      <a:pt x="1113" y="1392"/>
                    </a:lnTo>
                    <a:lnTo>
                      <a:pt x="1114" y="1386"/>
                    </a:lnTo>
                    <a:lnTo>
                      <a:pt x="1115" y="1380"/>
                    </a:lnTo>
                    <a:lnTo>
                      <a:pt x="1115" y="1374"/>
                    </a:lnTo>
                    <a:lnTo>
                      <a:pt x="1113" y="1367"/>
                    </a:lnTo>
                    <a:lnTo>
                      <a:pt x="1110" y="1361"/>
                    </a:lnTo>
                    <a:lnTo>
                      <a:pt x="1105" y="1354"/>
                    </a:lnTo>
                    <a:lnTo>
                      <a:pt x="1101" y="1348"/>
                    </a:lnTo>
                    <a:lnTo>
                      <a:pt x="1089" y="1335"/>
                    </a:lnTo>
                    <a:lnTo>
                      <a:pt x="1079" y="1325"/>
                    </a:lnTo>
                    <a:lnTo>
                      <a:pt x="1070" y="1314"/>
                    </a:lnTo>
                    <a:lnTo>
                      <a:pt x="1059" y="1302"/>
                    </a:lnTo>
                    <a:lnTo>
                      <a:pt x="1050" y="1291"/>
                    </a:lnTo>
                    <a:lnTo>
                      <a:pt x="1042" y="1283"/>
                    </a:lnTo>
                    <a:lnTo>
                      <a:pt x="1028" y="1272"/>
                    </a:lnTo>
                    <a:lnTo>
                      <a:pt x="1009" y="1259"/>
                    </a:lnTo>
                    <a:lnTo>
                      <a:pt x="1006" y="1257"/>
                    </a:lnTo>
                    <a:lnTo>
                      <a:pt x="1003" y="1253"/>
                    </a:lnTo>
                    <a:lnTo>
                      <a:pt x="1002" y="1250"/>
                    </a:lnTo>
                    <a:lnTo>
                      <a:pt x="1001" y="1247"/>
                    </a:lnTo>
                    <a:lnTo>
                      <a:pt x="1001" y="1239"/>
                    </a:lnTo>
                    <a:lnTo>
                      <a:pt x="1002" y="1231"/>
                    </a:lnTo>
                    <a:lnTo>
                      <a:pt x="1002" y="1222"/>
                    </a:lnTo>
                    <a:lnTo>
                      <a:pt x="1001" y="1214"/>
                    </a:lnTo>
                    <a:lnTo>
                      <a:pt x="998" y="1207"/>
                    </a:lnTo>
                    <a:lnTo>
                      <a:pt x="994" y="1199"/>
                    </a:lnTo>
                    <a:lnTo>
                      <a:pt x="987" y="1188"/>
                    </a:lnTo>
                    <a:lnTo>
                      <a:pt x="978" y="1174"/>
                    </a:lnTo>
                    <a:lnTo>
                      <a:pt x="969" y="1159"/>
                    </a:lnTo>
                    <a:lnTo>
                      <a:pt x="963" y="1149"/>
                    </a:lnTo>
                    <a:lnTo>
                      <a:pt x="960" y="1146"/>
                    </a:lnTo>
                    <a:lnTo>
                      <a:pt x="959" y="1145"/>
                    </a:lnTo>
                    <a:lnTo>
                      <a:pt x="957" y="1145"/>
                    </a:lnTo>
                    <a:lnTo>
                      <a:pt x="954" y="1146"/>
                    </a:lnTo>
                    <a:lnTo>
                      <a:pt x="953" y="1150"/>
                    </a:lnTo>
                    <a:lnTo>
                      <a:pt x="952" y="1152"/>
                    </a:lnTo>
                    <a:lnTo>
                      <a:pt x="951" y="1157"/>
                    </a:lnTo>
                    <a:lnTo>
                      <a:pt x="951" y="1162"/>
                    </a:lnTo>
                    <a:lnTo>
                      <a:pt x="950" y="1165"/>
                    </a:lnTo>
                    <a:lnTo>
                      <a:pt x="950" y="1168"/>
                    </a:lnTo>
                    <a:lnTo>
                      <a:pt x="949" y="1168"/>
                    </a:lnTo>
                    <a:lnTo>
                      <a:pt x="947" y="1168"/>
                    </a:lnTo>
                    <a:lnTo>
                      <a:pt x="945" y="1163"/>
                    </a:lnTo>
                    <a:lnTo>
                      <a:pt x="940" y="1157"/>
                    </a:lnTo>
                    <a:lnTo>
                      <a:pt x="938" y="1153"/>
                    </a:lnTo>
                    <a:lnTo>
                      <a:pt x="935" y="1151"/>
                    </a:lnTo>
                    <a:lnTo>
                      <a:pt x="932" y="1151"/>
                    </a:lnTo>
                    <a:lnTo>
                      <a:pt x="930" y="1151"/>
                    </a:lnTo>
                    <a:lnTo>
                      <a:pt x="927" y="1151"/>
                    </a:lnTo>
                    <a:lnTo>
                      <a:pt x="925" y="1153"/>
                    </a:lnTo>
                    <a:lnTo>
                      <a:pt x="922" y="1156"/>
                    </a:lnTo>
                    <a:lnTo>
                      <a:pt x="921" y="1159"/>
                    </a:lnTo>
                    <a:lnTo>
                      <a:pt x="924" y="1177"/>
                    </a:lnTo>
                    <a:lnTo>
                      <a:pt x="928" y="1194"/>
                    </a:lnTo>
                    <a:lnTo>
                      <a:pt x="927" y="1201"/>
                    </a:lnTo>
                    <a:lnTo>
                      <a:pt x="924" y="1207"/>
                    </a:lnTo>
                    <a:lnTo>
                      <a:pt x="918" y="1214"/>
                    </a:lnTo>
                    <a:lnTo>
                      <a:pt x="911" y="1220"/>
                    </a:lnTo>
                    <a:lnTo>
                      <a:pt x="907" y="1222"/>
                    </a:lnTo>
                    <a:lnTo>
                      <a:pt x="905" y="1225"/>
                    </a:lnTo>
                    <a:lnTo>
                      <a:pt x="901" y="1225"/>
                    </a:lnTo>
                    <a:lnTo>
                      <a:pt x="900" y="1224"/>
                    </a:lnTo>
                    <a:lnTo>
                      <a:pt x="896" y="1221"/>
                    </a:lnTo>
                    <a:lnTo>
                      <a:pt x="891" y="1216"/>
                    </a:lnTo>
                    <a:lnTo>
                      <a:pt x="889" y="1214"/>
                    </a:lnTo>
                    <a:lnTo>
                      <a:pt x="887" y="1214"/>
                    </a:lnTo>
                    <a:lnTo>
                      <a:pt x="886" y="1215"/>
                    </a:lnTo>
                    <a:lnTo>
                      <a:pt x="883" y="1216"/>
                    </a:lnTo>
                    <a:lnTo>
                      <a:pt x="881" y="1219"/>
                    </a:lnTo>
                    <a:lnTo>
                      <a:pt x="878" y="1220"/>
                    </a:lnTo>
                    <a:lnTo>
                      <a:pt x="876" y="1221"/>
                    </a:lnTo>
                    <a:lnTo>
                      <a:pt x="872" y="1221"/>
                    </a:lnTo>
                    <a:lnTo>
                      <a:pt x="867" y="1219"/>
                    </a:lnTo>
                    <a:lnTo>
                      <a:pt x="861" y="1220"/>
                    </a:lnTo>
                    <a:lnTo>
                      <a:pt x="855" y="1224"/>
                    </a:lnTo>
                    <a:lnTo>
                      <a:pt x="849" y="1228"/>
                    </a:lnTo>
                    <a:lnTo>
                      <a:pt x="844" y="1229"/>
                    </a:lnTo>
                    <a:lnTo>
                      <a:pt x="838" y="1231"/>
                    </a:lnTo>
                    <a:lnTo>
                      <a:pt x="832" y="1229"/>
                    </a:lnTo>
                    <a:lnTo>
                      <a:pt x="825" y="1227"/>
                    </a:lnTo>
                    <a:lnTo>
                      <a:pt x="811" y="1222"/>
                    </a:lnTo>
                    <a:lnTo>
                      <a:pt x="800" y="1215"/>
                    </a:lnTo>
                    <a:lnTo>
                      <a:pt x="792" y="1210"/>
                    </a:lnTo>
                    <a:lnTo>
                      <a:pt x="786" y="1207"/>
                    </a:lnTo>
                    <a:lnTo>
                      <a:pt x="783" y="1207"/>
                    </a:lnTo>
                    <a:lnTo>
                      <a:pt x="782" y="1207"/>
                    </a:lnTo>
                    <a:lnTo>
                      <a:pt x="781" y="1209"/>
                    </a:lnTo>
                    <a:lnTo>
                      <a:pt x="781" y="1213"/>
                    </a:lnTo>
                    <a:lnTo>
                      <a:pt x="780" y="1218"/>
                    </a:lnTo>
                    <a:lnTo>
                      <a:pt x="777" y="1220"/>
                    </a:lnTo>
                    <a:lnTo>
                      <a:pt x="775" y="1222"/>
                    </a:lnTo>
                    <a:lnTo>
                      <a:pt x="773" y="1224"/>
                    </a:lnTo>
                    <a:lnTo>
                      <a:pt x="765" y="1224"/>
                    </a:lnTo>
                    <a:lnTo>
                      <a:pt x="761" y="1221"/>
                    </a:lnTo>
                    <a:lnTo>
                      <a:pt x="756" y="1219"/>
                    </a:lnTo>
                    <a:lnTo>
                      <a:pt x="751" y="1216"/>
                    </a:lnTo>
                    <a:lnTo>
                      <a:pt x="749" y="1216"/>
                    </a:lnTo>
                    <a:lnTo>
                      <a:pt x="746" y="1219"/>
                    </a:lnTo>
                    <a:lnTo>
                      <a:pt x="744" y="1221"/>
                    </a:lnTo>
                    <a:lnTo>
                      <a:pt x="741" y="1225"/>
                    </a:lnTo>
                    <a:lnTo>
                      <a:pt x="729" y="1239"/>
                    </a:lnTo>
                    <a:lnTo>
                      <a:pt x="710" y="1259"/>
                    </a:lnTo>
                    <a:lnTo>
                      <a:pt x="688" y="1278"/>
                    </a:lnTo>
                    <a:lnTo>
                      <a:pt x="674" y="1289"/>
                    </a:lnTo>
                    <a:lnTo>
                      <a:pt x="666" y="1294"/>
                    </a:lnTo>
                    <a:lnTo>
                      <a:pt x="658" y="1297"/>
                    </a:lnTo>
                    <a:lnTo>
                      <a:pt x="656" y="1300"/>
                    </a:lnTo>
                    <a:lnTo>
                      <a:pt x="655" y="1301"/>
                    </a:lnTo>
                    <a:lnTo>
                      <a:pt x="654" y="1303"/>
                    </a:lnTo>
                    <a:lnTo>
                      <a:pt x="655" y="1306"/>
                    </a:lnTo>
                    <a:lnTo>
                      <a:pt x="672" y="1315"/>
                    </a:lnTo>
                    <a:lnTo>
                      <a:pt x="686" y="1326"/>
                    </a:lnTo>
                    <a:lnTo>
                      <a:pt x="686" y="1329"/>
                    </a:lnTo>
                    <a:lnTo>
                      <a:pt x="685" y="1332"/>
                    </a:lnTo>
                    <a:lnTo>
                      <a:pt x="683" y="1334"/>
                    </a:lnTo>
                    <a:lnTo>
                      <a:pt x="681" y="1335"/>
                    </a:lnTo>
                    <a:lnTo>
                      <a:pt x="679" y="1336"/>
                    </a:lnTo>
                    <a:lnTo>
                      <a:pt x="674" y="1338"/>
                    </a:lnTo>
                    <a:lnTo>
                      <a:pt x="669" y="1338"/>
                    </a:lnTo>
                    <a:lnTo>
                      <a:pt x="664" y="1336"/>
                    </a:lnTo>
                    <a:lnTo>
                      <a:pt x="653" y="1336"/>
                    </a:lnTo>
                    <a:lnTo>
                      <a:pt x="644" y="1338"/>
                    </a:lnTo>
                    <a:lnTo>
                      <a:pt x="641" y="1339"/>
                    </a:lnTo>
                    <a:lnTo>
                      <a:pt x="638" y="1341"/>
                    </a:lnTo>
                    <a:lnTo>
                      <a:pt x="636" y="1344"/>
                    </a:lnTo>
                    <a:lnTo>
                      <a:pt x="635" y="1347"/>
                    </a:lnTo>
                    <a:lnTo>
                      <a:pt x="632" y="1359"/>
                    </a:lnTo>
                    <a:lnTo>
                      <a:pt x="629" y="1374"/>
                    </a:lnTo>
                    <a:lnTo>
                      <a:pt x="626" y="1383"/>
                    </a:lnTo>
                    <a:lnTo>
                      <a:pt x="624" y="1390"/>
                    </a:lnTo>
                    <a:lnTo>
                      <a:pt x="622" y="1397"/>
                    </a:lnTo>
                    <a:lnTo>
                      <a:pt x="618" y="1401"/>
                    </a:lnTo>
                    <a:lnTo>
                      <a:pt x="612" y="1409"/>
                    </a:lnTo>
                    <a:lnTo>
                      <a:pt x="605" y="1421"/>
                    </a:lnTo>
                    <a:lnTo>
                      <a:pt x="600" y="1426"/>
                    </a:lnTo>
                    <a:lnTo>
                      <a:pt x="597" y="1432"/>
                    </a:lnTo>
                    <a:lnTo>
                      <a:pt x="592" y="1435"/>
                    </a:lnTo>
                    <a:lnTo>
                      <a:pt x="588" y="1437"/>
                    </a:lnTo>
                    <a:lnTo>
                      <a:pt x="585" y="1441"/>
                    </a:lnTo>
                    <a:lnTo>
                      <a:pt x="581" y="1445"/>
                    </a:lnTo>
                    <a:lnTo>
                      <a:pt x="579" y="1448"/>
                    </a:lnTo>
                    <a:lnTo>
                      <a:pt x="576" y="1453"/>
                    </a:lnTo>
                    <a:lnTo>
                      <a:pt x="572" y="1464"/>
                    </a:lnTo>
                    <a:lnTo>
                      <a:pt x="566" y="1472"/>
                    </a:lnTo>
                    <a:lnTo>
                      <a:pt x="563" y="1477"/>
                    </a:lnTo>
                    <a:lnTo>
                      <a:pt x="562" y="1487"/>
                    </a:lnTo>
                    <a:lnTo>
                      <a:pt x="562" y="1499"/>
                    </a:lnTo>
                    <a:lnTo>
                      <a:pt x="561" y="1512"/>
                    </a:lnTo>
                    <a:lnTo>
                      <a:pt x="557" y="1525"/>
                    </a:lnTo>
                    <a:lnTo>
                      <a:pt x="554" y="1536"/>
                    </a:lnTo>
                    <a:lnTo>
                      <a:pt x="550" y="1544"/>
                    </a:lnTo>
                    <a:lnTo>
                      <a:pt x="549" y="1548"/>
                    </a:lnTo>
                    <a:lnTo>
                      <a:pt x="547" y="1554"/>
                    </a:lnTo>
                    <a:lnTo>
                      <a:pt x="543" y="1559"/>
                    </a:lnTo>
                    <a:lnTo>
                      <a:pt x="540" y="1562"/>
                    </a:lnTo>
                    <a:lnTo>
                      <a:pt x="534" y="1566"/>
                    </a:lnTo>
                    <a:lnTo>
                      <a:pt x="521" y="1571"/>
                    </a:lnTo>
                    <a:lnTo>
                      <a:pt x="505" y="1575"/>
                    </a:lnTo>
                    <a:lnTo>
                      <a:pt x="496" y="1579"/>
                    </a:lnTo>
                    <a:lnTo>
                      <a:pt x="487" y="1584"/>
                    </a:lnTo>
                    <a:lnTo>
                      <a:pt x="479" y="1588"/>
                    </a:lnTo>
                    <a:lnTo>
                      <a:pt x="471" y="1594"/>
                    </a:lnTo>
                    <a:lnTo>
                      <a:pt x="455" y="1609"/>
                    </a:lnTo>
                    <a:lnTo>
                      <a:pt x="441" y="1622"/>
                    </a:lnTo>
                    <a:lnTo>
                      <a:pt x="435" y="1629"/>
                    </a:lnTo>
                    <a:lnTo>
                      <a:pt x="429" y="1634"/>
                    </a:lnTo>
                    <a:lnTo>
                      <a:pt x="424" y="1637"/>
                    </a:lnTo>
                    <a:lnTo>
                      <a:pt x="420" y="1641"/>
                    </a:lnTo>
                    <a:lnTo>
                      <a:pt x="408" y="1644"/>
                    </a:lnTo>
                    <a:lnTo>
                      <a:pt x="395" y="1647"/>
                    </a:lnTo>
                    <a:lnTo>
                      <a:pt x="390" y="1648"/>
                    </a:lnTo>
                    <a:lnTo>
                      <a:pt x="386" y="1649"/>
                    </a:lnTo>
                    <a:lnTo>
                      <a:pt x="384" y="1650"/>
                    </a:lnTo>
                    <a:lnTo>
                      <a:pt x="383" y="1653"/>
                    </a:lnTo>
                    <a:lnTo>
                      <a:pt x="380" y="1659"/>
                    </a:lnTo>
                    <a:lnTo>
                      <a:pt x="372" y="1668"/>
                    </a:lnTo>
                    <a:close/>
                    <a:moveTo>
                      <a:pt x="858" y="1792"/>
                    </a:moveTo>
                    <a:lnTo>
                      <a:pt x="865" y="1792"/>
                    </a:lnTo>
                    <a:lnTo>
                      <a:pt x="871" y="1791"/>
                    </a:lnTo>
                    <a:lnTo>
                      <a:pt x="878" y="1788"/>
                    </a:lnTo>
                    <a:lnTo>
                      <a:pt x="886" y="1783"/>
                    </a:lnTo>
                    <a:lnTo>
                      <a:pt x="893" y="1777"/>
                    </a:lnTo>
                    <a:lnTo>
                      <a:pt x="899" y="1774"/>
                    </a:lnTo>
                    <a:lnTo>
                      <a:pt x="905" y="1773"/>
                    </a:lnTo>
                    <a:lnTo>
                      <a:pt x="908" y="1773"/>
                    </a:lnTo>
                    <a:lnTo>
                      <a:pt x="909" y="1774"/>
                    </a:lnTo>
                    <a:lnTo>
                      <a:pt x="911" y="1775"/>
                    </a:lnTo>
                    <a:lnTo>
                      <a:pt x="911" y="1779"/>
                    </a:lnTo>
                    <a:lnTo>
                      <a:pt x="911" y="1781"/>
                    </a:lnTo>
                    <a:lnTo>
                      <a:pt x="911" y="1788"/>
                    </a:lnTo>
                    <a:lnTo>
                      <a:pt x="909" y="1796"/>
                    </a:lnTo>
                    <a:lnTo>
                      <a:pt x="909" y="1804"/>
                    </a:lnTo>
                    <a:lnTo>
                      <a:pt x="909" y="1812"/>
                    </a:lnTo>
                    <a:lnTo>
                      <a:pt x="908" y="1819"/>
                    </a:lnTo>
                    <a:lnTo>
                      <a:pt x="906" y="1825"/>
                    </a:lnTo>
                    <a:lnTo>
                      <a:pt x="902" y="1830"/>
                    </a:lnTo>
                    <a:lnTo>
                      <a:pt x="896" y="1832"/>
                    </a:lnTo>
                    <a:lnTo>
                      <a:pt x="889" y="1833"/>
                    </a:lnTo>
                    <a:lnTo>
                      <a:pt x="881" y="1832"/>
                    </a:lnTo>
                    <a:lnTo>
                      <a:pt x="874" y="1832"/>
                    </a:lnTo>
                    <a:lnTo>
                      <a:pt x="868" y="1832"/>
                    </a:lnTo>
                    <a:lnTo>
                      <a:pt x="861" y="1833"/>
                    </a:lnTo>
                    <a:lnTo>
                      <a:pt x="853" y="1837"/>
                    </a:lnTo>
                    <a:lnTo>
                      <a:pt x="850" y="1838"/>
                    </a:lnTo>
                    <a:lnTo>
                      <a:pt x="846" y="1839"/>
                    </a:lnTo>
                    <a:lnTo>
                      <a:pt x="844" y="1839"/>
                    </a:lnTo>
                    <a:lnTo>
                      <a:pt x="840" y="1838"/>
                    </a:lnTo>
                    <a:lnTo>
                      <a:pt x="839" y="1837"/>
                    </a:lnTo>
                    <a:lnTo>
                      <a:pt x="837" y="1836"/>
                    </a:lnTo>
                    <a:lnTo>
                      <a:pt x="836" y="1833"/>
                    </a:lnTo>
                    <a:lnTo>
                      <a:pt x="834" y="1831"/>
                    </a:lnTo>
                    <a:lnTo>
                      <a:pt x="834" y="1826"/>
                    </a:lnTo>
                    <a:lnTo>
                      <a:pt x="836" y="1820"/>
                    </a:lnTo>
                    <a:lnTo>
                      <a:pt x="838" y="1813"/>
                    </a:lnTo>
                    <a:lnTo>
                      <a:pt x="842" y="1807"/>
                    </a:lnTo>
                    <a:lnTo>
                      <a:pt x="845" y="1801"/>
                    </a:lnTo>
                    <a:lnTo>
                      <a:pt x="850" y="1796"/>
                    </a:lnTo>
                    <a:lnTo>
                      <a:pt x="855" y="1793"/>
                    </a:lnTo>
                    <a:lnTo>
                      <a:pt x="858" y="1792"/>
                    </a:lnTo>
                    <a:close/>
                    <a:moveTo>
                      <a:pt x="877" y="1851"/>
                    </a:moveTo>
                    <a:lnTo>
                      <a:pt x="882" y="1851"/>
                    </a:lnTo>
                    <a:lnTo>
                      <a:pt x="886" y="1852"/>
                    </a:lnTo>
                    <a:lnTo>
                      <a:pt x="888" y="1855"/>
                    </a:lnTo>
                    <a:lnTo>
                      <a:pt x="890" y="1857"/>
                    </a:lnTo>
                    <a:lnTo>
                      <a:pt x="894" y="1863"/>
                    </a:lnTo>
                    <a:lnTo>
                      <a:pt x="896" y="1870"/>
                    </a:lnTo>
                    <a:lnTo>
                      <a:pt x="897" y="1878"/>
                    </a:lnTo>
                    <a:lnTo>
                      <a:pt x="899" y="1886"/>
                    </a:lnTo>
                    <a:lnTo>
                      <a:pt x="897" y="1889"/>
                    </a:lnTo>
                    <a:lnTo>
                      <a:pt x="896" y="1892"/>
                    </a:lnTo>
                    <a:lnTo>
                      <a:pt x="894" y="1894"/>
                    </a:lnTo>
                    <a:lnTo>
                      <a:pt x="890" y="1895"/>
                    </a:lnTo>
                    <a:lnTo>
                      <a:pt x="883" y="1896"/>
                    </a:lnTo>
                    <a:lnTo>
                      <a:pt x="876" y="1894"/>
                    </a:lnTo>
                    <a:lnTo>
                      <a:pt x="874" y="1893"/>
                    </a:lnTo>
                    <a:lnTo>
                      <a:pt x="871" y="1890"/>
                    </a:lnTo>
                    <a:lnTo>
                      <a:pt x="870" y="1888"/>
                    </a:lnTo>
                    <a:lnTo>
                      <a:pt x="870" y="1886"/>
                    </a:lnTo>
                    <a:lnTo>
                      <a:pt x="872" y="1878"/>
                    </a:lnTo>
                    <a:lnTo>
                      <a:pt x="875" y="1873"/>
                    </a:lnTo>
                    <a:lnTo>
                      <a:pt x="876" y="1870"/>
                    </a:lnTo>
                    <a:lnTo>
                      <a:pt x="876" y="1868"/>
                    </a:lnTo>
                    <a:lnTo>
                      <a:pt x="876" y="1867"/>
                    </a:lnTo>
                    <a:lnTo>
                      <a:pt x="875" y="1865"/>
                    </a:lnTo>
                    <a:lnTo>
                      <a:pt x="870" y="1867"/>
                    </a:lnTo>
                    <a:lnTo>
                      <a:pt x="865" y="1871"/>
                    </a:lnTo>
                    <a:lnTo>
                      <a:pt x="861" y="1876"/>
                    </a:lnTo>
                    <a:lnTo>
                      <a:pt x="857" y="1882"/>
                    </a:lnTo>
                    <a:lnTo>
                      <a:pt x="855" y="1888"/>
                    </a:lnTo>
                    <a:lnTo>
                      <a:pt x="852" y="1893"/>
                    </a:lnTo>
                    <a:lnTo>
                      <a:pt x="850" y="1896"/>
                    </a:lnTo>
                    <a:lnTo>
                      <a:pt x="845" y="1899"/>
                    </a:lnTo>
                    <a:lnTo>
                      <a:pt x="844" y="1899"/>
                    </a:lnTo>
                    <a:lnTo>
                      <a:pt x="843" y="1896"/>
                    </a:lnTo>
                    <a:lnTo>
                      <a:pt x="842" y="1894"/>
                    </a:lnTo>
                    <a:lnTo>
                      <a:pt x="842" y="1889"/>
                    </a:lnTo>
                    <a:lnTo>
                      <a:pt x="842" y="1881"/>
                    </a:lnTo>
                    <a:lnTo>
                      <a:pt x="844" y="1871"/>
                    </a:lnTo>
                    <a:lnTo>
                      <a:pt x="846" y="1868"/>
                    </a:lnTo>
                    <a:lnTo>
                      <a:pt x="850" y="1863"/>
                    </a:lnTo>
                    <a:lnTo>
                      <a:pt x="853" y="1859"/>
                    </a:lnTo>
                    <a:lnTo>
                      <a:pt x="858" y="1857"/>
                    </a:lnTo>
                    <a:lnTo>
                      <a:pt x="863" y="1853"/>
                    </a:lnTo>
                    <a:lnTo>
                      <a:pt x="868" y="1852"/>
                    </a:lnTo>
                    <a:lnTo>
                      <a:pt x="872" y="1851"/>
                    </a:lnTo>
                    <a:lnTo>
                      <a:pt x="877" y="1851"/>
                    </a:lnTo>
                    <a:close/>
                    <a:moveTo>
                      <a:pt x="1209" y="1939"/>
                    </a:moveTo>
                    <a:lnTo>
                      <a:pt x="1211" y="1937"/>
                    </a:lnTo>
                    <a:lnTo>
                      <a:pt x="1215" y="1934"/>
                    </a:lnTo>
                    <a:lnTo>
                      <a:pt x="1218" y="1932"/>
                    </a:lnTo>
                    <a:lnTo>
                      <a:pt x="1222" y="1931"/>
                    </a:lnTo>
                    <a:lnTo>
                      <a:pt x="1224" y="1932"/>
                    </a:lnTo>
                    <a:lnTo>
                      <a:pt x="1226" y="1933"/>
                    </a:lnTo>
                    <a:lnTo>
                      <a:pt x="1228" y="1934"/>
                    </a:lnTo>
                    <a:lnTo>
                      <a:pt x="1229" y="1937"/>
                    </a:lnTo>
                    <a:lnTo>
                      <a:pt x="1229" y="1939"/>
                    </a:lnTo>
                    <a:lnTo>
                      <a:pt x="1229" y="1943"/>
                    </a:lnTo>
                    <a:lnTo>
                      <a:pt x="1229" y="1945"/>
                    </a:lnTo>
                    <a:lnTo>
                      <a:pt x="1228" y="1947"/>
                    </a:lnTo>
                    <a:lnTo>
                      <a:pt x="1223" y="1952"/>
                    </a:lnTo>
                    <a:lnTo>
                      <a:pt x="1218" y="1956"/>
                    </a:lnTo>
                    <a:lnTo>
                      <a:pt x="1212" y="1957"/>
                    </a:lnTo>
                    <a:lnTo>
                      <a:pt x="1205" y="1958"/>
                    </a:lnTo>
                    <a:lnTo>
                      <a:pt x="1203" y="1958"/>
                    </a:lnTo>
                    <a:lnTo>
                      <a:pt x="1201" y="1957"/>
                    </a:lnTo>
                    <a:lnTo>
                      <a:pt x="1198" y="1956"/>
                    </a:lnTo>
                    <a:lnTo>
                      <a:pt x="1197" y="1953"/>
                    </a:lnTo>
                    <a:lnTo>
                      <a:pt x="1196" y="1951"/>
                    </a:lnTo>
                    <a:lnTo>
                      <a:pt x="1196" y="1949"/>
                    </a:lnTo>
                    <a:lnTo>
                      <a:pt x="1197" y="1947"/>
                    </a:lnTo>
                    <a:lnTo>
                      <a:pt x="1198" y="1945"/>
                    </a:lnTo>
                    <a:lnTo>
                      <a:pt x="1205" y="1943"/>
                    </a:lnTo>
                    <a:lnTo>
                      <a:pt x="1209" y="1939"/>
                    </a:lnTo>
                    <a:close/>
                    <a:moveTo>
                      <a:pt x="1337" y="1991"/>
                    </a:moveTo>
                    <a:lnTo>
                      <a:pt x="1337" y="1989"/>
                    </a:lnTo>
                    <a:lnTo>
                      <a:pt x="1338" y="1988"/>
                    </a:lnTo>
                    <a:lnTo>
                      <a:pt x="1340" y="1987"/>
                    </a:lnTo>
                    <a:lnTo>
                      <a:pt x="1341" y="1987"/>
                    </a:lnTo>
                    <a:lnTo>
                      <a:pt x="1346" y="1988"/>
                    </a:lnTo>
                    <a:lnTo>
                      <a:pt x="1350" y="1990"/>
                    </a:lnTo>
                    <a:lnTo>
                      <a:pt x="1355" y="1996"/>
                    </a:lnTo>
                    <a:lnTo>
                      <a:pt x="1357" y="2001"/>
                    </a:lnTo>
                    <a:lnTo>
                      <a:pt x="1357" y="2004"/>
                    </a:lnTo>
                    <a:lnTo>
                      <a:pt x="1356" y="2008"/>
                    </a:lnTo>
                    <a:lnTo>
                      <a:pt x="1354" y="2009"/>
                    </a:lnTo>
                    <a:lnTo>
                      <a:pt x="1352" y="2008"/>
                    </a:lnTo>
                    <a:lnTo>
                      <a:pt x="1349" y="2006"/>
                    </a:lnTo>
                    <a:lnTo>
                      <a:pt x="1346" y="2003"/>
                    </a:lnTo>
                    <a:lnTo>
                      <a:pt x="1341" y="1996"/>
                    </a:lnTo>
                    <a:lnTo>
                      <a:pt x="1337" y="199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浙江"/>
              <p:cNvSpPr/>
              <p:nvPr>
                <p:custDataLst>
                  <p:tags r:id="rId31"/>
                </p:custDataLst>
              </p:nvPr>
            </p:nvSpPr>
            <p:spPr bwMode="auto">
              <a:xfrm>
                <a:off x="6028937" y="4197961"/>
                <a:ext cx="539370" cy="631457"/>
              </a:xfrm>
              <a:custGeom>
                <a:avLst/>
                <a:gdLst>
                  <a:gd name="T0" fmla="*/ 882 w 1493"/>
                  <a:gd name="T1" fmla="*/ 1623 h 1731"/>
                  <a:gd name="T2" fmla="*/ 793 w 1493"/>
                  <a:gd name="T3" fmla="*/ 1671 h 1731"/>
                  <a:gd name="T4" fmla="*/ 704 w 1493"/>
                  <a:gd name="T5" fmla="*/ 1615 h 1731"/>
                  <a:gd name="T6" fmla="*/ 646 w 1493"/>
                  <a:gd name="T7" fmla="*/ 1535 h 1731"/>
                  <a:gd name="T8" fmla="*/ 577 w 1493"/>
                  <a:gd name="T9" fmla="*/ 1610 h 1731"/>
                  <a:gd name="T10" fmla="*/ 469 w 1493"/>
                  <a:gd name="T11" fmla="*/ 1637 h 1731"/>
                  <a:gd name="T12" fmla="*/ 395 w 1493"/>
                  <a:gd name="T13" fmla="*/ 1604 h 1731"/>
                  <a:gd name="T14" fmla="*/ 306 w 1493"/>
                  <a:gd name="T15" fmla="*/ 1400 h 1731"/>
                  <a:gd name="T16" fmla="*/ 299 w 1493"/>
                  <a:gd name="T17" fmla="*/ 1296 h 1731"/>
                  <a:gd name="T18" fmla="*/ 222 w 1493"/>
                  <a:gd name="T19" fmla="*/ 1320 h 1731"/>
                  <a:gd name="T20" fmla="*/ 189 w 1493"/>
                  <a:gd name="T21" fmla="*/ 1250 h 1731"/>
                  <a:gd name="T22" fmla="*/ 142 w 1493"/>
                  <a:gd name="T23" fmla="*/ 1087 h 1731"/>
                  <a:gd name="T24" fmla="*/ 79 w 1493"/>
                  <a:gd name="T25" fmla="*/ 1019 h 1731"/>
                  <a:gd name="T26" fmla="*/ 10 w 1493"/>
                  <a:gd name="T27" fmla="*/ 914 h 1731"/>
                  <a:gd name="T28" fmla="*/ 71 w 1493"/>
                  <a:gd name="T29" fmla="*/ 824 h 1731"/>
                  <a:gd name="T30" fmla="*/ 167 w 1493"/>
                  <a:gd name="T31" fmla="*/ 751 h 1731"/>
                  <a:gd name="T32" fmla="*/ 245 w 1493"/>
                  <a:gd name="T33" fmla="*/ 672 h 1731"/>
                  <a:gd name="T34" fmla="*/ 280 w 1493"/>
                  <a:gd name="T35" fmla="*/ 515 h 1731"/>
                  <a:gd name="T36" fmla="*/ 278 w 1493"/>
                  <a:gd name="T37" fmla="*/ 430 h 1731"/>
                  <a:gd name="T38" fmla="*/ 404 w 1493"/>
                  <a:gd name="T39" fmla="*/ 411 h 1731"/>
                  <a:gd name="T40" fmla="*/ 439 w 1493"/>
                  <a:gd name="T41" fmla="*/ 312 h 1731"/>
                  <a:gd name="T42" fmla="*/ 445 w 1493"/>
                  <a:gd name="T43" fmla="*/ 233 h 1731"/>
                  <a:gd name="T44" fmla="*/ 491 w 1493"/>
                  <a:gd name="T45" fmla="*/ 183 h 1731"/>
                  <a:gd name="T46" fmla="*/ 539 w 1493"/>
                  <a:gd name="T47" fmla="*/ 10 h 1731"/>
                  <a:gd name="T48" fmla="*/ 659 w 1493"/>
                  <a:gd name="T49" fmla="*/ 60 h 1731"/>
                  <a:gd name="T50" fmla="*/ 828 w 1493"/>
                  <a:gd name="T51" fmla="*/ 128 h 1731"/>
                  <a:gd name="T52" fmla="*/ 921 w 1493"/>
                  <a:gd name="T53" fmla="*/ 73 h 1731"/>
                  <a:gd name="T54" fmla="*/ 1020 w 1493"/>
                  <a:gd name="T55" fmla="*/ 63 h 1731"/>
                  <a:gd name="T56" fmla="*/ 1126 w 1493"/>
                  <a:gd name="T57" fmla="*/ 156 h 1731"/>
                  <a:gd name="T58" fmla="*/ 1026 w 1493"/>
                  <a:gd name="T59" fmla="*/ 246 h 1731"/>
                  <a:gd name="T60" fmla="*/ 907 w 1493"/>
                  <a:gd name="T61" fmla="*/ 309 h 1731"/>
                  <a:gd name="T62" fmla="*/ 793 w 1493"/>
                  <a:gd name="T63" fmla="*/ 385 h 1731"/>
                  <a:gd name="T64" fmla="*/ 906 w 1493"/>
                  <a:gd name="T65" fmla="*/ 385 h 1731"/>
                  <a:gd name="T66" fmla="*/ 1033 w 1493"/>
                  <a:gd name="T67" fmla="*/ 401 h 1731"/>
                  <a:gd name="T68" fmla="*/ 1208 w 1493"/>
                  <a:gd name="T69" fmla="*/ 337 h 1731"/>
                  <a:gd name="T70" fmla="*/ 1430 w 1493"/>
                  <a:gd name="T71" fmla="*/ 474 h 1731"/>
                  <a:gd name="T72" fmla="*/ 1423 w 1493"/>
                  <a:gd name="T73" fmla="*/ 517 h 1731"/>
                  <a:gd name="T74" fmla="*/ 1450 w 1493"/>
                  <a:gd name="T75" fmla="*/ 599 h 1731"/>
                  <a:gd name="T76" fmla="*/ 1314 w 1493"/>
                  <a:gd name="T77" fmla="*/ 647 h 1731"/>
                  <a:gd name="T78" fmla="*/ 1402 w 1493"/>
                  <a:gd name="T79" fmla="*/ 650 h 1731"/>
                  <a:gd name="T80" fmla="*/ 1452 w 1493"/>
                  <a:gd name="T81" fmla="*/ 714 h 1731"/>
                  <a:gd name="T82" fmla="*/ 1463 w 1493"/>
                  <a:gd name="T83" fmla="*/ 763 h 1731"/>
                  <a:gd name="T84" fmla="*/ 1391 w 1493"/>
                  <a:gd name="T85" fmla="*/ 713 h 1731"/>
                  <a:gd name="T86" fmla="*/ 1327 w 1493"/>
                  <a:gd name="T87" fmla="*/ 773 h 1731"/>
                  <a:gd name="T88" fmla="*/ 1313 w 1493"/>
                  <a:gd name="T89" fmla="*/ 834 h 1731"/>
                  <a:gd name="T90" fmla="*/ 1372 w 1493"/>
                  <a:gd name="T91" fmla="*/ 912 h 1731"/>
                  <a:gd name="T92" fmla="*/ 1330 w 1493"/>
                  <a:gd name="T93" fmla="*/ 928 h 1731"/>
                  <a:gd name="T94" fmla="*/ 1299 w 1493"/>
                  <a:gd name="T95" fmla="*/ 1015 h 1731"/>
                  <a:gd name="T96" fmla="*/ 1358 w 1493"/>
                  <a:gd name="T97" fmla="*/ 1136 h 1731"/>
                  <a:gd name="T98" fmla="*/ 1341 w 1493"/>
                  <a:gd name="T99" fmla="*/ 1180 h 1731"/>
                  <a:gd name="T100" fmla="*/ 1292 w 1493"/>
                  <a:gd name="T101" fmla="*/ 1239 h 1731"/>
                  <a:gd name="T102" fmla="*/ 1254 w 1493"/>
                  <a:gd name="T103" fmla="*/ 1257 h 1731"/>
                  <a:gd name="T104" fmla="*/ 1223 w 1493"/>
                  <a:gd name="T105" fmla="*/ 1313 h 1731"/>
                  <a:gd name="T106" fmla="*/ 1251 w 1493"/>
                  <a:gd name="T107" fmla="*/ 1225 h 1731"/>
                  <a:gd name="T108" fmla="*/ 1167 w 1493"/>
                  <a:gd name="T109" fmla="*/ 1200 h 1731"/>
                  <a:gd name="T110" fmla="*/ 1178 w 1493"/>
                  <a:gd name="T111" fmla="*/ 1270 h 1731"/>
                  <a:gd name="T112" fmla="*/ 1122 w 1493"/>
                  <a:gd name="T113" fmla="*/ 1343 h 1731"/>
                  <a:gd name="T114" fmla="*/ 1078 w 1493"/>
                  <a:gd name="T115" fmla="*/ 1369 h 1731"/>
                  <a:gd name="T116" fmla="*/ 1053 w 1493"/>
                  <a:gd name="T117" fmla="*/ 1478 h 1731"/>
                  <a:gd name="T118" fmla="*/ 1047 w 1493"/>
                  <a:gd name="T119" fmla="*/ 1570 h 1731"/>
                  <a:gd name="T120" fmla="*/ 1018 w 1493"/>
                  <a:gd name="T121" fmla="*/ 1623 h 1731"/>
                  <a:gd name="T122" fmla="*/ 1011 w 1493"/>
                  <a:gd name="T123" fmla="*/ 1696 h 1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93" h="1731">
                    <a:moveTo>
                      <a:pt x="984" y="1731"/>
                    </a:moveTo>
                    <a:lnTo>
                      <a:pt x="980" y="1725"/>
                    </a:lnTo>
                    <a:lnTo>
                      <a:pt x="975" y="1721"/>
                    </a:lnTo>
                    <a:lnTo>
                      <a:pt x="971" y="1715"/>
                    </a:lnTo>
                    <a:lnTo>
                      <a:pt x="968" y="1710"/>
                    </a:lnTo>
                    <a:lnTo>
                      <a:pt x="963" y="1697"/>
                    </a:lnTo>
                    <a:lnTo>
                      <a:pt x="958" y="1681"/>
                    </a:lnTo>
                    <a:lnTo>
                      <a:pt x="954" y="1667"/>
                    </a:lnTo>
                    <a:lnTo>
                      <a:pt x="950" y="1656"/>
                    </a:lnTo>
                    <a:lnTo>
                      <a:pt x="946" y="1649"/>
                    </a:lnTo>
                    <a:lnTo>
                      <a:pt x="944" y="1642"/>
                    </a:lnTo>
                    <a:lnTo>
                      <a:pt x="942" y="1640"/>
                    </a:lnTo>
                    <a:lnTo>
                      <a:pt x="939" y="1637"/>
                    </a:lnTo>
                    <a:lnTo>
                      <a:pt x="936" y="1635"/>
                    </a:lnTo>
                    <a:lnTo>
                      <a:pt x="932" y="1634"/>
                    </a:lnTo>
                    <a:lnTo>
                      <a:pt x="924" y="1634"/>
                    </a:lnTo>
                    <a:lnTo>
                      <a:pt x="914" y="1631"/>
                    </a:lnTo>
                    <a:lnTo>
                      <a:pt x="905" y="1630"/>
                    </a:lnTo>
                    <a:lnTo>
                      <a:pt x="894" y="1626"/>
                    </a:lnTo>
                    <a:lnTo>
                      <a:pt x="888" y="1624"/>
                    </a:lnTo>
                    <a:lnTo>
                      <a:pt x="882" y="1623"/>
                    </a:lnTo>
                    <a:lnTo>
                      <a:pt x="876" y="1623"/>
                    </a:lnTo>
                    <a:lnTo>
                      <a:pt x="870" y="1624"/>
                    </a:lnTo>
                    <a:lnTo>
                      <a:pt x="866" y="1627"/>
                    </a:lnTo>
                    <a:lnTo>
                      <a:pt x="860" y="1630"/>
                    </a:lnTo>
                    <a:lnTo>
                      <a:pt x="856" y="1634"/>
                    </a:lnTo>
                    <a:lnTo>
                      <a:pt x="852" y="1639"/>
                    </a:lnTo>
                    <a:lnTo>
                      <a:pt x="845" y="1647"/>
                    </a:lnTo>
                    <a:lnTo>
                      <a:pt x="839" y="1653"/>
                    </a:lnTo>
                    <a:lnTo>
                      <a:pt x="836" y="1655"/>
                    </a:lnTo>
                    <a:lnTo>
                      <a:pt x="833" y="1656"/>
                    </a:lnTo>
                    <a:lnTo>
                      <a:pt x="831" y="1656"/>
                    </a:lnTo>
                    <a:lnTo>
                      <a:pt x="829" y="1655"/>
                    </a:lnTo>
                    <a:lnTo>
                      <a:pt x="825" y="1652"/>
                    </a:lnTo>
                    <a:lnTo>
                      <a:pt x="819" y="1648"/>
                    </a:lnTo>
                    <a:lnTo>
                      <a:pt x="817" y="1647"/>
                    </a:lnTo>
                    <a:lnTo>
                      <a:pt x="813" y="1646"/>
                    </a:lnTo>
                    <a:lnTo>
                      <a:pt x="810" y="1647"/>
                    </a:lnTo>
                    <a:lnTo>
                      <a:pt x="807" y="1649"/>
                    </a:lnTo>
                    <a:lnTo>
                      <a:pt x="801" y="1656"/>
                    </a:lnTo>
                    <a:lnTo>
                      <a:pt x="797" y="1664"/>
                    </a:lnTo>
                    <a:lnTo>
                      <a:pt x="793" y="1671"/>
                    </a:lnTo>
                    <a:lnTo>
                      <a:pt x="791" y="1675"/>
                    </a:lnTo>
                    <a:lnTo>
                      <a:pt x="787" y="1678"/>
                    </a:lnTo>
                    <a:lnTo>
                      <a:pt x="779" y="1679"/>
                    </a:lnTo>
                    <a:lnTo>
                      <a:pt x="769" y="1680"/>
                    </a:lnTo>
                    <a:lnTo>
                      <a:pt x="761" y="1680"/>
                    </a:lnTo>
                    <a:lnTo>
                      <a:pt x="750" y="1683"/>
                    </a:lnTo>
                    <a:lnTo>
                      <a:pt x="742" y="1686"/>
                    </a:lnTo>
                    <a:lnTo>
                      <a:pt x="737" y="1689"/>
                    </a:lnTo>
                    <a:lnTo>
                      <a:pt x="736" y="1689"/>
                    </a:lnTo>
                    <a:lnTo>
                      <a:pt x="736" y="1685"/>
                    </a:lnTo>
                    <a:lnTo>
                      <a:pt x="736" y="1679"/>
                    </a:lnTo>
                    <a:lnTo>
                      <a:pt x="731" y="1673"/>
                    </a:lnTo>
                    <a:lnTo>
                      <a:pt x="725" y="1666"/>
                    </a:lnTo>
                    <a:lnTo>
                      <a:pt x="716" y="1659"/>
                    </a:lnTo>
                    <a:lnTo>
                      <a:pt x="706" y="1653"/>
                    </a:lnTo>
                    <a:lnTo>
                      <a:pt x="705" y="1649"/>
                    </a:lnTo>
                    <a:lnTo>
                      <a:pt x="704" y="1646"/>
                    </a:lnTo>
                    <a:lnTo>
                      <a:pt x="703" y="1642"/>
                    </a:lnTo>
                    <a:lnTo>
                      <a:pt x="703" y="1637"/>
                    </a:lnTo>
                    <a:lnTo>
                      <a:pt x="704" y="1626"/>
                    </a:lnTo>
                    <a:lnTo>
                      <a:pt x="704" y="1615"/>
                    </a:lnTo>
                    <a:lnTo>
                      <a:pt x="704" y="1610"/>
                    </a:lnTo>
                    <a:lnTo>
                      <a:pt x="703" y="1607"/>
                    </a:lnTo>
                    <a:lnTo>
                      <a:pt x="702" y="1603"/>
                    </a:lnTo>
                    <a:lnTo>
                      <a:pt x="699" y="1599"/>
                    </a:lnTo>
                    <a:lnTo>
                      <a:pt x="696" y="1597"/>
                    </a:lnTo>
                    <a:lnTo>
                      <a:pt x="692" y="1596"/>
                    </a:lnTo>
                    <a:lnTo>
                      <a:pt x="687" y="1596"/>
                    </a:lnTo>
                    <a:lnTo>
                      <a:pt x="682" y="1595"/>
                    </a:lnTo>
                    <a:lnTo>
                      <a:pt x="681" y="1589"/>
                    </a:lnTo>
                    <a:lnTo>
                      <a:pt x="681" y="1577"/>
                    </a:lnTo>
                    <a:lnTo>
                      <a:pt x="675" y="1571"/>
                    </a:lnTo>
                    <a:lnTo>
                      <a:pt x="671" y="1567"/>
                    </a:lnTo>
                    <a:lnTo>
                      <a:pt x="669" y="1557"/>
                    </a:lnTo>
                    <a:lnTo>
                      <a:pt x="667" y="1541"/>
                    </a:lnTo>
                    <a:lnTo>
                      <a:pt x="666" y="1539"/>
                    </a:lnTo>
                    <a:lnTo>
                      <a:pt x="663" y="1536"/>
                    </a:lnTo>
                    <a:lnTo>
                      <a:pt x="662" y="1535"/>
                    </a:lnTo>
                    <a:lnTo>
                      <a:pt x="660" y="1534"/>
                    </a:lnTo>
                    <a:lnTo>
                      <a:pt x="654" y="1534"/>
                    </a:lnTo>
                    <a:lnTo>
                      <a:pt x="649" y="1534"/>
                    </a:lnTo>
                    <a:lnTo>
                      <a:pt x="646" y="1535"/>
                    </a:lnTo>
                    <a:lnTo>
                      <a:pt x="642" y="1538"/>
                    </a:lnTo>
                    <a:lnTo>
                      <a:pt x="637" y="1540"/>
                    </a:lnTo>
                    <a:lnTo>
                      <a:pt x="634" y="1542"/>
                    </a:lnTo>
                    <a:lnTo>
                      <a:pt x="629" y="1548"/>
                    </a:lnTo>
                    <a:lnTo>
                      <a:pt x="624" y="1555"/>
                    </a:lnTo>
                    <a:lnTo>
                      <a:pt x="622" y="1563"/>
                    </a:lnTo>
                    <a:lnTo>
                      <a:pt x="619" y="1571"/>
                    </a:lnTo>
                    <a:lnTo>
                      <a:pt x="616" y="1586"/>
                    </a:lnTo>
                    <a:lnTo>
                      <a:pt x="612" y="1598"/>
                    </a:lnTo>
                    <a:lnTo>
                      <a:pt x="611" y="1603"/>
                    </a:lnTo>
                    <a:lnTo>
                      <a:pt x="609" y="1607"/>
                    </a:lnTo>
                    <a:lnTo>
                      <a:pt x="606" y="1608"/>
                    </a:lnTo>
                    <a:lnTo>
                      <a:pt x="604" y="1609"/>
                    </a:lnTo>
                    <a:lnTo>
                      <a:pt x="602" y="1609"/>
                    </a:lnTo>
                    <a:lnTo>
                      <a:pt x="599" y="1608"/>
                    </a:lnTo>
                    <a:lnTo>
                      <a:pt x="596" y="1607"/>
                    </a:lnTo>
                    <a:lnTo>
                      <a:pt x="593" y="1604"/>
                    </a:lnTo>
                    <a:lnTo>
                      <a:pt x="590" y="1603"/>
                    </a:lnTo>
                    <a:lnTo>
                      <a:pt x="586" y="1604"/>
                    </a:lnTo>
                    <a:lnTo>
                      <a:pt x="581" y="1607"/>
                    </a:lnTo>
                    <a:lnTo>
                      <a:pt x="577" y="1610"/>
                    </a:lnTo>
                    <a:lnTo>
                      <a:pt x="567" y="1621"/>
                    </a:lnTo>
                    <a:lnTo>
                      <a:pt x="560" y="1631"/>
                    </a:lnTo>
                    <a:lnTo>
                      <a:pt x="554" y="1642"/>
                    </a:lnTo>
                    <a:lnTo>
                      <a:pt x="547" y="1652"/>
                    </a:lnTo>
                    <a:lnTo>
                      <a:pt x="542" y="1655"/>
                    </a:lnTo>
                    <a:lnTo>
                      <a:pt x="537" y="1659"/>
                    </a:lnTo>
                    <a:lnTo>
                      <a:pt x="533" y="1661"/>
                    </a:lnTo>
                    <a:lnTo>
                      <a:pt x="527" y="1664"/>
                    </a:lnTo>
                    <a:lnTo>
                      <a:pt x="515" y="1665"/>
                    </a:lnTo>
                    <a:lnTo>
                      <a:pt x="504" y="1666"/>
                    </a:lnTo>
                    <a:lnTo>
                      <a:pt x="499" y="1665"/>
                    </a:lnTo>
                    <a:lnTo>
                      <a:pt x="496" y="1664"/>
                    </a:lnTo>
                    <a:lnTo>
                      <a:pt x="493" y="1661"/>
                    </a:lnTo>
                    <a:lnTo>
                      <a:pt x="491" y="1659"/>
                    </a:lnTo>
                    <a:lnTo>
                      <a:pt x="491" y="1653"/>
                    </a:lnTo>
                    <a:lnTo>
                      <a:pt x="490" y="1649"/>
                    </a:lnTo>
                    <a:lnTo>
                      <a:pt x="488" y="1646"/>
                    </a:lnTo>
                    <a:lnTo>
                      <a:pt x="484" y="1642"/>
                    </a:lnTo>
                    <a:lnTo>
                      <a:pt x="480" y="1640"/>
                    </a:lnTo>
                    <a:lnTo>
                      <a:pt x="476" y="1639"/>
                    </a:lnTo>
                    <a:lnTo>
                      <a:pt x="469" y="1637"/>
                    </a:lnTo>
                    <a:lnTo>
                      <a:pt x="460" y="1637"/>
                    </a:lnTo>
                    <a:lnTo>
                      <a:pt x="444" y="1637"/>
                    </a:lnTo>
                    <a:lnTo>
                      <a:pt x="429" y="1640"/>
                    </a:lnTo>
                    <a:lnTo>
                      <a:pt x="416" y="1642"/>
                    </a:lnTo>
                    <a:lnTo>
                      <a:pt x="406" y="1645"/>
                    </a:lnTo>
                    <a:lnTo>
                      <a:pt x="401" y="1645"/>
                    </a:lnTo>
                    <a:lnTo>
                      <a:pt x="397" y="1645"/>
                    </a:lnTo>
                    <a:lnTo>
                      <a:pt x="392" y="1643"/>
                    </a:lnTo>
                    <a:lnTo>
                      <a:pt x="389" y="1640"/>
                    </a:lnTo>
                    <a:lnTo>
                      <a:pt x="385" y="1636"/>
                    </a:lnTo>
                    <a:lnTo>
                      <a:pt x="383" y="1633"/>
                    </a:lnTo>
                    <a:lnTo>
                      <a:pt x="382" y="1629"/>
                    </a:lnTo>
                    <a:lnTo>
                      <a:pt x="381" y="1626"/>
                    </a:lnTo>
                    <a:lnTo>
                      <a:pt x="382" y="1623"/>
                    </a:lnTo>
                    <a:lnTo>
                      <a:pt x="382" y="1620"/>
                    </a:lnTo>
                    <a:lnTo>
                      <a:pt x="384" y="1617"/>
                    </a:lnTo>
                    <a:lnTo>
                      <a:pt x="386" y="1615"/>
                    </a:lnTo>
                    <a:lnTo>
                      <a:pt x="391" y="1611"/>
                    </a:lnTo>
                    <a:lnTo>
                      <a:pt x="395" y="1608"/>
                    </a:lnTo>
                    <a:lnTo>
                      <a:pt x="395" y="1607"/>
                    </a:lnTo>
                    <a:lnTo>
                      <a:pt x="395" y="1604"/>
                    </a:lnTo>
                    <a:lnTo>
                      <a:pt x="395" y="1602"/>
                    </a:lnTo>
                    <a:lnTo>
                      <a:pt x="394" y="1598"/>
                    </a:lnTo>
                    <a:lnTo>
                      <a:pt x="390" y="1590"/>
                    </a:lnTo>
                    <a:lnTo>
                      <a:pt x="385" y="1579"/>
                    </a:lnTo>
                    <a:lnTo>
                      <a:pt x="381" y="1567"/>
                    </a:lnTo>
                    <a:lnTo>
                      <a:pt x="376" y="1553"/>
                    </a:lnTo>
                    <a:lnTo>
                      <a:pt x="371" y="1538"/>
                    </a:lnTo>
                    <a:lnTo>
                      <a:pt x="366" y="1521"/>
                    </a:lnTo>
                    <a:lnTo>
                      <a:pt x="362" y="1504"/>
                    </a:lnTo>
                    <a:lnTo>
                      <a:pt x="356" y="1490"/>
                    </a:lnTo>
                    <a:lnTo>
                      <a:pt x="348" y="1476"/>
                    </a:lnTo>
                    <a:lnTo>
                      <a:pt x="340" y="1465"/>
                    </a:lnTo>
                    <a:lnTo>
                      <a:pt x="332" y="1456"/>
                    </a:lnTo>
                    <a:lnTo>
                      <a:pt x="323" y="1447"/>
                    </a:lnTo>
                    <a:lnTo>
                      <a:pt x="319" y="1444"/>
                    </a:lnTo>
                    <a:lnTo>
                      <a:pt x="315" y="1439"/>
                    </a:lnTo>
                    <a:lnTo>
                      <a:pt x="312" y="1433"/>
                    </a:lnTo>
                    <a:lnTo>
                      <a:pt x="309" y="1428"/>
                    </a:lnTo>
                    <a:lnTo>
                      <a:pt x="307" y="1415"/>
                    </a:lnTo>
                    <a:lnTo>
                      <a:pt x="306" y="1404"/>
                    </a:lnTo>
                    <a:lnTo>
                      <a:pt x="306" y="1400"/>
                    </a:lnTo>
                    <a:lnTo>
                      <a:pt x="308" y="1395"/>
                    </a:lnTo>
                    <a:lnTo>
                      <a:pt x="310" y="1390"/>
                    </a:lnTo>
                    <a:lnTo>
                      <a:pt x="314" y="1387"/>
                    </a:lnTo>
                    <a:lnTo>
                      <a:pt x="322" y="1381"/>
                    </a:lnTo>
                    <a:lnTo>
                      <a:pt x="328" y="1374"/>
                    </a:lnTo>
                    <a:lnTo>
                      <a:pt x="331" y="1370"/>
                    </a:lnTo>
                    <a:lnTo>
                      <a:pt x="332" y="1365"/>
                    </a:lnTo>
                    <a:lnTo>
                      <a:pt x="331" y="1362"/>
                    </a:lnTo>
                    <a:lnTo>
                      <a:pt x="331" y="1358"/>
                    </a:lnTo>
                    <a:lnTo>
                      <a:pt x="327" y="1350"/>
                    </a:lnTo>
                    <a:lnTo>
                      <a:pt x="323" y="1344"/>
                    </a:lnTo>
                    <a:lnTo>
                      <a:pt x="321" y="1337"/>
                    </a:lnTo>
                    <a:lnTo>
                      <a:pt x="321" y="1328"/>
                    </a:lnTo>
                    <a:lnTo>
                      <a:pt x="321" y="1325"/>
                    </a:lnTo>
                    <a:lnTo>
                      <a:pt x="320" y="1320"/>
                    </a:lnTo>
                    <a:lnTo>
                      <a:pt x="319" y="1315"/>
                    </a:lnTo>
                    <a:lnTo>
                      <a:pt x="315" y="1309"/>
                    </a:lnTo>
                    <a:lnTo>
                      <a:pt x="312" y="1305"/>
                    </a:lnTo>
                    <a:lnTo>
                      <a:pt x="307" y="1301"/>
                    </a:lnTo>
                    <a:lnTo>
                      <a:pt x="303" y="1299"/>
                    </a:lnTo>
                    <a:lnTo>
                      <a:pt x="299" y="1296"/>
                    </a:lnTo>
                    <a:lnTo>
                      <a:pt x="294" y="1296"/>
                    </a:lnTo>
                    <a:lnTo>
                      <a:pt x="289" y="1297"/>
                    </a:lnTo>
                    <a:lnTo>
                      <a:pt x="284" y="1300"/>
                    </a:lnTo>
                    <a:lnTo>
                      <a:pt x="281" y="1305"/>
                    </a:lnTo>
                    <a:lnTo>
                      <a:pt x="272" y="1312"/>
                    </a:lnTo>
                    <a:lnTo>
                      <a:pt x="265" y="1317"/>
                    </a:lnTo>
                    <a:lnTo>
                      <a:pt x="263" y="1318"/>
                    </a:lnTo>
                    <a:lnTo>
                      <a:pt x="260" y="1318"/>
                    </a:lnTo>
                    <a:lnTo>
                      <a:pt x="258" y="1318"/>
                    </a:lnTo>
                    <a:lnTo>
                      <a:pt x="256" y="1317"/>
                    </a:lnTo>
                    <a:lnTo>
                      <a:pt x="253" y="1313"/>
                    </a:lnTo>
                    <a:lnTo>
                      <a:pt x="250" y="1309"/>
                    </a:lnTo>
                    <a:lnTo>
                      <a:pt x="247" y="1308"/>
                    </a:lnTo>
                    <a:lnTo>
                      <a:pt x="244" y="1307"/>
                    </a:lnTo>
                    <a:lnTo>
                      <a:pt x="240" y="1307"/>
                    </a:lnTo>
                    <a:lnTo>
                      <a:pt x="236" y="1308"/>
                    </a:lnTo>
                    <a:lnTo>
                      <a:pt x="231" y="1309"/>
                    </a:lnTo>
                    <a:lnTo>
                      <a:pt x="228" y="1312"/>
                    </a:lnTo>
                    <a:lnTo>
                      <a:pt x="226" y="1314"/>
                    </a:lnTo>
                    <a:lnTo>
                      <a:pt x="225" y="1318"/>
                    </a:lnTo>
                    <a:lnTo>
                      <a:pt x="222" y="1320"/>
                    </a:lnTo>
                    <a:lnTo>
                      <a:pt x="220" y="1322"/>
                    </a:lnTo>
                    <a:lnTo>
                      <a:pt x="215" y="1325"/>
                    </a:lnTo>
                    <a:lnTo>
                      <a:pt x="209" y="1326"/>
                    </a:lnTo>
                    <a:lnTo>
                      <a:pt x="202" y="1326"/>
                    </a:lnTo>
                    <a:lnTo>
                      <a:pt x="195" y="1325"/>
                    </a:lnTo>
                    <a:lnTo>
                      <a:pt x="190" y="1322"/>
                    </a:lnTo>
                    <a:lnTo>
                      <a:pt x="187" y="1320"/>
                    </a:lnTo>
                    <a:lnTo>
                      <a:pt x="183" y="1317"/>
                    </a:lnTo>
                    <a:lnTo>
                      <a:pt x="181" y="1314"/>
                    </a:lnTo>
                    <a:lnTo>
                      <a:pt x="182" y="1311"/>
                    </a:lnTo>
                    <a:lnTo>
                      <a:pt x="188" y="1305"/>
                    </a:lnTo>
                    <a:lnTo>
                      <a:pt x="190" y="1301"/>
                    </a:lnTo>
                    <a:lnTo>
                      <a:pt x="194" y="1297"/>
                    </a:lnTo>
                    <a:lnTo>
                      <a:pt x="195" y="1293"/>
                    </a:lnTo>
                    <a:lnTo>
                      <a:pt x="196" y="1288"/>
                    </a:lnTo>
                    <a:lnTo>
                      <a:pt x="197" y="1283"/>
                    </a:lnTo>
                    <a:lnTo>
                      <a:pt x="196" y="1277"/>
                    </a:lnTo>
                    <a:lnTo>
                      <a:pt x="196" y="1274"/>
                    </a:lnTo>
                    <a:lnTo>
                      <a:pt x="194" y="1269"/>
                    </a:lnTo>
                    <a:lnTo>
                      <a:pt x="192" y="1259"/>
                    </a:lnTo>
                    <a:lnTo>
                      <a:pt x="189" y="1250"/>
                    </a:lnTo>
                    <a:lnTo>
                      <a:pt x="188" y="1238"/>
                    </a:lnTo>
                    <a:lnTo>
                      <a:pt x="184" y="1225"/>
                    </a:lnTo>
                    <a:lnTo>
                      <a:pt x="183" y="1218"/>
                    </a:lnTo>
                    <a:lnTo>
                      <a:pt x="183" y="1212"/>
                    </a:lnTo>
                    <a:lnTo>
                      <a:pt x="182" y="1205"/>
                    </a:lnTo>
                    <a:lnTo>
                      <a:pt x="183" y="1199"/>
                    </a:lnTo>
                    <a:lnTo>
                      <a:pt x="187" y="1188"/>
                    </a:lnTo>
                    <a:lnTo>
                      <a:pt x="188" y="1177"/>
                    </a:lnTo>
                    <a:lnTo>
                      <a:pt x="188" y="1172"/>
                    </a:lnTo>
                    <a:lnTo>
                      <a:pt x="187" y="1167"/>
                    </a:lnTo>
                    <a:lnTo>
                      <a:pt x="184" y="1161"/>
                    </a:lnTo>
                    <a:lnTo>
                      <a:pt x="181" y="1155"/>
                    </a:lnTo>
                    <a:lnTo>
                      <a:pt x="171" y="1147"/>
                    </a:lnTo>
                    <a:lnTo>
                      <a:pt x="165" y="1139"/>
                    </a:lnTo>
                    <a:lnTo>
                      <a:pt x="163" y="1137"/>
                    </a:lnTo>
                    <a:lnTo>
                      <a:pt x="161" y="1132"/>
                    </a:lnTo>
                    <a:lnTo>
                      <a:pt x="158" y="1128"/>
                    </a:lnTo>
                    <a:lnTo>
                      <a:pt x="157" y="1122"/>
                    </a:lnTo>
                    <a:lnTo>
                      <a:pt x="152" y="1107"/>
                    </a:lnTo>
                    <a:lnTo>
                      <a:pt x="146" y="1093"/>
                    </a:lnTo>
                    <a:lnTo>
                      <a:pt x="142" y="1087"/>
                    </a:lnTo>
                    <a:lnTo>
                      <a:pt x="138" y="1081"/>
                    </a:lnTo>
                    <a:lnTo>
                      <a:pt x="133" y="1076"/>
                    </a:lnTo>
                    <a:lnTo>
                      <a:pt x="129" y="1073"/>
                    </a:lnTo>
                    <a:lnTo>
                      <a:pt x="119" y="1066"/>
                    </a:lnTo>
                    <a:lnTo>
                      <a:pt x="112" y="1057"/>
                    </a:lnTo>
                    <a:lnTo>
                      <a:pt x="107" y="1049"/>
                    </a:lnTo>
                    <a:lnTo>
                      <a:pt x="102" y="1042"/>
                    </a:lnTo>
                    <a:lnTo>
                      <a:pt x="100" y="1040"/>
                    </a:lnTo>
                    <a:lnTo>
                      <a:pt x="98" y="1037"/>
                    </a:lnTo>
                    <a:lnTo>
                      <a:pt x="95" y="1037"/>
                    </a:lnTo>
                    <a:lnTo>
                      <a:pt x="93" y="1036"/>
                    </a:lnTo>
                    <a:lnTo>
                      <a:pt x="89" y="1037"/>
                    </a:lnTo>
                    <a:lnTo>
                      <a:pt x="85" y="1040"/>
                    </a:lnTo>
                    <a:lnTo>
                      <a:pt x="82" y="1040"/>
                    </a:lnTo>
                    <a:lnTo>
                      <a:pt x="81" y="1040"/>
                    </a:lnTo>
                    <a:lnTo>
                      <a:pt x="80" y="1038"/>
                    </a:lnTo>
                    <a:lnTo>
                      <a:pt x="80" y="1036"/>
                    </a:lnTo>
                    <a:lnTo>
                      <a:pt x="80" y="1031"/>
                    </a:lnTo>
                    <a:lnTo>
                      <a:pt x="80" y="1025"/>
                    </a:lnTo>
                    <a:lnTo>
                      <a:pt x="80" y="1022"/>
                    </a:lnTo>
                    <a:lnTo>
                      <a:pt x="79" y="1019"/>
                    </a:lnTo>
                    <a:lnTo>
                      <a:pt x="76" y="1017"/>
                    </a:lnTo>
                    <a:lnTo>
                      <a:pt x="74" y="1016"/>
                    </a:lnTo>
                    <a:lnTo>
                      <a:pt x="68" y="1013"/>
                    </a:lnTo>
                    <a:lnTo>
                      <a:pt x="60" y="1011"/>
                    </a:lnTo>
                    <a:lnTo>
                      <a:pt x="54" y="1011"/>
                    </a:lnTo>
                    <a:lnTo>
                      <a:pt x="49" y="1010"/>
                    </a:lnTo>
                    <a:lnTo>
                      <a:pt x="43" y="1007"/>
                    </a:lnTo>
                    <a:lnTo>
                      <a:pt x="37" y="1005"/>
                    </a:lnTo>
                    <a:lnTo>
                      <a:pt x="31" y="1000"/>
                    </a:lnTo>
                    <a:lnTo>
                      <a:pt x="25" y="996"/>
                    </a:lnTo>
                    <a:lnTo>
                      <a:pt x="19" y="988"/>
                    </a:lnTo>
                    <a:lnTo>
                      <a:pt x="13" y="980"/>
                    </a:lnTo>
                    <a:lnTo>
                      <a:pt x="8" y="971"/>
                    </a:lnTo>
                    <a:lnTo>
                      <a:pt x="5" y="961"/>
                    </a:lnTo>
                    <a:lnTo>
                      <a:pt x="1" y="952"/>
                    </a:lnTo>
                    <a:lnTo>
                      <a:pt x="0" y="942"/>
                    </a:lnTo>
                    <a:lnTo>
                      <a:pt x="0" y="934"/>
                    </a:lnTo>
                    <a:lnTo>
                      <a:pt x="1" y="927"/>
                    </a:lnTo>
                    <a:lnTo>
                      <a:pt x="3" y="921"/>
                    </a:lnTo>
                    <a:lnTo>
                      <a:pt x="5" y="917"/>
                    </a:lnTo>
                    <a:lnTo>
                      <a:pt x="10" y="914"/>
                    </a:lnTo>
                    <a:lnTo>
                      <a:pt x="12" y="910"/>
                    </a:lnTo>
                    <a:lnTo>
                      <a:pt x="12" y="906"/>
                    </a:lnTo>
                    <a:lnTo>
                      <a:pt x="11" y="902"/>
                    </a:lnTo>
                    <a:lnTo>
                      <a:pt x="11" y="898"/>
                    </a:lnTo>
                    <a:lnTo>
                      <a:pt x="11" y="896"/>
                    </a:lnTo>
                    <a:lnTo>
                      <a:pt x="12" y="892"/>
                    </a:lnTo>
                    <a:lnTo>
                      <a:pt x="13" y="890"/>
                    </a:lnTo>
                    <a:lnTo>
                      <a:pt x="16" y="887"/>
                    </a:lnTo>
                    <a:lnTo>
                      <a:pt x="19" y="885"/>
                    </a:lnTo>
                    <a:lnTo>
                      <a:pt x="23" y="884"/>
                    </a:lnTo>
                    <a:lnTo>
                      <a:pt x="27" y="883"/>
                    </a:lnTo>
                    <a:lnTo>
                      <a:pt x="38" y="881"/>
                    </a:lnTo>
                    <a:lnTo>
                      <a:pt x="47" y="879"/>
                    </a:lnTo>
                    <a:lnTo>
                      <a:pt x="50" y="876"/>
                    </a:lnTo>
                    <a:lnTo>
                      <a:pt x="54" y="872"/>
                    </a:lnTo>
                    <a:lnTo>
                      <a:pt x="56" y="867"/>
                    </a:lnTo>
                    <a:lnTo>
                      <a:pt x="58" y="860"/>
                    </a:lnTo>
                    <a:lnTo>
                      <a:pt x="63" y="842"/>
                    </a:lnTo>
                    <a:lnTo>
                      <a:pt x="67" y="832"/>
                    </a:lnTo>
                    <a:lnTo>
                      <a:pt x="69" y="828"/>
                    </a:lnTo>
                    <a:lnTo>
                      <a:pt x="71" y="824"/>
                    </a:lnTo>
                    <a:lnTo>
                      <a:pt x="75" y="822"/>
                    </a:lnTo>
                    <a:lnTo>
                      <a:pt x="80" y="818"/>
                    </a:lnTo>
                    <a:lnTo>
                      <a:pt x="88" y="811"/>
                    </a:lnTo>
                    <a:lnTo>
                      <a:pt x="96" y="802"/>
                    </a:lnTo>
                    <a:lnTo>
                      <a:pt x="104" y="790"/>
                    </a:lnTo>
                    <a:lnTo>
                      <a:pt x="107" y="782"/>
                    </a:lnTo>
                    <a:lnTo>
                      <a:pt x="108" y="778"/>
                    </a:lnTo>
                    <a:lnTo>
                      <a:pt x="111" y="776"/>
                    </a:lnTo>
                    <a:lnTo>
                      <a:pt x="113" y="773"/>
                    </a:lnTo>
                    <a:lnTo>
                      <a:pt x="117" y="771"/>
                    </a:lnTo>
                    <a:lnTo>
                      <a:pt x="120" y="770"/>
                    </a:lnTo>
                    <a:lnTo>
                      <a:pt x="124" y="769"/>
                    </a:lnTo>
                    <a:lnTo>
                      <a:pt x="129" y="767"/>
                    </a:lnTo>
                    <a:lnTo>
                      <a:pt x="134" y="767"/>
                    </a:lnTo>
                    <a:lnTo>
                      <a:pt x="143" y="767"/>
                    </a:lnTo>
                    <a:lnTo>
                      <a:pt x="150" y="765"/>
                    </a:lnTo>
                    <a:lnTo>
                      <a:pt x="153" y="761"/>
                    </a:lnTo>
                    <a:lnTo>
                      <a:pt x="156" y="758"/>
                    </a:lnTo>
                    <a:lnTo>
                      <a:pt x="158" y="754"/>
                    </a:lnTo>
                    <a:lnTo>
                      <a:pt x="162" y="752"/>
                    </a:lnTo>
                    <a:lnTo>
                      <a:pt x="167" y="751"/>
                    </a:lnTo>
                    <a:lnTo>
                      <a:pt x="171" y="751"/>
                    </a:lnTo>
                    <a:lnTo>
                      <a:pt x="176" y="750"/>
                    </a:lnTo>
                    <a:lnTo>
                      <a:pt x="178" y="747"/>
                    </a:lnTo>
                    <a:lnTo>
                      <a:pt x="180" y="745"/>
                    </a:lnTo>
                    <a:lnTo>
                      <a:pt x="181" y="742"/>
                    </a:lnTo>
                    <a:lnTo>
                      <a:pt x="181" y="739"/>
                    </a:lnTo>
                    <a:lnTo>
                      <a:pt x="180" y="735"/>
                    </a:lnTo>
                    <a:lnTo>
                      <a:pt x="180" y="731"/>
                    </a:lnTo>
                    <a:lnTo>
                      <a:pt x="180" y="726"/>
                    </a:lnTo>
                    <a:lnTo>
                      <a:pt x="181" y="721"/>
                    </a:lnTo>
                    <a:lnTo>
                      <a:pt x="183" y="716"/>
                    </a:lnTo>
                    <a:lnTo>
                      <a:pt x="187" y="713"/>
                    </a:lnTo>
                    <a:lnTo>
                      <a:pt x="192" y="709"/>
                    </a:lnTo>
                    <a:lnTo>
                      <a:pt x="197" y="706"/>
                    </a:lnTo>
                    <a:lnTo>
                      <a:pt x="203" y="702"/>
                    </a:lnTo>
                    <a:lnTo>
                      <a:pt x="211" y="698"/>
                    </a:lnTo>
                    <a:lnTo>
                      <a:pt x="219" y="695"/>
                    </a:lnTo>
                    <a:lnTo>
                      <a:pt x="226" y="690"/>
                    </a:lnTo>
                    <a:lnTo>
                      <a:pt x="233" y="684"/>
                    </a:lnTo>
                    <a:lnTo>
                      <a:pt x="240" y="678"/>
                    </a:lnTo>
                    <a:lnTo>
                      <a:pt x="245" y="672"/>
                    </a:lnTo>
                    <a:lnTo>
                      <a:pt x="249" y="666"/>
                    </a:lnTo>
                    <a:lnTo>
                      <a:pt x="249" y="660"/>
                    </a:lnTo>
                    <a:lnTo>
                      <a:pt x="247" y="650"/>
                    </a:lnTo>
                    <a:lnTo>
                      <a:pt x="246" y="638"/>
                    </a:lnTo>
                    <a:lnTo>
                      <a:pt x="247" y="633"/>
                    </a:lnTo>
                    <a:lnTo>
                      <a:pt x="247" y="627"/>
                    </a:lnTo>
                    <a:lnTo>
                      <a:pt x="250" y="622"/>
                    </a:lnTo>
                    <a:lnTo>
                      <a:pt x="252" y="618"/>
                    </a:lnTo>
                    <a:lnTo>
                      <a:pt x="266" y="602"/>
                    </a:lnTo>
                    <a:lnTo>
                      <a:pt x="276" y="589"/>
                    </a:lnTo>
                    <a:lnTo>
                      <a:pt x="277" y="582"/>
                    </a:lnTo>
                    <a:lnTo>
                      <a:pt x="281" y="577"/>
                    </a:lnTo>
                    <a:lnTo>
                      <a:pt x="284" y="572"/>
                    </a:lnTo>
                    <a:lnTo>
                      <a:pt x="288" y="570"/>
                    </a:lnTo>
                    <a:lnTo>
                      <a:pt x="291" y="567"/>
                    </a:lnTo>
                    <a:lnTo>
                      <a:pt x="294" y="562"/>
                    </a:lnTo>
                    <a:lnTo>
                      <a:pt x="295" y="553"/>
                    </a:lnTo>
                    <a:lnTo>
                      <a:pt x="294" y="543"/>
                    </a:lnTo>
                    <a:lnTo>
                      <a:pt x="290" y="532"/>
                    </a:lnTo>
                    <a:lnTo>
                      <a:pt x="283" y="520"/>
                    </a:lnTo>
                    <a:lnTo>
                      <a:pt x="280" y="515"/>
                    </a:lnTo>
                    <a:lnTo>
                      <a:pt x="277" y="509"/>
                    </a:lnTo>
                    <a:lnTo>
                      <a:pt x="275" y="505"/>
                    </a:lnTo>
                    <a:lnTo>
                      <a:pt x="274" y="499"/>
                    </a:lnTo>
                    <a:lnTo>
                      <a:pt x="275" y="488"/>
                    </a:lnTo>
                    <a:lnTo>
                      <a:pt x="276" y="480"/>
                    </a:lnTo>
                    <a:lnTo>
                      <a:pt x="278" y="476"/>
                    </a:lnTo>
                    <a:lnTo>
                      <a:pt x="280" y="474"/>
                    </a:lnTo>
                    <a:lnTo>
                      <a:pt x="282" y="471"/>
                    </a:lnTo>
                    <a:lnTo>
                      <a:pt x="285" y="470"/>
                    </a:lnTo>
                    <a:lnTo>
                      <a:pt x="288" y="470"/>
                    </a:lnTo>
                    <a:lnTo>
                      <a:pt x="290" y="468"/>
                    </a:lnTo>
                    <a:lnTo>
                      <a:pt x="293" y="467"/>
                    </a:lnTo>
                    <a:lnTo>
                      <a:pt x="294" y="463"/>
                    </a:lnTo>
                    <a:lnTo>
                      <a:pt x="295" y="461"/>
                    </a:lnTo>
                    <a:lnTo>
                      <a:pt x="295" y="457"/>
                    </a:lnTo>
                    <a:lnTo>
                      <a:pt x="294" y="454"/>
                    </a:lnTo>
                    <a:lnTo>
                      <a:pt x="291" y="450"/>
                    </a:lnTo>
                    <a:lnTo>
                      <a:pt x="287" y="444"/>
                    </a:lnTo>
                    <a:lnTo>
                      <a:pt x="282" y="437"/>
                    </a:lnTo>
                    <a:lnTo>
                      <a:pt x="280" y="433"/>
                    </a:lnTo>
                    <a:lnTo>
                      <a:pt x="278" y="430"/>
                    </a:lnTo>
                    <a:lnTo>
                      <a:pt x="278" y="424"/>
                    </a:lnTo>
                    <a:lnTo>
                      <a:pt x="278" y="419"/>
                    </a:lnTo>
                    <a:lnTo>
                      <a:pt x="280" y="412"/>
                    </a:lnTo>
                    <a:lnTo>
                      <a:pt x="282" y="406"/>
                    </a:lnTo>
                    <a:lnTo>
                      <a:pt x="284" y="401"/>
                    </a:lnTo>
                    <a:lnTo>
                      <a:pt x="289" y="397"/>
                    </a:lnTo>
                    <a:lnTo>
                      <a:pt x="294" y="393"/>
                    </a:lnTo>
                    <a:lnTo>
                      <a:pt x="300" y="391"/>
                    </a:lnTo>
                    <a:lnTo>
                      <a:pt x="304" y="389"/>
                    </a:lnTo>
                    <a:lnTo>
                      <a:pt x="310" y="392"/>
                    </a:lnTo>
                    <a:lnTo>
                      <a:pt x="321" y="397"/>
                    </a:lnTo>
                    <a:lnTo>
                      <a:pt x="332" y="400"/>
                    </a:lnTo>
                    <a:lnTo>
                      <a:pt x="341" y="401"/>
                    </a:lnTo>
                    <a:lnTo>
                      <a:pt x="351" y="401"/>
                    </a:lnTo>
                    <a:lnTo>
                      <a:pt x="360" y="400"/>
                    </a:lnTo>
                    <a:lnTo>
                      <a:pt x="370" y="400"/>
                    </a:lnTo>
                    <a:lnTo>
                      <a:pt x="378" y="402"/>
                    </a:lnTo>
                    <a:lnTo>
                      <a:pt x="386" y="406"/>
                    </a:lnTo>
                    <a:lnTo>
                      <a:pt x="395" y="410"/>
                    </a:lnTo>
                    <a:lnTo>
                      <a:pt x="401" y="411"/>
                    </a:lnTo>
                    <a:lnTo>
                      <a:pt x="404" y="411"/>
                    </a:lnTo>
                    <a:lnTo>
                      <a:pt x="407" y="410"/>
                    </a:lnTo>
                    <a:lnTo>
                      <a:pt x="409" y="406"/>
                    </a:lnTo>
                    <a:lnTo>
                      <a:pt x="411" y="401"/>
                    </a:lnTo>
                    <a:lnTo>
                      <a:pt x="414" y="393"/>
                    </a:lnTo>
                    <a:lnTo>
                      <a:pt x="417" y="385"/>
                    </a:lnTo>
                    <a:lnTo>
                      <a:pt x="421" y="382"/>
                    </a:lnTo>
                    <a:lnTo>
                      <a:pt x="425" y="380"/>
                    </a:lnTo>
                    <a:lnTo>
                      <a:pt x="430" y="378"/>
                    </a:lnTo>
                    <a:lnTo>
                      <a:pt x="436" y="376"/>
                    </a:lnTo>
                    <a:lnTo>
                      <a:pt x="448" y="373"/>
                    </a:lnTo>
                    <a:lnTo>
                      <a:pt x="455" y="370"/>
                    </a:lnTo>
                    <a:lnTo>
                      <a:pt x="457" y="368"/>
                    </a:lnTo>
                    <a:lnTo>
                      <a:pt x="457" y="366"/>
                    </a:lnTo>
                    <a:lnTo>
                      <a:pt x="457" y="362"/>
                    </a:lnTo>
                    <a:lnTo>
                      <a:pt x="457" y="357"/>
                    </a:lnTo>
                    <a:lnTo>
                      <a:pt x="454" y="344"/>
                    </a:lnTo>
                    <a:lnTo>
                      <a:pt x="451" y="331"/>
                    </a:lnTo>
                    <a:lnTo>
                      <a:pt x="448" y="324"/>
                    </a:lnTo>
                    <a:lnTo>
                      <a:pt x="446" y="319"/>
                    </a:lnTo>
                    <a:lnTo>
                      <a:pt x="442" y="315"/>
                    </a:lnTo>
                    <a:lnTo>
                      <a:pt x="439" y="312"/>
                    </a:lnTo>
                    <a:lnTo>
                      <a:pt x="421" y="306"/>
                    </a:lnTo>
                    <a:lnTo>
                      <a:pt x="406" y="300"/>
                    </a:lnTo>
                    <a:lnTo>
                      <a:pt x="402" y="297"/>
                    </a:lnTo>
                    <a:lnTo>
                      <a:pt x="400" y="291"/>
                    </a:lnTo>
                    <a:lnTo>
                      <a:pt x="397" y="285"/>
                    </a:lnTo>
                    <a:lnTo>
                      <a:pt x="396" y="279"/>
                    </a:lnTo>
                    <a:lnTo>
                      <a:pt x="396" y="272"/>
                    </a:lnTo>
                    <a:lnTo>
                      <a:pt x="397" y="267"/>
                    </a:lnTo>
                    <a:lnTo>
                      <a:pt x="397" y="265"/>
                    </a:lnTo>
                    <a:lnTo>
                      <a:pt x="400" y="263"/>
                    </a:lnTo>
                    <a:lnTo>
                      <a:pt x="401" y="262"/>
                    </a:lnTo>
                    <a:lnTo>
                      <a:pt x="403" y="261"/>
                    </a:lnTo>
                    <a:lnTo>
                      <a:pt x="411" y="260"/>
                    </a:lnTo>
                    <a:lnTo>
                      <a:pt x="421" y="259"/>
                    </a:lnTo>
                    <a:lnTo>
                      <a:pt x="425" y="257"/>
                    </a:lnTo>
                    <a:lnTo>
                      <a:pt x="428" y="255"/>
                    </a:lnTo>
                    <a:lnTo>
                      <a:pt x="432" y="252"/>
                    </a:lnTo>
                    <a:lnTo>
                      <a:pt x="434" y="248"/>
                    </a:lnTo>
                    <a:lnTo>
                      <a:pt x="438" y="240"/>
                    </a:lnTo>
                    <a:lnTo>
                      <a:pt x="441" y="234"/>
                    </a:lnTo>
                    <a:lnTo>
                      <a:pt x="445" y="233"/>
                    </a:lnTo>
                    <a:lnTo>
                      <a:pt x="447" y="233"/>
                    </a:lnTo>
                    <a:lnTo>
                      <a:pt x="451" y="234"/>
                    </a:lnTo>
                    <a:lnTo>
                      <a:pt x="455" y="236"/>
                    </a:lnTo>
                    <a:lnTo>
                      <a:pt x="459" y="240"/>
                    </a:lnTo>
                    <a:lnTo>
                      <a:pt x="463" y="241"/>
                    </a:lnTo>
                    <a:lnTo>
                      <a:pt x="466" y="242"/>
                    </a:lnTo>
                    <a:lnTo>
                      <a:pt x="470" y="242"/>
                    </a:lnTo>
                    <a:lnTo>
                      <a:pt x="472" y="241"/>
                    </a:lnTo>
                    <a:lnTo>
                      <a:pt x="474" y="240"/>
                    </a:lnTo>
                    <a:lnTo>
                      <a:pt x="476" y="237"/>
                    </a:lnTo>
                    <a:lnTo>
                      <a:pt x="478" y="235"/>
                    </a:lnTo>
                    <a:lnTo>
                      <a:pt x="483" y="228"/>
                    </a:lnTo>
                    <a:lnTo>
                      <a:pt x="485" y="219"/>
                    </a:lnTo>
                    <a:lnTo>
                      <a:pt x="485" y="211"/>
                    </a:lnTo>
                    <a:lnTo>
                      <a:pt x="485" y="203"/>
                    </a:lnTo>
                    <a:lnTo>
                      <a:pt x="483" y="196"/>
                    </a:lnTo>
                    <a:lnTo>
                      <a:pt x="482" y="189"/>
                    </a:lnTo>
                    <a:lnTo>
                      <a:pt x="483" y="186"/>
                    </a:lnTo>
                    <a:lnTo>
                      <a:pt x="484" y="184"/>
                    </a:lnTo>
                    <a:lnTo>
                      <a:pt x="486" y="183"/>
                    </a:lnTo>
                    <a:lnTo>
                      <a:pt x="491" y="183"/>
                    </a:lnTo>
                    <a:lnTo>
                      <a:pt x="495" y="181"/>
                    </a:lnTo>
                    <a:lnTo>
                      <a:pt x="498" y="181"/>
                    </a:lnTo>
                    <a:lnTo>
                      <a:pt x="502" y="179"/>
                    </a:lnTo>
                    <a:lnTo>
                      <a:pt x="503" y="177"/>
                    </a:lnTo>
                    <a:lnTo>
                      <a:pt x="507" y="170"/>
                    </a:lnTo>
                    <a:lnTo>
                      <a:pt x="507" y="160"/>
                    </a:lnTo>
                    <a:lnTo>
                      <a:pt x="507" y="147"/>
                    </a:lnTo>
                    <a:lnTo>
                      <a:pt x="507" y="133"/>
                    </a:lnTo>
                    <a:lnTo>
                      <a:pt x="508" y="118"/>
                    </a:lnTo>
                    <a:lnTo>
                      <a:pt x="510" y="108"/>
                    </a:lnTo>
                    <a:lnTo>
                      <a:pt x="515" y="97"/>
                    </a:lnTo>
                    <a:lnTo>
                      <a:pt x="518" y="83"/>
                    </a:lnTo>
                    <a:lnTo>
                      <a:pt x="522" y="68"/>
                    </a:lnTo>
                    <a:lnTo>
                      <a:pt x="523" y="57"/>
                    </a:lnTo>
                    <a:lnTo>
                      <a:pt x="523" y="42"/>
                    </a:lnTo>
                    <a:lnTo>
                      <a:pt x="521" y="30"/>
                    </a:lnTo>
                    <a:lnTo>
                      <a:pt x="521" y="27"/>
                    </a:lnTo>
                    <a:lnTo>
                      <a:pt x="523" y="23"/>
                    </a:lnTo>
                    <a:lnTo>
                      <a:pt x="527" y="19"/>
                    </a:lnTo>
                    <a:lnTo>
                      <a:pt x="533" y="15"/>
                    </a:lnTo>
                    <a:lnTo>
                      <a:pt x="539" y="10"/>
                    </a:lnTo>
                    <a:lnTo>
                      <a:pt x="548" y="5"/>
                    </a:lnTo>
                    <a:lnTo>
                      <a:pt x="553" y="4"/>
                    </a:lnTo>
                    <a:lnTo>
                      <a:pt x="558" y="2"/>
                    </a:lnTo>
                    <a:lnTo>
                      <a:pt x="564" y="2"/>
                    </a:lnTo>
                    <a:lnTo>
                      <a:pt x="571" y="1"/>
                    </a:lnTo>
                    <a:lnTo>
                      <a:pt x="585" y="1"/>
                    </a:lnTo>
                    <a:lnTo>
                      <a:pt x="598" y="1"/>
                    </a:lnTo>
                    <a:lnTo>
                      <a:pt x="610" y="0"/>
                    </a:lnTo>
                    <a:lnTo>
                      <a:pt x="618" y="0"/>
                    </a:lnTo>
                    <a:lnTo>
                      <a:pt x="622" y="1"/>
                    </a:lnTo>
                    <a:lnTo>
                      <a:pt x="624" y="2"/>
                    </a:lnTo>
                    <a:lnTo>
                      <a:pt x="628" y="4"/>
                    </a:lnTo>
                    <a:lnTo>
                      <a:pt x="631" y="8"/>
                    </a:lnTo>
                    <a:lnTo>
                      <a:pt x="635" y="13"/>
                    </a:lnTo>
                    <a:lnTo>
                      <a:pt x="637" y="19"/>
                    </a:lnTo>
                    <a:lnTo>
                      <a:pt x="640" y="25"/>
                    </a:lnTo>
                    <a:lnTo>
                      <a:pt x="642" y="30"/>
                    </a:lnTo>
                    <a:lnTo>
                      <a:pt x="644" y="38"/>
                    </a:lnTo>
                    <a:lnTo>
                      <a:pt x="648" y="45"/>
                    </a:lnTo>
                    <a:lnTo>
                      <a:pt x="653" y="53"/>
                    </a:lnTo>
                    <a:lnTo>
                      <a:pt x="659" y="60"/>
                    </a:lnTo>
                    <a:lnTo>
                      <a:pt x="665" y="67"/>
                    </a:lnTo>
                    <a:lnTo>
                      <a:pt x="672" y="74"/>
                    </a:lnTo>
                    <a:lnTo>
                      <a:pt x="679" y="79"/>
                    </a:lnTo>
                    <a:lnTo>
                      <a:pt x="686" y="83"/>
                    </a:lnTo>
                    <a:lnTo>
                      <a:pt x="703" y="88"/>
                    </a:lnTo>
                    <a:lnTo>
                      <a:pt x="721" y="91"/>
                    </a:lnTo>
                    <a:lnTo>
                      <a:pt x="730" y="92"/>
                    </a:lnTo>
                    <a:lnTo>
                      <a:pt x="740" y="92"/>
                    </a:lnTo>
                    <a:lnTo>
                      <a:pt x="748" y="91"/>
                    </a:lnTo>
                    <a:lnTo>
                      <a:pt x="756" y="90"/>
                    </a:lnTo>
                    <a:lnTo>
                      <a:pt x="769" y="89"/>
                    </a:lnTo>
                    <a:lnTo>
                      <a:pt x="782" y="88"/>
                    </a:lnTo>
                    <a:lnTo>
                      <a:pt x="788" y="88"/>
                    </a:lnTo>
                    <a:lnTo>
                      <a:pt x="794" y="88"/>
                    </a:lnTo>
                    <a:lnTo>
                      <a:pt x="800" y="90"/>
                    </a:lnTo>
                    <a:lnTo>
                      <a:pt x="806" y="91"/>
                    </a:lnTo>
                    <a:lnTo>
                      <a:pt x="811" y="96"/>
                    </a:lnTo>
                    <a:lnTo>
                      <a:pt x="816" y="101"/>
                    </a:lnTo>
                    <a:lnTo>
                      <a:pt x="819" y="107"/>
                    </a:lnTo>
                    <a:lnTo>
                      <a:pt x="823" y="114"/>
                    </a:lnTo>
                    <a:lnTo>
                      <a:pt x="828" y="128"/>
                    </a:lnTo>
                    <a:lnTo>
                      <a:pt x="832" y="141"/>
                    </a:lnTo>
                    <a:lnTo>
                      <a:pt x="835" y="145"/>
                    </a:lnTo>
                    <a:lnTo>
                      <a:pt x="838" y="147"/>
                    </a:lnTo>
                    <a:lnTo>
                      <a:pt x="842" y="148"/>
                    </a:lnTo>
                    <a:lnTo>
                      <a:pt x="847" y="148"/>
                    </a:lnTo>
                    <a:lnTo>
                      <a:pt x="851" y="147"/>
                    </a:lnTo>
                    <a:lnTo>
                      <a:pt x="856" y="145"/>
                    </a:lnTo>
                    <a:lnTo>
                      <a:pt x="860" y="140"/>
                    </a:lnTo>
                    <a:lnTo>
                      <a:pt x="863" y="135"/>
                    </a:lnTo>
                    <a:lnTo>
                      <a:pt x="869" y="126"/>
                    </a:lnTo>
                    <a:lnTo>
                      <a:pt x="875" y="118"/>
                    </a:lnTo>
                    <a:lnTo>
                      <a:pt x="883" y="114"/>
                    </a:lnTo>
                    <a:lnTo>
                      <a:pt x="895" y="108"/>
                    </a:lnTo>
                    <a:lnTo>
                      <a:pt x="901" y="104"/>
                    </a:lnTo>
                    <a:lnTo>
                      <a:pt x="907" y="99"/>
                    </a:lnTo>
                    <a:lnTo>
                      <a:pt x="913" y="96"/>
                    </a:lnTo>
                    <a:lnTo>
                      <a:pt x="917" y="91"/>
                    </a:lnTo>
                    <a:lnTo>
                      <a:pt x="919" y="86"/>
                    </a:lnTo>
                    <a:lnTo>
                      <a:pt x="921" y="82"/>
                    </a:lnTo>
                    <a:lnTo>
                      <a:pt x="923" y="77"/>
                    </a:lnTo>
                    <a:lnTo>
                      <a:pt x="921" y="73"/>
                    </a:lnTo>
                    <a:lnTo>
                      <a:pt x="920" y="70"/>
                    </a:lnTo>
                    <a:lnTo>
                      <a:pt x="920" y="65"/>
                    </a:lnTo>
                    <a:lnTo>
                      <a:pt x="920" y="60"/>
                    </a:lnTo>
                    <a:lnTo>
                      <a:pt x="921" y="57"/>
                    </a:lnTo>
                    <a:lnTo>
                      <a:pt x="924" y="52"/>
                    </a:lnTo>
                    <a:lnTo>
                      <a:pt x="927" y="48"/>
                    </a:lnTo>
                    <a:lnTo>
                      <a:pt x="931" y="44"/>
                    </a:lnTo>
                    <a:lnTo>
                      <a:pt x="936" y="41"/>
                    </a:lnTo>
                    <a:lnTo>
                      <a:pt x="948" y="35"/>
                    </a:lnTo>
                    <a:lnTo>
                      <a:pt x="963" y="30"/>
                    </a:lnTo>
                    <a:lnTo>
                      <a:pt x="977" y="27"/>
                    </a:lnTo>
                    <a:lnTo>
                      <a:pt x="989" y="25"/>
                    </a:lnTo>
                    <a:lnTo>
                      <a:pt x="994" y="23"/>
                    </a:lnTo>
                    <a:lnTo>
                      <a:pt x="999" y="23"/>
                    </a:lnTo>
                    <a:lnTo>
                      <a:pt x="1003" y="25"/>
                    </a:lnTo>
                    <a:lnTo>
                      <a:pt x="1008" y="26"/>
                    </a:lnTo>
                    <a:lnTo>
                      <a:pt x="1012" y="29"/>
                    </a:lnTo>
                    <a:lnTo>
                      <a:pt x="1015" y="33"/>
                    </a:lnTo>
                    <a:lnTo>
                      <a:pt x="1018" y="39"/>
                    </a:lnTo>
                    <a:lnTo>
                      <a:pt x="1019" y="46"/>
                    </a:lnTo>
                    <a:lnTo>
                      <a:pt x="1020" y="63"/>
                    </a:lnTo>
                    <a:lnTo>
                      <a:pt x="1021" y="78"/>
                    </a:lnTo>
                    <a:lnTo>
                      <a:pt x="1021" y="86"/>
                    </a:lnTo>
                    <a:lnTo>
                      <a:pt x="1022" y="92"/>
                    </a:lnTo>
                    <a:lnTo>
                      <a:pt x="1024" y="98"/>
                    </a:lnTo>
                    <a:lnTo>
                      <a:pt x="1025" y="102"/>
                    </a:lnTo>
                    <a:lnTo>
                      <a:pt x="1028" y="105"/>
                    </a:lnTo>
                    <a:lnTo>
                      <a:pt x="1034" y="108"/>
                    </a:lnTo>
                    <a:lnTo>
                      <a:pt x="1040" y="111"/>
                    </a:lnTo>
                    <a:lnTo>
                      <a:pt x="1049" y="112"/>
                    </a:lnTo>
                    <a:lnTo>
                      <a:pt x="1058" y="115"/>
                    </a:lnTo>
                    <a:lnTo>
                      <a:pt x="1068" y="116"/>
                    </a:lnTo>
                    <a:lnTo>
                      <a:pt x="1076" y="116"/>
                    </a:lnTo>
                    <a:lnTo>
                      <a:pt x="1085" y="116"/>
                    </a:lnTo>
                    <a:lnTo>
                      <a:pt x="1094" y="116"/>
                    </a:lnTo>
                    <a:lnTo>
                      <a:pt x="1102" y="117"/>
                    </a:lnTo>
                    <a:lnTo>
                      <a:pt x="1108" y="120"/>
                    </a:lnTo>
                    <a:lnTo>
                      <a:pt x="1114" y="123"/>
                    </a:lnTo>
                    <a:lnTo>
                      <a:pt x="1120" y="136"/>
                    </a:lnTo>
                    <a:lnTo>
                      <a:pt x="1127" y="155"/>
                    </a:lnTo>
                    <a:lnTo>
                      <a:pt x="1127" y="156"/>
                    </a:lnTo>
                    <a:lnTo>
                      <a:pt x="1126" y="156"/>
                    </a:lnTo>
                    <a:lnTo>
                      <a:pt x="1115" y="161"/>
                    </a:lnTo>
                    <a:lnTo>
                      <a:pt x="1104" y="170"/>
                    </a:lnTo>
                    <a:lnTo>
                      <a:pt x="1100" y="174"/>
                    </a:lnTo>
                    <a:lnTo>
                      <a:pt x="1096" y="179"/>
                    </a:lnTo>
                    <a:lnTo>
                      <a:pt x="1094" y="183"/>
                    </a:lnTo>
                    <a:lnTo>
                      <a:pt x="1093" y="186"/>
                    </a:lnTo>
                    <a:lnTo>
                      <a:pt x="1091" y="193"/>
                    </a:lnTo>
                    <a:lnTo>
                      <a:pt x="1089" y="199"/>
                    </a:lnTo>
                    <a:lnTo>
                      <a:pt x="1087" y="202"/>
                    </a:lnTo>
                    <a:lnTo>
                      <a:pt x="1083" y="204"/>
                    </a:lnTo>
                    <a:lnTo>
                      <a:pt x="1080" y="205"/>
                    </a:lnTo>
                    <a:lnTo>
                      <a:pt x="1076" y="205"/>
                    </a:lnTo>
                    <a:lnTo>
                      <a:pt x="1065" y="206"/>
                    </a:lnTo>
                    <a:lnTo>
                      <a:pt x="1055" y="209"/>
                    </a:lnTo>
                    <a:lnTo>
                      <a:pt x="1049" y="211"/>
                    </a:lnTo>
                    <a:lnTo>
                      <a:pt x="1044" y="215"/>
                    </a:lnTo>
                    <a:lnTo>
                      <a:pt x="1038" y="218"/>
                    </a:lnTo>
                    <a:lnTo>
                      <a:pt x="1033" y="224"/>
                    </a:lnTo>
                    <a:lnTo>
                      <a:pt x="1030" y="230"/>
                    </a:lnTo>
                    <a:lnTo>
                      <a:pt x="1027" y="237"/>
                    </a:lnTo>
                    <a:lnTo>
                      <a:pt x="1026" y="246"/>
                    </a:lnTo>
                    <a:lnTo>
                      <a:pt x="1025" y="255"/>
                    </a:lnTo>
                    <a:lnTo>
                      <a:pt x="1025" y="272"/>
                    </a:lnTo>
                    <a:lnTo>
                      <a:pt x="1026" y="284"/>
                    </a:lnTo>
                    <a:lnTo>
                      <a:pt x="1025" y="288"/>
                    </a:lnTo>
                    <a:lnTo>
                      <a:pt x="1022" y="293"/>
                    </a:lnTo>
                    <a:lnTo>
                      <a:pt x="1019" y="298"/>
                    </a:lnTo>
                    <a:lnTo>
                      <a:pt x="1014" y="303"/>
                    </a:lnTo>
                    <a:lnTo>
                      <a:pt x="1002" y="311"/>
                    </a:lnTo>
                    <a:lnTo>
                      <a:pt x="989" y="319"/>
                    </a:lnTo>
                    <a:lnTo>
                      <a:pt x="983" y="323"/>
                    </a:lnTo>
                    <a:lnTo>
                      <a:pt x="977" y="325"/>
                    </a:lnTo>
                    <a:lnTo>
                      <a:pt x="971" y="328"/>
                    </a:lnTo>
                    <a:lnTo>
                      <a:pt x="967" y="329"/>
                    </a:lnTo>
                    <a:lnTo>
                      <a:pt x="962" y="329"/>
                    </a:lnTo>
                    <a:lnTo>
                      <a:pt x="957" y="328"/>
                    </a:lnTo>
                    <a:lnTo>
                      <a:pt x="952" y="325"/>
                    </a:lnTo>
                    <a:lnTo>
                      <a:pt x="948" y="322"/>
                    </a:lnTo>
                    <a:lnTo>
                      <a:pt x="940" y="316"/>
                    </a:lnTo>
                    <a:lnTo>
                      <a:pt x="931" y="312"/>
                    </a:lnTo>
                    <a:lnTo>
                      <a:pt x="919" y="310"/>
                    </a:lnTo>
                    <a:lnTo>
                      <a:pt x="907" y="309"/>
                    </a:lnTo>
                    <a:lnTo>
                      <a:pt x="893" y="310"/>
                    </a:lnTo>
                    <a:lnTo>
                      <a:pt x="879" y="311"/>
                    </a:lnTo>
                    <a:lnTo>
                      <a:pt x="866" y="312"/>
                    </a:lnTo>
                    <a:lnTo>
                      <a:pt x="852" y="317"/>
                    </a:lnTo>
                    <a:lnTo>
                      <a:pt x="847" y="319"/>
                    </a:lnTo>
                    <a:lnTo>
                      <a:pt x="841" y="323"/>
                    </a:lnTo>
                    <a:lnTo>
                      <a:pt x="835" y="326"/>
                    </a:lnTo>
                    <a:lnTo>
                      <a:pt x="830" y="331"/>
                    </a:lnTo>
                    <a:lnTo>
                      <a:pt x="823" y="342"/>
                    </a:lnTo>
                    <a:lnTo>
                      <a:pt x="817" y="353"/>
                    </a:lnTo>
                    <a:lnTo>
                      <a:pt x="813" y="359"/>
                    </a:lnTo>
                    <a:lnTo>
                      <a:pt x="808" y="364"/>
                    </a:lnTo>
                    <a:lnTo>
                      <a:pt x="801" y="370"/>
                    </a:lnTo>
                    <a:lnTo>
                      <a:pt x="792" y="376"/>
                    </a:lnTo>
                    <a:lnTo>
                      <a:pt x="784" y="381"/>
                    </a:lnTo>
                    <a:lnTo>
                      <a:pt x="780" y="385"/>
                    </a:lnTo>
                    <a:lnTo>
                      <a:pt x="780" y="386"/>
                    </a:lnTo>
                    <a:lnTo>
                      <a:pt x="780" y="386"/>
                    </a:lnTo>
                    <a:lnTo>
                      <a:pt x="781" y="386"/>
                    </a:lnTo>
                    <a:lnTo>
                      <a:pt x="782" y="387"/>
                    </a:lnTo>
                    <a:lnTo>
                      <a:pt x="793" y="385"/>
                    </a:lnTo>
                    <a:lnTo>
                      <a:pt x="805" y="381"/>
                    </a:lnTo>
                    <a:lnTo>
                      <a:pt x="814" y="375"/>
                    </a:lnTo>
                    <a:lnTo>
                      <a:pt x="826" y="366"/>
                    </a:lnTo>
                    <a:lnTo>
                      <a:pt x="836" y="355"/>
                    </a:lnTo>
                    <a:lnTo>
                      <a:pt x="841" y="348"/>
                    </a:lnTo>
                    <a:lnTo>
                      <a:pt x="845" y="342"/>
                    </a:lnTo>
                    <a:lnTo>
                      <a:pt x="851" y="337"/>
                    </a:lnTo>
                    <a:lnTo>
                      <a:pt x="856" y="335"/>
                    </a:lnTo>
                    <a:lnTo>
                      <a:pt x="860" y="334"/>
                    </a:lnTo>
                    <a:lnTo>
                      <a:pt x="864" y="332"/>
                    </a:lnTo>
                    <a:lnTo>
                      <a:pt x="869" y="334"/>
                    </a:lnTo>
                    <a:lnTo>
                      <a:pt x="879" y="335"/>
                    </a:lnTo>
                    <a:lnTo>
                      <a:pt x="888" y="337"/>
                    </a:lnTo>
                    <a:lnTo>
                      <a:pt x="898" y="339"/>
                    </a:lnTo>
                    <a:lnTo>
                      <a:pt x="904" y="343"/>
                    </a:lnTo>
                    <a:lnTo>
                      <a:pt x="906" y="345"/>
                    </a:lnTo>
                    <a:lnTo>
                      <a:pt x="907" y="349"/>
                    </a:lnTo>
                    <a:lnTo>
                      <a:pt x="908" y="354"/>
                    </a:lnTo>
                    <a:lnTo>
                      <a:pt x="908" y="359"/>
                    </a:lnTo>
                    <a:lnTo>
                      <a:pt x="907" y="370"/>
                    </a:lnTo>
                    <a:lnTo>
                      <a:pt x="906" y="385"/>
                    </a:lnTo>
                    <a:lnTo>
                      <a:pt x="907" y="392"/>
                    </a:lnTo>
                    <a:lnTo>
                      <a:pt x="908" y="398"/>
                    </a:lnTo>
                    <a:lnTo>
                      <a:pt x="912" y="404"/>
                    </a:lnTo>
                    <a:lnTo>
                      <a:pt x="917" y="407"/>
                    </a:lnTo>
                    <a:lnTo>
                      <a:pt x="921" y="412"/>
                    </a:lnTo>
                    <a:lnTo>
                      <a:pt x="927" y="414"/>
                    </a:lnTo>
                    <a:lnTo>
                      <a:pt x="933" y="417"/>
                    </a:lnTo>
                    <a:lnTo>
                      <a:pt x="939" y="419"/>
                    </a:lnTo>
                    <a:lnTo>
                      <a:pt x="952" y="422"/>
                    </a:lnTo>
                    <a:lnTo>
                      <a:pt x="965" y="424"/>
                    </a:lnTo>
                    <a:lnTo>
                      <a:pt x="973" y="424"/>
                    </a:lnTo>
                    <a:lnTo>
                      <a:pt x="978" y="423"/>
                    </a:lnTo>
                    <a:lnTo>
                      <a:pt x="983" y="422"/>
                    </a:lnTo>
                    <a:lnTo>
                      <a:pt x="987" y="419"/>
                    </a:lnTo>
                    <a:lnTo>
                      <a:pt x="995" y="414"/>
                    </a:lnTo>
                    <a:lnTo>
                      <a:pt x="1003" y="412"/>
                    </a:lnTo>
                    <a:lnTo>
                      <a:pt x="1012" y="411"/>
                    </a:lnTo>
                    <a:lnTo>
                      <a:pt x="1021" y="410"/>
                    </a:lnTo>
                    <a:lnTo>
                      <a:pt x="1026" y="407"/>
                    </a:lnTo>
                    <a:lnTo>
                      <a:pt x="1030" y="405"/>
                    </a:lnTo>
                    <a:lnTo>
                      <a:pt x="1033" y="401"/>
                    </a:lnTo>
                    <a:lnTo>
                      <a:pt x="1036" y="397"/>
                    </a:lnTo>
                    <a:lnTo>
                      <a:pt x="1040" y="388"/>
                    </a:lnTo>
                    <a:lnTo>
                      <a:pt x="1043" y="380"/>
                    </a:lnTo>
                    <a:lnTo>
                      <a:pt x="1044" y="376"/>
                    </a:lnTo>
                    <a:lnTo>
                      <a:pt x="1047" y="373"/>
                    </a:lnTo>
                    <a:lnTo>
                      <a:pt x="1052" y="369"/>
                    </a:lnTo>
                    <a:lnTo>
                      <a:pt x="1057" y="364"/>
                    </a:lnTo>
                    <a:lnTo>
                      <a:pt x="1070" y="356"/>
                    </a:lnTo>
                    <a:lnTo>
                      <a:pt x="1083" y="344"/>
                    </a:lnTo>
                    <a:lnTo>
                      <a:pt x="1090" y="338"/>
                    </a:lnTo>
                    <a:lnTo>
                      <a:pt x="1099" y="334"/>
                    </a:lnTo>
                    <a:lnTo>
                      <a:pt x="1107" y="329"/>
                    </a:lnTo>
                    <a:lnTo>
                      <a:pt x="1115" y="325"/>
                    </a:lnTo>
                    <a:lnTo>
                      <a:pt x="1124" y="322"/>
                    </a:lnTo>
                    <a:lnTo>
                      <a:pt x="1132" y="319"/>
                    </a:lnTo>
                    <a:lnTo>
                      <a:pt x="1139" y="318"/>
                    </a:lnTo>
                    <a:lnTo>
                      <a:pt x="1145" y="317"/>
                    </a:lnTo>
                    <a:lnTo>
                      <a:pt x="1159" y="319"/>
                    </a:lnTo>
                    <a:lnTo>
                      <a:pt x="1175" y="324"/>
                    </a:lnTo>
                    <a:lnTo>
                      <a:pt x="1191" y="330"/>
                    </a:lnTo>
                    <a:lnTo>
                      <a:pt x="1208" y="337"/>
                    </a:lnTo>
                    <a:lnTo>
                      <a:pt x="1215" y="341"/>
                    </a:lnTo>
                    <a:lnTo>
                      <a:pt x="1222" y="347"/>
                    </a:lnTo>
                    <a:lnTo>
                      <a:pt x="1228" y="354"/>
                    </a:lnTo>
                    <a:lnTo>
                      <a:pt x="1235" y="361"/>
                    </a:lnTo>
                    <a:lnTo>
                      <a:pt x="1250" y="379"/>
                    </a:lnTo>
                    <a:lnTo>
                      <a:pt x="1264" y="399"/>
                    </a:lnTo>
                    <a:lnTo>
                      <a:pt x="1271" y="407"/>
                    </a:lnTo>
                    <a:lnTo>
                      <a:pt x="1278" y="414"/>
                    </a:lnTo>
                    <a:lnTo>
                      <a:pt x="1286" y="423"/>
                    </a:lnTo>
                    <a:lnTo>
                      <a:pt x="1296" y="430"/>
                    </a:lnTo>
                    <a:lnTo>
                      <a:pt x="1307" y="437"/>
                    </a:lnTo>
                    <a:lnTo>
                      <a:pt x="1317" y="443"/>
                    </a:lnTo>
                    <a:lnTo>
                      <a:pt x="1329" y="449"/>
                    </a:lnTo>
                    <a:lnTo>
                      <a:pt x="1341" y="454"/>
                    </a:lnTo>
                    <a:lnTo>
                      <a:pt x="1358" y="458"/>
                    </a:lnTo>
                    <a:lnTo>
                      <a:pt x="1374" y="462"/>
                    </a:lnTo>
                    <a:lnTo>
                      <a:pt x="1391" y="463"/>
                    </a:lnTo>
                    <a:lnTo>
                      <a:pt x="1405" y="463"/>
                    </a:lnTo>
                    <a:lnTo>
                      <a:pt x="1415" y="465"/>
                    </a:lnTo>
                    <a:lnTo>
                      <a:pt x="1423" y="469"/>
                    </a:lnTo>
                    <a:lnTo>
                      <a:pt x="1430" y="474"/>
                    </a:lnTo>
                    <a:lnTo>
                      <a:pt x="1437" y="476"/>
                    </a:lnTo>
                    <a:lnTo>
                      <a:pt x="1444" y="476"/>
                    </a:lnTo>
                    <a:lnTo>
                      <a:pt x="1456" y="474"/>
                    </a:lnTo>
                    <a:lnTo>
                      <a:pt x="1469" y="470"/>
                    </a:lnTo>
                    <a:lnTo>
                      <a:pt x="1479" y="467"/>
                    </a:lnTo>
                    <a:lnTo>
                      <a:pt x="1483" y="467"/>
                    </a:lnTo>
                    <a:lnTo>
                      <a:pt x="1486" y="465"/>
                    </a:lnTo>
                    <a:lnTo>
                      <a:pt x="1488" y="467"/>
                    </a:lnTo>
                    <a:lnTo>
                      <a:pt x="1491" y="467"/>
                    </a:lnTo>
                    <a:lnTo>
                      <a:pt x="1492" y="468"/>
                    </a:lnTo>
                    <a:lnTo>
                      <a:pt x="1493" y="470"/>
                    </a:lnTo>
                    <a:lnTo>
                      <a:pt x="1493" y="473"/>
                    </a:lnTo>
                    <a:lnTo>
                      <a:pt x="1493" y="475"/>
                    </a:lnTo>
                    <a:lnTo>
                      <a:pt x="1490" y="481"/>
                    </a:lnTo>
                    <a:lnTo>
                      <a:pt x="1485" y="487"/>
                    </a:lnTo>
                    <a:lnTo>
                      <a:pt x="1477" y="492"/>
                    </a:lnTo>
                    <a:lnTo>
                      <a:pt x="1467" y="498"/>
                    </a:lnTo>
                    <a:lnTo>
                      <a:pt x="1455" y="502"/>
                    </a:lnTo>
                    <a:lnTo>
                      <a:pt x="1439" y="509"/>
                    </a:lnTo>
                    <a:lnTo>
                      <a:pt x="1431" y="513"/>
                    </a:lnTo>
                    <a:lnTo>
                      <a:pt x="1423" y="517"/>
                    </a:lnTo>
                    <a:lnTo>
                      <a:pt x="1416" y="521"/>
                    </a:lnTo>
                    <a:lnTo>
                      <a:pt x="1410" y="525"/>
                    </a:lnTo>
                    <a:lnTo>
                      <a:pt x="1405" y="530"/>
                    </a:lnTo>
                    <a:lnTo>
                      <a:pt x="1403" y="534"/>
                    </a:lnTo>
                    <a:lnTo>
                      <a:pt x="1400" y="538"/>
                    </a:lnTo>
                    <a:lnTo>
                      <a:pt x="1399" y="542"/>
                    </a:lnTo>
                    <a:lnTo>
                      <a:pt x="1398" y="547"/>
                    </a:lnTo>
                    <a:lnTo>
                      <a:pt x="1393" y="556"/>
                    </a:lnTo>
                    <a:lnTo>
                      <a:pt x="1390" y="561"/>
                    </a:lnTo>
                    <a:lnTo>
                      <a:pt x="1389" y="565"/>
                    </a:lnTo>
                    <a:lnTo>
                      <a:pt x="1390" y="569"/>
                    </a:lnTo>
                    <a:lnTo>
                      <a:pt x="1391" y="572"/>
                    </a:lnTo>
                    <a:lnTo>
                      <a:pt x="1395" y="576"/>
                    </a:lnTo>
                    <a:lnTo>
                      <a:pt x="1398" y="578"/>
                    </a:lnTo>
                    <a:lnTo>
                      <a:pt x="1403" y="582"/>
                    </a:lnTo>
                    <a:lnTo>
                      <a:pt x="1409" y="583"/>
                    </a:lnTo>
                    <a:lnTo>
                      <a:pt x="1431" y="589"/>
                    </a:lnTo>
                    <a:lnTo>
                      <a:pt x="1444" y="591"/>
                    </a:lnTo>
                    <a:lnTo>
                      <a:pt x="1448" y="593"/>
                    </a:lnTo>
                    <a:lnTo>
                      <a:pt x="1450" y="595"/>
                    </a:lnTo>
                    <a:lnTo>
                      <a:pt x="1450" y="599"/>
                    </a:lnTo>
                    <a:lnTo>
                      <a:pt x="1450" y="602"/>
                    </a:lnTo>
                    <a:lnTo>
                      <a:pt x="1444" y="610"/>
                    </a:lnTo>
                    <a:lnTo>
                      <a:pt x="1437" y="620"/>
                    </a:lnTo>
                    <a:lnTo>
                      <a:pt x="1434" y="624"/>
                    </a:lnTo>
                    <a:lnTo>
                      <a:pt x="1428" y="627"/>
                    </a:lnTo>
                    <a:lnTo>
                      <a:pt x="1423" y="628"/>
                    </a:lnTo>
                    <a:lnTo>
                      <a:pt x="1417" y="628"/>
                    </a:lnTo>
                    <a:lnTo>
                      <a:pt x="1405" y="627"/>
                    </a:lnTo>
                    <a:lnTo>
                      <a:pt x="1396" y="625"/>
                    </a:lnTo>
                    <a:lnTo>
                      <a:pt x="1385" y="622"/>
                    </a:lnTo>
                    <a:lnTo>
                      <a:pt x="1373" y="621"/>
                    </a:lnTo>
                    <a:lnTo>
                      <a:pt x="1360" y="621"/>
                    </a:lnTo>
                    <a:lnTo>
                      <a:pt x="1347" y="621"/>
                    </a:lnTo>
                    <a:lnTo>
                      <a:pt x="1339" y="622"/>
                    </a:lnTo>
                    <a:lnTo>
                      <a:pt x="1330" y="625"/>
                    </a:lnTo>
                    <a:lnTo>
                      <a:pt x="1323" y="627"/>
                    </a:lnTo>
                    <a:lnTo>
                      <a:pt x="1317" y="631"/>
                    </a:lnTo>
                    <a:lnTo>
                      <a:pt x="1315" y="635"/>
                    </a:lnTo>
                    <a:lnTo>
                      <a:pt x="1314" y="641"/>
                    </a:lnTo>
                    <a:lnTo>
                      <a:pt x="1314" y="644"/>
                    </a:lnTo>
                    <a:lnTo>
                      <a:pt x="1314" y="647"/>
                    </a:lnTo>
                    <a:lnTo>
                      <a:pt x="1316" y="650"/>
                    </a:lnTo>
                    <a:lnTo>
                      <a:pt x="1317" y="652"/>
                    </a:lnTo>
                    <a:lnTo>
                      <a:pt x="1320" y="654"/>
                    </a:lnTo>
                    <a:lnTo>
                      <a:pt x="1323" y="656"/>
                    </a:lnTo>
                    <a:lnTo>
                      <a:pt x="1326" y="657"/>
                    </a:lnTo>
                    <a:lnTo>
                      <a:pt x="1329" y="657"/>
                    </a:lnTo>
                    <a:lnTo>
                      <a:pt x="1337" y="656"/>
                    </a:lnTo>
                    <a:lnTo>
                      <a:pt x="1343" y="657"/>
                    </a:lnTo>
                    <a:lnTo>
                      <a:pt x="1351" y="658"/>
                    </a:lnTo>
                    <a:lnTo>
                      <a:pt x="1355" y="660"/>
                    </a:lnTo>
                    <a:lnTo>
                      <a:pt x="1360" y="664"/>
                    </a:lnTo>
                    <a:lnTo>
                      <a:pt x="1364" y="669"/>
                    </a:lnTo>
                    <a:lnTo>
                      <a:pt x="1366" y="671"/>
                    </a:lnTo>
                    <a:lnTo>
                      <a:pt x="1368" y="672"/>
                    </a:lnTo>
                    <a:lnTo>
                      <a:pt x="1371" y="672"/>
                    </a:lnTo>
                    <a:lnTo>
                      <a:pt x="1372" y="672"/>
                    </a:lnTo>
                    <a:lnTo>
                      <a:pt x="1378" y="666"/>
                    </a:lnTo>
                    <a:lnTo>
                      <a:pt x="1383" y="660"/>
                    </a:lnTo>
                    <a:lnTo>
                      <a:pt x="1389" y="656"/>
                    </a:lnTo>
                    <a:lnTo>
                      <a:pt x="1395" y="652"/>
                    </a:lnTo>
                    <a:lnTo>
                      <a:pt x="1402" y="650"/>
                    </a:lnTo>
                    <a:lnTo>
                      <a:pt x="1409" y="649"/>
                    </a:lnTo>
                    <a:lnTo>
                      <a:pt x="1417" y="647"/>
                    </a:lnTo>
                    <a:lnTo>
                      <a:pt x="1427" y="647"/>
                    </a:lnTo>
                    <a:lnTo>
                      <a:pt x="1436" y="649"/>
                    </a:lnTo>
                    <a:lnTo>
                      <a:pt x="1443" y="650"/>
                    </a:lnTo>
                    <a:lnTo>
                      <a:pt x="1447" y="652"/>
                    </a:lnTo>
                    <a:lnTo>
                      <a:pt x="1449" y="653"/>
                    </a:lnTo>
                    <a:lnTo>
                      <a:pt x="1450" y="656"/>
                    </a:lnTo>
                    <a:lnTo>
                      <a:pt x="1450" y="658"/>
                    </a:lnTo>
                    <a:lnTo>
                      <a:pt x="1450" y="664"/>
                    </a:lnTo>
                    <a:lnTo>
                      <a:pt x="1448" y="669"/>
                    </a:lnTo>
                    <a:lnTo>
                      <a:pt x="1443" y="675"/>
                    </a:lnTo>
                    <a:lnTo>
                      <a:pt x="1435" y="683"/>
                    </a:lnTo>
                    <a:lnTo>
                      <a:pt x="1431" y="687"/>
                    </a:lnTo>
                    <a:lnTo>
                      <a:pt x="1430" y="690"/>
                    </a:lnTo>
                    <a:lnTo>
                      <a:pt x="1429" y="694"/>
                    </a:lnTo>
                    <a:lnTo>
                      <a:pt x="1430" y="696"/>
                    </a:lnTo>
                    <a:lnTo>
                      <a:pt x="1435" y="702"/>
                    </a:lnTo>
                    <a:lnTo>
                      <a:pt x="1441" y="707"/>
                    </a:lnTo>
                    <a:lnTo>
                      <a:pt x="1447" y="710"/>
                    </a:lnTo>
                    <a:lnTo>
                      <a:pt x="1452" y="714"/>
                    </a:lnTo>
                    <a:lnTo>
                      <a:pt x="1453" y="715"/>
                    </a:lnTo>
                    <a:lnTo>
                      <a:pt x="1453" y="717"/>
                    </a:lnTo>
                    <a:lnTo>
                      <a:pt x="1452" y="720"/>
                    </a:lnTo>
                    <a:lnTo>
                      <a:pt x="1449" y="721"/>
                    </a:lnTo>
                    <a:lnTo>
                      <a:pt x="1444" y="727"/>
                    </a:lnTo>
                    <a:lnTo>
                      <a:pt x="1441" y="732"/>
                    </a:lnTo>
                    <a:lnTo>
                      <a:pt x="1441" y="736"/>
                    </a:lnTo>
                    <a:lnTo>
                      <a:pt x="1441" y="741"/>
                    </a:lnTo>
                    <a:lnTo>
                      <a:pt x="1442" y="745"/>
                    </a:lnTo>
                    <a:lnTo>
                      <a:pt x="1443" y="748"/>
                    </a:lnTo>
                    <a:lnTo>
                      <a:pt x="1448" y="748"/>
                    </a:lnTo>
                    <a:lnTo>
                      <a:pt x="1454" y="745"/>
                    </a:lnTo>
                    <a:lnTo>
                      <a:pt x="1459" y="742"/>
                    </a:lnTo>
                    <a:lnTo>
                      <a:pt x="1461" y="742"/>
                    </a:lnTo>
                    <a:lnTo>
                      <a:pt x="1463" y="742"/>
                    </a:lnTo>
                    <a:lnTo>
                      <a:pt x="1466" y="744"/>
                    </a:lnTo>
                    <a:lnTo>
                      <a:pt x="1466" y="745"/>
                    </a:lnTo>
                    <a:lnTo>
                      <a:pt x="1467" y="748"/>
                    </a:lnTo>
                    <a:lnTo>
                      <a:pt x="1466" y="753"/>
                    </a:lnTo>
                    <a:lnTo>
                      <a:pt x="1465" y="758"/>
                    </a:lnTo>
                    <a:lnTo>
                      <a:pt x="1463" y="763"/>
                    </a:lnTo>
                    <a:lnTo>
                      <a:pt x="1460" y="769"/>
                    </a:lnTo>
                    <a:lnTo>
                      <a:pt x="1456" y="773"/>
                    </a:lnTo>
                    <a:lnTo>
                      <a:pt x="1452" y="777"/>
                    </a:lnTo>
                    <a:lnTo>
                      <a:pt x="1442" y="784"/>
                    </a:lnTo>
                    <a:lnTo>
                      <a:pt x="1434" y="789"/>
                    </a:lnTo>
                    <a:lnTo>
                      <a:pt x="1425" y="792"/>
                    </a:lnTo>
                    <a:lnTo>
                      <a:pt x="1418" y="792"/>
                    </a:lnTo>
                    <a:lnTo>
                      <a:pt x="1416" y="792"/>
                    </a:lnTo>
                    <a:lnTo>
                      <a:pt x="1414" y="791"/>
                    </a:lnTo>
                    <a:lnTo>
                      <a:pt x="1411" y="789"/>
                    </a:lnTo>
                    <a:lnTo>
                      <a:pt x="1410" y="786"/>
                    </a:lnTo>
                    <a:lnTo>
                      <a:pt x="1408" y="778"/>
                    </a:lnTo>
                    <a:lnTo>
                      <a:pt x="1406" y="765"/>
                    </a:lnTo>
                    <a:lnTo>
                      <a:pt x="1405" y="753"/>
                    </a:lnTo>
                    <a:lnTo>
                      <a:pt x="1405" y="742"/>
                    </a:lnTo>
                    <a:lnTo>
                      <a:pt x="1405" y="733"/>
                    </a:lnTo>
                    <a:lnTo>
                      <a:pt x="1405" y="726"/>
                    </a:lnTo>
                    <a:lnTo>
                      <a:pt x="1404" y="721"/>
                    </a:lnTo>
                    <a:lnTo>
                      <a:pt x="1403" y="717"/>
                    </a:lnTo>
                    <a:lnTo>
                      <a:pt x="1398" y="714"/>
                    </a:lnTo>
                    <a:lnTo>
                      <a:pt x="1391" y="713"/>
                    </a:lnTo>
                    <a:lnTo>
                      <a:pt x="1385" y="712"/>
                    </a:lnTo>
                    <a:lnTo>
                      <a:pt x="1383" y="713"/>
                    </a:lnTo>
                    <a:lnTo>
                      <a:pt x="1381" y="716"/>
                    </a:lnTo>
                    <a:lnTo>
                      <a:pt x="1384" y="723"/>
                    </a:lnTo>
                    <a:lnTo>
                      <a:pt x="1385" y="735"/>
                    </a:lnTo>
                    <a:lnTo>
                      <a:pt x="1385" y="751"/>
                    </a:lnTo>
                    <a:lnTo>
                      <a:pt x="1385" y="766"/>
                    </a:lnTo>
                    <a:lnTo>
                      <a:pt x="1385" y="779"/>
                    </a:lnTo>
                    <a:lnTo>
                      <a:pt x="1385" y="783"/>
                    </a:lnTo>
                    <a:lnTo>
                      <a:pt x="1383" y="785"/>
                    </a:lnTo>
                    <a:lnTo>
                      <a:pt x="1380" y="788"/>
                    </a:lnTo>
                    <a:lnTo>
                      <a:pt x="1377" y="789"/>
                    </a:lnTo>
                    <a:lnTo>
                      <a:pt x="1370" y="790"/>
                    </a:lnTo>
                    <a:lnTo>
                      <a:pt x="1361" y="792"/>
                    </a:lnTo>
                    <a:lnTo>
                      <a:pt x="1353" y="795"/>
                    </a:lnTo>
                    <a:lnTo>
                      <a:pt x="1345" y="795"/>
                    </a:lnTo>
                    <a:lnTo>
                      <a:pt x="1337" y="792"/>
                    </a:lnTo>
                    <a:lnTo>
                      <a:pt x="1333" y="790"/>
                    </a:lnTo>
                    <a:lnTo>
                      <a:pt x="1330" y="785"/>
                    </a:lnTo>
                    <a:lnTo>
                      <a:pt x="1328" y="779"/>
                    </a:lnTo>
                    <a:lnTo>
                      <a:pt x="1327" y="773"/>
                    </a:lnTo>
                    <a:lnTo>
                      <a:pt x="1326" y="765"/>
                    </a:lnTo>
                    <a:lnTo>
                      <a:pt x="1324" y="759"/>
                    </a:lnTo>
                    <a:lnTo>
                      <a:pt x="1322" y="755"/>
                    </a:lnTo>
                    <a:lnTo>
                      <a:pt x="1320" y="754"/>
                    </a:lnTo>
                    <a:lnTo>
                      <a:pt x="1318" y="754"/>
                    </a:lnTo>
                    <a:lnTo>
                      <a:pt x="1317" y="755"/>
                    </a:lnTo>
                    <a:lnTo>
                      <a:pt x="1316" y="758"/>
                    </a:lnTo>
                    <a:lnTo>
                      <a:pt x="1311" y="763"/>
                    </a:lnTo>
                    <a:lnTo>
                      <a:pt x="1304" y="766"/>
                    </a:lnTo>
                    <a:lnTo>
                      <a:pt x="1297" y="779"/>
                    </a:lnTo>
                    <a:lnTo>
                      <a:pt x="1286" y="803"/>
                    </a:lnTo>
                    <a:lnTo>
                      <a:pt x="1276" y="827"/>
                    </a:lnTo>
                    <a:lnTo>
                      <a:pt x="1271" y="838"/>
                    </a:lnTo>
                    <a:lnTo>
                      <a:pt x="1271" y="840"/>
                    </a:lnTo>
                    <a:lnTo>
                      <a:pt x="1273" y="841"/>
                    </a:lnTo>
                    <a:lnTo>
                      <a:pt x="1276" y="842"/>
                    </a:lnTo>
                    <a:lnTo>
                      <a:pt x="1279" y="842"/>
                    </a:lnTo>
                    <a:lnTo>
                      <a:pt x="1289" y="841"/>
                    </a:lnTo>
                    <a:lnTo>
                      <a:pt x="1298" y="839"/>
                    </a:lnTo>
                    <a:lnTo>
                      <a:pt x="1305" y="835"/>
                    </a:lnTo>
                    <a:lnTo>
                      <a:pt x="1313" y="834"/>
                    </a:lnTo>
                    <a:lnTo>
                      <a:pt x="1321" y="833"/>
                    </a:lnTo>
                    <a:lnTo>
                      <a:pt x="1332" y="834"/>
                    </a:lnTo>
                    <a:lnTo>
                      <a:pt x="1334" y="835"/>
                    </a:lnTo>
                    <a:lnTo>
                      <a:pt x="1336" y="836"/>
                    </a:lnTo>
                    <a:lnTo>
                      <a:pt x="1337" y="840"/>
                    </a:lnTo>
                    <a:lnTo>
                      <a:pt x="1339" y="842"/>
                    </a:lnTo>
                    <a:lnTo>
                      <a:pt x="1341" y="849"/>
                    </a:lnTo>
                    <a:lnTo>
                      <a:pt x="1345" y="854"/>
                    </a:lnTo>
                    <a:lnTo>
                      <a:pt x="1348" y="858"/>
                    </a:lnTo>
                    <a:lnTo>
                      <a:pt x="1353" y="860"/>
                    </a:lnTo>
                    <a:lnTo>
                      <a:pt x="1357" y="860"/>
                    </a:lnTo>
                    <a:lnTo>
                      <a:pt x="1360" y="861"/>
                    </a:lnTo>
                    <a:lnTo>
                      <a:pt x="1365" y="862"/>
                    </a:lnTo>
                    <a:lnTo>
                      <a:pt x="1368" y="866"/>
                    </a:lnTo>
                    <a:lnTo>
                      <a:pt x="1372" y="872"/>
                    </a:lnTo>
                    <a:lnTo>
                      <a:pt x="1374" y="880"/>
                    </a:lnTo>
                    <a:lnTo>
                      <a:pt x="1376" y="890"/>
                    </a:lnTo>
                    <a:lnTo>
                      <a:pt x="1376" y="902"/>
                    </a:lnTo>
                    <a:lnTo>
                      <a:pt x="1374" y="906"/>
                    </a:lnTo>
                    <a:lnTo>
                      <a:pt x="1373" y="910"/>
                    </a:lnTo>
                    <a:lnTo>
                      <a:pt x="1372" y="912"/>
                    </a:lnTo>
                    <a:lnTo>
                      <a:pt x="1370" y="914"/>
                    </a:lnTo>
                    <a:lnTo>
                      <a:pt x="1367" y="914"/>
                    </a:lnTo>
                    <a:lnTo>
                      <a:pt x="1364" y="914"/>
                    </a:lnTo>
                    <a:lnTo>
                      <a:pt x="1358" y="911"/>
                    </a:lnTo>
                    <a:lnTo>
                      <a:pt x="1352" y="909"/>
                    </a:lnTo>
                    <a:lnTo>
                      <a:pt x="1346" y="905"/>
                    </a:lnTo>
                    <a:lnTo>
                      <a:pt x="1339" y="903"/>
                    </a:lnTo>
                    <a:lnTo>
                      <a:pt x="1330" y="901"/>
                    </a:lnTo>
                    <a:lnTo>
                      <a:pt x="1322" y="899"/>
                    </a:lnTo>
                    <a:lnTo>
                      <a:pt x="1315" y="899"/>
                    </a:lnTo>
                    <a:lnTo>
                      <a:pt x="1309" y="902"/>
                    </a:lnTo>
                    <a:lnTo>
                      <a:pt x="1308" y="903"/>
                    </a:lnTo>
                    <a:lnTo>
                      <a:pt x="1305" y="905"/>
                    </a:lnTo>
                    <a:lnTo>
                      <a:pt x="1305" y="908"/>
                    </a:lnTo>
                    <a:lnTo>
                      <a:pt x="1305" y="911"/>
                    </a:lnTo>
                    <a:lnTo>
                      <a:pt x="1307" y="914"/>
                    </a:lnTo>
                    <a:lnTo>
                      <a:pt x="1308" y="916"/>
                    </a:lnTo>
                    <a:lnTo>
                      <a:pt x="1310" y="918"/>
                    </a:lnTo>
                    <a:lnTo>
                      <a:pt x="1314" y="921"/>
                    </a:lnTo>
                    <a:lnTo>
                      <a:pt x="1321" y="924"/>
                    </a:lnTo>
                    <a:lnTo>
                      <a:pt x="1330" y="928"/>
                    </a:lnTo>
                    <a:lnTo>
                      <a:pt x="1348" y="934"/>
                    </a:lnTo>
                    <a:lnTo>
                      <a:pt x="1361" y="940"/>
                    </a:lnTo>
                    <a:lnTo>
                      <a:pt x="1365" y="943"/>
                    </a:lnTo>
                    <a:lnTo>
                      <a:pt x="1367" y="947"/>
                    </a:lnTo>
                    <a:lnTo>
                      <a:pt x="1370" y="950"/>
                    </a:lnTo>
                    <a:lnTo>
                      <a:pt x="1371" y="955"/>
                    </a:lnTo>
                    <a:lnTo>
                      <a:pt x="1372" y="960"/>
                    </a:lnTo>
                    <a:lnTo>
                      <a:pt x="1371" y="965"/>
                    </a:lnTo>
                    <a:lnTo>
                      <a:pt x="1370" y="971"/>
                    </a:lnTo>
                    <a:lnTo>
                      <a:pt x="1367" y="977"/>
                    </a:lnTo>
                    <a:lnTo>
                      <a:pt x="1360" y="987"/>
                    </a:lnTo>
                    <a:lnTo>
                      <a:pt x="1354" y="993"/>
                    </a:lnTo>
                    <a:lnTo>
                      <a:pt x="1348" y="998"/>
                    </a:lnTo>
                    <a:lnTo>
                      <a:pt x="1343" y="1002"/>
                    </a:lnTo>
                    <a:lnTo>
                      <a:pt x="1340" y="1004"/>
                    </a:lnTo>
                    <a:lnTo>
                      <a:pt x="1335" y="1006"/>
                    </a:lnTo>
                    <a:lnTo>
                      <a:pt x="1330" y="1007"/>
                    </a:lnTo>
                    <a:lnTo>
                      <a:pt x="1326" y="1009"/>
                    </a:lnTo>
                    <a:lnTo>
                      <a:pt x="1315" y="1011"/>
                    </a:lnTo>
                    <a:lnTo>
                      <a:pt x="1304" y="1012"/>
                    </a:lnTo>
                    <a:lnTo>
                      <a:pt x="1299" y="1015"/>
                    </a:lnTo>
                    <a:lnTo>
                      <a:pt x="1297" y="1017"/>
                    </a:lnTo>
                    <a:lnTo>
                      <a:pt x="1297" y="1021"/>
                    </a:lnTo>
                    <a:lnTo>
                      <a:pt x="1298" y="1025"/>
                    </a:lnTo>
                    <a:lnTo>
                      <a:pt x="1302" y="1035"/>
                    </a:lnTo>
                    <a:lnTo>
                      <a:pt x="1308" y="1043"/>
                    </a:lnTo>
                    <a:lnTo>
                      <a:pt x="1315" y="1053"/>
                    </a:lnTo>
                    <a:lnTo>
                      <a:pt x="1324" y="1063"/>
                    </a:lnTo>
                    <a:lnTo>
                      <a:pt x="1336" y="1073"/>
                    </a:lnTo>
                    <a:lnTo>
                      <a:pt x="1345" y="1079"/>
                    </a:lnTo>
                    <a:lnTo>
                      <a:pt x="1353" y="1081"/>
                    </a:lnTo>
                    <a:lnTo>
                      <a:pt x="1360" y="1085"/>
                    </a:lnTo>
                    <a:lnTo>
                      <a:pt x="1364" y="1087"/>
                    </a:lnTo>
                    <a:lnTo>
                      <a:pt x="1365" y="1088"/>
                    </a:lnTo>
                    <a:lnTo>
                      <a:pt x="1365" y="1089"/>
                    </a:lnTo>
                    <a:lnTo>
                      <a:pt x="1364" y="1092"/>
                    </a:lnTo>
                    <a:lnTo>
                      <a:pt x="1360" y="1097"/>
                    </a:lnTo>
                    <a:lnTo>
                      <a:pt x="1358" y="1104"/>
                    </a:lnTo>
                    <a:lnTo>
                      <a:pt x="1355" y="1113"/>
                    </a:lnTo>
                    <a:lnTo>
                      <a:pt x="1354" y="1124"/>
                    </a:lnTo>
                    <a:lnTo>
                      <a:pt x="1355" y="1130"/>
                    </a:lnTo>
                    <a:lnTo>
                      <a:pt x="1358" y="1136"/>
                    </a:lnTo>
                    <a:lnTo>
                      <a:pt x="1361" y="1141"/>
                    </a:lnTo>
                    <a:lnTo>
                      <a:pt x="1366" y="1147"/>
                    </a:lnTo>
                    <a:lnTo>
                      <a:pt x="1376" y="1155"/>
                    </a:lnTo>
                    <a:lnTo>
                      <a:pt x="1381" y="1161"/>
                    </a:lnTo>
                    <a:lnTo>
                      <a:pt x="1385" y="1167"/>
                    </a:lnTo>
                    <a:lnTo>
                      <a:pt x="1390" y="1174"/>
                    </a:lnTo>
                    <a:lnTo>
                      <a:pt x="1392" y="1182"/>
                    </a:lnTo>
                    <a:lnTo>
                      <a:pt x="1393" y="1191"/>
                    </a:lnTo>
                    <a:lnTo>
                      <a:pt x="1393" y="1194"/>
                    </a:lnTo>
                    <a:lnTo>
                      <a:pt x="1392" y="1198"/>
                    </a:lnTo>
                    <a:lnTo>
                      <a:pt x="1391" y="1200"/>
                    </a:lnTo>
                    <a:lnTo>
                      <a:pt x="1389" y="1202"/>
                    </a:lnTo>
                    <a:lnTo>
                      <a:pt x="1383" y="1205"/>
                    </a:lnTo>
                    <a:lnTo>
                      <a:pt x="1378" y="1205"/>
                    </a:lnTo>
                    <a:lnTo>
                      <a:pt x="1372" y="1204"/>
                    </a:lnTo>
                    <a:lnTo>
                      <a:pt x="1366" y="1199"/>
                    </a:lnTo>
                    <a:lnTo>
                      <a:pt x="1360" y="1194"/>
                    </a:lnTo>
                    <a:lnTo>
                      <a:pt x="1355" y="1189"/>
                    </a:lnTo>
                    <a:lnTo>
                      <a:pt x="1351" y="1185"/>
                    </a:lnTo>
                    <a:lnTo>
                      <a:pt x="1345" y="1181"/>
                    </a:lnTo>
                    <a:lnTo>
                      <a:pt x="1341" y="1180"/>
                    </a:lnTo>
                    <a:lnTo>
                      <a:pt x="1337" y="1179"/>
                    </a:lnTo>
                    <a:lnTo>
                      <a:pt x="1333" y="1177"/>
                    </a:lnTo>
                    <a:lnTo>
                      <a:pt x="1328" y="1177"/>
                    </a:lnTo>
                    <a:lnTo>
                      <a:pt x="1322" y="1179"/>
                    </a:lnTo>
                    <a:lnTo>
                      <a:pt x="1318" y="1180"/>
                    </a:lnTo>
                    <a:lnTo>
                      <a:pt x="1316" y="1181"/>
                    </a:lnTo>
                    <a:lnTo>
                      <a:pt x="1314" y="1183"/>
                    </a:lnTo>
                    <a:lnTo>
                      <a:pt x="1311" y="1191"/>
                    </a:lnTo>
                    <a:lnTo>
                      <a:pt x="1310" y="1200"/>
                    </a:lnTo>
                    <a:lnTo>
                      <a:pt x="1309" y="1206"/>
                    </a:lnTo>
                    <a:lnTo>
                      <a:pt x="1308" y="1211"/>
                    </a:lnTo>
                    <a:lnTo>
                      <a:pt x="1307" y="1215"/>
                    </a:lnTo>
                    <a:lnTo>
                      <a:pt x="1304" y="1219"/>
                    </a:lnTo>
                    <a:lnTo>
                      <a:pt x="1302" y="1223"/>
                    </a:lnTo>
                    <a:lnTo>
                      <a:pt x="1298" y="1225"/>
                    </a:lnTo>
                    <a:lnTo>
                      <a:pt x="1296" y="1227"/>
                    </a:lnTo>
                    <a:lnTo>
                      <a:pt x="1292" y="1229"/>
                    </a:lnTo>
                    <a:lnTo>
                      <a:pt x="1290" y="1230"/>
                    </a:lnTo>
                    <a:lnTo>
                      <a:pt x="1289" y="1232"/>
                    </a:lnTo>
                    <a:lnTo>
                      <a:pt x="1290" y="1236"/>
                    </a:lnTo>
                    <a:lnTo>
                      <a:pt x="1292" y="1239"/>
                    </a:lnTo>
                    <a:lnTo>
                      <a:pt x="1295" y="1243"/>
                    </a:lnTo>
                    <a:lnTo>
                      <a:pt x="1296" y="1248"/>
                    </a:lnTo>
                    <a:lnTo>
                      <a:pt x="1297" y="1252"/>
                    </a:lnTo>
                    <a:lnTo>
                      <a:pt x="1298" y="1258"/>
                    </a:lnTo>
                    <a:lnTo>
                      <a:pt x="1297" y="1262"/>
                    </a:lnTo>
                    <a:lnTo>
                      <a:pt x="1295" y="1265"/>
                    </a:lnTo>
                    <a:lnTo>
                      <a:pt x="1291" y="1268"/>
                    </a:lnTo>
                    <a:lnTo>
                      <a:pt x="1288" y="1269"/>
                    </a:lnTo>
                    <a:lnTo>
                      <a:pt x="1284" y="1269"/>
                    </a:lnTo>
                    <a:lnTo>
                      <a:pt x="1280" y="1268"/>
                    </a:lnTo>
                    <a:lnTo>
                      <a:pt x="1277" y="1265"/>
                    </a:lnTo>
                    <a:lnTo>
                      <a:pt x="1276" y="1262"/>
                    </a:lnTo>
                    <a:lnTo>
                      <a:pt x="1273" y="1259"/>
                    </a:lnTo>
                    <a:lnTo>
                      <a:pt x="1271" y="1256"/>
                    </a:lnTo>
                    <a:lnTo>
                      <a:pt x="1269" y="1255"/>
                    </a:lnTo>
                    <a:lnTo>
                      <a:pt x="1266" y="1252"/>
                    </a:lnTo>
                    <a:lnTo>
                      <a:pt x="1264" y="1252"/>
                    </a:lnTo>
                    <a:lnTo>
                      <a:pt x="1261" y="1252"/>
                    </a:lnTo>
                    <a:lnTo>
                      <a:pt x="1259" y="1254"/>
                    </a:lnTo>
                    <a:lnTo>
                      <a:pt x="1257" y="1255"/>
                    </a:lnTo>
                    <a:lnTo>
                      <a:pt x="1254" y="1257"/>
                    </a:lnTo>
                    <a:lnTo>
                      <a:pt x="1253" y="1259"/>
                    </a:lnTo>
                    <a:lnTo>
                      <a:pt x="1252" y="1263"/>
                    </a:lnTo>
                    <a:lnTo>
                      <a:pt x="1251" y="1267"/>
                    </a:lnTo>
                    <a:lnTo>
                      <a:pt x="1251" y="1270"/>
                    </a:lnTo>
                    <a:lnTo>
                      <a:pt x="1252" y="1273"/>
                    </a:lnTo>
                    <a:lnTo>
                      <a:pt x="1253" y="1275"/>
                    </a:lnTo>
                    <a:lnTo>
                      <a:pt x="1255" y="1277"/>
                    </a:lnTo>
                    <a:lnTo>
                      <a:pt x="1259" y="1280"/>
                    </a:lnTo>
                    <a:lnTo>
                      <a:pt x="1261" y="1283"/>
                    </a:lnTo>
                    <a:lnTo>
                      <a:pt x="1261" y="1287"/>
                    </a:lnTo>
                    <a:lnTo>
                      <a:pt x="1261" y="1293"/>
                    </a:lnTo>
                    <a:lnTo>
                      <a:pt x="1261" y="1295"/>
                    </a:lnTo>
                    <a:lnTo>
                      <a:pt x="1260" y="1297"/>
                    </a:lnTo>
                    <a:lnTo>
                      <a:pt x="1259" y="1299"/>
                    </a:lnTo>
                    <a:lnTo>
                      <a:pt x="1257" y="1301"/>
                    </a:lnTo>
                    <a:lnTo>
                      <a:pt x="1251" y="1303"/>
                    </a:lnTo>
                    <a:lnTo>
                      <a:pt x="1244" y="1305"/>
                    </a:lnTo>
                    <a:lnTo>
                      <a:pt x="1238" y="1305"/>
                    </a:lnTo>
                    <a:lnTo>
                      <a:pt x="1233" y="1307"/>
                    </a:lnTo>
                    <a:lnTo>
                      <a:pt x="1229" y="1309"/>
                    </a:lnTo>
                    <a:lnTo>
                      <a:pt x="1223" y="1313"/>
                    </a:lnTo>
                    <a:lnTo>
                      <a:pt x="1220" y="1315"/>
                    </a:lnTo>
                    <a:lnTo>
                      <a:pt x="1216" y="1317"/>
                    </a:lnTo>
                    <a:lnTo>
                      <a:pt x="1214" y="1317"/>
                    </a:lnTo>
                    <a:lnTo>
                      <a:pt x="1210" y="1315"/>
                    </a:lnTo>
                    <a:lnTo>
                      <a:pt x="1207" y="1313"/>
                    </a:lnTo>
                    <a:lnTo>
                      <a:pt x="1203" y="1308"/>
                    </a:lnTo>
                    <a:lnTo>
                      <a:pt x="1201" y="1300"/>
                    </a:lnTo>
                    <a:lnTo>
                      <a:pt x="1198" y="1289"/>
                    </a:lnTo>
                    <a:lnTo>
                      <a:pt x="1200" y="1284"/>
                    </a:lnTo>
                    <a:lnTo>
                      <a:pt x="1202" y="1280"/>
                    </a:lnTo>
                    <a:lnTo>
                      <a:pt x="1206" y="1275"/>
                    </a:lnTo>
                    <a:lnTo>
                      <a:pt x="1211" y="1273"/>
                    </a:lnTo>
                    <a:lnTo>
                      <a:pt x="1215" y="1271"/>
                    </a:lnTo>
                    <a:lnTo>
                      <a:pt x="1217" y="1270"/>
                    </a:lnTo>
                    <a:lnTo>
                      <a:pt x="1220" y="1268"/>
                    </a:lnTo>
                    <a:lnTo>
                      <a:pt x="1222" y="1264"/>
                    </a:lnTo>
                    <a:lnTo>
                      <a:pt x="1226" y="1258"/>
                    </a:lnTo>
                    <a:lnTo>
                      <a:pt x="1229" y="1250"/>
                    </a:lnTo>
                    <a:lnTo>
                      <a:pt x="1239" y="1240"/>
                    </a:lnTo>
                    <a:lnTo>
                      <a:pt x="1250" y="1232"/>
                    </a:lnTo>
                    <a:lnTo>
                      <a:pt x="1251" y="1225"/>
                    </a:lnTo>
                    <a:lnTo>
                      <a:pt x="1250" y="1218"/>
                    </a:lnTo>
                    <a:lnTo>
                      <a:pt x="1248" y="1212"/>
                    </a:lnTo>
                    <a:lnTo>
                      <a:pt x="1248" y="1206"/>
                    </a:lnTo>
                    <a:lnTo>
                      <a:pt x="1247" y="1198"/>
                    </a:lnTo>
                    <a:lnTo>
                      <a:pt x="1247" y="1189"/>
                    </a:lnTo>
                    <a:lnTo>
                      <a:pt x="1245" y="1183"/>
                    </a:lnTo>
                    <a:lnTo>
                      <a:pt x="1242" y="1179"/>
                    </a:lnTo>
                    <a:lnTo>
                      <a:pt x="1234" y="1175"/>
                    </a:lnTo>
                    <a:lnTo>
                      <a:pt x="1222" y="1170"/>
                    </a:lnTo>
                    <a:lnTo>
                      <a:pt x="1220" y="1170"/>
                    </a:lnTo>
                    <a:lnTo>
                      <a:pt x="1217" y="1172"/>
                    </a:lnTo>
                    <a:lnTo>
                      <a:pt x="1213" y="1175"/>
                    </a:lnTo>
                    <a:lnTo>
                      <a:pt x="1209" y="1177"/>
                    </a:lnTo>
                    <a:lnTo>
                      <a:pt x="1202" y="1185"/>
                    </a:lnTo>
                    <a:lnTo>
                      <a:pt x="1198" y="1191"/>
                    </a:lnTo>
                    <a:lnTo>
                      <a:pt x="1195" y="1194"/>
                    </a:lnTo>
                    <a:lnTo>
                      <a:pt x="1190" y="1196"/>
                    </a:lnTo>
                    <a:lnTo>
                      <a:pt x="1185" y="1198"/>
                    </a:lnTo>
                    <a:lnTo>
                      <a:pt x="1178" y="1198"/>
                    </a:lnTo>
                    <a:lnTo>
                      <a:pt x="1172" y="1199"/>
                    </a:lnTo>
                    <a:lnTo>
                      <a:pt x="1167" y="1200"/>
                    </a:lnTo>
                    <a:lnTo>
                      <a:pt x="1163" y="1202"/>
                    </a:lnTo>
                    <a:lnTo>
                      <a:pt x="1162" y="1205"/>
                    </a:lnTo>
                    <a:lnTo>
                      <a:pt x="1162" y="1208"/>
                    </a:lnTo>
                    <a:lnTo>
                      <a:pt x="1162" y="1212"/>
                    </a:lnTo>
                    <a:lnTo>
                      <a:pt x="1164" y="1213"/>
                    </a:lnTo>
                    <a:lnTo>
                      <a:pt x="1165" y="1215"/>
                    </a:lnTo>
                    <a:lnTo>
                      <a:pt x="1171" y="1218"/>
                    </a:lnTo>
                    <a:lnTo>
                      <a:pt x="1178" y="1219"/>
                    </a:lnTo>
                    <a:lnTo>
                      <a:pt x="1183" y="1221"/>
                    </a:lnTo>
                    <a:lnTo>
                      <a:pt x="1187" y="1224"/>
                    </a:lnTo>
                    <a:lnTo>
                      <a:pt x="1189" y="1226"/>
                    </a:lnTo>
                    <a:lnTo>
                      <a:pt x="1192" y="1230"/>
                    </a:lnTo>
                    <a:lnTo>
                      <a:pt x="1195" y="1233"/>
                    </a:lnTo>
                    <a:lnTo>
                      <a:pt x="1196" y="1238"/>
                    </a:lnTo>
                    <a:lnTo>
                      <a:pt x="1196" y="1242"/>
                    </a:lnTo>
                    <a:lnTo>
                      <a:pt x="1196" y="1246"/>
                    </a:lnTo>
                    <a:lnTo>
                      <a:pt x="1195" y="1250"/>
                    </a:lnTo>
                    <a:lnTo>
                      <a:pt x="1192" y="1255"/>
                    </a:lnTo>
                    <a:lnTo>
                      <a:pt x="1190" y="1258"/>
                    </a:lnTo>
                    <a:lnTo>
                      <a:pt x="1187" y="1263"/>
                    </a:lnTo>
                    <a:lnTo>
                      <a:pt x="1178" y="1270"/>
                    </a:lnTo>
                    <a:lnTo>
                      <a:pt x="1169" y="1275"/>
                    </a:lnTo>
                    <a:lnTo>
                      <a:pt x="1165" y="1277"/>
                    </a:lnTo>
                    <a:lnTo>
                      <a:pt x="1162" y="1281"/>
                    </a:lnTo>
                    <a:lnTo>
                      <a:pt x="1159" y="1284"/>
                    </a:lnTo>
                    <a:lnTo>
                      <a:pt x="1157" y="1289"/>
                    </a:lnTo>
                    <a:lnTo>
                      <a:pt x="1156" y="1297"/>
                    </a:lnTo>
                    <a:lnTo>
                      <a:pt x="1156" y="1305"/>
                    </a:lnTo>
                    <a:lnTo>
                      <a:pt x="1157" y="1313"/>
                    </a:lnTo>
                    <a:lnTo>
                      <a:pt x="1157" y="1322"/>
                    </a:lnTo>
                    <a:lnTo>
                      <a:pt x="1156" y="1332"/>
                    </a:lnTo>
                    <a:lnTo>
                      <a:pt x="1153" y="1341"/>
                    </a:lnTo>
                    <a:lnTo>
                      <a:pt x="1151" y="1345"/>
                    </a:lnTo>
                    <a:lnTo>
                      <a:pt x="1148" y="1349"/>
                    </a:lnTo>
                    <a:lnTo>
                      <a:pt x="1145" y="1350"/>
                    </a:lnTo>
                    <a:lnTo>
                      <a:pt x="1143" y="1351"/>
                    </a:lnTo>
                    <a:lnTo>
                      <a:pt x="1139" y="1351"/>
                    </a:lnTo>
                    <a:lnTo>
                      <a:pt x="1135" y="1350"/>
                    </a:lnTo>
                    <a:lnTo>
                      <a:pt x="1132" y="1349"/>
                    </a:lnTo>
                    <a:lnTo>
                      <a:pt x="1128" y="1346"/>
                    </a:lnTo>
                    <a:lnTo>
                      <a:pt x="1126" y="1344"/>
                    </a:lnTo>
                    <a:lnTo>
                      <a:pt x="1122" y="1343"/>
                    </a:lnTo>
                    <a:lnTo>
                      <a:pt x="1118" y="1341"/>
                    </a:lnTo>
                    <a:lnTo>
                      <a:pt x="1114" y="1343"/>
                    </a:lnTo>
                    <a:lnTo>
                      <a:pt x="1104" y="1344"/>
                    </a:lnTo>
                    <a:lnTo>
                      <a:pt x="1096" y="1346"/>
                    </a:lnTo>
                    <a:lnTo>
                      <a:pt x="1088" y="1346"/>
                    </a:lnTo>
                    <a:lnTo>
                      <a:pt x="1078" y="1345"/>
                    </a:lnTo>
                    <a:lnTo>
                      <a:pt x="1070" y="1343"/>
                    </a:lnTo>
                    <a:lnTo>
                      <a:pt x="1061" y="1339"/>
                    </a:lnTo>
                    <a:lnTo>
                      <a:pt x="1056" y="1338"/>
                    </a:lnTo>
                    <a:lnTo>
                      <a:pt x="1052" y="1337"/>
                    </a:lnTo>
                    <a:lnTo>
                      <a:pt x="1050" y="1337"/>
                    </a:lnTo>
                    <a:lnTo>
                      <a:pt x="1047" y="1339"/>
                    </a:lnTo>
                    <a:lnTo>
                      <a:pt x="1046" y="1340"/>
                    </a:lnTo>
                    <a:lnTo>
                      <a:pt x="1046" y="1343"/>
                    </a:lnTo>
                    <a:lnTo>
                      <a:pt x="1047" y="1345"/>
                    </a:lnTo>
                    <a:lnTo>
                      <a:pt x="1049" y="1349"/>
                    </a:lnTo>
                    <a:lnTo>
                      <a:pt x="1056" y="1355"/>
                    </a:lnTo>
                    <a:lnTo>
                      <a:pt x="1064" y="1362"/>
                    </a:lnTo>
                    <a:lnTo>
                      <a:pt x="1069" y="1365"/>
                    </a:lnTo>
                    <a:lnTo>
                      <a:pt x="1074" y="1368"/>
                    </a:lnTo>
                    <a:lnTo>
                      <a:pt x="1078" y="1369"/>
                    </a:lnTo>
                    <a:lnTo>
                      <a:pt x="1082" y="1370"/>
                    </a:lnTo>
                    <a:lnTo>
                      <a:pt x="1089" y="1371"/>
                    </a:lnTo>
                    <a:lnTo>
                      <a:pt x="1097" y="1374"/>
                    </a:lnTo>
                    <a:lnTo>
                      <a:pt x="1101" y="1375"/>
                    </a:lnTo>
                    <a:lnTo>
                      <a:pt x="1103" y="1378"/>
                    </a:lnTo>
                    <a:lnTo>
                      <a:pt x="1107" y="1381"/>
                    </a:lnTo>
                    <a:lnTo>
                      <a:pt x="1109" y="1384"/>
                    </a:lnTo>
                    <a:lnTo>
                      <a:pt x="1109" y="1388"/>
                    </a:lnTo>
                    <a:lnTo>
                      <a:pt x="1109" y="1391"/>
                    </a:lnTo>
                    <a:lnTo>
                      <a:pt x="1109" y="1396"/>
                    </a:lnTo>
                    <a:lnTo>
                      <a:pt x="1108" y="1400"/>
                    </a:lnTo>
                    <a:lnTo>
                      <a:pt x="1104" y="1409"/>
                    </a:lnTo>
                    <a:lnTo>
                      <a:pt x="1101" y="1418"/>
                    </a:lnTo>
                    <a:lnTo>
                      <a:pt x="1094" y="1434"/>
                    </a:lnTo>
                    <a:lnTo>
                      <a:pt x="1087" y="1448"/>
                    </a:lnTo>
                    <a:lnTo>
                      <a:pt x="1082" y="1456"/>
                    </a:lnTo>
                    <a:lnTo>
                      <a:pt x="1078" y="1462"/>
                    </a:lnTo>
                    <a:lnTo>
                      <a:pt x="1074" y="1466"/>
                    </a:lnTo>
                    <a:lnTo>
                      <a:pt x="1069" y="1470"/>
                    </a:lnTo>
                    <a:lnTo>
                      <a:pt x="1059" y="1475"/>
                    </a:lnTo>
                    <a:lnTo>
                      <a:pt x="1053" y="1478"/>
                    </a:lnTo>
                    <a:lnTo>
                      <a:pt x="1052" y="1481"/>
                    </a:lnTo>
                    <a:lnTo>
                      <a:pt x="1051" y="1486"/>
                    </a:lnTo>
                    <a:lnTo>
                      <a:pt x="1050" y="1497"/>
                    </a:lnTo>
                    <a:lnTo>
                      <a:pt x="1050" y="1511"/>
                    </a:lnTo>
                    <a:lnTo>
                      <a:pt x="1050" y="1516"/>
                    </a:lnTo>
                    <a:lnTo>
                      <a:pt x="1049" y="1521"/>
                    </a:lnTo>
                    <a:lnTo>
                      <a:pt x="1046" y="1525"/>
                    </a:lnTo>
                    <a:lnTo>
                      <a:pt x="1044" y="1527"/>
                    </a:lnTo>
                    <a:lnTo>
                      <a:pt x="1037" y="1530"/>
                    </a:lnTo>
                    <a:lnTo>
                      <a:pt x="1028" y="1532"/>
                    </a:lnTo>
                    <a:lnTo>
                      <a:pt x="1025" y="1533"/>
                    </a:lnTo>
                    <a:lnTo>
                      <a:pt x="1022" y="1535"/>
                    </a:lnTo>
                    <a:lnTo>
                      <a:pt x="1021" y="1536"/>
                    </a:lnTo>
                    <a:lnTo>
                      <a:pt x="1020" y="1539"/>
                    </a:lnTo>
                    <a:lnTo>
                      <a:pt x="1020" y="1545"/>
                    </a:lnTo>
                    <a:lnTo>
                      <a:pt x="1021" y="1551"/>
                    </a:lnTo>
                    <a:lnTo>
                      <a:pt x="1025" y="1555"/>
                    </a:lnTo>
                    <a:lnTo>
                      <a:pt x="1028" y="1561"/>
                    </a:lnTo>
                    <a:lnTo>
                      <a:pt x="1033" y="1565"/>
                    </a:lnTo>
                    <a:lnTo>
                      <a:pt x="1038" y="1567"/>
                    </a:lnTo>
                    <a:lnTo>
                      <a:pt x="1047" y="1570"/>
                    </a:lnTo>
                    <a:lnTo>
                      <a:pt x="1057" y="1574"/>
                    </a:lnTo>
                    <a:lnTo>
                      <a:pt x="1061" y="1578"/>
                    </a:lnTo>
                    <a:lnTo>
                      <a:pt x="1062" y="1580"/>
                    </a:lnTo>
                    <a:lnTo>
                      <a:pt x="1063" y="1583"/>
                    </a:lnTo>
                    <a:lnTo>
                      <a:pt x="1063" y="1586"/>
                    </a:lnTo>
                    <a:lnTo>
                      <a:pt x="1059" y="1591"/>
                    </a:lnTo>
                    <a:lnTo>
                      <a:pt x="1056" y="1597"/>
                    </a:lnTo>
                    <a:lnTo>
                      <a:pt x="1055" y="1604"/>
                    </a:lnTo>
                    <a:lnTo>
                      <a:pt x="1053" y="1612"/>
                    </a:lnTo>
                    <a:lnTo>
                      <a:pt x="1055" y="1621"/>
                    </a:lnTo>
                    <a:lnTo>
                      <a:pt x="1055" y="1628"/>
                    </a:lnTo>
                    <a:lnTo>
                      <a:pt x="1055" y="1630"/>
                    </a:lnTo>
                    <a:lnTo>
                      <a:pt x="1053" y="1633"/>
                    </a:lnTo>
                    <a:lnTo>
                      <a:pt x="1052" y="1634"/>
                    </a:lnTo>
                    <a:lnTo>
                      <a:pt x="1050" y="1635"/>
                    </a:lnTo>
                    <a:lnTo>
                      <a:pt x="1045" y="1634"/>
                    </a:lnTo>
                    <a:lnTo>
                      <a:pt x="1039" y="1631"/>
                    </a:lnTo>
                    <a:lnTo>
                      <a:pt x="1032" y="1628"/>
                    </a:lnTo>
                    <a:lnTo>
                      <a:pt x="1025" y="1624"/>
                    </a:lnTo>
                    <a:lnTo>
                      <a:pt x="1021" y="1623"/>
                    </a:lnTo>
                    <a:lnTo>
                      <a:pt x="1018" y="1623"/>
                    </a:lnTo>
                    <a:lnTo>
                      <a:pt x="1017" y="1626"/>
                    </a:lnTo>
                    <a:lnTo>
                      <a:pt x="1015" y="1629"/>
                    </a:lnTo>
                    <a:lnTo>
                      <a:pt x="1013" y="1637"/>
                    </a:lnTo>
                    <a:lnTo>
                      <a:pt x="1012" y="1643"/>
                    </a:lnTo>
                    <a:lnTo>
                      <a:pt x="1011" y="1647"/>
                    </a:lnTo>
                    <a:lnTo>
                      <a:pt x="1009" y="1652"/>
                    </a:lnTo>
                    <a:lnTo>
                      <a:pt x="1011" y="1653"/>
                    </a:lnTo>
                    <a:lnTo>
                      <a:pt x="1011" y="1655"/>
                    </a:lnTo>
                    <a:lnTo>
                      <a:pt x="1012" y="1656"/>
                    </a:lnTo>
                    <a:lnTo>
                      <a:pt x="1014" y="1656"/>
                    </a:lnTo>
                    <a:lnTo>
                      <a:pt x="1017" y="1658"/>
                    </a:lnTo>
                    <a:lnTo>
                      <a:pt x="1019" y="1659"/>
                    </a:lnTo>
                    <a:lnTo>
                      <a:pt x="1020" y="1661"/>
                    </a:lnTo>
                    <a:lnTo>
                      <a:pt x="1020" y="1664"/>
                    </a:lnTo>
                    <a:lnTo>
                      <a:pt x="1020" y="1667"/>
                    </a:lnTo>
                    <a:lnTo>
                      <a:pt x="1018" y="1671"/>
                    </a:lnTo>
                    <a:lnTo>
                      <a:pt x="1015" y="1674"/>
                    </a:lnTo>
                    <a:lnTo>
                      <a:pt x="1013" y="1678"/>
                    </a:lnTo>
                    <a:lnTo>
                      <a:pt x="1011" y="1683"/>
                    </a:lnTo>
                    <a:lnTo>
                      <a:pt x="1011" y="1689"/>
                    </a:lnTo>
                    <a:lnTo>
                      <a:pt x="1011" y="1696"/>
                    </a:lnTo>
                    <a:lnTo>
                      <a:pt x="1009" y="1704"/>
                    </a:lnTo>
                    <a:lnTo>
                      <a:pt x="1008" y="1712"/>
                    </a:lnTo>
                    <a:lnTo>
                      <a:pt x="1006" y="1717"/>
                    </a:lnTo>
                    <a:lnTo>
                      <a:pt x="1002" y="1722"/>
                    </a:lnTo>
                    <a:lnTo>
                      <a:pt x="998" y="1724"/>
                    </a:lnTo>
                    <a:lnTo>
                      <a:pt x="995" y="1724"/>
                    </a:lnTo>
                    <a:lnTo>
                      <a:pt x="993" y="1724"/>
                    </a:lnTo>
                    <a:lnTo>
                      <a:pt x="992" y="1723"/>
                    </a:lnTo>
                    <a:lnTo>
                      <a:pt x="989" y="1721"/>
                    </a:lnTo>
                    <a:lnTo>
                      <a:pt x="988" y="1715"/>
                    </a:lnTo>
                    <a:lnTo>
                      <a:pt x="988" y="1711"/>
                    </a:lnTo>
                    <a:lnTo>
                      <a:pt x="988" y="1709"/>
                    </a:lnTo>
                    <a:lnTo>
                      <a:pt x="987" y="1709"/>
                    </a:lnTo>
                    <a:lnTo>
                      <a:pt x="987" y="1709"/>
                    </a:lnTo>
                    <a:lnTo>
                      <a:pt x="986" y="1710"/>
                    </a:lnTo>
                    <a:lnTo>
                      <a:pt x="984" y="1718"/>
                    </a:lnTo>
                    <a:lnTo>
                      <a:pt x="984" y="173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广东"/>
              <p:cNvSpPr>
                <a:spLocks noEditPoint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880789" y="5155921"/>
                <a:ext cx="1091895" cy="841943"/>
              </a:xfrm>
              <a:custGeom>
                <a:avLst/>
                <a:gdLst>
                  <a:gd name="T0" fmla="*/ 1983 w 2993"/>
                  <a:gd name="T1" fmla="*/ 1253 h 2287"/>
                  <a:gd name="T2" fmla="*/ 2080 w 2993"/>
                  <a:gd name="T3" fmla="*/ 1133 h 2287"/>
                  <a:gd name="T4" fmla="*/ 2127 w 2993"/>
                  <a:gd name="T5" fmla="*/ 1209 h 2287"/>
                  <a:gd name="T6" fmla="*/ 2356 w 2993"/>
                  <a:gd name="T7" fmla="*/ 1181 h 2287"/>
                  <a:gd name="T8" fmla="*/ 2480 w 2993"/>
                  <a:gd name="T9" fmla="*/ 1152 h 2287"/>
                  <a:gd name="T10" fmla="*/ 2738 w 2993"/>
                  <a:gd name="T11" fmla="*/ 1021 h 2287"/>
                  <a:gd name="T12" fmla="*/ 2854 w 2993"/>
                  <a:gd name="T13" fmla="*/ 891 h 2287"/>
                  <a:gd name="T14" fmla="*/ 2844 w 2993"/>
                  <a:gd name="T15" fmla="*/ 848 h 2287"/>
                  <a:gd name="T16" fmla="*/ 2946 w 2993"/>
                  <a:gd name="T17" fmla="*/ 699 h 2287"/>
                  <a:gd name="T18" fmla="*/ 2872 w 2993"/>
                  <a:gd name="T19" fmla="*/ 454 h 2287"/>
                  <a:gd name="T20" fmla="*/ 2773 w 2993"/>
                  <a:gd name="T21" fmla="*/ 297 h 2287"/>
                  <a:gd name="T22" fmla="*/ 2603 w 2993"/>
                  <a:gd name="T23" fmla="*/ 246 h 2287"/>
                  <a:gd name="T24" fmla="*/ 2417 w 2993"/>
                  <a:gd name="T25" fmla="*/ 227 h 2287"/>
                  <a:gd name="T26" fmla="*/ 2342 w 2993"/>
                  <a:gd name="T27" fmla="*/ 335 h 2287"/>
                  <a:gd name="T28" fmla="*/ 2086 w 2993"/>
                  <a:gd name="T29" fmla="*/ 337 h 2287"/>
                  <a:gd name="T30" fmla="*/ 1904 w 2993"/>
                  <a:gd name="T31" fmla="*/ 415 h 2287"/>
                  <a:gd name="T32" fmla="*/ 1849 w 2993"/>
                  <a:gd name="T33" fmla="*/ 309 h 2287"/>
                  <a:gd name="T34" fmla="*/ 1992 w 2993"/>
                  <a:gd name="T35" fmla="*/ 90 h 2287"/>
                  <a:gd name="T36" fmla="*/ 1765 w 2993"/>
                  <a:gd name="T37" fmla="*/ 66 h 2287"/>
                  <a:gd name="T38" fmla="*/ 1610 w 2993"/>
                  <a:gd name="T39" fmla="*/ 65 h 2287"/>
                  <a:gd name="T40" fmla="*/ 1415 w 2993"/>
                  <a:gd name="T41" fmla="*/ 0 h 2287"/>
                  <a:gd name="T42" fmla="*/ 1315 w 2993"/>
                  <a:gd name="T43" fmla="*/ 121 h 2287"/>
                  <a:gd name="T44" fmla="*/ 1253 w 2993"/>
                  <a:gd name="T45" fmla="*/ 274 h 2287"/>
                  <a:gd name="T46" fmla="*/ 999 w 2993"/>
                  <a:gd name="T47" fmla="*/ 159 h 2287"/>
                  <a:gd name="T48" fmla="*/ 901 w 2993"/>
                  <a:gd name="T49" fmla="*/ 417 h 2287"/>
                  <a:gd name="T50" fmla="*/ 909 w 2993"/>
                  <a:gd name="T51" fmla="*/ 657 h 2287"/>
                  <a:gd name="T52" fmla="*/ 793 w 2993"/>
                  <a:gd name="T53" fmla="*/ 809 h 2287"/>
                  <a:gd name="T54" fmla="*/ 716 w 2993"/>
                  <a:gd name="T55" fmla="*/ 1086 h 2287"/>
                  <a:gd name="T56" fmla="*/ 506 w 2993"/>
                  <a:gd name="T57" fmla="*/ 1278 h 2287"/>
                  <a:gd name="T58" fmla="*/ 453 w 2993"/>
                  <a:gd name="T59" fmla="*/ 1412 h 2287"/>
                  <a:gd name="T60" fmla="*/ 285 w 2993"/>
                  <a:gd name="T61" fmla="*/ 1453 h 2287"/>
                  <a:gd name="T62" fmla="*/ 212 w 2993"/>
                  <a:gd name="T63" fmla="*/ 1574 h 2287"/>
                  <a:gd name="T64" fmla="*/ 40 w 2993"/>
                  <a:gd name="T65" fmla="*/ 1698 h 2287"/>
                  <a:gd name="T66" fmla="*/ 86 w 2993"/>
                  <a:gd name="T67" fmla="*/ 1807 h 2287"/>
                  <a:gd name="T68" fmla="*/ 27 w 2993"/>
                  <a:gd name="T69" fmla="*/ 2081 h 2287"/>
                  <a:gd name="T70" fmla="*/ 234 w 2993"/>
                  <a:gd name="T71" fmla="*/ 2275 h 2287"/>
                  <a:gd name="T72" fmla="*/ 285 w 2993"/>
                  <a:gd name="T73" fmla="*/ 2113 h 2287"/>
                  <a:gd name="T74" fmla="*/ 297 w 2993"/>
                  <a:gd name="T75" fmla="*/ 2077 h 2287"/>
                  <a:gd name="T76" fmla="*/ 266 w 2993"/>
                  <a:gd name="T77" fmla="*/ 1930 h 2287"/>
                  <a:gd name="T78" fmla="*/ 366 w 2993"/>
                  <a:gd name="T79" fmla="*/ 1948 h 2287"/>
                  <a:gd name="T80" fmla="*/ 325 w 2993"/>
                  <a:gd name="T81" fmla="*/ 1792 h 2287"/>
                  <a:gd name="T82" fmla="*/ 371 w 2993"/>
                  <a:gd name="T83" fmla="*/ 1847 h 2287"/>
                  <a:gd name="T84" fmla="*/ 403 w 2993"/>
                  <a:gd name="T85" fmla="*/ 1860 h 2287"/>
                  <a:gd name="T86" fmla="*/ 655 w 2993"/>
                  <a:gd name="T87" fmla="*/ 1746 h 2287"/>
                  <a:gd name="T88" fmla="*/ 742 w 2993"/>
                  <a:gd name="T89" fmla="*/ 1733 h 2287"/>
                  <a:gd name="T90" fmla="*/ 869 w 2993"/>
                  <a:gd name="T91" fmla="*/ 1660 h 2287"/>
                  <a:gd name="T92" fmla="*/ 898 w 2993"/>
                  <a:gd name="T93" fmla="*/ 1658 h 2287"/>
                  <a:gd name="T94" fmla="*/ 940 w 2993"/>
                  <a:gd name="T95" fmla="*/ 1669 h 2287"/>
                  <a:gd name="T96" fmla="*/ 965 w 2993"/>
                  <a:gd name="T97" fmla="*/ 1603 h 2287"/>
                  <a:gd name="T98" fmla="*/ 1103 w 2993"/>
                  <a:gd name="T99" fmla="*/ 1553 h 2287"/>
                  <a:gd name="T100" fmla="*/ 1131 w 2993"/>
                  <a:gd name="T101" fmla="*/ 1574 h 2287"/>
                  <a:gd name="T102" fmla="*/ 1322 w 2993"/>
                  <a:gd name="T103" fmla="*/ 1575 h 2287"/>
                  <a:gd name="T104" fmla="*/ 1375 w 2993"/>
                  <a:gd name="T105" fmla="*/ 1307 h 2287"/>
                  <a:gd name="T106" fmla="*/ 1511 w 2993"/>
                  <a:gd name="T107" fmla="*/ 1424 h 2287"/>
                  <a:gd name="T108" fmla="*/ 1551 w 2993"/>
                  <a:gd name="T109" fmla="*/ 1433 h 2287"/>
                  <a:gd name="T110" fmla="*/ 1591 w 2993"/>
                  <a:gd name="T111" fmla="*/ 1270 h 2287"/>
                  <a:gd name="T112" fmla="*/ 1587 w 2993"/>
                  <a:gd name="T113" fmla="*/ 1162 h 2287"/>
                  <a:gd name="T114" fmla="*/ 1594 w 2993"/>
                  <a:gd name="T115" fmla="*/ 1093 h 2287"/>
                  <a:gd name="T116" fmla="*/ 1723 w 2993"/>
                  <a:gd name="T117" fmla="*/ 1284 h 2287"/>
                  <a:gd name="T118" fmla="*/ 370 w 2993"/>
                  <a:gd name="T119" fmla="*/ 1998 h 2287"/>
                  <a:gd name="T120" fmla="*/ 1834 w 2993"/>
                  <a:gd name="T121" fmla="*/ 1500 h 2287"/>
                  <a:gd name="T122" fmla="*/ 1897 w 2993"/>
                  <a:gd name="T123" fmla="*/ 1471 h 2287"/>
                  <a:gd name="T124" fmla="*/ 2948 w 2993"/>
                  <a:gd name="T125" fmla="*/ 801 h 2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993" h="2287">
                    <a:moveTo>
                      <a:pt x="1852" y="1263"/>
                    </a:moveTo>
                    <a:lnTo>
                      <a:pt x="1853" y="1261"/>
                    </a:lnTo>
                    <a:lnTo>
                      <a:pt x="1854" y="1259"/>
                    </a:lnTo>
                    <a:lnTo>
                      <a:pt x="1858" y="1256"/>
                    </a:lnTo>
                    <a:lnTo>
                      <a:pt x="1863" y="1253"/>
                    </a:lnTo>
                    <a:lnTo>
                      <a:pt x="1875" y="1244"/>
                    </a:lnTo>
                    <a:lnTo>
                      <a:pt x="1890" y="1236"/>
                    </a:lnTo>
                    <a:lnTo>
                      <a:pt x="1895" y="1235"/>
                    </a:lnTo>
                    <a:lnTo>
                      <a:pt x="1901" y="1234"/>
                    </a:lnTo>
                    <a:lnTo>
                      <a:pt x="1906" y="1234"/>
                    </a:lnTo>
                    <a:lnTo>
                      <a:pt x="1910" y="1234"/>
                    </a:lnTo>
                    <a:lnTo>
                      <a:pt x="1922" y="1236"/>
                    </a:lnTo>
                    <a:lnTo>
                      <a:pt x="1937" y="1242"/>
                    </a:lnTo>
                    <a:lnTo>
                      <a:pt x="1944" y="1245"/>
                    </a:lnTo>
                    <a:lnTo>
                      <a:pt x="1948" y="1249"/>
                    </a:lnTo>
                    <a:lnTo>
                      <a:pt x="1951" y="1254"/>
                    </a:lnTo>
                    <a:lnTo>
                      <a:pt x="1953" y="1259"/>
                    </a:lnTo>
                    <a:lnTo>
                      <a:pt x="1956" y="1269"/>
                    </a:lnTo>
                    <a:lnTo>
                      <a:pt x="1956" y="1280"/>
                    </a:lnTo>
                    <a:lnTo>
                      <a:pt x="1957" y="1285"/>
                    </a:lnTo>
                    <a:lnTo>
                      <a:pt x="1958" y="1288"/>
                    </a:lnTo>
                    <a:lnTo>
                      <a:pt x="1959" y="1291"/>
                    </a:lnTo>
                    <a:lnTo>
                      <a:pt x="1961" y="1293"/>
                    </a:lnTo>
                    <a:lnTo>
                      <a:pt x="1964" y="1293"/>
                    </a:lnTo>
                    <a:lnTo>
                      <a:pt x="1966" y="1292"/>
                    </a:lnTo>
                    <a:lnTo>
                      <a:pt x="1970" y="1291"/>
                    </a:lnTo>
                    <a:lnTo>
                      <a:pt x="1973" y="1287"/>
                    </a:lnTo>
                    <a:lnTo>
                      <a:pt x="1990" y="1280"/>
                    </a:lnTo>
                    <a:lnTo>
                      <a:pt x="2003" y="1273"/>
                    </a:lnTo>
                    <a:lnTo>
                      <a:pt x="2003" y="1270"/>
                    </a:lnTo>
                    <a:lnTo>
                      <a:pt x="2003" y="1267"/>
                    </a:lnTo>
                    <a:lnTo>
                      <a:pt x="2002" y="1265"/>
                    </a:lnTo>
                    <a:lnTo>
                      <a:pt x="2001" y="1262"/>
                    </a:lnTo>
                    <a:lnTo>
                      <a:pt x="1996" y="1257"/>
                    </a:lnTo>
                    <a:lnTo>
                      <a:pt x="1989" y="1255"/>
                    </a:lnTo>
                    <a:lnTo>
                      <a:pt x="1983" y="1253"/>
                    </a:lnTo>
                    <a:lnTo>
                      <a:pt x="1978" y="1249"/>
                    </a:lnTo>
                    <a:lnTo>
                      <a:pt x="1977" y="1245"/>
                    </a:lnTo>
                    <a:lnTo>
                      <a:pt x="1977" y="1242"/>
                    </a:lnTo>
                    <a:lnTo>
                      <a:pt x="1978" y="1237"/>
                    </a:lnTo>
                    <a:lnTo>
                      <a:pt x="1980" y="1232"/>
                    </a:lnTo>
                    <a:lnTo>
                      <a:pt x="1985" y="1226"/>
                    </a:lnTo>
                    <a:lnTo>
                      <a:pt x="1990" y="1221"/>
                    </a:lnTo>
                    <a:lnTo>
                      <a:pt x="1990" y="1218"/>
                    </a:lnTo>
                    <a:lnTo>
                      <a:pt x="1989" y="1217"/>
                    </a:lnTo>
                    <a:lnTo>
                      <a:pt x="1986" y="1216"/>
                    </a:lnTo>
                    <a:lnTo>
                      <a:pt x="1983" y="1216"/>
                    </a:lnTo>
                    <a:lnTo>
                      <a:pt x="1975" y="1215"/>
                    </a:lnTo>
                    <a:lnTo>
                      <a:pt x="1967" y="1216"/>
                    </a:lnTo>
                    <a:lnTo>
                      <a:pt x="1964" y="1216"/>
                    </a:lnTo>
                    <a:lnTo>
                      <a:pt x="1961" y="1216"/>
                    </a:lnTo>
                    <a:lnTo>
                      <a:pt x="1960" y="1215"/>
                    </a:lnTo>
                    <a:lnTo>
                      <a:pt x="1958" y="1213"/>
                    </a:lnTo>
                    <a:lnTo>
                      <a:pt x="1957" y="1212"/>
                    </a:lnTo>
                    <a:lnTo>
                      <a:pt x="1957" y="1210"/>
                    </a:lnTo>
                    <a:lnTo>
                      <a:pt x="1957" y="1207"/>
                    </a:lnTo>
                    <a:lnTo>
                      <a:pt x="1957" y="1204"/>
                    </a:lnTo>
                    <a:lnTo>
                      <a:pt x="1959" y="1196"/>
                    </a:lnTo>
                    <a:lnTo>
                      <a:pt x="1964" y="1185"/>
                    </a:lnTo>
                    <a:lnTo>
                      <a:pt x="1967" y="1179"/>
                    </a:lnTo>
                    <a:lnTo>
                      <a:pt x="1971" y="1174"/>
                    </a:lnTo>
                    <a:lnTo>
                      <a:pt x="1976" y="1169"/>
                    </a:lnTo>
                    <a:lnTo>
                      <a:pt x="1982" y="1166"/>
                    </a:lnTo>
                    <a:lnTo>
                      <a:pt x="2002" y="1156"/>
                    </a:lnTo>
                    <a:lnTo>
                      <a:pt x="2028" y="1146"/>
                    </a:lnTo>
                    <a:lnTo>
                      <a:pt x="2052" y="1135"/>
                    </a:lnTo>
                    <a:lnTo>
                      <a:pt x="2066" y="1127"/>
                    </a:lnTo>
                    <a:lnTo>
                      <a:pt x="2070" y="1124"/>
                    </a:lnTo>
                    <a:lnTo>
                      <a:pt x="2073" y="1124"/>
                    </a:lnTo>
                    <a:lnTo>
                      <a:pt x="2077" y="1125"/>
                    </a:lnTo>
                    <a:lnTo>
                      <a:pt x="2079" y="1129"/>
                    </a:lnTo>
                    <a:lnTo>
                      <a:pt x="2080" y="1133"/>
                    </a:lnTo>
                    <a:lnTo>
                      <a:pt x="2082" y="1137"/>
                    </a:lnTo>
                    <a:lnTo>
                      <a:pt x="2082" y="1142"/>
                    </a:lnTo>
                    <a:lnTo>
                      <a:pt x="2079" y="1146"/>
                    </a:lnTo>
                    <a:lnTo>
                      <a:pt x="2064" y="1159"/>
                    </a:lnTo>
                    <a:lnTo>
                      <a:pt x="2052" y="1167"/>
                    </a:lnTo>
                    <a:lnTo>
                      <a:pt x="2051" y="1173"/>
                    </a:lnTo>
                    <a:lnTo>
                      <a:pt x="2052" y="1182"/>
                    </a:lnTo>
                    <a:lnTo>
                      <a:pt x="2053" y="1193"/>
                    </a:lnTo>
                    <a:lnTo>
                      <a:pt x="2053" y="1203"/>
                    </a:lnTo>
                    <a:lnTo>
                      <a:pt x="2053" y="1213"/>
                    </a:lnTo>
                    <a:lnTo>
                      <a:pt x="2054" y="1225"/>
                    </a:lnTo>
                    <a:lnTo>
                      <a:pt x="2055" y="1230"/>
                    </a:lnTo>
                    <a:lnTo>
                      <a:pt x="2058" y="1235"/>
                    </a:lnTo>
                    <a:lnTo>
                      <a:pt x="2059" y="1236"/>
                    </a:lnTo>
                    <a:lnTo>
                      <a:pt x="2061" y="1236"/>
                    </a:lnTo>
                    <a:lnTo>
                      <a:pt x="2063" y="1237"/>
                    </a:lnTo>
                    <a:lnTo>
                      <a:pt x="2065" y="1236"/>
                    </a:lnTo>
                    <a:lnTo>
                      <a:pt x="2076" y="1231"/>
                    </a:lnTo>
                    <a:lnTo>
                      <a:pt x="2089" y="1225"/>
                    </a:lnTo>
                    <a:lnTo>
                      <a:pt x="2095" y="1224"/>
                    </a:lnTo>
                    <a:lnTo>
                      <a:pt x="2101" y="1223"/>
                    </a:lnTo>
                    <a:lnTo>
                      <a:pt x="2102" y="1224"/>
                    </a:lnTo>
                    <a:lnTo>
                      <a:pt x="2104" y="1224"/>
                    </a:lnTo>
                    <a:lnTo>
                      <a:pt x="2105" y="1226"/>
                    </a:lnTo>
                    <a:lnTo>
                      <a:pt x="2108" y="1229"/>
                    </a:lnTo>
                    <a:lnTo>
                      <a:pt x="2111" y="1237"/>
                    </a:lnTo>
                    <a:lnTo>
                      <a:pt x="2115" y="1244"/>
                    </a:lnTo>
                    <a:lnTo>
                      <a:pt x="2117" y="1245"/>
                    </a:lnTo>
                    <a:lnTo>
                      <a:pt x="2118" y="1245"/>
                    </a:lnTo>
                    <a:lnTo>
                      <a:pt x="2120" y="1245"/>
                    </a:lnTo>
                    <a:lnTo>
                      <a:pt x="2122" y="1243"/>
                    </a:lnTo>
                    <a:lnTo>
                      <a:pt x="2123" y="1235"/>
                    </a:lnTo>
                    <a:lnTo>
                      <a:pt x="2123" y="1224"/>
                    </a:lnTo>
                    <a:lnTo>
                      <a:pt x="2123" y="1219"/>
                    </a:lnTo>
                    <a:lnTo>
                      <a:pt x="2124" y="1213"/>
                    </a:lnTo>
                    <a:lnTo>
                      <a:pt x="2127" y="1209"/>
                    </a:lnTo>
                    <a:lnTo>
                      <a:pt x="2130" y="1205"/>
                    </a:lnTo>
                    <a:lnTo>
                      <a:pt x="2134" y="1200"/>
                    </a:lnTo>
                    <a:lnTo>
                      <a:pt x="2141" y="1191"/>
                    </a:lnTo>
                    <a:lnTo>
                      <a:pt x="2149" y="1181"/>
                    </a:lnTo>
                    <a:lnTo>
                      <a:pt x="2158" y="1171"/>
                    </a:lnTo>
                    <a:lnTo>
                      <a:pt x="2161" y="1166"/>
                    </a:lnTo>
                    <a:lnTo>
                      <a:pt x="2164" y="1162"/>
                    </a:lnTo>
                    <a:lnTo>
                      <a:pt x="2165" y="1159"/>
                    </a:lnTo>
                    <a:lnTo>
                      <a:pt x="2165" y="1155"/>
                    </a:lnTo>
                    <a:lnTo>
                      <a:pt x="2165" y="1150"/>
                    </a:lnTo>
                    <a:lnTo>
                      <a:pt x="2165" y="1146"/>
                    </a:lnTo>
                    <a:lnTo>
                      <a:pt x="2166" y="1142"/>
                    </a:lnTo>
                    <a:lnTo>
                      <a:pt x="2168" y="1139"/>
                    </a:lnTo>
                    <a:lnTo>
                      <a:pt x="2171" y="1136"/>
                    </a:lnTo>
                    <a:lnTo>
                      <a:pt x="2174" y="1134"/>
                    </a:lnTo>
                    <a:lnTo>
                      <a:pt x="2179" y="1131"/>
                    </a:lnTo>
                    <a:lnTo>
                      <a:pt x="2184" y="1130"/>
                    </a:lnTo>
                    <a:lnTo>
                      <a:pt x="2194" y="1128"/>
                    </a:lnTo>
                    <a:lnTo>
                      <a:pt x="2206" y="1127"/>
                    </a:lnTo>
                    <a:lnTo>
                      <a:pt x="2219" y="1128"/>
                    </a:lnTo>
                    <a:lnTo>
                      <a:pt x="2233" y="1129"/>
                    </a:lnTo>
                    <a:lnTo>
                      <a:pt x="2255" y="1131"/>
                    </a:lnTo>
                    <a:lnTo>
                      <a:pt x="2271" y="1135"/>
                    </a:lnTo>
                    <a:lnTo>
                      <a:pt x="2275" y="1137"/>
                    </a:lnTo>
                    <a:lnTo>
                      <a:pt x="2280" y="1139"/>
                    </a:lnTo>
                    <a:lnTo>
                      <a:pt x="2282" y="1141"/>
                    </a:lnTo>
                    <a:lnTo>
                      <a:pt x="2284" y="1143"/>
                    </a:lnTo>
                    <a:lnTo>
                      <a:pt x="2286" y="1154"/>
                    </a:lnTo>
                    <a:lnTo>
                      <a:pt x="2293" y="1167"/>
                    </a:lnTo>
                    <a:lnTo>
                      <a:pt x="2300" y="1169"/>
                    </a:lnTo>
                    <a:lnTo>
                      <a:pt x="2317" y="1172"/>
                    </a:lnTo>
                    <a:lnTo>
                      <a:pt x="2326" y="1173"/>
                    </a:lnTo>
                    <a:lnTo>
                      <a:pt x="2336" y="1174"/>
                    </a:lnTo>
                    <a:lnTo>
                      <a:pt x="2344" y="1177"/>
                    </a:lnTo>
                    <a:lnTo>
                      <a:pt x="2353" y="1179"/>
                    </a:lnTo>
                    <a:lnTo>
                      <a:pt x="2356" y="1181"/>
                    </a:lnTo>
                    <a:lnTo>
                      <a:pt x="2360" y="1182"/>
                    </a:lnTo>
                    <a:lnTo>
                      <a:pt x="2363" y="1184"/>
                    </a:lnTo>
                    <a:lnTo>
                      <a:pt x="2367" y="1184"/>
                    </a:lnTo>
                    <a:lnTo>
                      <a:pt x="2372" y="1182"/>
                    </a:lnTo>
                    <a:lnTo>
                      <a:pt x="2375" y="1180"/>
                    </a:lnTo>
                    <a:lnTo>
                      <a:pt x="2380" y="1177"/>
                    </a:lnTo>
                    <a:lnTo>
                      <a:pt x="2385" y="1172"/>
                    </a:lnTo>
                    <a:lnTo>
                      <a:pt x="2386" y="1169"/>
                    </a:lnTo>
                    <a:lnTo>
                      <a:pt x="2387" y="1166"/>
                    </a:lnTo>
                    <a:lnTo>
                      <a:pt x="2387" y="1163"/>
                    </a:lnTo>
                    <a:lnTo>
                      <a:pt x="2386" y="1160"/>
                    </a:lnTo>
                    <a:lnTo>
                      <a:pt x="2383" y="1155"/>
                    </a:lnTo>
                    <a:lnTo>
                      <a:pt x="2378" y="1149"/>
                    </a:lnTo>
                    <a:lnTo>
                      <a:pt x="2364" y="1139"/>
                    </a:lnTo>
                    <a:lnTo>
                      <a:pt x="2353" y="1129"/>
                    </a:lnTo>
                    <a:lnTo>
                      <a:pt x="2349" y="1123"/>
                    </a:lnTo>
                    <a:lnTo>
                      <a:pt x="2347" y="1118"/>
                    </a:lnTo>
                    <a:lnTo>
                      <a:pt x="2345" y="1114"/>
                    </a:lnTo>
                    <a:lnTo>
                      <a:pt x="2345" y="1109"/>
                    </a:lnTo>
                    <a:lnTo>
                      <a:pt x="2347" y="1102"/>
                    </a:lnTo>
                    <a:lnTo>
                      <a:pt x="2349" y="1095"/>
                    </a:lnTo>
                    <a:lnTo>
                      <a:pt x="2353" y="1090"/>
                    </a:lnTo>
                    <a:lnTo>
                      <a:pt x="2357" y="1085"/>
                    </a:lnTo>
                    <a:lnTo>
                      <a:pt x="2360" y="1084"/>
                    </a:lnTo>
                    <a:lnTo>
                      <a:pt x="2363" y="1083"/>
                    </a:lnTo>
                    <a:lnTo>
                      <a:pt x="2367" y="1083"/>
                    </a:lnTo>
                    <a:lnTo>
                      <a:pt x="2370" y="1084"/>
                    </a:lnTo>
                    <a:lnTo>
                      <a:pt x="2388" y="1097"/>
                    </a:lnTo>
                    <a:lnTo>
                      <a:pt x="2416" y="1118"/>
                    </a:lnTo>
                    <a:lnTo>
                      <a:pt x="2430" y="1129"/>
                    </a:lnTo>
                    <a:lnTo>
                      <a:pt x="2444" y="1140"/>
                    </a:lnTo>
                    <a:lnTo>
                      <a:pt x="2458" y="1148"/>
                    </a:lnTo>
                    <a:lnTo>
                      <a:pt x="2471" y="1153"/>
                    </a:lnTo>
                    <a:lnTo>
                      <a:pt x="2475" y="1153"/>
                    </a:lnTo>
                    <a:lnTo>
                      <a:pt x="2477" y="1153"/>
                    </a:lnTo>
                    <a:lnTo>
                      <a:pt x="2480" y="1152"/>
                    </a:lnTo>
                    <a:lnTo>
                      <a:pt x="2482" y="1150"/>
                    </a:lnTo>
                    <a:lnTo>
                      <a:pt x="2487" y="1146"/>
                    </a:lnTo>
                    <a:lnTo>
                      <a:pt x="2490" y="1140"/>
                    </a:lnTo>
                    <a:lnTo>
                      <a:pt x="2498" y="1128"/>
                    </a:lnTo>
                    <a:lnTo>
                      <a:pt x="2500" y="1123"/>
                    </a:lnTo>
                    <a:lnTo>
                      <a:pt x="2515" y="1106"/>
                    </a:lnTo>
                    <a:lnTo>
                      <a:pt x="2529" y="1096"/>
                    </a:lnTo>
                    <a:lnTo>
                      <a:pt x="2539" y="1087"/>
                    </a:lnTo>
                    <a:lnTo>
                      <a:pt x="2546" y="1084"/>
                    </a:lnTo>
                    <a:lnTo>
                      <a:pt x="2552" y="1083"/>
                    </a:lnTo>
                    <a:lnTo>
                      <a:pt x="2558" y="1083"/>
                    </a:lnTo>
                    <a:lnTo>
                      <a:pt x="2576" y="1086"/>
                    </a:lnTo>
                    <a:lnTo>
                      <a:pt x="2590" y="1091"/>
                    </a:lnTo>
                    <a:lnTo>
                      <a:pt x="2594" y="1091"/>
                    </a:lnTo>
                    <a:lnTo>
                      <a:pt x="2597" y="1090"/>
                    </a:lnTo>
                    <a:lnTo>
                      <a:pt x="2600" y="1089"/>
                    </a:lnTo>
                    <a:lnTo>
                      <a:pt x="2602" y="1086"/>
                    </a:lnTo>
                    <a:lnTo>
                      <a:pt x="2607" y="1081"/>
                    </a:lnTo>
                    <a:lnTo>
                      <a:pt x="2611" y="1077"/>
                    </a:lnTo>
                    <a:lnTo>
                      <a:pt x="2619" y="1065"/>
                    </a:lnTo>
                    <a:lnTo>
                      <a:pt x="2633" y="1046"/>
                    </a:lnTo>
                    <a:lnTo>
                      <a:pt x="2641" y="1037"/>
                    </a:lnTo>
                    <a:lnTo>
                      <a:pt x="2650" y="1029"/>
                    </a:lnTo>
                    <a:lnTo>
                      <a:pt x="2657" y="1023"/>
                    </a:lnTo>
                    <a:lnTo>
                      <a:pt x="2663" y="1021"/>
                    </a:lnTo>
                    <a:lnTo>
                      <a:pt x="2666" y="1021"/>
                    </a:lnTo>
                    <a:lnTo>
                      <a:pt x="2671" y="1023"/>
                    </a:lnTo>
                    <a:lnTo>
                      <a:pt x="2676" y="1026"/>
                    </a:lnTo>
                    <a:lnTo>
                      <a:pt x="2681" y="1029"/>
                    </a:lnTo>
                    <a:lnTo>
                      <a:pt x="2688" y="1032"/>
                    </a:lnTo>
                    <a:lnTo>
                      <a:pt x="2695" y="1034"/>
                    </a:lnTo>
                    <a:lnTo>
                      <a:pt x="2703" y="1035"/>
                    </a:lnTo>
                    <a:lnTo>
                      <a:pt x="2714" y="1034"/>
                    </a:lnTo>
                    <a:lnTo>
                      <a:pt x="2721" y="1032"/>
                    </a:lnTo>
                    <a:lnTo>
                      <a:pt x="2729" y="1028"/>
                    </a:lnTo>
                    <a:lnTo>
                      <a:pt x="2738" y="1021"/>
                    </a:lnTo>
                    <a:lnTo>
                      <a:pt x="2746" y="1014"/>
                    </a:lnTo>
                    <a:lnTo>
                      <a:pt x="2762" y="999"/>
                    </a:lnTo>
                    <a:lnTo>
                      <a:pt x="2773" y="985"/>
                    </a:lnTo>
                    <a:lnTo>
                      <a:pt x="2775" y="983"/>
                    </a:lnTo>
                    <a:lnTo>
                      <a:pt x="2776" y="978"/>
                    </a:lnTo>
                    <a:lnTo>
                      <a:pt x="2776" y="973"/>
                    </a:lnTo>
                    <a:lnTo>
                      <a:pt x="2776" y="967"/>
                    </a:lnTo>
                    <a:lnTo>
                      <a:pt x="2775" y="954"/>
                    </a:lnTo>
                    <a:lnTo>
                      <a:pt x="2773" y="941"/>
                    </a:lnTo>
                    <a:lnTo>
                      <a:pt x="2772" y="928"/>
                    </a:lnTo>
                    <a:lnTo>
                      <a:pt x="2771" y="916"/>
                    </a:lnTo>
                    <a:lnTo>
                      <a:pt x="2771" y="911"/>
                    </a:lnTo>
                    <a:lnTo>
                      <a:pt x="2772" y="908"/>
                    </a:lnTo>
                    <a:lnTo>
                      <a:pt x="2773" y="906"/>
                    </a:lnTo>
                    <a:lnTo>
                      <a:pt x="2776" y="903"/>
                    </a:lnTo>
                    <a:lnTo>
                      <a:pt x="2779" y="903"/>
                    </a:lnTo>
                    <a:lnTo>
                      <a:pt x="2783" y="904"/>
                    </a:lnTo>
                    <a:lnTo>
                      <a:pt x="2785" y="908"/>
                    </a:lnTo>
                    <a:lnTo>
                      <a:pt x="2786" y="911"/>
                    </a:lnTo>
                    <a:lnTo>
                      <a:pt x="2790" y="921"/>
                    </a:lnTo>
                    <a:lnTo>
                      <a:pt x="2794" y="929"/>
                    </a:lnTo>
                    <a:lnTo>
                      <a:pt x="2795" y="931"/>
                    </a:lnTo>
                    <a:lnTo>
                      <a:pt x="2797" y="931"/>
                    </a:lnTo>
                    <a:lnTo>
                      <a:pt x="2801" y="931"/>
                    </a:lnTo>
                    <a:lnTo>
                      <a:pt x="2805" y="929"/>
                    </a:lnTo>
                    <a:lnTo>
                      <a:pt x="2815" y="927"/>
                    </a:lnTo>
                    <a:lnTo>
                      <a:pt x="2827" y="922"/>
                    </a:lnTo>
                    <a:lnTo>
                      <a:pt x="2847" y="913"/>
                    </a:lnTo>
                    <a:lnTo>
                      <a:pt x="2858" y="907"/>
                    </a:lnTo>
                    <a:lnTo>
                      <a:pt x="2861" y="903"/>
                    </a:lnTo>
                    <a:lnTo>
                      <a:pt x="2864" y="900"/>
                    </a:lnTo>
                    <a:lnTo>
                      <a:pt x="2864" y="897"/>
                    </a:lnTo>
                    <a:lnTo>
                      <a:pt x="2864" y="896"/>
                    </a:lnTo>
                    <a:lnTo>
                      <a:pt x="2861" y="895"/>
                    </a:lnTo>
                    <a:lnTo>
                      <a:pt x="2859" y="894"/>
                    </a:lnTo>
                    <a:lnTo>
                      <a:pt x="2854" y="891"/>
                    </a:lnTo>
                    <a:lnTo>
                      <a:pt x="2851" y="888"/>
                    </a:lnTo>
                    <a:lnTo>
                      <a:pt x="2848" y="883"/>
                    </a:lnTo>
                    <a:lnTo>
                      <a:pt x="2847" y="878"/>
                    </a:lnTo>
                    <a:lnTo>
                      <a:pt x="2846" y="876"/>
                    </a:lnTo>
                    <a:lnTo>
                      <a:pt x="2845" y="873"/>
                    </a:lnTo>
                    <a:lnTo>
                      <a:pt x="2842" y="872"/>
                    </a:lnTo>
                    <a:lnTo>
                      <a:pt x="2840" y="870"/>
                    </a:lnTo>
                    <a:lnTo>
                      <a:pt x="2834" y="869"/>
                    </a:lnTo>
                    <a:lnTo>
                      <a:pt x="2828" y="868"/>
                    </a:lnTo>
                    <a:lnTo>
                      <a:pt x="2819" y="869"/>
                    </a:lnTo>
                    <a:lnTo>
                      <a:pt x="2807" y="870"/>
                    </a:lnTo>
                    <a:lnTo>
                      <a:pt x="2794" y="871"/>
                    </a:lnTo>
                    <a:lnTo>
                      <a:pt x="2782" y="871"/>
                    </a:lnTo>
                    <a:lnTo>
                      <a:pt x="2777" y="871"/>
                    </a:lnTo>
                    <a:lnTo>
                      <a:pt x="2772" y="869"/>
                    </a:lnTo>
                    <a:lnTo>
                      <a:pt x="2767" y="865"/>
                    </a:lnTo>
                    <a:lnTo>
                      <a:pt x="2764" y="862"/>
                    </a:lnTo>
                    <a:lnTo>
                      <a:pt x="2760" y="857"/>
                    </a:lnTo>
                    <a:lnTo>
                      <a:pt x="2757" y="852"/>
                    </a:lnTo>
                    <a:lnTo>
                      <a:pt x="2754" y="847"/>
                    </a:lnTo>
                    <a:lnTo>
                      <a:pt x="2753" y="841"/>
                    </a:lnTo>
                    <a:lnTo>
                      <a:pt x="2753" y="837"/>
                    </a:lnTo>
                    <a:lnTo>
                      <a:pt x="2753" y="834"/>
                    </a:lnTo>
                    <a:lnTo>
                      <a:pt x="2754" y="832"/>
                    </a:lnTo>
                    <a:lnTo>
                      <a:pt x="2756" y="831"/>
                    </a:lnTo>
                    <a:lnTo>
                      <a:pt x="2759" y="832"/>
                    </a:lnTo>
                    <a:lnTo>
                      <a:pt x="2765" y="834"/>
                    </a:lnTo>
                    <a:lnTo>
                      <a:pt x="2773" y="839"/>
                    </a:lnTo>
                    <a:lnTo>
                      <a:pt x="2785" y="841"/>
                    </a:lnTo>
                    <a:lnTo>
                      <a:pt x="2797" y="844"/>
                    </a:lnTo>
                    <a:lnTo>
                      <a:pt x="2810" y="844"/>
                    </a:lnTo>
                    <a:lnTo>
                      <a:pt x="2821" y="845"/>
                    </a:lnTo>
                    <a:lnTo>
                      <a:pt x="2830" y="847"/>
                    </a:lnTo>
                    <a:lnTo>
                      <a:pt x="2835" y="848"/>
                    </a:lnTo>
                    <a:lnTo>
                      <a:pt x="2840" y="850"/>
                    </a:lnTo>
                    <a:lnTo>
                      <a:pt x="2844" y="848"/>
                    </a:lnTo>
                    <a:lnTo>
                      <a:pt x="2848" y="846"/>
                    </a:lnTo>
                    <a:lnTo>
                      <a:pt x="2857" y="838"/>
                    </a:lnTo>
                    <a:lnTo>
                      <a:pt x="2863" y="828"/>
                    </a:lnTo>
                    <a:lnTo>
                      <a:pt x="2868" y="819"/>
                    </a:lnTo>
                    <a:lnTo>
                      <a:pt x="2873" y="810"/>
                    </a:lnTo>
                    <a:lnTo>
                      <a:pt x="2878" y="802"/>
                    </a:lnTo>
                    <a:lnTo>
                      <a:pt x="2883" y="791"/>
                    </a:lnTo>
                    <a:lnTo>
                      <a:pt x="2885" y="780"/>
                    </a:lnTo>
                    <a:lnTo>
                      <a:pt x="2886" y="770"/>
                    </a:lnTo>
                    <a:lnTo>
                      <a:pt x="2885" y="758"/>
                    </a:lnTo>
                    <a:lnTo>
                      <a:pt x="2884" y="743"/>
                    </a:lnTo>
                    <a:lnTo>
                      <a:pt x="2884" y="737"/>
                    </a:lnTo>
                    <a:lnTo>
                      <a:pt x="2884" y="730"/>
                    </a:lnTo>
                    <a:lnTo>
                      <a:pt x="2886" y="725"/>
                    </a:lnTo>
                    <a:lnTo>
                      <a:pt x="2889" y="721"/>
                    </a:lnTo>
                    <a:lnTo>
                      <a:pt x="2892" y="720"/>
                    </a:lnTo>
                    <a:lnTo>
                      <a:pt x="2896" y="720"/>
                    </a:lnTo>
                    <a:lnTo>
                      <a:pt x="2899" y="720"/>
                    </a:lnTo>
                    <a:lnTo>
                      <a:pt x="2903" y="723"/>
                    </a:lnTo>
                    <a:lnTo>
                      <a:pt x="2910" y="726"/>
                    </a:lnTo>
                    <a:lnTo>
                      <a:pt x="2918" y="731"/>
                    </a:lnTo>
                    <a:lnTo>
                      <a:pt x="2929" y="728"/>
                    </a:lnTo>
                    <a:lnTo>
                      <a:pt x="2952" y="726"/>
                    </a:lnTo>
                    <a:lnTo>
                      <a:pt x="2965" y="728"/>
                    </a:lnTo>
                    <a:lnTo>
                      <a:pt x="2974" y="731"/>
                    </a:lnTo>
                    <a:lnTo>
                      <a:pt x="2978" y="731"/>
                    </a:lnTo>
                    <a:lnTo>
                      <a:pt x="2981" y="731"/>
                    </a:lnTo>
                    <a:lnTo>
                      <a:pt x="2983" y="728"/>
                    </a:lnTo>
                    <a:lnTo>
                      <a:pt x="2985" y="725"/>
                    </a:lnTo>
                    <a:lnTo>
                      <a:pt x="2984" y="721"/>
                    </a:lnTo>
                    <a:lnTo>
                      <a:pt x="2981" y="719"/>
                    </a:lnTo>
                    <a:lnTo>
                      <a:pt x="2977" y="717"/>
                    </a:lnTo>
                    <a:lnTo>
                      <a:pt x="2971" y="714"/>
                    </a:lnTo>
                    <a:lnTo>
                      <a:pt x="2960" y="709"/>
                    </a:lnTo>
                    <a:lnTo>
                      <a:pt x="2951" y="705"/>
                    </a:lnTo>
                    <a:lnTo>
                      <a:pt x="2946" y="699"/>
                    </a:lnTo>
                    <a:lnTo>
                      <a:pt x="2942" y="692"/>
                    </a:lnTo>
                    <a:lnTo>
                      <a:pt x="2940" y="684"/>
                    </a:lnTo>
                    <a:lnTo>
                      <a:pt x="2939" y="676"/>
                    </a:lnTo>
                    <a:lnTo>
                      <a:pt x="2936" y="668"/>
                    </a:lnTo>
                    <a:lnTo>
                      <a:pt x="2934" y="661"/>
                    </a:lnTo>
                    <a:lnTo>
                      <a:pt x="2930" y="652"/>
                    </a:lnTo>
                    <a:lnTo>
                      <a:pt x="2924" y="645"/>
                    </a:lnTo>
                    <a:lnTo>
                      <a:pt x="2914" y="631"/>
                    </a:lnTo>
                    <a:lnTo>
                      <a:pt x="2907" y="618"/>
                    </a:lnTo>
                    <a:lnTo>
                      <a:pt x="2904" y="611"/>
                    </a:lnTo>
                    <a:lnTo>
                      <a:pt x="2902" y="605"/>
                    </a:lnTo>
                    <a:lnTo>
                      <a:pt x="2901" y="599"/>
                    </a:lnTo>
                    <a:lnTo>
                      <a:pt x="2901" y="593"/>
                    </a:lnTo>
                    <a:lnTo>
                      <a:pt x="2899" y="582"/>
                    </a:lnTo>
                    <a:lnTo>
                      <a:pt x="2897" y="572"/>
                    </a:lnTo>
                    <a:lnTo>
                      <a:pt x="2893" y="563"/>
                    </a:lnTo>
                    <a:lnTo>
                      <a:pt x="2888" y="555"/>
                    </a:lnTo>
                    <a:lnTo>
                      <a:pt x="2885" y="550"/>
                    </a:lnTo>
                    <a:lnTo>
                      <a:pt x="2884" y="544"/>
                    </a:lnTo>
                    <a:lnTo>
                      <a:pt x="2883" y="539"/>
                    </a:lnTo>
                    <a:lnTo>
                      <a:pt x="2883" y="534"/>
                    </a:lnTo>
                    <a:lnTo>
                      <a:pt x="2884" y="528"/>
                    </a:lnTo>
                    <a:lnTo>
                      <a:pt x="2885" y="522"/>
                    </a:lnTo>
                    <a:lnTo>
                      <a:pt x="2889" y="516"/>
                    </a:lnTo>
                    <a:lnTo>
                      <a:pt x="2893" y="511"/>
                    </a:lnTo>
                    <a:lnTo>
                      <a:pt x="2898" y="506"/>
                    </a:lnTo>
                    <a:lnTo>
                      <a:pt x="2901" y="503"/>
                    </a:lnTo>
                    <a:lnTo>
                      <a:pt x="2902" y="498"/>
                    </a:lnTo>
                    <a:lnTo>
                      <a:pt x="2902" y="493"/>
                    </a:lnTo>
                    <a:lnTo>
                      <a:pt x="2901" y="490"/>
                    </a:lnTo>
                    <a:lnTo>
                      <a:pt x="2898" y="485"/>
                    </a:lnTo>
                    <a:lnTo>
                      <a:pt x="2895" y="481"/>
                    </a:lnTo>
                    <a:lnTo>
                      <a:pt x="2890" y="476"/>
                    </a:lnTo>
                    <a:lnTo>
                      <a:pt x="2882" y="468"/>
                    </a:lnTo>
                    <a:lnTo>
                      <a:pt x="2876" y="460"/>
                    </a:lnTo>
                    <a:lnTo>
                      <a:pt x="2872" y="454"/>
                    </a:lnTo>
                    <a:lnTo>
                      <a:pt x="2870" y="448"/>
                    </a:lnTo>
                    <a:lnTo>
                      <a:pt x="2868" y="442"/>
                    </a:lnTo>
                    <a:lnTo>
                      <a:pt x="2866" y="434"/>
                    </a:lnTo>
                    <a:lnTo>
                      <a:pt x="2864" y="421"/>
                    </a:lnTo>
                    <a:lnTo>
                      <a:pt x="2860" y="413"/>
                    </a:lnTo>
                    <a:lnTo>
                      <a:pt x="2855" y="410"/>
                    </a:lnTo>
                    <a:lnTo>
                      <a:pt x="2851" y="406"/>
                    </a:lnTo>
                    <a:lnTo>
                      <a:pt x="2847" y="404"/>
                    </a:lnTo>
                    <a:lnTo>
                      <a:pt x="2846" y="402"/>
                    </a:lnTo>
                    <a:lnTo>
                      <a:pt x="2844" y="398"/>
                    </a:lnTo>
                    <a:lnTo>
                      <a:pt x="2842" y="393"/>
                    </a:lnTo>
                    <a:lnTo>
                      <a:pt x="2841" y="385"/>
                    </a:lnTo>
                    <a:lnTo>
                      <a:pt x="2839" y="375"/>
                    </a:lnTo>
                    <a:lnTo>
                      <a:pt x="2836" y="368"/>
                    </a:lnTo>
                    <a:lnTo>
                      <a:pt x="2833" y="364"/>
                    </a:lnTo>
                    <a:lnTo>
                      <a:pt x="2828" y="361"/>
                    </a:lnTo>
                    <a:lnTo>
                      <a:pt x="2821" y="359"/>
                    </a:lnTo>
                    <a:lnTo>
                      <a:pt x="2817" y="358"/>
                    </a:lnTo>
                    <a:lnTo>
                      <a:pt x="2814" y="355"/>
                    </a:lnTo>
                    <a:lnTo>
                      <a:pt x="2813" y="352"/>
                    </a:lnTo>
                    <a:lnTo>
                      <a:pt x="2810" y="347"/>
                    </a:lnTo>
                    <a:lnTo>
                      <a:pt x="2809" y="342"/>
                    </a:lnTo>
                    <a:lnTo>
                      <a:pt x="2809" y="336"/>
                    </a:lnTo>
                    <a:lnTo>
                      <a:pt x="2810" y="330"/>
                    </a:lnTo>
                    <a:lnTo>
                      <a:pt x="2811" y="324"/>
                    </a:lnTo>
                    <a:lnTo>
                      <a:pt x="2815" y="312"/>
                    </a:lnTo>
                    <a:lnTo>
                      <a:pt x="2819" y="303"/>
                    </a:lnTo>
                    <a:lnTo>
                      <a:pt x="2820" y="296"/>
                    </a:lnTo>
                    <a:lnTo>
                      <a:pt x="2819" y="290"/>
                    </a:lnTo>
                    <a:lnTo>
                      <a:pt x="2817" y="289"/>
                    </a:lnTo>
                    <a:lnTo>
                      <a:pt x="2815" y="287"/>
                    </a:lnTo>
                    <a:lnTo>
                      <a:pt x="2811" y="287"/>
                    </a:lnTo>
                    <a:lnTo>
                      <a:pt x="2807" y="289"/>
                    </a:lnTo>
                    <a:lnTo>
                      <a:pt x="2797" y="291"/>
                    </a:lnTo>
                    <a:lnTo>
                      <a:pt x="2785" y="293"/>
                    </a:lnTo>
                    <a:lnTo>
                      <a:pt x="2773" y="297"/>
                    </a:lnTo>
                    <a:lnTo>
                      <a:pt x="2762" y="301"/>
                    </a:lnTo>
                    <a:lnTo>
                      <a:pt x="2750" y="305"/>
                    </a:lnTo>
                    <a:lnTo>
                      <a:pt x="2739" y="311"/>
                    </a:lnTo>
                    <a:lnTo>
                      <a:pt x="2732" y="316"/>
                    </a:lnTo>
                    <a:lnTo>
                      <a:pt x="2726" y="320"/>
                    </a:lnTo>
                    <a:lnTo>
                      <a:pt x="2721" y="321"/>
                    </a:lnTo>
                    <a:lnTo>
                      <a:pt x="2715" y="322"/>
                    </a:lnTo>
                    <a:lnTo>
                      <a:pt x="2710" y="322"/>
                    </a:lnTo>
                    <a:lnTo>
                      <a:pt x="2708" y="321"/>
                    </a:lnTo>
                    <a:lnTo>
                      <a:pt x="2706" y="318"/>
                    </a:lnTo>
                    <a:lnTo>
                      <a:pt x="2703" y="315"/>
                    </a:lnTo>
                    <a:lnTo>
                      <a:pt x="2701" y="308"/>
                    </a:lnTo>
                    <a:lnTo>
                      <a:pt x="2697" y="298"/>
                    </a:lnTo>
                    <a:lnTo>
                      <a:pt x="2695" y="289"/>
                    </a:lnTo>
                    <a:lnTo>
                      <a:pt x="2690" y="280"/>
                    </a:lnTo>
                    <a:lnTo>
                      <a:pt x="2683" y="272"/>
                    </a:lnTo>
                    <a:lnTo>
                      <a:pt x="2674" y="265"/>
                    </a:lnTo>
                    <a:lnTo>
                      <a:pt x="2663" y="258"/>
                    </a:lnTo>
                    <a:lnTo>
                      <a:pt x="2652" y="252"/>
                    </a:lnTo>
                    <a:lnTo>
                      <a:pt x="2649" y="248"/>
                    </a:lnTo>
                    <a:lnTo>
                      <a:pt x="2646" y="246"/>
                    </a:lnTo>
                    <a:lnTo>
                      <a:pt x="2645" y="244"/>
                    </a:lnTo>
                    <a:lnTo>
                      <a:pt x="2646" y="241"/>
                    </a:lnTo>
                    <a:lnTo>
                      <a:pt x="2656" y="232"/>
                    </a:lnTo>
                    <a:lnTo>
                      <a:pt x="2663" y="222"/>
                    </a:lnTo>
                    <a:lnTo>
                      <a:pt x="2664" y="220"/>
                    </a:lnTo>
                    <a:lnTo>
                      <a:pt x="2663" y="217"/>
                    </a:lnTo>
                    <a:lnTo>
                      <a:pt x="2662" y="216"/>
                    </a:lnTo>
                    <a:lnTo>
                      <a:pt x="2660" y="215"/>
                    </a:lnTo>
                    <a:lnTo>
                      <a:pt x="2655" y="217"/>
                    </a:lnTo>
                    <a:lnTo>
                      <a:pt x="2645" y="222"/>
                    </a:lnTo>
                    <a:lnTo>
                      <a:pt x="2631" y="238"/>
                    </a:lnTo>
                    <a:lnTo>
                      <a:pt x="2620" y="248"/>
                    </a:lnTo>
                    <a:lnTo>
                      <a:pt x="2614" y="249"/>
                    </a:lnTo>
                    <a:lnTo>
                      <a:pt x="2608" y="248"/>
                    </a:lnTo>
                    <a:lnTo>
                      <a:pt x="2603" y="246"/>
                    </a:lnTo>
                    <a:lnTo>
                      <a:pt x="2597" y="241"/>
                    </a:lnTo>
                    <a:lnTo>
                      <a:pt x="2593" y="235"/>
                    </a:lnTo>
                    <a:lnTo>
                      <a:pt x="2586" y="232"/>
                    </a:lnTo>
                    <a:lnTo>
                      <a:pt x="2577" y="229"/>
                    </a:lnTo>
                    <a:lnTo>
                      <a:pt x="2565" y="228"/>
                    </a:lnTo>
                    <a:lnTo>
                      <a:pt x="2551" y="229"/>
                    </a:lnTo>
                    <a:lnTo>
                      <a:pt x="2536" y="228"/>
                    </a:lnTo>
                    <a:lnTo>
                      <a:pt x="2530" y="228"/>
                    </a:lnTo>
                    <a:lnTo>
                      <a:pt x="2523" y="226"/>
                    </a:lnTo>
                    <a:lnTo>
                      <a:pt x="2517" y="224"/>
                    </a:lnTo>
                    <a:lnTo>
                      <a:pt x="2512" y="221"/>
                    </a:lnTo>
                    <a:lnTo>
                      <a:pt x="2504" y="214"/>
                    </a:lnTo>
                    <a:lnTo>
                      <a:pt x="2494" y="209"/>
                    </a:lnTo>
                    <a:lnTo>
                      <a:pt x="2483" y="205"/>
                    </a:lnTo>
                    <a:lnTo>
                      <a:pt x="2470" y="202"/>
                    </a:lnTo>
                    <a:lnTo>
                      <a:pt x="2463" y="198"/>
                    </a:lnTo>
                    <a:lnTo>
                      <a:pt x="2456" y="195"/>
                    </a:lnTo>
                    <a:lnTo>
                      <a:pt x="2452" y="195"/>
                    </a:lnTo>
                    <a:lnTo>
                      <a:pt x="2451" y="197"/>
                    </a:lnTo>
                    <a:lnTo>
                      <a:pt x="2450" y="202"/>
                    </a:lnTo>
                    <a:lnTo>
                      <a:pt x="2450" y="210"/>
                    </a:lnTo>
                    <a:lnTo>
                      <a:pt x="2450" y="215"/>
                    </a:lnTo>
                    <a:lnTo>
                      <a:pt x="2449" y="217"/>
                    </a:lnTo>
                    <a:lnTo>
                      <a:pt x="2449" y="220"/>
                    </a:lnTo>
                    <a:lnTo>
                      <a:pt x="2446" y="221"/>
                    </a:lnTo>
                    <a:lnTo>
                      <a:pt x="2445" y="221"/>
                    </a:lnTo>
                    <a:lnTo>
                      <a:pt x="2443" y="221"/>
                    </a:lnTo>
                    <a:lnTo>
                      <a:pt x="2442" y="220"/>
                    </a:lnTo>
                    <a:lnTo>
                      <a:pt x="2439" y="217"/>
                    </a:lnTo>
                    <a:lnTo>
                      <a:pt x="2437" y="215"/>
                    </a:lnTo>
                    <a:lnTo>
                      <a:pt x="2435" y="215"/>
                    </a:lnTo>
                    <a:lnTo>
                      <a:pt x="2431" y="215"/>
                    </a:lnTo>
                    <a:lnTo>
                      <a:pt x="2427" y="216"/>
                    </a:lnTo>
                    <a:lnTo>
                      <a:pt x="2424" y="219"/>
                    </a:lnTo>
                    <a:lnTo>
                      <a:pt x="2420" y="222"/>
                    </a:lnTo>
                    <a:lnTo>
                      <a:pt x="2417" y="227"/>
                    </a:lnTo>
                    <a:lnTo>
                      <a:pt x="2413" y="233"/>
                    </a:lnTo>
                    <a:lnTo>
                      <a:pt x="2407" y="248"/>
                    </a:lnTo>
                    <a:lnTo>
                      <a:pt x="2402" y="265"/>
                    </a:lnTo>
                    <a:lnTo>
                      <a:pt x="2399" y="279"/>
                    </a:lnTo>
                    <a:lnTo>
                      <a:pt x="2397" y="287"/>
                    </a:lnTo>
                    <a:lnTo>
                      <a:pt x="2404" y="298"/>
                    </a:lnTo>
                    <a:lnTo>
                      <a:pt x="2407" y="308"/>
                    </a:lnTo>
                    <a:lnTo>
                      <a:pt x="2404" y="314"/>
                    </a:lnTo>
                    <a:lnTo>
                      <a:pt x="2402" y="320"/>
                    </a:lnTo>
                    <a:lnTo>
                      <a:pt x="2402" y="322"/>
                    </a:lnTo>
                    <a:lnTo>
                      <a:pt x="2404" y="324"/>
                    </a:lnTo>
                    <a:lnTo>
                      <a:pt x="2406" y="327"/>
                    </a:lnTo>
                    <a:lnTo>
                      <a:pt x="2411" y="329"/>
                    </a:lnTo>
                    <a:lnTo>
                      <a:pt x="2416" y="331"/>
                    </a:lnTo>
                    <a:lnTo>
                      <a:pt x="2420" y="335"/>
                    </a:lnTo>
                    <a:lnTo>
                      <a:pt x="2424" y="337"/>
                    </a:lnTo>
                    <a:lnTo>
                      <a:pt x="2426" y="341"/>
                    </a:lnTo>
                    <a:lnTo>
                      <a:pt x="2429" y="345"/>
                    </a:lnTo>
                    <a:lnTo>
                      <a:pt x="2430" y="348"/>
                    </a:lnTo>
                    <a:lnTo>
                      <a:pt x="2431" y="352"/>
                    </a:lnTo>
                    <a:lnTo>
                      <a:pt x="2431" y="355"/>
                    </a:lnTo>
                    <a:lnTo>
                      <a:pt x="2430" y="358"/>
                    </a:lnTo>
                    <a:lnTo>
                      <a:pt x="2429" y="360"/>
                    </a:lnTo>
                    <a:lnTo>
                      <a:pt x="2426" y="362"/>
                    </a:lnTo>
                    <a:lnTo>
                      <a:pt x="2424" y="364"/>
                    </a:lnTo>
                    <a:lnTo>
                      <a:pt x="2417" y="366"/>
                    </a:lnTo>
                    <a:lnTo>
                      <a:pt x="2408" y="366"/>
                    </a:lnTo>
                    <a:lnTo>
                      <a:pt x="2400" y="366"/>
                    </a:lnTo>
                    <a:lnTo>
                      <a:pt x="2393" y="365"/>
                    </a:lnTo>
                    <a:lnTo>
                      <a:pt x="2386" y="361"/>
                    </a:lnTo>
                    <a:lnTo>
                      <a:pt x="2380" y="356"/>
                    </a:lnTo>
                    <a:lnTo>
                      <a:pt x="2373" y="350"/>
                    </a:lnTo>
                    <a:lnTo>
                      <a:pt x="2363" y="345"/>
                    </a:lnTo>
                    <a:lnTo>
                      <a:pt x="2355" y="340"/>
                    </a:lnTo>
                    <a:lnTo>
                      <a:pt x="2348" y="337"/>
                    </a:lnTo>
                    <a:lnTo>
                      <a:pt x="2342" y="335"/>
                    </a:lnTo>
                    <a:lnTo>
                      <a:pt x="2335" y="328"/>
                    </a:lnTo>
                    <a:lnTo>
                      <a:pt x="2328" y="320"/>
                    </a:lnTo>
                    <a:lnTo>
                      <a:pt x="2320" y="310"/>
                    </a:lnTo>
                    <a:lnTo>
                      <a:pt x="2313" y="301"/>
                    </a:lnTo>
                    <a:lnTo>
                      <a:pt x="2305" y="291"/>
                    </a:lnTo>
                    <a:lnTo>
                      <a:pt x="2297" y="283"/>
                    </a:lnTo>
                    <a:lnTo>
                      <a:pt x="2288" y="278"/>
                    </a:lnTo>
                    <a:lnTo>
                      <a:pt x="2280" y="276"/>
                    </a:lnTo>
                    <a:lnTo>
                      <a:pt x="2269" y="274"/>
                    </a:lnTo>
                    <a:lnTo>
                      <a:pt x="2265" y="276"/>
                    </a:lnTo>
                    <a:lnTo>
                      <a:pt x="2260" y="277"/>
                    </a:lnTo>
                    <a:lnTo>
                      <a:pt x="2255" y="278"/>
                    </a:lnTo>
                    <a:lnTo>
                      <a:pt x="2252" y="282"/>
                    </a:lnTo>
                    <a:lnTo>
                      <a:pt x="2246" y="287"/>
                    </a:lnTo>
                    <a:lnTo>
                      <a:pt x="2241" y="291"/>
                    </a:lnTo>
                    <a:lnTo>
                      <a:pt x="2236" y="293"/>
                    </a:lnTo>
                    <a:lnTo>
                      <a:pt x="2229" y="293"/>
                    </a:lnTo>
                    <a:lnTo>
                      <a:pt x="2222" y="293"/>
                    </a:lnTo>
                    <a:lnTo>
                      <a:pt x="2215" y="293"/>
                    </a:lnTo>
                    <a:lnTo>
                      <a:pt x="2209" y="296"/>
                    </a:lnTo>
                    <a:lnTo>
                      <a:pt x="2203" y="302"/>
                    </a:lnTo>
                    <a:lnTo>
                      <a:pt x="2194" y="310"/>
                    </a:lnTo>
                    <a:lnTo>
                      <a:pt x="2186" y="318"/>
                    </a:lnTo>
                    <a:lnTo>
                      <a:pt x="2181" y="322"/>
                    </a:lnTo>
                    <a:lnTo>
                      <a:pt x="2177" y="324"/>
                    </a:lnTo>
                    <a:lnTo>
                      <a:pt x="2171" y="326"/>
                    </a:lnTo>
                    <a:lnTo>
                      <a:pt x="2164" y="327"/>
                    </a:lnTo>
                    <a:lnTo>
                      <a:pt x="2150" y="327"/>
                    </a:lnTo>
                    <a:lnTo>
                      <a:pt x="2136" y="327"/>
                    </a:lnTo>
                    <a:lnTo>
                      <a:pt x="2123" y="327"/>
                    </a:lnTo>
                    <a:lnTo>
                      <a:pt x="2111" y="327"/>
                    </a:lnTo>
                    <a:lnTo>
                      <a:pt x="2105" y="328"/>
                    </a:lnTo>
                    <a:lnTo>
                      <a:pt x="2099" y="329"/>
                    </a:lnTo>
                    <a:lnTo>
                      <a:pt x="2095" y="331"/>
                    </a:lnTo>
                    <a:lnTo>
                      <a:pt x="2090" y="334"/>
                    </a:lnTo>
                    <a:lnTo>
                      <a:pt x="2086" y="337"/>
                    </a:lnTo>
                    <a:lnTo>
                      <a:pt x="2083" y="341"/>
                    </a:lnTo>
                    <a:lnTo>
                      <a:pt x="2079" y="346"/>
                    </a:lnTo>
                    <a:lnTo>
                      <a:pt x="2077" y="350"/>
                    </a:lnTo>
                    <a:lnTo>
                      <a:pt x="2073" y="359"/>
                    </a:lnTo>
                    <a:lnTo>
                      <a:pt x="2071" y="366"/>
                    </a:lnTo>
                    <a:lnTo>
                      <a:pt x="2070" y="371"/>
                    </a:lnTo>
                    <a:lnTo>
                      <a:pt x="2066" y="374"/>
                    </a:lnTo>
                    <a:lnTo>
                      <a:pt x="2064" y="375"/>
                    </a:lnTo>
                    <a:lnTo>
                      <a:pt x="2060" y="374"/>
                    </a:lnTo>
                    <a:lnTo>
                      <a:pt x="2057" y="373"/>
                    </a:lnTo>
                    <a:lnTo>
                      <a:pt x="2053" y="372"/>
                    </a:lnTo>
                    <a:lnTo>
                      <a:pt x="2045" y="367"/>
                    </a:lnTo>
                    <a:lnTo>
                      <a:pt x="2036" y="364"/>
                    </a:lnTo>
                    <a:lnTo>
                      <a:pt x="2028" y="361"/>
                    </a:lnTo>
                    <a:lnTo>
                      <a:pt x="2021" y="361"/>
                    </a:lnTo>
                    <a:lnTo>
                      <a:pt x="2019" y="362"/>
                    </a:lnTo>
                    <a:lnTo>
                      <a:pt x="2015" y="364"/>
                    </a:lnTo>
                    <a:lnTo>
                      <a:pt x="2014" y="366"/>
                    </a:lnTo>
                    <a:lnTo>
                      <a:pt x="2011" y="369"/>
                    </a:lnTo>
                    <a:lnTo>
                      <a:pt x="2008" y="381"/>
                    </a:lnTo>
                    <a:lnTo>
                      <a:pt x="2004" y="389"/>
                    </a:lnTo>
                    <a:lnTo>
                      <a:pt x="2001" y="391"/>
                    </a:lnTo>
                    <a:lnTo>
                      <a:pt x="1996" y="391"/>
                    </a:lnTo>
                    <a:lnTo>
                      <a:pt x="1992" y="390"/>
                    </a:lnTo>
                    <a:lnTo>
                      <a:pt x="1988" y="385"/>
                    </a:lnTo>
                    <a:lnTo>
                      <a:pt x="1985" y="383"/>
                    </a:lnTo>
                    <a:lnTo>
                      <a:pt x="1983" y="381"/>
                    </a:lnTo>
                    <a:lnTo>
                      <a:pt x="1979" y="381"/>
                    </a:lnTo>
                    <a:lnTo>
                      <a:pt x="1976" y="383"/>
                    </a:lnTo>
                    <a:lnTo>
                      <a:pt x="1967" y="385"/>
                    </a:lnTo>
                    <a:lnTo>
                      <a:pt x="1959" y="390"/>
                    </a:lnTo>
                    <a:lnTo>
                      <a:pt x="1948" y="394"/>
                    </a:lnTo>
                    <a:lnTo>
                      <a:pt x="1935" y="400"/>
                    </a:lnTo>
                    <a:lnTo>
                      <a:pt x="1922" y="406"/>
                    </a:lnTo>
                    <a:lnTo>
                      <a:pt x="1910" y="412"/>
                    </a:lnTo>
                    <a:lnTo>
                      <a:pt x="1904" y="415"/>
                    </a:lnTo>
                    <a:lnTo>
                      <a:pt x="1900" y="417"/>
                    </a:lnTo>
                    <a:lnTo>
                      <a:pt x="1895" y="417"/>
                    </a:lnTo>
                    <a:lnTo>
                      <a:pt x="1890" y="417"/>
                    </a:lnTo>
                    <a:lnTo>
                      <a:pt x="1887" y="416"/>
                    </a:lnTo>
                    <a:lnTo>
                      <a:pt x="1883" y="415"/>
                    </a:lnTo>
                    <a:lnTo>
                      <a:pt x="1881" y="412"/>
                    </a:lnTo>
                    <a:lnTo>
                      <a:pt x="1879" y="409"/>
                    </a:lnTo>
                    <a:lnTo>
                      <a:pt x="1877" y="402"/>
                    </a:lnTo>
                    <a:lnTo>
                      <a:pt x="1872" y="392"/>
                    </a:lnTo>
                    <a:lnTo>
                      <a:pt x="1870" y="387"/>
                    </a:lnTo>
                    <a:lnTo>
                      <a:pt x="1866" y="384"/>
                    </a:lnTo>
                    <a:lnTo>
                      <a:pt x="1863" y="381"/>
                    </a:lnTo>
                    <a:lnTo>
                      <a:pt x="1859" y="379"/>
                    </a:lnTo>
                    <a:lnTo>
                      <a:pt x="1850" y="378"/>
                    </a:lnTo>
                    <a:lnTo>
                      <a:pt x="1843" y="377"/>
                    </a:lnTo>
                    <a:lnTo>
                      <a:pt x="1839" y="377"/>
                    </a:lnTo>
                    <a:lnTo>
                      <a:pt x="1835" y="375"/>
                    </a:lnTo>
                    <a:lnTo>
                      <a:pt x="1833" y="373"/>
                    </a:lnTo>
                    <a:lnTo>
                      <a:pt x="1831" y="369"/>
                    </a:lnTo>
                    <a:lnTo>
                      <a:pt x="1827" y="364"/>
                    </a:lnTo>
                    <a:lnTo>
                      <a:pt x="1822" y="359"/>
                    </a:lnTo>
                    <a:lnTo>
                      <a:pt x="1818" y="356"/>
                    </a:lnTo>
                    <a:lnTo>
                      <a:pt x="1811" y="354"/>
                    </a:lnTo>
                    <a:lnTo>
                      <a:pt x="1805" y="353"/>
                    </a:lnTo>
                    <a:lnTo>
                      <a:pt x="1800" y="350"/>
                    </a:lnTo>
                    <a:lnTo>
                      <a:pt x="1797" y="348"/>
                    </a:lnTo>
                    <a:lnTo>
                      <a:pt x="1797" y="346"/>
                    </a:lnTo>
                    <a:lnTo>
                      <a:pt x="1797" y="343"/>
                    </a:lnTo>
                    <a:lnTo>
                      <a:pt x="1799" y="340"/>
                    </a:lnTo>
                    <a:lnTo>
                      <a:pt x="1801" y="336"/>
                    </a:lnTo>
                    <a:lnTo>
                      <a:pt x="1806" y="334"/>
                    </a:lnTo>
                    <a:lnTo>
                      <a:pt x="1811" y="331"/>
                    </a:lnTo>
                    <a:lnTo>
                      <a:pt x="1816" y="329"/>
                    </a:lnTo>
                    <a:lnTo>
                      <a:pt x="1830" y="324"/>
                    </a:lnTo>
                    <a:lnTo>
                      <a:pt x="1840" y="318"/>
                    </a:lnTo>
                    <a:lnTo>
                      <a:pt x="1849" y="309"/>
                    </a:lnTo>
                    <a:lnTo>
                      <a:pt x="1858" y="297"/>
                    </a:lnTo>
                    <a:lnTo>
                      <a:pt x="1865" y="285"/>
                    </a:lnTo>
                    <a:lnTo>
                      <a:pt x="1870" y="276"/>
                    </a:lnTo>
                    <a:lnTo>
                      <a:pt x="1871" y="266"/>
                    </a:lnTo>
                    <a:lnTo>
                      <a:pt x="1872" y="258"/>
                    </a:lnTo>
                    <a:lnTo>
                      <a:pt x="1871" y="248"/>
                    </a:lnTo>
                    <a:lnTo>
                      <a:pt x="1871" y="240"/>
                    </a:lnTo>
                    <a:lnTo>
                      <a:pt x="1870" y="233"/>
                    </a:lnTo>
                    <a:lnTo>
                      <a:pt x="1871" y="226"/>
                    </a:lnTo>
                    <a:lnTo>
                      <a:pt x="1874" y="221"/>
                    </a:lnTo>
                    <a:lnTo>
                      <a:pt x="1876" y="216"/>
                    </a:lnTo>
                    <a:lnTo>
                      <a:pt x="1881" y="211"/>
                    </a:lnTo>
                    <a:lnTo>
                      <a:pt x="1888" y="204"/>
                    </a:lnTo>
                    <a:lnTo>
                      <a:pt x="1901" y="191"/>
                    </a:lnTo>
                    <a:lnTo>
                      <a:pt x="1914" y="182"/>
                    </a:lnTo>
                    <a:lnTo>
                      <a:pt x="1926" y="173"/>
                    </a:lnTo>
                    <a:lnTo>
                      <a:pt x="1939" y="167"/>
                    </a:lnTo>
                    <a:lnTo>
                      <a:pt x="1953" y="161"/>
                    </a:lnTo>
                    <a:lnTo>
                      <a:pt x="1965" y="156"/>
                    </a:lnTo>
                    <a:lnTo>
                      <a:pt x="1977" y="148"/>
                    </a:lnTo>
                    <a:lnTo>
                      <a:pt x="1988" y="139"/>
                    </a:lnTo>
                    <a:lnTo>
                      <a:pt x="1991" y="134"/>
                    </a:lnTo>
                    <a:lnTo>
                      <a:pt x="1994" y="131"/>
                    </a:lnTo>
                    <a:lnTo>
                      <a:pt x="1995" y="127"/>
                    </a:lnTo>
                    <a:lnTo>
                      <a:pt x="1995" y="123"/>
                    </a:lnTo>
                    <a:lnTo>
                      <a:pt x="1994" y="121"/>
                    </a:lnTo>
                    <a:lnTo>
                      <a:pt x="1991" y="119"/>
                    </a:lnTo>
                    <a:lnTo>
                      <a:pt x="1989" y="118"/>
                    </a:lnTo>
                    <a:lnTo>
                      <a:pt x="1986" y="116"/>
                    </a:lnTo>
                    <a:lnTo>
                      <a:pt x="1984" y="115"/>
                    </a:lnTo>
                    <a:lnTo>
                      <a:pt x="1983" y="114"/>
                    </a:lnTo>
                    <a:lnTo>
                      <a:pt x="1982" y="112"/>
                    </a:lnTo>
                    <a:lnTo>
                      <a:pt x="1983" y="109"/>
                    </a:lnTo>
                    <a:lnTo>
                      <a:pt x="1985" y="103"/>
                    </a:lnTo>
                    <a:lnTo>
                      <a:pt x="1990" y="95"/>
                    </a:lnTo>
                    <a:lnTo>
                      <a:pt x="1992" y="90"/>
                    </a:lnTo>
                    <a:lnTo>
                      <a:pt x="1995" y="85"/>
                    </a:lnTo>
                    <a:lnTo>
                      <a:pt x="1996" y="81"/>
                    </a:lnTo>
                    <a:lnTo>
                      <a:pt x="1996" y="76"/>
                    </a:lnTo>
                    <a:lnTo>
                      <a:pt x="1996" y="71"/>
                    </a:lnTo>
                    <a:lnTo>
                      <a:pt x="1995" y="68"/>
                    </a:lnTo>
                    <a:lnTo>
                      <a:pt x="1992" y="64"/>
                    </a:lnTo>
                    <a:lnTo>
                      <a:pt x="1989" y="60"/>
                    </a:lnTo>
                    <a:lnTo>
                      <a:pt x="1978" y="55"/>
                    </a:lnTo>
                    <a:lnTo>
                      <a:pt x="1967" y="47"/>
                    </a:lnTo>
                    <a:lnTo>
                      <a:pt x="1956" y="40"/>
                    </a:lnTo>
                    <a:lnTo>
                      <a:pt x="1946" y="32"/>
                    </a:lnTo>
                    <a:lnTo>
                      <a:pt x="1937" y="25"/>
                    </a:lnTo>
                    <a:lnTo>
                      <a:pt x="1928" y="19"/>
                    </a:lnTo>
                    <a:lnTo>
                      <a:pt x="1923" y="16"/>
                    </a:lnTo>
                    <a:lnTo>
                      <a:pt x="1919" y="15"/>
                    </a:lnTo>
                    <a:lnTo>
                      <a:pt x="1915" y="14"/>
                    </a:lnTo>
                    <a:lnTo>
                      <a:pt x="1910" y="14"/>
                    </a:lnTo>
                    <a:lnTo>
                      <a:pt x="1906" y="14"/>
                    </a:lnTo>
                    <a:lnTo>
                      <a:pt x="1901" y="16"/>
                    </a:lnTo>
                    <a:lnTo>
                      <a:pt x="1897" y="19"/>
                    </a:lnTo>
                    <a:lnTo>
                      <a:pt x="1893" y="22"/>
                    </a:lnTo>
                    <a:lnTo>
                      <a:pt x="1884" y="31"/>
                    </a:lnTo>
                    <a:lnTo>
                      <a:pt x="1878" y="39"/>
                    </a:lnTo>
                    <a:lnTo>
                      <a:pt x="1871" y="47"/>
                    </a:lnTo>
                    <a:lnTo>
                      <a:pt x="1864" y="56"/>
                    </a:lnTo>
                    <a:lnTo>
                      <a:pt x="1854" y="62"/>
                    </a:lnTo>
                    <a:lnTo>
                      <a:pt x="1845" y="66"/>
                    </a:lnTo>
                    <a:lnTo>
                      <a:pt x="1835" y="69"/>
                    </a:lnTo>
                    <a:lnTo>
                      <a:pt x="1825" y="70"/>
                    </a:lnTo>
                    <a:lnTo>
                      <a:pt x="1813" y="70"/>
                    </a:lnTo>
                    <a:lnTo>
                      <a:pt x="1802" y="68"/>
                    </a:lnTo>
                    <a:lnTo>
                      <a:pt x="1791" y="66"/>
                    </a:lnTo>
                    <a:lnTo>
                      <a:pt x="1782" y="64"/>
                    </a:lnTo>
                    <a:lnTo>
                      <a:pt x="1777" y="64"/>
                    </a:lnTo>
                    <a:lnTo>
                      <a:pt x="1771" y="65"/>
                    </a:lnTo>
                    <a:lnTo>
                      <a:pt x="1765" y="66"/>
                    </a:lnTo>
                    <a:lnTo>
                      <a:pt x="1759" y="69"/>
                    </a:lnTo>
                    <a:lnTo>
                      <a:pt x="1749" y="76"/>
                    </a:lnTo>
                    <a:lnTo>
                      <a:pt x="1740" y="81"/>
                    </a:lnTo>
                    <a:lnTo>
                      <a:pt x="1734" y="84"/>
                    </a:lnTo>
                    <a:lnTo>
                      <a:pt x="1728" y="85"/>
                    </a:lnTo>
                    <a:lnTo>
                      <a:pt x="1726" y="84"/>
                    </a:lnTo>
                    <a:lnTo>
                      <a:pt x="1725" y="81"/>
                    </a:lnTo>
                    <a:lnTo>
                      <a:pt x="1725" y="76"/>
                    </a:lnTo>
                    <a:lnTo>
                      <a:pt x="1725" y="71"/>
                    </a:lnTo>
                    <a:lnTo>
                      <a:pt x="1726" y="58"/>
                    </a:lnTo>
                    <a:lnTo>
                      <a:pt x="1725" y="47"/>
                    </a:lnTo>
                    <a:lnTo>
                      <a:pt x="1720" y="38"/>
                    </a:lnTo>
                    <a:lnTo>
                      <a:pt x="1713" y="28"/>
                    </a:lnTo>
                    <a:lnTo>
                      <a:pt x="1706" y="20"/>
                    </a:lnTo>
                    <a:lnTo>
                      <a:pt x="1700" y="14"/>
                    </a:lnTo>
                    <a:lnTo>
                      <a:pt x="1696" y="12"/>
                    </a:lnTo>
                    <a:lnTo>
                      <a:pt x="1693" y="9"/>
                    </a:lnTo>
                    <a:lnTo>
                      <a:pt x="1688" y="7"/>
                    </a:lnTo>
                    <a:lnTo>
                      <a:pt x="1684" y="7"/>
                    </a:lnTo>
                    <a:lnTo>
                      <a:pt x="1681" y="8"/>
                    </a:lnTo>
                    <a:lnTo>
                      <a:pt x="1677" y="11"/>
                    </a:lnTo>
                    <a:lnTo>
                      <a:pt x="1674" y="13"/>
                    </a:lnTo>
                    <a:lnTo>
                      <a:pt x="1669" y="18"/>
                    </a:lnTo>
                    <a:lnTo>
                      <a:pt x="1665" y="25"/>
                    </a:lnTo>
                    <a:lnTo>
                      <a:pt x="1664" y="33"/>
                    </a:lnTo>
                    <a:lnTo>
                      <a:pt x="1662" y="44"/>
                    </a:lnTo>
                    <a:lnTo>
                      <a:pt x="1657" y="57"/>
                    </a:lnTo>
                    <a:lnTo>
                      <a:pt x="1654" y="63"/>
                    </a:lnTo>
                    <a:lnTo>
                      <a:pt x="1649" y="68"/>
                    </a:lnTo>
                    <a:lnTo>
                      <a:pt x="1643" y="70"/>
                    </a:lnTo>
                    <a:lnTo>
                      <a:pt x="1637" y="72"/>
                    </a:lnTo>
                    <a:lnTo>
                      <a:pt x="1630" y="72"/>
                    </a:lnTo>
                    <a:lnTo>
                      <a:pt x="1624" y="72"/>
                    </a:lnTo>
                    <a:lnTo>
                      <a:pt x="1619" y="70"/>
                    </a:lnTo>
                    <a:lnTo>
                      <a:pt x="1614" y="68"/>
                    </a:lnTo>
                    <a:lnTo>
                      <a:pt x="1610" y="65"/>
                    </a:lnTo>
                    <a:lnTo>
                      <a:pt x="1606" y="64"/>
                    </a:lnTo>
                    <a:lnTo>
                      <a:pt x="1600" y="64"/>
                    </a:lnTo>
                    <a:lnTo>
                      <a:pt x="1595" y="65"/>
                    </a:lnTo>
                    <a:lnTo>
                      <a:pt x="1586" y="69"/>
                    </a:lnTo>
                    <a:lnTo>
                      <a:pt x="1579" y="74"/>
                    </a:lnTo>
                    <a:lnTo>
                      <a:pt x="1574" y="75"/>
                    </a:lnTo>
                    <a:lnTo>
                      <a:pt x="1570" y="76"/>
                    </a:lnTo>
                    <a:lnTo>
                      <a:pt x="1566" y="77"/>
                    </a:lnTo>
                    <a:lnTo>
                      <a:pt x="1561" y="77"/>
                    </a:lnTo>
                    <a:lnTo>
                      <a:pt x="1556" y="76"/>
                    </a:lnTo>
                    <a:lnTo>
                      <a:pt x="1551" y="74"/>
                    </a:lnTo>
                    <a:lnTo>
                      <a:pt x="1548" y="71"/>
                    </a:lnTo>
                    <a:lnTo>
                      <a:pt x="1545" y="69"/>
                    </a:lnTo>
                    <a:lnTo>
                      <a:pt x="1542" y="66"/>
                    </a:lnTo>
                    <a:lnTo>
                      <a:pt x="1539" y="64"/>
                    </a:lnTo>
                    <a:lnTo>
                      <a:pt x="1537" y="63"/>
                    </a:lnTo>
                    <a:lnTo>
                      <a:pt x="1534" y="62"/>
                    </a:lnTo>
                    <a:lnTo>
                      <a:pt x="1524" y="62"/>
                    </a:lnTo>
                    <a:lnTo>
                      <a:pt x="1511" y="63"/>
                    </a:lnTo>
                    <a:lnTo>
                      <a:pt x="1504" y="63"/>
                    </a:lnTo>
                    <a:lnTo>
                      <a:pt x="1497" y="63"/>
                    </a:lnTo>
                    <a:lnTo>
                      <a:pt x="1492" y="62"/>
                    </a:lnTo>
                    <a:lnTo>
                      <a:pt x="1487" y="60"/>
                    </a:lnTo>
                    <a:lnTo>
                      <a:pt x="1478" y="56"/>
                    </a:lnTo>
                    <a:lnTo>
                      <a:pt x="1469" y="50"/>
                    </a:lnTo>
                    <a:lnTo>
                      <a:pt x="1460" y="43"/>
                    </a:lnTo>
                    <a:lnTo>
                      <a:pt x="1450" y="34"/>
                    </a:lnTo>
                    <a:lnTo>
                      <a:pt x="1447" y="30"/>
                    </a:lnTo>
                    <a:lnTo>
                      <a:pt x="1443" y="25"/>
                    </a:lnTo>
                    <a:lnTo>
                      <a:pt x="1441" y="19"/>
                    </a:lnTo>
                    <a:lnTo>
                      <a:pt x="1438" y="13"/>
                    </a:lnTo>
                    <a:lnTo>
                      <a:pt x="1436" y="8"/>
                    </a:lnTo>
                    <a:lnTo>
                      <a:pt x="1432" y="3"/>
                    </a:lnTo>
                    <a:lnTo>
                      <a:pt x="1429" y="1"/>
                    </a:lnTo>
                    <a:lnTo>
                      <a:pt x="1425" y="0"/>
                    </a:lnTo>
                    <a:lnTo>
                      <a:pt x="1415" y="0"/>
                    </a:lnTo>
                    <a:lnTo>
                      <a:pt x="1404" y="1"/>
                    </a:lnTo>
                    <a:lnTo>
                      <a:pt x="1393" y="2"/>
                    </a:lnTo>
                    <a:lnTo>
                      <a:pt x="1385" y="6"/>
                    </a:lnTo>
                    <a:lnTo>
                      <a:pt x="1377" y="9"/>
                    </a:lnTo>
                    <a:lnTo>
                      <a:pt x="1372" y="15"/>
                    </a:lnTo>
                    <a:lnTo>
                      <a:pt x="1366" y="24"/>
                    </a:lnTo>
                    <a:lnTo>
                      <a:pt x="1361" y="34"/>
                    </a:lnTo>
                    <a:lnTo>
                      <a:pt x="1355" y="47"/>
                    </a:lnTo>
                    <a:lnTo>
                      <a:pt x="1352" y="57"/>
                    </a:lnTo>
                    <a:lnTo>
                      <a:pt x="1349" y="60"/>
                    </a:lnTo>
                    <a:lnTo>
                      <a:pt x="1346" y="64"/>
                    </a:lnTo>
                    <a:lnTo>
                      <a:pt x="1342" y="65"/>
                    </a:lnTo>
                    <a:lnTo>
                      <a:pt x="1337" y="66"/>
                    </a:lnTo>
                    <a:lnTo>
                      <a:pt x="1328" y="68"/>
                    </a:lnTo>
                    <a:lnTo>
                      <a:pt x="1320" y="69"/>
                    </a:lnTo>
                    <a:lnTo>
                      <a:pt x="1302" y="81"/>
                    </a:lnTo>
                    <a:lnTo>
                      <a:pt x="1286" y="88"/>
                    </a:lnTo>
                    <a:lnTo>
                      <a:pt x="1279" y="87"/>
                    </a:lnTo>
                    <a:lnTo>
                      <a:pt x="1272" y="87"/>
                    </a:lnTo>
                    <a:lnTo>
                      <a:pt x="1268" y="87"/>
                    </a:lnTo>
                    <a:lnTo>
                      <a:pt x="1266" y="89"/>
                    </a:lnTo>
                    <a:lnTo>
                      <a:pt x="1264" y="91"/>
                    </a:lnTo>
                    <a:lnTo>
                      <a:pt x="1261" y="94"/>
                    </a:lnTo>
                    <a:lnTo>
                      <a:pt x="1261" y="97"/>
                    </a:lnTo>
                    <a:lnTo>
                      <a:pt x="1260" y="101"/>
                    </a:lnTo>
                    <a:lnTo>
                      <a:pt x="1261" y="106"/>
                    </a:lnTo>
                    <a:lnTo>
                      <a:pt x="1262" y="109"/>
                    </a:lnTo>
                    <a:lnTo>
                      <a:pt x="1265" y="113"/>
                    </a:lnTo>
                    <a:lnTo>
                      <a:pt x="1268" y="116"/>
                    </a:lnTo>
                    <a:lnTo>
                      <a:pt x="1273" y="120"/>
                    </a:lnTo>
                    <a:lnTo>
                      <a:pt x="1279" y="122"/>
                    </a:lnTo>
                    <a:lnTo>
                      <a:pt x="1286" y="123"/>
                    </a:lnTo>
                    <a:lnTo>
                      <a:pt x="1293" y="123"/>
                    </a:lnTo>
                    <a:lnTo>
                      <a:pt x="1301" y="123"/>
                    </a:lnTo>
                    <a:lnTo>
                      <a:pt x="1308" y="122"/>
                    </a:lnTo>
                    <a:lnTo>
                      <a:pt x="1315" y="121"/>
                    </a:lnTo>
                    <a:lnTo>
                      <a:pt x="1320" y="121"/>
                    </a:lnTo>
                    <a:lnTo>
                      <a:pt x="1324" y="121"/>
                    </a:lnTo>
                    <a:lnTo>
                      <a:pt x="1328" y="123"/>
                    </a:lnTo>
                    <a:lnTo>
                      <a:pt x="1330" y="127"/>
                    </a:lnTo>
                    <a:lnTo>
                      <a:pt x="1330" y="131"/>
                    </a:lnTo>
                    <a:lnTo>
                      <a:pt x="1330" y="133"/>
                    </a:lnTo>
                    <a:lnTo>
                      <a:pt x="1330" y="137"/>
                    </a:lnTo>
                    <a:lnTo>
                      <a:pt x="1327" y="141"/>
                    </a:lnTo>
                    <a:lnTo>
                      <a:pt x="1321" y="148"/>
                    </a:lnTo>
                    <a:lnTo>
                      <a:pt x="1318" y="153"/>
                    </a:lnTo>
                    <a:lnTo>
                      <a:pt x="1316" y="159"/>
                    </a:lnTo>
                    <a:lnTo>
                      <a:pt x="1316" y="166"/>
                    </a:lnTo>
                    <a:lnTo>
                      <a:pt x="1317" y="176"/>
                    </a:lnTo>
                    <a:lnTo>
                      <a:pt x="1320" y="194"/>
                    </a:lnTo>
                    <a:lnTo>
                      <a:pt x="1322" y="209"/>
                    </a:lnTo>
                    <a:lnTo>
                      <a:pt x="1325" y="222"/>
                    </a:lnTo>
                    <a:lnTo>
                      <a:pt x="1330" y="235"/>
                    </a:lnTo>
                    <a:lnTo>
                      <a:pt x="1335" y="247"/>
                    </a:lnTo>
                    <a:lnTo>
                      <a:pt x="1339" y="257"/>
                    </a:lnTo>
                    <a:lnTo>
                      <a:pt x="1339" y="261"/>
                    </a:lnTo>
                    <a:lnTo>
                      <a:pt x="1337" y="266"/>
                    </a:lnTo>
                    <a:lnTo>
                      <a:pt x="1335" y="268"/>
                    </a:lnTo>
                    <a:lnTo>
                      <a:pt x="1331" y="271"/>
                    </a:lnTo>
                    <a:lnTo>
                      <a:pt x="1328" y="272"/>
                    </a:lnTo>
                    <a:lnTo>
                      <a:pt x="1323" y="272"/>
                    </a:lnTo>
                    <a:lnTo>
                      <a:pt x="1318" y="271"/>
                    </a:lnTo>
                    <a:lnTo>
                      <a:pt x="1315" y="267"/>
                    </a:lnTo>
                    <a:lnTo>
                      <a:pt x="1311" y="264"/>
                    </a:lnTo>
                    <a:lnTo>
                      <a:pt x="1306" y="261"/>
                    </a:lnTo>
                    <a:lnTo>
                      <a:pt x="1301" y="261"/>
                    </a:lnTo>
                    <a:lnTo>
                      <a:pt x="1296" y="263"/>
                    </a:lnTo>
                    <a:lnTo>
                      <a:pt x="1282" y="266"/>
                    </a:lnTo>
                    <a:lnTo>
                      <a:pt x="1265" y="272"/>
                    </a:lnTo>
                    <a:lnTo>
                      <a:pt x="1260" y="273"/>
                    </a:lnTo>
                    <a:lnTo>
                      <a:pt x="1257" y="274"/>
                    </a:lnTo>
                    <a:lnTo>
                      <a:pt x="1253" y="274"/>
                    </a:lnTo>
                    <a:lnTo>
                      <a:pt x="1249" y="273"/>
                    </a:lnTo>
                    <a:lnTo>
                      <a:pt x="1245" y="270"/>
                    </a:lnTo>
                    <a:lnTo>
                      <a:pt x="1240" y="265"/>
                    </a:lnTo>
                    <a:lnTo>
                      <a:pt x="1233" y="252"/>
                    </a:lnTo>
                    <a:lnTo>
                      <a:pt x="1227" y="239"/>
                    </a:lnTo>
                    <a:lnTo>
                      <a:pt x="1221" y="228"/>
                    </a:lnTo>
                    <a:lnTo>
                      <a:pt x="1216" y="217"/>
                    </a:lnTo>
                    <a:lnTo>
                      <a:pt x="1213" y="205"/>
                    </a:lnTo>
                    <a:lnTo>
                      <a:pt x="1207" y="192"/>
                    </a:lnTo>
                    <a:lnTo>
                      <a:pt x="1203" y="186"/>
                    </a:lnTo>
                    <a:lnTo>
                      <a:pt x="1198" y="182"/>
                    </a:lnTo>
                    <a:lnTo>
                      <a:pt x="1192" y="178"/>
                    </a:lnTo>
                    <a:lnTo>
                      <a:pt x="1186" y="176"/>
                    </a:lnTo>
                    <a:lnTo>
                      <a:pt x="1171" y="173"/>
                    </a:lnTo>
                    <a:lnTo>
                      <a:pt x="1153" y="172"/>
                    </a:lnTo>
                    <a:lnTo>
                      <a:pt x="1145" y="164"/>
                    </a:lnTo>
                    <a:lnTo>
                      <a:pt x="1134" y="153"/>
                    </a:lnTo>
                    <a:lnTo>
                      <a:pt x="1117" y="163"/>
                    </a:lnTo>
                    <a:lnTo>
                      <a:pt x="1102" y="172"/>
                    </a:lnTo>
                    <a:lnTo>
                      <a:pt x="1096" y="161"/>
                    </a:lnTo>
                    <a:lnTo>
                      <a:pt x="1090" y="152"/>
                    </a:lnTo>
                    <a:lnTo>
                      <a:pt x="1087" y="152"/>
                    </a:lnTo>
                    <a:lnTo>
                      <a:pt x="1083" y="153"/>
                    </a:lnTo>
                    <a:lnTo>
                      <a:pt x="1077" y="156"/>
                    </a:lnTo>
                    <a:lnTo>
                      <a:pt x="1072" y="158"/>
                    </a:lnTo>
                    <a:lnTo>
                      <a:pt x="1068" y="161"/>
                    </a:lnTo>
                    <a:lnTo>
                      <a:pt x="1063" y="164"/>
                    </a:lnTo>
                    <a:lnTo>
                      <a:pt x="1058" y="165"/>
                    </a:lnTo>
                    <a:lnTo>
                      <a:pt x="1053" y="166"/>
                    </a:lnTo>
                    <a:lnTo>
                      <a:pt x="1043" y="163"/>
                    </a:lnTo>
                    <a:lnTo>
                      <a:pt x="1032" y="158"/>
                    </a:lnTo>
                    <a:lnTo>
                      <a:pt x="1016" y="156"/>
                    </a:lnTo>
                    <a:lnTo>
                      <a:pt x="1005" y="156"/>
                    </a:lnTo>
                    <a:lnTo>
                      <a:pt x="1002" y="156"/>
                    </a:lnTo>
                    <a:lnTo>
                      <a:pt x="1000" y="157"/>
                    </a:lnTo>
                    <a:lnTo>
                      <a:pt x="999" y="159"/>
                    </a:lnTo>
                    <a:lnTo>
                      <a:pt x="997" y="160"/>
                    </a:lnTo>
                    <a:lnTo>
                      <a:pt x="995" y="166"/>
                    </a:lnTo>
                    <a:lnTo>
                      <a:pt x="994" y="173"/>
                    </a:lnTo>
                    <a:lnTo>
                      <a:pt x="993" y="188"/>
                    </a:lnTo>
                    <a:lnTo>
                      <a:pt x="991" y="200"/>
                    </a:lnTo>
                    <a:lnTo>
                      <a:pt x="988" y="214"/>
                    </a:lnTo>
                    <a:lnTo>
                      <a:pt x="986" y="230"/>
                    </a:lnTo>
                    <a:lnTo>
                      <a:pt x="984" y="239"/>
                    </a:lnTo>
                    <a:lnTo>
                      <a:pt x="984" y="247"/>
                    </a:lnTo>
                    <a:lnTo>
                      <a:pt x="986" y="254"/>
                    </a:lnTo>
                    <a:lnTo>
                      <a:pt x="988" y="260"/>
                    </a:lnTo>
                    <a:lnTo>
                      <a:pt x="989" y="265"/>
                    </a:lnTo>
                    <a:lnTo>
                      <a:pt x="990" y="271"/>
                    </a:lnTo>
                    <a:lnTo>
                      <a:pt x="991" y="276"/>
                    </a:lnTo>
                    <a:lnTo>
                      <a:pt x="990" y="282"/>
                    </a:lnTo>
                    <a:lnTo>
                      <a:pt x="989" y="286"/>
                    </a:lnTo>
                    <a:lnTo>
                      <a:pt x="987" y="291"/>
                    </a:lnTo>
                    <a:lnTo>
                      <a:pt x="983" y="296"/>
                    </a:lnTo>
                    <a:lnTo>
                      <a:pt x="980" y="301"/>
                    </a:lnTo>
                    <a:lnTo>
                      <a:pt x="966" y="311"/>
                    </a:lnTo>
                    <a:lnTo>
                      <a:pt x="951" y="324"/>
                    </a:lnTo>
                    <a:lnTo>
                      <a:pt x="944" y="331"/>
                    </a:lnTo>
                    <a:lnTo>
                      <a:pt x="939" y="336"/>
                    </a:lnTo>
                    <a:lnTo>
                      <a:pt x="936" y="341"/>
                    </a:lnTo>
                    <a:lnTo>
                      <a:pt x="933" y="347"/>
                    </a:lnTo>
                    <a:lnTo>
                      <a:pt x="927" y="352"/>
                    </a:lnTo>
                    <a:lnTo>
                      <a:pt x="919" y="355"/>
                    </a:lnTo>
                    <a:lnTo>
                      <a:pt x="914" y="359"/>
                    </a:lnTo>
                    <a:lnTo>
                      <a:pt x="909" y="364"/>
                    </a:lnTo>
                    <a:lnTo>
                      <a:pt x="906" y="369"/>
                    </a:lnTo>
                    <a:lnTo>
                      <a:pt x="903" y="377"/>
                    </a:lnTo>
                    <a:lnTo>
                      <a:pt x="901" y="392"/>
                    </a:lnTo>
                    <a:lnTo>
                      <a:pt x="899" y="405"/>
                    </a:lnTo>
                    <a:lnTo>
                      <a:pt x="899" y="410"/>
                    </a:lnTo>
                    <a:lnTo>
                      <a:pt x="900" y="413"/>
                    </a:lnTo>
                    <a:lnTo>
                      <a:pt x="901" y="417"/>
                    </a:lnTo>
                    <a:lnTo>
                      <a:pt x="905" y="421"/>
                    </a:lnTo>
                    <a:lnTo>
                      <a:pt x="913" y="424"/>
                    </a:lnTo>
                    <a:lnTo>
                      <a:pt x="923" y="428"/>
                    </a:lnTo>
                    <a:lnTo>
                      <a:pt x="927" y="431"/>
                    </a:lnTo>
                    <a:lnTo>
                      <a:pt x="931" y="435"/>
                    </a:lnTo>
                    <a:lnTo>
                      <a:pt x="933" y="440"/>
                    </a:lnTo>
                    <a:lnTo>
                      <a:pt x="936" y="447"/>
                    </a:lnTo>
                    <a:lnTo>
                      <a:pt x="937" y="460"/>
                    </a:lnTo>
                    <a:lnTo>
                      <a:pt x="939" y="472"/>
                    </a:lnTo>
                    <a:lnTo>
                      <a:pt x="943" y="481"/>
                    </a:lnTo>
                    <a:lnTo>
                      <a:pt x="946" y="492"/>
                    </a:lnTo>
                    <a:lnTo>
                      <a:pt x="950" y="503"/>
                    </a:lnTo>
                    <a:lnTo>
                      <a:pt x="952" y="511"/>
                    </a:lnTo>
                    <a:lnTo>
                      <a:pt x="951" y="515"/>
                    </a:lnTo>
                    <a:lnTo>
                      <a:pt x="951" y="519"/>
                    </a:lnTo>
                    <a:lnTo>
                      <a:pt x="949" y="523"/>
                    </a:lnTo>
                    <a:lnTo>
                      <a:pt x="946" y="529"/>
                    </a:lnTo>
                    <a:lnTo>
                      <a:pt x="942" y="534"/>
                    </a:lnTo>
                    <a:lnTo>
                      <a:pt x="937" y="538"/>
                    </a:lnTo>
                    <a:lnTo>
                      <a:pt x="931" y="543"/>
                    </a:lnTo>
                    <a:lnTo>
                      <a:pt x="924" y="548"/>
                    </a:lnTo>
                    <a:lnTo>
                      <a:pt x="909" y="556"/>
                    </a:lnTo>
                    <a:lnTo>
                      <a:pt x="895" y="564"/>
                    </a:lnTo>
                    <a:lnTo>
                      <a:pt x="889" y="569"/>
                    </a:lnTo>
                    <a:lnTo>
                      <a:pt x="886" y="573"/>
                    </a:lnTo>
                    <a:lnTo>
                      <a:pt x="882" y="577"/>
                    </a:lnTo>
                    <a:lnTo>
                      <a:pt x="880" y="581"/>
                    </a:lnTo>
                    <a:lnTo>
                      <a:pt x="879" y="586"/>
                    </a:lnTo>
                    <a:lnTo>
                      <a:pt x="879" y="591"/>
                    </a:lnTo>
                    <a:lnTo>
                      <a:pt x="879" y="595"/>
                    </a:lnTo>
                    <a:lnTo>
                      <a:pt x="880" y="601"/>
                    </a:lnTo>
                    <a:lnTo>
                      <a:pt x="886" y="614"/>
                    </a:lnTo>
                    <a:lnTo>
                      <a:pt x="893" y="629"/>
                    </a:lnTo>
                    <a:lnTo>
                      <a:pt x="901" y="643"/>
                    </a:lnTo>
                    <a:lnTo>
                      <a:pt x="907" y="652"/>
                    </a:lnTo>
                    <a:lnTo>
                      <a:pt x="909" y="657"/>
                    </a:lnTo>
                    <a:lnTo>
                      <a:pt x="911" y="661"/>
                    </a:lnTo>
                    <a:lnTo>
                      <a:pt x="911" y="665"/>
                    </a:lnTo>
                    <a:lnTo>
                      <a:pt x="911" y="669"/>
                    </a:lnTo>
                    <a:lnTo>
                      <a:pt x="909" y="674"/>
                    </a:lnTo>
                    <a:lnTo>
                      <a:pt x="908" y="677"/>
                    </a:lnTo>
                    <a:lnTo>
                      <a:pt x="905" y="681"/>
                    </a:lnTo>
                    <a:lnTo>
                      <a:pt x="901" y="683"/>
                    </a:lnTo>
                    <a:lnTo>
                      <a:pt x="892" y="688"/>
                    </a:lnTo>
                    <a:lnTo>
                      <a:pt x="884" y="693"/>
                    </a:lnTo>
                    <a:lnTo>
                      <a:pt x="881" y="695"/>
                    </a:lnTo>
                    <a:lnTo>
                      <a:pt x="877" y="699"/>
                    </a:lnTo>
                    <a:lnTo>
                      <a:pt x="875" y="703"/>
                    </a:lnTo>
                    <a:lnTo>
                      <a:pt x="873" y="711"/>
                    </a:lnTo>
                    <a:lnTo>
                      <a:pt x="870" y="723"/>
                    </a:lnTo>
                    <a:lnTo>
                      <a:pt x="869" y="730"/>
                    </a:lnTo>
                    <a:lnTo>
                      <a:pt x="869" y="732"/>
                    </a:lnTo>
                    <a:lnTo>
                      <a:pt x="867" y="734"/>
                    </a:lnTo>
                    <a:lnTo>
                      <a:pt x="863" y="737"/>
                    </a:lnTo>
                    <a:lnTo>
                      <a:pt x="858" y="738"/>
                    </a:lnTo>
                    <a:lnTo>
                      <a:pt x="846" y="740"/>
                    </a:lnTo>
                    <a:lnTo>
                      <a:pt x="836" y="740"/>
                    </a:lnTo>
                    <a:lnTo>
                      <a:pt x="824" y="740"/>
                    </a:lnTo>
                    <a:lnTo>
                      <a:pt x="812" y="740"/>
                    </a:lnTo>
                    <a:lnTo>
                      <a:pt x="806" y="742"/>
                    </a:lnTo>
                    <a:lnTo>
                      <a:pt x="801" y="744"/>
                    </a:lnTo>
                    <a:lnTo>
                      <a:pt x="798" y="746"/>
                    </a:lnTo>
                    <a:lnTo>
                      <a:pt x="795" y="749"/>
                    </a:lnTo>
                    <a:lnTo>
                      <a:pt x="793" y="753"/>
                    </a:lnTo>
                    <a:lnTo>
                      <a:pt x="792" y="757"/>
                    </a:lnTo>
                    <a:lnTo>
                      <a:pt x="792" y="762"/>
                    </a:lnTo>
                    <a:lnTo>
                      <a:pt x="793" y="766"/>
                    </a:lnTo>
                    <a:lnTo>
                      <a:pt x="794" y="778"/>
                    </a:lnTo>
                    <a:lnTo>
                      <a:pt x="796" y="791"/>
                    </a:lnTo>
                    <a:lnTo>
                      <a:pt x="796" y="799"/>
                    </a:lnTo>
                    <a:lnTo>
                      <a:pt x="795" y="805"/>
                    </a:lnTo>
                    <a:lnTo>
                      <a:pt x="793" y="809"/>
                    </a:lnTo>
                    <a:lnTo>
                      <a:pt x="789" y="814"/>
                    </a:lnTo>
                    <a:lnTo>
                      <a:pt x="777" y="819"/>
                    </a:lnTo>
                    <a:lnTo>
                      <a:pt x="761" y="825"/>
                    </a:lnTo>
                    <a:lnTo>
                      <a:pt x="754" y="828"/>
                    </a:lnTo>
                    <a:lnTo>
                      <a:pt x="747" y="832"/>
                    </a:lnTo>
                    <a:lnTo>
                      <a:pt x="742" y="837"/>
                    </a:lnTo>
                    <a:lnTo>
                      <a:pt x="738" y="841"/>
                    </a:lnTo>
                    <a:lnTo>
                      <a:pt x="735" y="853"/>
                    </a:lnTo>
                    <a:lnTo>
                      <a:pt x="731" y="864"/>
                    </a:lnTo>
                    <a:lnTo>
                      <a:pt x="730" y="870"/>
                    </a:lnTo>
                    <a:lnTo>
                      <a:pt x="728" y="875"/>
                    </a:lnTo>
                    <a:lnTo>
                      <a:pt x="724" y="879"/>
                    </a:lnTo>
                    <a:lnTo>
                      <a:pt x="720" y="884"/>
                    </a:lnTo>
                    <a:lnTo>
                      <a:pt x="711" y="892"/>
                    </a:lnTo>
                    <a:lnTo>
                      <a:pt x="703" y="898"/>
                    </a:lnTo>
                    <a:lnTo>
                      <a:pt x="700" y="901"/>
                    </a:lnTo>
                    <a:lnTo>
                      <a:pt x="697" y="906"/>
                    </a:lnTo>
                    <a:lnTo>
                      <a:pt x="694" y="910"/>
                    </a:lnTo>
                    <a:lnTo>
                      <a:pt x="693" y="916"/>
                    </a:lnTo>
                    <a:lnTo>
                      <a:pt x="692" y="933"/>
                    </a:lnTo>
                    <a:lnTo>
                      <a:pt x="692" y="955"/>
                    </a:lnTo>
                    <a:lnTo>
                      <a:pt x="692" y="978"/>
                    </a:lnTo>
                    <a:lnTo>
                      <a:pt x="692" y="996"/>
                    </a:lnTo>
                    <a:lnTo>
                      <a:pt x="692" y="1010"/>
                    </a:lnTo>
                    <a:lnTo>
                      <a:pt x="692" y="1022"/>
                    </a:lnTo>
                    <a:lnTo>
                      <a:pt x="692" y="1033"/>
                    </a:lnTo>
                    <a:lnTo>
                      <a:pt x="692" y="1043"/>
                    </a:lnTo>
                    <a:lnTo>
                      <a:pt x="693" y="1053"/>
                    </a:lnTo>
                    <a:lnTo>
                      <a:pt x="695" y="1059"/>
                    </a:lnTo>
                    <a:lnTo>
                      <a:pt x="700" y="1062"/>
                    </a:lnTo>
                    <a:lnTo>
                      <a:pt x="706" y="1067"/>
                    </a:lnTo>
                    <a:lnTo>
                      <a:pt x="709" y="1070"/>
                    </a:lnTo>
                    <a:lnTo>
                      <a:pt x="711" y="1073"/>
                    </a:lnTo>
                    <a:lnTo>
                      <a:pt x="713" y="1077"/>
                    </a:lnTo>
                    <a:lnTo>
                      <a:pt x="714" y="1081"/>
                    </a:lnTo>
                    <a:lnTo>
                      <a:pt x="716" y="1086"/>
                    </a:lnTo>
                    <a:lnTo>
                      <a:pt x="716" y="1091"/>
                    </a:lnTo>
                    <a:lnTo>
                      <a:pt x="713" y="1096"/>
                    </a:lnTo>
                    <a:lnTo>
                      <a:pt x="711" y="1100"/>
                    </a:lnTo>
                    <a:lnTo>
                      <a:pt x="703" y="1114"/>
                    </a:lnTo>
                    <a:lnTo>
                      <a:pt x="691" y="1131"/>
                    </a:lnTo>
                    <a:lnTo>
                      <a:pt x="676" y="1152"/>
                    </a:lnTo>
                    <a:lnTo>
                      <a:pt x="661" y="1171"/>
                    </a:lnTo>
                    <a:lnTo>
                      <a:pt x="648" y="1186"/>
                    </a:lnTo>
                    <a:lnTo>
                      <a:pt x="638" y="1197"/>
                    </a:lnTo>
                    <a:lnTo>
                      <a:pt x="630" y="1205"/>
                    </a:lnTo>
                    <a:lnTo>
                      <a:pt x="622" y="1210"/>
                    </a:lnTo>
                    <a:lnTo>
                      <a:pt x="612" y="1212"/>
                    </a:lnTo>
                    <a:lnTo>
                      <a:pt x="602" y="1213"/>
                    </a:lnTo>
                    <a:lnTo>
                      <a:pt x="591" y="1215"/>
                    </a:lnTo>
                    <a:lnTo>
                      <a:pt x="583" y="1215"/>
                    </a:lnTo>
                    <a:lnTo>
                      <a:pt x="575" y="1216"/>
                    </a:lnTo>
                    <a:lnTo>
                      <a:pt x="572" y="1218"/>
                    </a:lnTo>
                    <a:lnTo>
                      <a:pt x="572" y="1219"/>
                    </a:lnTo>
                    <a:lnTo>
                      <a:pt x="572" y="1222"/>
                    </a:lnTo>
                    <a:lnTo>
                      <a:pt x="573" y="1225"/>
                    </a:lnTo>
                    <a:lnTo>
                      <a:pt x="575" y="1229"/>
                    </a:lnTo>
                    <a:lnTo>
                      <a:pt x="580" y="1236"/>
                    </a:lnTo>
                    <a:lnTo>
                      <a:pt x="584" y="1243"/>
                    </a:lnTo>
                    <a:lnTo>
                      <a:pt x="584" y="1245"/>
                    </a:lnTo>
                    <a:lnTo>
                      <a:pt x="583" y="1248"/>
                    </a:lnTo>
                    <a:lnTo>
                      <a:pt x="581" y="1250"/>
                    </a:lnTo>
                    <a:lnTo>
                      <a:pt x="579" y="1251"/>
                    </a:lnTo>
                    <a:lnTo>
                      <a:pt x="569" y="1253"/>
                    </a:lnTo>
                    <a:lnTo>
                      <a:pt x="556" y="1254"/>
                    </a:lnTo>
                    <a:lnTo>
                      <a:pt x="549" y="1254"/>
                    </a:lnTo>
                    <a:lnTo>
                      <a:pt x="542" y="1255"/>
                    </a:lnTo>
                    <a:lnTo>
                      <a:pt x="535" y="1257"/>
                    </a:lnTo>
                    <a:lnTo>
                      <a:pt x="529" y="1261"/>
                    </a:lnTo>
                    <a:lnTo>
                      <a:pt x="518" y="1268"/>
                    </a:lnTo>
                    <a:lnTo>
                      <a:pt x="510" y="1274"/>
                    </a:lnTo>
                    <a:lnTo>
                      <a:pt x="506" y="1278"/>
                    </a:lnTo>
                    <a:lnTo>
                      <a:pt x="502" y="1280"/>
                    </a:lnTo>
                    <a:lnTo>
                      <a:pt x="496" y="1281"/>
                    </a:lnTo>
                    <a:lnTo>
                      <a:pt x="487" y="1282"/>
                    </a:lnTo>
                    <a:lnTo>
                      <a:pt x="472" y="1284"/>
                    </a:lnTo>
                    <a:lnTo>
                      <a:pt x="460" y="1284"/>
                    </a:lnTo>
                    <a:lnTo>
                      <a:pt x="457" y="1284"/>
                    </a:lnTo>
                    <a:lnTo>
                      <a:pt x="453" y="1285"/>
                    </a:lnTo>
                    <a:lnTo>
                      <a:pt x="451" y="1287"/>
                    </a:lnTo>
                    <a:lnTo>
                      <a:pt x="451" y="1291"/>
                    </a:lnTo>
                    <a:lnTo>
                      <a:pt x="451" y="1300"/>
                    </a:lnTo>
                    <a:lnTo>
                      <a:pt x="452" y="1310"/>
                    </a:lnTo>
                    <a:lnTo>
                      <a:pt x="451" y="1318"/>
                    </a:lnTo>
                    <a:lnTo>
                      <a:pt x="449" y="1325"/>
                    </a:lnTo>
                    <a:lnTo>
                      <a:pt x="447" y="1326"/>
                    </a:lnTo>
                    <a:lnTo>
                      <a:pt x="446" y="1327"/>
                    </a:lnTo>
                    <a:lnTo>
                      <a:pt x="445" y="1327"/>
                    </a:lnTo>
                    <a:lnTo>
                      <a:pt x="442" y="1327"/>
                    </a:lnTo>
                    <a:lnTo>
                      <a:pt x="439" y="1326"/>
                    </a:lnTo>
                    <a:lnTo>
                      <a:pt x="433" y="1325"/>
                    </a:lnTo>
                    <a:lnTo>
                      <a:pt x="429" y="1325"/>
                    </a:lnTo>
                    <a:lnTo>
                      <a:pt x="427" y="1326"/>
                    </a:lnTo>
                    <a:lnTo>
                      <a:pt x="426" y="1329"/>
                    </a:lnTo>
                    <a:lnTo>
                      <a:pt x="424" y="1331"/>
                    </a:lnTo>
                    <a:lnTo>
                      <a:pt x="423" y="1337"/>
                    </a:lnTo>
                    <a:lnTo>
                      <a:pt x="426" y="1344"/>
                    </a:lnTo>
                    <a:lnTo>
                      <a:pt x="428" y="1354"/>
                    </a:lnTo>
                    <a:lnTo>
                      <a:pt x="433" y="1368"/>
                    </a:lnTo>
                    <a:lnTo>
                      <a:pt x="435" y="1375"/>
                    </a:lnTo>
                    <a:lnTo>
                      <a:pt x="437" y="1382"/>
                    </a:lnTo>
                    <a:lnTo>
                      <a:pt x="441" y="1388"/>
                    </a:lnTo>
                    <a:lnTo>
                      <a:pt x="443" y="1393"/>
                    </a:lnTo>
                    <a:lnTo>
                      <a:pt x="451" y="1399"/>
                    </a:lnTo>
                    <a:lnTo>
                      <a:pt x="454" y="1405"/>
                    </a:lnTo>
                    <a:lnTo>
                      <a:pt x="454" y="1407"/>
                    </a:lnTo>
                    <a:lnTo>
                      <a:pt x="454" y="1410"/>
                    </a:lnTo>
                    <a:lnTo>
                      <a:pt x="453" y="1412"/>
                    </a:lnTo>
                    <a:lnTo>
                      <a:pt x="449" y="1414"/>
                    </a:lnTo>
                    <a:lnTo>
                      <a:pt x="440" y="1417"/>
                    </a:lnTo>
                    <a:lnTo>
                      <a:pt x="430" y="1417"/>
                    </a:lnTo>
                    <a:lnTo>
                      <a:pt x="427" y="1418"/>
                    </a:lnTo>
                    <a:lnTo>
                      <a:pt x="422" y="1418"/>
                    </a:lnTo>
                    <a:lnTo>
                      <a:pt x="418" y="1420"/>
                    </a:lnTo>
                    <a:lnTo>
                      <a:pt x="415" y="1423"/>
                    </a:lnTo>
                    <a:lnTo>
                      <a:pt x="403" y="1439"/>
                    </a:lnTo>
                    <a:lnTo>
                      <a:pt x="395" y="1452"/>
                    </a:lnTo>
                    <a:lnTo>
                      <a:pt x="392" y="1455"/>
                    </a:lnTo>
                    <a:lnTo>
                      <a:pt x="390" y="1456"/>
                    </a:lnTo>
                    <a:lnTo>
                      <a:pt x="389" y="1457"/>
                    </a:lnTo>
                    <a:lnTo>
                      <a:pt x="386" y="1457"/>
                    </a:lnTo>
                    <a:lnTo>
                      <a:pt x="382" y="1456"/>
                    </a:lnTo>
                    <a:lnTo>
                      <a:pt x="377" y="1453"/>
                    </a:lnTo>
                    <a:lnTo>
                      <a:pt x="372" y="1450"/>
                    </a:lnTo>
                    <a:lnTo>
                      <a:pt x="367" y="1449"/>
                    </a:lnTo>
                    <a:lnTo>
                      <a:pt x="365" y="1449"/>
                    </a:lnTo>
                    <a:lnTo>
                      <a:pt x="364" y="1450"/>
                    </a:lnTo>
                    <a:lnTo>
                      <a:pt x="361" y="1451"/>
                    </a:lnTo>
                    <a:lnTo>
                      <a:pt x="359" y="1455"/>
                    </a:lnTo>
                    <a:lnTo>
                      <a:pt x="355" y="1462"/>
                    </a:lnTo>
                    <a:lnTo>
                      <a:pt x="352" y="1467"/>
                    </a:lnTo>
                    <a:lnTo>
                      <a:pt x="351" y="1468"/>
                    </a:lnTo>
                    <a:lnTo>
                      <a:pt x="348" y="1468"/>
                    </a:lnTo>
                    <a:lnTo>
                      <a:pt x="345" y="1467"/>
                    </a:lnTo>
                    <a:lnTo>
                      <a:pt x="341" y="1464"/>
                    </a:lnTo>
                    <a:lnTo>
                      <a:pt x="333" y="1458"/>
                    </a:lnTo>
                    <a:lnTo>
                      <a:pt x="323" y="1453"/>
                    </a:lnTo>
                    <a:lnTo>
                      <a:pt x="319" y="1451"/>
                    </a:lnTo>
                    <a:lnTo>
                      <a:pt x="313" y="1450"/>
                    </a:lnTo>
                    <a:lnTo>
                      <a:pt x="307" y="1449"/>
                    </a:lnTo>
                    <a:lnTo>
                      <a:pt x="301" y="1449"/>
                    </a:lnTo>
                    <a:lnTo>
                      <a:pt x="295" y="1450"/>
                    </a:lnTo>
                    <a:lnTo>
                      <a:pt x="289" y="1451"/>
                    </a:lnTo>
                    <a:lnTo>
                      <a:pt x="285" y="1453"/>
                    </a:lnTo>
                    <a:lnTo>
                      <a:pt x="282" y="1456"/>
                    </a:lnTo>
                    <a:lnTo>
                      <a:pt x="279" y="1458"/>
                    </a:lnTo>
                    <a:lnTo>
                      <a:pt x="278" y="1462"/>
                    </a:lnTo>
                    <a:lnTo>
                      <a:pt x="278" y="1467"/>
                    </a:lnTo>
                    <a:lnTo>
                      <a:pt x="278" y="1471"/>
                    </a:lnTo>
                    <a:lnTo>
                      <a:pt x="278" y="1482"/>
                    </a:lnTo>
                    <a:lnTo>
                      <a:pt x="279" y="1494"/>
                    </a:lnTo>
                    <a:lnTo>
                      <a:pt x="279" y="1505"/>
                    </a:lnTo>
                    <a:lnTo>
                      <a:pt x="279" y="1514"/>
                    </a:lnTo>
                    <a:lnTo>
                      <a:pt x="279" y="1524"/>
                    </a:lnTo>
                    <a:lnTo>
                      <a:pt x="281" y="1532"/>
                    </a:lnTo>
                    <a:lnTo>
                      <a:pt x="283" y="1539"/>
                    </a:lnTo>
                    <a:lnTo>
                      <a:pt x="288" y="1546"/>
                    </a:lnTo>
                    <a:lnTo>
                      <a:pt x="292" y="1552"/>
                    </a:lnTo>
                    <a:lnTo>
                      <a:pt x="295" y="1558"/>
                    </a:lnTo>
                    <a:lnTo>
                      <a:pt x="295" y="1565"/>
                    </a:lnTo>
                    <a:lnTo>
                      <a:pt x="295" y="1571"/>
                    </a:lnTo>
                    <a:lnTo>
                      <a:pt x="294" y="1575"/>
                    </a:lnTo>
                    <a:lnTo>
                      <a:pt x="291" y="1576"/>
                    </a:lnTo>
                    <a:lnTo>
                      <a:pt x="289" y="1576"/>
                    </a:lnTo>
                    <a:lnTo>
                      <a:pt x="285" y="1576"/>
                    </a:lnTo>
                    <a:lnTo>
                      <a:pt x="277" y="1572"/>
                    </a:lnTo>
                    <a:lnTo>
                      <a:pt x="271" y="1569"/>
                    </a:lnTo>
                    <a:lnTo>
                      <a:pt x="265" y="1565"/>
                    </a:lnTo>
                    <a:lnTo>
                      <a:pt x="259" y="1564"/>
                    </a:lnTo>
                    <a:lnTo>
                      <a:pt x="256" y="1565"/>
                    </a:lnTo>
                    <a:lnTo>
                      <a:pt x="252" y="1566"/>
                    </a:lnTo>
                    <a:lnTo>
                      <a:pt x="250" y="1568"/>
                    </a:lnTo>
                    <a:lnTo>
                      <a:pt x="247" y="1571"/>
                    </a:lnTo>
                    <a:lnTo>
                      <a:pt x="244" y="1574"/>
                    </a:lnTo>
                    <a:lnTo>
                      <a:pt x="241" y="1576"/>
                    </a:lnTo>
                    <a:lnTo>
                      <a:pt x="238" y="1577"/>
                    </a:lnTo>
                    <a:lnTo>
                      <a:pt x="233" y="1578"/>
                    </a:lnTo>
                    <a:lnTo>
                      <a:pt x="226" y="1578"/>
                    </a:lnTo>
                    <a:lnTo>
                      <a:pt x="219" y="1576"/>
                    </a:lnTo>
                    <a:lnTo>
                      <a:pt x="212" y="1574"/>
                    </a:lnTo>
                    <a:lnTo>
                      <a:pt x="205" y="1571"/>
                    </a:lnTo>
                    <a:lnTo>
                      <a:pt x="201" y="1570"/>
                    </a:lnTo>
                    <a:lnTo>
                      <a:pt x="197" y="1571"/>
                    </a:lnTo>
                    <a:lnTo>
                      <a:pt x="194" y="1572"/>
                    </a:lnTo>
                    <a:lnTo>
                      <a:pt x="190" y="1576"/>
                    </a:lnTo>
                    <a:lnTo>
                      <a:pt x="184" y="1583"/>
                    </a:lnTo>
                    <a:lnTo>
                      <a:pt x="180" y="1588"/>
                    </a:lnTo>
                    <a:lnTo>
                      <a:pt x="177" y="1590"/>
                    </a:lnTo>
                    <a:lnTo>
                      <a:pt x="174" y="1591"/>
                    </a:lnTo>
                    <a:lnTo>
                      <a:pt x="170" y="1591"/>
                    </a:lnTo>
                    <a:lnTo>
                      <a:pt x="165" y="1591"/>
                    </a:lnTo>
                    <a:lnTo>
                      <a:pt x="153" y="1589"/>
                    </a:lnTo>
                    <a:lnTo>
                      <a:pt x="144" y="1587"/>
                    </a:lnTo>
                    <a:lnTo>
                      <a:pt x="139" y="1587"/>
                    </a:lnTo>
                    <a:lnTo>
                      <a:pt x="134" y="1588"/>
                    </a:lnTo>
                    <a:lnTo>
                      <a:pt x="131" y="1589"/>
                    </a:lnTo>
                    <a:lnTo>
                      <a:pt x="127" y="1593"/>
                    </a:lnTo>
                    <a:lnTo>
                      <a:pt x="124" y="1598"/>
                    </a:lnTo>
                    <a:lnTo>
                      <a:pt x="121" y="1603"/>
                    </a:lnTo>
                    <a:lnTo>
                      <a:pt x="119" y="1609"/>
                    </a:lnTo>
                    <a:lnTo>
                      <a:pt x="118" y="1616"/>
                    </a:lnTo>
                    <a:lnTo>
                      <a:pt x="114" y="1628"/>
                    </a:lnTo>
                    <a:lnTo>
                      <a:pt x="112" y="1640"/>
                    </a:lnTo>
                    <a:lnTo>
                      <a:pt x="109" y="1650"/>
                    </a:lnTo>
                    <a:lnTo>
                      <a:pt x="105" y="1659"/>
                    </a:lnTo>
                    <a:lnTo>
                      <a:pt x="100" y="1667"/>
                    </a:lnTo>
                    <a:lnTo>
                      <a:pt x="94" y="1675"/>
                    </a:lnTo>
                    <a:lnTo>
                      <a:pt x="89" y="1677"/>
                    </a:lnTo>
                    <a:lnTo>
                      <a:pt x="86" y="1679"/>
                    </a:lnTo>
                    <a:lnTo>
                      <a:pt x="81" y="1681"/>
                    </a:lnTo>
                    <a:lnTo>
                      <a:pt x="76" y="1683"/>
                    </a:lnTo>
                    <a:lnTo>
                      <a:pt x="65" y="1684"/>
                    </a:lnTo>
                    <a:lnTo>
                      <a:pt x="56" y="1688"/>
                    </a:lnTo>
                    <a:lnTo>
                      <a:pt x="51" y="1690"/>
                    </a:lnTo>
                    <a:lnTo>
                      <a:pt x="45" y="1694"/>
                    </a:lnTo>
                    <a:lnTo>
                      <a:pt x="40" y="1698"/>
                    </a:lnTo>
                    <a:lnTo>
                      <a:pt x="36" y="1703"/>
                    </a:lnTo>
                    <a:lnTo>
                      <a:pt x="38" y="1701"/>
                    </a:lnTo>
                    <a:lnTo>
                      <a:pt x="39" y="1701"/>
                    </a:lnTo>
                    <a:lnTo>
                      <a:pt x="39" y="1702"/>
                    </a:lnTo>
                    <a:lnTo>
                      <a:pt x="40" y="1705"/>
                    </a:lnTo>
                    <a:lnTo>
                      <a:pt x="42" y="1713"/>
                    </a:lnTo>
                    <a:lnTo>
                      <a:pt x="45" y="1720"/>
                    </a:lnTo>
                    <a:lnTo>
                      <a:pt x="50" y="1726"/>
                    </a:lnTo>
                    <a:lnTo>
                      <a:pt x="55" y="1730"/>
                    </a:lnTo>
                    <a:lnTo>
                      <a:pt x="56" y="1733"/>
                    </a:lnTo>
                    <a:lnTo>
                      <a:pt x="57" y="1736"/>
                    </a:lnTo>
                    <a:lnTo>
                      <a:pt x="58" y="1740"/>
                    </a:lnTo>
                    <a:lnTo>
                      <a:pt x="59" y="1745"/>
                    </a:lnTo>
                    <a:lnTo>
                      <a:pt x="59" y="1754"/>
                    </a:lnTo>
                    <a:lnTo>
                      <a:pt x="62" y="1760"/>
                    </a:lnTo>
                    <a:lnTo>
                      <a:pt x="64" y="1763"/>
                    </a:lnTo>
                    <a:lnTo>
                      <a:pt x="67" y="1763"/>
                    </a:lnTo>
                    <a:lnTo>
                      <a:pt x="70" y="1763"/>
                    </a:lnTo>
                    <a:lnTo>
                      <a:pt x="74" y="1760"/>
                    </a:lnTo>
                    <a:lnTo>
                      <a:pt x="80" y="1757"/>
                    </a:lnTo>
                    <a:lnTo>
                      <a:pt x="84" y="1755"/>
                    </a:lnTo>
                    <a:lnTo>
                      <a:pt x="89" y="1755"/>
                    </a:lnTo>
                    <a:lnTo>
                      <a:pt x="94" y="1757"/>
                    </a:lnTo>
                    <a:lnTo>
                      <a:pt x="99" y="1759"/>
                    </a:lnTo>
                    <a:lnTo>
                      <a:pt x="102" y="1761"/>
                    </a:lnTo>
                    <a:lnTo>
                      <a:pt x="105" y="1765"/>
                    </a:lnTo>
                    <a:lnTo>
                      <a:pt x="106" y="1770"/>
                    </a:lnTo>
                    <a:lnTo>
                      <a:pt x="105" y="1783"/>
                    </a:lnTo>
                    <a:lnTo>
                      <a:pt x="105" y="1795"/>
                    </a:lnTo>
                    <a:lnTo>
                      <a:pt x="106" y="1801"/>
                    </a:lnTo>
                    <a:lnTo>
                      <a:pt x="105" y="1805"/>
                    </a:lnTo>
                    <a:lnTo>
                      <a:pt x="103" y="1807"/>
                    </a:lnTo>
                    <a:lnTo>
                      <a:pt x="102" y="1808"/>
                    </a:lnTo>
                    <a:lnTo>
                      <a:pt x="100" y="1808"/>
                    </a:lnTo>
                    <a:lnTo>
                      <a:pt x="96" y="1808"/>
                    </a:lnTo>
                    <a:lnTo>
                      <a:pt x="86" y="1807"/>
                    </a:lnTo>
                    <a:lnTo>
                      <a:pt x="73" y="1808"/>
                    </a:lnTo>
                    <a:lnTo>
                      <a:pt x="58" y="1808"/>
                    </a:lnTo>
                    <a:lnTo>
                      <a:pt x="49" y="1808"/>
                    </a:lnTo>
                    <a:lnTo>
                      <a:pt x="46" y="1809"/>
                    </a:lnTo>
                    <a:lnTo>
                      <a:pt x="44" y="1809"/>
                    </a:lnTo>
                    <a:lnTo>
                      <a:pt x="43" y="1810"/>
                    </a:lnTo>
                    <a:lnTo>
                      <a:pt x="42" y="1812"/>
                    </a:lnTo>
                    <a:lnTo>
                      <a:pt x="42" y="1817"/>
                    </a:lnTo>
                    <a:lnTo>
                      <a:pt x="43" y="1823"/>
                    </a:lnTo>
                    <a:lnTo>
                      <a:pt x="44" y="1831"/>
                    </a:lnTo>
                    <a:lnTo>
                      <a:pt x="44" y="1845"/>
                    </a:lnTo>
                    <a:lnTo>
                      <a:pt x="43" y="1858"/>
                    </a:lnTo>
                    <a:lnTo>
                      <a:pt x="42" y="1871"/>
                    </a:lnTo>
                    <a:lnTo>
                      <a:pt x="40" y="1881"/>
                    </a:lnTo>
                    <a:lnTo>
                      <a:pt x="38" y="1887"/>
                    </a:lnTo>
                    <a:lnTo>
                      <a:pt x="35" y="1892"/>
                    </a:lnTo>
                    <a:lnTo>
                      <a:pt x="30" y="1894"/>
                    </a:lnTo>
                    <a:lnTo>
                      <a:pt x="24" y="1896"/>
                    </a:lnTo>
                    <a:lnTo>
                      <a:pt x="18" y="1897"/>
                    </a:lnTo>
                    <a:lnTo>
                      <a:pt x="15" y="1898"/>
                    </a:lnTo>
                    <a:lnTo>
                      <a:pt x="13" y="1899"/>
                    </a:lnTo>
                    <a:lnTo>
                      <a:pt x="11" y="1902"/>
                    </a:lnTo>
                    <a:lnTo>
                      <a:pt x="8" y="1904"/>
                    </a:lnTo>
                    <a:lnTo>
                      <a:pt x="5" y="1913"/>
                    </a:lnTo>
                    <a:lnTo>
                      <a:pt x="2" y="1927"/>
                    </a:lnTo>
                    <a:lnTo>
                      <a:pt x="1" y="1943"/>
                    </a:lnTo>
                    <a:lnTo>
                      <a:pt x="0" y="1960"/>
                    </a:lnTo>
                    <a:lnTo>
                      <a:pt x="0" y="1991"/>
                    </a:lnTo>
                    <a:lnTo>
                      <a:pt x="0" y="2006"/>
                    </a:lnTo>
                    <a:lnTo>
                      <a:pt x="2" y="2016"/>
                    </a:lnTo>
                    <a:lnTo>
                      <a:pt x="5" y="2025"/>
                    </a:lnTo>
                    <a:lnTo>
                      <a:pt x="8" y="2034"/>
                    </a:lnTo>
                    <a:lnTo>
                      <a:pt x="13" y="2043"/>
                    </a:lnTo>
                    <a:lnTo>
                      <a:pt x="20" y="2058"/>
                    </a:lnTo>
                    <a:lnTo>
                      <a:pt x="26" y="2073"/>
                    </a:lnTo>
                    <a:lnTo>
                      <a:pt x="27" y="2081"/>
                    </a:lnTo>
                    <a:lnTo>
                      <a:pt x="29" y="2088"/>
                    </a:lnTo>
                    <a:lnTo>
                      <a:pt x="29" y="2095"/>
                    </a:lnTo>
                    <a:lnTo>
                      <a:pt x="27" y="2100"/>
                    </a:lnTo>
                    <a:lnTo>
                      <a:pt x="27" y="2106"/>
                    </a:lnTo>
                    <a:lnTo>
                      <a:pt x="27" y="2111"/>
                    </a:lnTo>
                    <a:lnTo>
                      <a:pt x="29" y="2116"/>
                    </a:lnTo>
                    <a:lnTo>
                      <a:pt x="30" y="2120"/>
                    </a:lnTo>
                    <a:lnTo>
                      <a:pt x="45" y="2150"/>
                    </a:lnTo>
                    <a:lnTo>
                      <a:pt x="57" y="2180"/>
                    </a:lnTo>
                    <a:lnTo>
                      <a:pt x="69" y="2206"/>
                    </a:lnTo>
                    <a:lnTo>
                      <a:pt x="78" y="2231"/>
                    </a:lnTo>
                    <a:lnTo>
                      <a:pt x="87" y="2252"/>
                    </a:lnTo>
                    <a:lnTo>
                      <a:pt x="93" y="2268"/>
                    </a:lnTo>
                    <a:lnTo>
                      <a:pt x="99" y="2280"/>
                    </a:lnTo>
                    <a:lnTo>
                      <a:pt x="102" y="2286"/>
                    </a:lnTo>
                    <a:lnTo>
                      <a:pt x="108" y="2287"/>
                    </a:lnTo>
                    <a:lnTo>
                      <a:pt x="114" y="2287"/>
                    </a:lnTo>
                    <a:lnTo>
                      <a:pt x="120" y="2286"/>
                    </a:lnTo>
                    <a:lnTo>
                      <a:pt x="125" y="2282"/>
                    </a:lnTo>
                    <a:lnTo>
                      <a:pt x="137" y="2275"/>
                    </a:lnTo>
                    <a:lnTo>
                      <a:pt x="149" y="2270"/>
                    </a:lnTo>
                    <a:lnTo>
                      <a:pt x="158" y="2269"/>
                    </a:lnTo>
                    <a:lnTo>
                      <a:pt x="168" y="2268"/>
                    </a:lnTo>
                    <a:lnTo>
                      <a:pt x="171" y="2268"/>
                    </a:lnTo>
                    <a:lnTo>
                      <a:pt x="175" y="2268"/>
                    </a:lnTo>
                    <a:lnTo>
                      <a:pt x="178" y="2270"/>
                    </a:lnTo>
                    <a:lnTo>
                      <a:pt x="181" y="2272"/>
                    </a:lnTo>
                    <a:lnTo>
                      <a:pt x="185" y="2275"/>
                    </a:lnTo>
                    <a:lnTo>
                      <a:pt x="190" y="2278"/>
                    </a:lnTo>
                    <a:lnTo>
                      <a:pt x="196" y="2281"/>
                    </a:lnTo>
                    <a:lnTo>
                      <a:pt x="202" y="2282"/>
                    </a:lnTo>
                    <a:lnTo>
                      <a:pt x="209" y="2283"/>
                    </a:lnTo>
                    <a:lnTo>
                      <a:pt x="215" y="2283"/>
                    </a:lnTo>
                    <a:lnTo>
                      <a:pt x="221" y="2282"/>
                    </a:lnTo>
                    <a:lnTo>
                      <a:pt x="226" y="2280"/>
                    </a:lnTo>
                    <a:lnTo>
                      <a:pt x="234" y="2275"/>
                    </a:lnTo>
                    <a:lnTo>
                      <a:pt x="244" y="2271"/>
                    </a:lnTo>
                    <a:lnTo>
                      <a:pt x="254" y="2268"/>
                    </a:lnTo>
                    <a:lnTo>
                      <a:pt x="265" y="2264"/>
                    </a:lnTo>
                    <a:lnTo>
                      <a:pt x="288" y="2259"/>
                    </a:lnTo>
                    <a:lnTo>
                      <a:pt x="309" y="2252"/>
                    </a:lnTo>
                    <a:lnTo>
                      <a:pt x="315" y="2249"/>
                    </a:lnTo>
                    <a:lnTo>
                      <a:pt x="322" y="2244"/>
                    </a:lnTo>
                    <a:lnTo>
                      <a:pt x="328" y="2238"/>
                    </a:lnTo>
                    <a:lnTo>
                      <a:pt x="333" y="2232"/>
                    </a:lnTo>
                    <a:lnTo>
                      <a:pt x="342" y="2218"/>
                    </a:lnTo>
                    <a:lnTo>
                      <a:pt x="348" y="2206"/>
                    </a:lnTo>
                    <a:lnTo>
                      <a:pt x="352" y="2195"/>
                    </a:lnTo>
                    <a:lnTo>
                      <a:pt x="353" y="2183"/>
                    </a:lnTo>
                    <a:lnTo>
                      <a:pt x="353" y="2174"/>
                    </a:lnTo>
                    <a:lnTo>
                      <a:pt x="352" y="2165"/>
                    </a:lnTo>
                    <a:lnTo>
                      <a:pt x="351" y="2161"/>
                    </a:lnTo>
                    <a:lnTo>
                      <a:pt x="350" y="2157"/>
                    </a:lnTo>
                    <a:lnTo>
                      <a:pt x="347" y="2152"/>
                    </a:lnTo>
                    <a:lnTo>
                      <a:pt x="344" y="2149"/>
                    </a:lnTo>
                    <a:lnTo>
                      <a:pt x="341" y="2146"/>
                    </a:lnTo>
                    <a:lnTo>
                      <a:pt x="336" y="2144"/>
                    </a:lnTo>
                    <a:lnTo>
                      <a:pt x="333" y="2142"/>
                    </a:lnTo>
                    <a:lnTo>
                      <a:pt x="328" y="2142"/>
                    </a:lnTo>
                    <a:lnTo>
                      <a:pt x="320" y="2140"/>
                    </a:lnTo>
                    <a:lnTo>
                      <a:pt x="313" y="2138"/>
                    </a:lnTo>
                    <a:lnTo>
                      <a:pt x="310" y="2136"/>
                    </a:lnTo>
                    <a:lnTo>
                      <a:pt x="308" y="2133"/>
                    </a:lnTo>
                    <a:lnTo>
                      <a:pt x="306" y="2130"/>
                    </a:lnTo>
                    <a:lnTo>
                      <a:pt x="304" y="2126"/>
                    </a:lnTo>
                    <a:lnTo>
                      <a:pt x="302" y="2120"/>
                    </a:lnTo>
                    <a:lnTo>
                      <a:pt x="300" y="2114"/>
                    </a:lnTo>
                    <a:lnTo>
                      <a:pt x="297" y="2111"/>
                    </a:lnTo>
                    <a:lnTo>
                      <a:pt x="295" y="2108"/>
                    </a:lnTo>
                    <a:lnTo>
                      <a:pt x="291" y="2108"/>
                    </a:lnTo>
                    <a:lnTo>
                      <a:pt x="288" y="2111"/>
                    </a:lnTo>
                    <a:lnTo>
                      <a:pt x="285" y="2113"/>
                    </a:lnTo>
                    <a:lnTo>
                      <a:pt x="282" y="2117"/>
                    </a:lnTo>
                    <a:lnTo>
                      <a:pt x="278" y="2119"/>
                    </a:lnTo>
                    <a:lnTo>
                      <a:pt x="276" y="2120"/>
                    </a:lnTo>
                    <a:lnTo>
                      <a:pt x="273" y="2120"/>
                    </a:lnTo>
                    <a:lnTo>
                      <a:pt x="269" y="2119"/>
                    </a:lnTo>
                    <a:lnTo>
                      <a:pt x="264" y="2117"/>
                    </a:lnTo>
                    <a:lnTo>
                      <a:pt x="259" y="2113"/>
                    </a:lnTo>
                    <a:lnTo>
                      <a:pt x="258" y="2112"/>
                    </a:lnTo>
                    <a:lnTo>
                      <a:pt x="258" y="2110"/>
                    </a:lnTo>
                    <a:lnTo>
                      <a:pt x="258" y="2106"/>
                    </a:lnTo>
                    <a:lnTo>
                      <a:pt x="260" y="2104"/>
                    </a:lnTo>
                    <a:lnTo>
                      <a:pt x="264" y="2098"/>
                    </a:lnTo>
                    <a:lnTo>
                      <a:pt x="268" y="2092"/>
                    </a:lnTo>
                    <a:lnTo>
                      <a:pt x="269" y="2089"/>
                    </a:lnTo>
                    <a:lnTo>
                      <a:pt x="270" y="2086"/>
                    </a:lnTo>
                    <a:lnTo>
                      <a:pt x="270" y="2082"/>
                    </a:lnTo>
                    <a:lnTo>
                      <a:pt x="270" y="2077"/>
                    </a:lnTo>
                    <a:lnTo>
                      <a:pt x="269" y="2070"/>
                    </a:lnTo>
                    <a:lnTo>
                      <a:pt x="268" y="2066"/>
                    </a:lnTo>
                    <a:lnTo>
                      <a:pt x="269" y="2062"/>
                    </a:lnTo>
                    <a:lnTo>
                      <a:pt x="271" y="2061"/>
                    </a:lnTo>
                    <a:lnTo>
                      <a:pt x="275" y="2060"/>
                    </a:lnTo>
                    <a:lnTo>
                      <a:pt x="278" y="2060"/>
                    </a:lnTo>
                    <a:lnTo>
                      <a:pt x="281" y="2060"/>
                    </a:lnTo>
                    <a:lnTo>
                      <a:pt x="282" y="2062"/>
                    </a:lnTo>
                    <a:lnTo>
                      <a:pt x="283" y="2066"/>
                    </a:lnTo>
                    <a:lnTo>
                      <a:pt x="283" y="2070"/>
                    </a:lnTo>
                    <a:lnTo>
                      <a:pt x="283" y="2075"/>
                    </a:lnTo>
                    <a:lnTo>
                      <a:pt x="284" y="2079"/>
                    </a:lnTo>
                    <a:lnTo>
                      <a:pt x="285" y="2082"/>
                    </a:lnTo>
                    <a:lnTo>
                      <a:pt x="287" y="2083"/>
                    </a:lnTo>
                    <a:lnTo>
                      <a:pt x="290" y="2086"/>
                    </a:lnTo>
                    <a:lnTo>
                      <a:pt x="294" y="2086"/>
                    </a:lnTo>
                    <a:lnTo>
                      <a:pt x="296" y="2085"/>
                    </a:lnTo>
                    <a:lnTo>
                      <a:pt x="297" y="2082"/>
                    </a:lnTo>
                    <a:lnTo>
                      <a:pt x="297" y="2077"/>
                    </a:lnTo>
                    <a:lnTo>
                      <a:pt x="298" y="2073"/>
                    </a:lnTo>
                    <a:lnTo>
                      <a:pt x="297" y="2061"/>
                    </a:lnTo>
                    <a:lnTo>
                      <a:pt x="296" y="2050"/>
                    </a:lnTo>
                    <a:lnTo>
                      <a:pt x="294" y="2045"/>
                    </a:lnTo>
                    <a:lnTo>
                      <a:pt x="292" y="2042"/>
                    </a:lnTo>
                    <a:lnTo>
                      <a:pt x="290" y="2039"/>
                    </a:lnTo>
                    <a:lnTo>
                      <a:pt x="288" y="2036"/>
                    </a:lnTo>
                    <a:lnTo>
                      <a:pt x="285" y="2035"/>
                    </a:lnTo>
                    <a:lnTo>
                      <a:pt x="281" y="2034"/>
                    </a:lnTo>
                    <a:lnTo>
                      <a:pt x="277" y="2032"/>
                    </a:lnTo>
                    <a:lnTo>
                      <a:pt x="271" y="2032"/>
                    </a:lnTo>
                    <a:lnTo>
                      <a:pt x="259" y="2032"/>
                    </a:lnTo>
                    <a:lnTo>
                      <a:pt x="246" y="2031"/>
                    </a:lnTo>
                    <a:lnTo>
                      <a:pt x="234" y="2031"/>
                    </a:lnTo>
                    <a:lnTo>
                      <a:pt x="225" y="2030"/>
                    </a:lnTo>
                    <a:lnTo>
                      <a:pt x="219" y="2029"/>
                    </a:lnTo>
                    <a:lnTo>
                      <a:pt x="215" y="2026"/>
                    </a:lnTo>
                    <a:lnTo>
                      <a:pt x="214" y="2022"/>
                    </a:lnTo>
                    <a:lnTo>
                      <a:pt x="214" y="2016"/>
                    </a:lnTo>
                    <a:lnTo>
                      <a:pt x="214" y="2005"/>
                    </a:lnTo>
                    <a:lnTo>
                      <a:pt x="214" y="1987"/>
                    </a:lnTo>
                    <a:lnTo>
                      <a:pt x="215" y="1967"/>
                    </a:lnTo>
                    <a:lnTo>
                      <a:pt x="216" y="1946"/>
                    </a:lnTo>
                    <a:lnTo>
                      <a:pt x="219" y="1936"/>
                    </a:lnTo>
                    <a:lnTo>
                      <a:pt x="221" y="1929"/>
                    </a:lnTo>
                    <a:lnTo>
                      <a:pt x="225" y="1923"/>
                    </a:lnTo>
                    <a:lnTo>
                      <a:pt x="229" y="1917"/>
                    </a:lnTo>
                    <a:lnTo>
                      <a:pt x="234" y="1913"/>
                    </a:lnTo>
                    <a:lnTo>
                      <a:pt x="240" y="1911"/>
                    </a:lnTo>
                    <a:lnTo>
                      <a:pt x="245" y="1910"/>
                    </a:lnTo>
                    <a:lnTo>
                      <a:pt x="251" y="1910"/>
                    </a:lnTo>
                    <a:lnTo>
                      <a:pt x="257" y="1912"/>
                    </a:lnTo>
                    <a:lnTo>
                      <a:pt x="263" y="1916"/>
                    </a:lnTo>
                    <a:lnTo>
                      <a:pt x="264" y="1919"/>
                    </a:lnTo>
                    <a:lnTo>
                      <a:pt x="265" y="1924"/>
                    </a:lnTo>
                    <a:lnTo>
                      <a:pt x="266" y="1930"/>
                    </a:lnTo>
                    <a:lnTo>
                      <a:pt x="265" y="1937"/>
                    </a:lnTo>
                    <a:lnTo>
                      <a:pt x="264" y="1944"/>
                    </a:lnTo>
                    <a:lnTo>
                      <a:pt x="262" y="1950"/>
                    </a:lnTo>
                    <a:lnTo>
                      <a:pt x="258" y="1956"/>
                    </a:lnTo>
                    <a:lnTo>
                      <a:pt x="256" y="1961"/>
                    </a:lnTo>
                    <a:lnTo>
                      <a:pt x="250" y="1967"/>
                    </a:lnTo>
                    <a:lnTo>
                      <a:pt x="247" y="1971"/>
                    </a:lnTo>
                    <a:lnTo>
                      <a:pt x="247" y="1974"/>
                    </a:lnTo>
                    <a:lnTo>
                      <a:pt x="250" y="1975"/>
                    </a:lnTo>
                    <a:lnTo>
                      <a:pt x="253" y="1976"/>
                    </a:lnTo>
                    <a:lnTo>
                      <a:pt x="258" y="1976"/>
                    </a:lnTo>
                    <a:lnTo>
                      <a:pt x="268" y="1976"/>
                    </a:lnTo>
                    <a:lnTo>
                      <a:pt x="275" y="1975"/>
                    </a:lnTo>
                    <a:lnTo>
                      <a:pt x="284" y="1972"/>
                    </a:lnTo>
                    <a:lnTo>
                      <a:pt x="295" y="1967"/>
                    </a:lnTo>
                    <a:lnTo>
                      <a:pt x="304" y="1963"/>
                    </a:lnTo>
                    <a:lnTo>
                      <a:pt x="314" y="1962"/>
                    </a:lnTo>
                    <a:lnTo>
                      <a:pt x="320" y="1962"/>
                    </a:lnTo>
                    <a:lnTo>
                      <a:pt x="323" y="1962"/>
                    </a:lnTo>
                    <a:lnTo>
                      <a:pt x="327" y="1963"/>
                    </a:lnTo>
                    <a:lnTo>
                      <a:pt x="329" y="1966"/>
                    </a:lnTo>
                    <a:lnTo>
                      <a:pt x="332" y="1973"/>
                    </a:lnTo>
                    <a:lnTo>
                      <a:pt x="335" y="1980"/>
                    </a:lnTo>
                    <a:lnTo>
                      <a:pt x="338" y="1985"/>
                    </a:lnTo>
                    <a:lnTo>
                      <a:pt x="340" y="1988"/>
                    </a:lnTo>
                    <a:lnTo>
                      <a:pt x="344" y="1991"/>
                    </a:lnTo>
                    <a:lnTo>
                      <a:pt x="347" y="1992"/>
                    </a:lnTo>
                    <a:lnTo>
                      <a:pt x="351" y="1992"/>
                    </a:lnTo>
                    <a:lnTo>
                      <a:pt x="353" y="1992"/>
                    </a:lnTo>
                    <a:lnTo>
                      <a:pt x="355" y="1991"/>
                    </a:lnTo>
                    <a:lnTo>
                      <a:pt x="358" y="1987"/>
                    </a:lnTo>
                    <a:lnTo>
                      <a:pt x="364" y="1973"/>
                    </a:lnTo>
                    <a:lnTo>
                      <a:pt x="366" y="1961"/>
                    </a:lnTo>
                    <a:lnTo>
                      <a:pt x="367" y="1956"/>
                    </a:lnTo>
                    <a:lnTo>
                      <a:pt x="367" y="1952"/>
                    </a:lnTo>
                    <a:lnTo>
                      <a:pt x="366" y="1948"/>
                    </a:lnTo>
                    <a:lnTo>
                      <a:pt x="365" y="1944"/>
                    </a:lnTo>
                    <a:lnTo>
                      <a:pt x="360" y="1940"/>
                    </a:lnTo>
                    <a:lnTo>
                      <a:pt x="355" y="1936"/>
                    </a:lnTo>
                    <a:lnTo>
                      <a:pt x="348" y="1934"/>
                    </a:lnTo>
                    <a:lnTo>
                      <a:pt x="340" y="1931"/>
                    </a:lnTo>
                    <a:lnTo>
                      <a:pt x="323" y="1929"/>
                    </a:lnTo>
                    <a:lnTo>
                      <a:pt x="308" y="1928"/>
                    </a:lnTo>
                    <a:lnTo>
                      <a:pt x="301" y="1925"/>
                    </a:lnTo>
                    <a:lnTo>
                      <a:pt x="296" y="1922"/>
                    </a:lnTo>
                    <a:lnTo>
                      <a:pt x="294" y="1921"/>
                    </a:lnTo>
                    <a:lnTo>
                      <a:pt x="291" y="1918"/>
                    </a:lnTo>
                    <a:lnTo>
                      <a:pt x="290" y="1915"/>
                    </a:lnTo>
                    <a:lnTo>
                      <a:pt x="290" y="1911"/>
                    </a:lnTo>
                    <a:lnTo>
                      <a:pt x="290" y="1903"/>
                    </a:lnTo>
                    <a:lnTo>
                      <a:pt x="294" y="1894"/>
                    </a:lnTo>
                    <a:lnTo>
                      <a:pt x="297" y="1887"/>
                    </a:lnTo>
                    <a:lnTo>
                      <a:pt x="300" y="1880"/>
                    </a:lnTo>
                    <a:lnTo>
                      <a:pt x="301" y="1872"/>
                    </a:lnTo>
                    <a:lnTo>
                      <a:pt x="301" y="1865"/>
                    </a:lnTo>
                    <a:lnTo>
                      <a:pt x="300" y="1859"/>
                    </a:lnTo>
                    <a:lnTo>
                      <a:pt x="297" y="1852"/>
                    </a:lnTo>
                    <a:lnTo>
                      <a:pt x="295" y="1845"/>
                    </a:lnTo>
                    <a:lnTo>
                      <a:pt x="292" y="1840"/>
                    </a:lnTo>
                    <a:lnTo>
                      <a:pt x="290" y="1833"/>
                    </a:lnTo>
                    <a:lnTo>
                      <a:pt x="290" y="1823"/>
                    </a:lnTo>
                    <a:lnTo>
                      <a:pt x="290" y="1812"/>
                    </a:lnTo>
                    <a:lnTo>
                      <a:pt x="292" y="1802"/>
                    </a:lnTo>
                    <a:lnTo>
                      <a:pt x="294" y="1798"/>
                    </a:lnTo>
                    <a:lnTo>
                      <a:pt x="297" y="1795"/>
                    </a:lnTo>
                    <a:lnTo>
                      <a:pt x="301" y="1791"/>
                    </a:lnTo>
                    <a:lnTo>
                      <a:pt x="307" y="1790"/>
                    </a:lnTo>
                    <a:lnTo>
                      <a:pt x="316" y="1787"/>
                    </a:lnTo>
                    <a:lnTo>
                      <a:pt x="322" y="1787"/>
                    </a:lnTo>
                    <a:lnTo>
                      <a:pt x="325" y="1789"/>
                    </a:lnTo>
                    <a:lnTo>
                      <a:pt x="325" y="1790"/>
                    </a:lnTo>
                    <a:lnTo>
                      <a:pt x="325" y="1792"/>
                    </a:lnTo>
                    <a:lnTo>
                      <a:pt x="322" y="1796"/>
                    </a:lnTo>
                    <a:lnTo>
                      <a:pt x="319" y="1803"/>
                    </a:lnTo>
                    <a:lnTo>
                      <a:pt x="316" y="1808"/>
                    </a:lnTo>
                    <a:lnTo>
                      <a:pt x="314" y="1814"/>
                    </a:lnTo>
                    <a:lnTo>
                      <a:pt x="314" y="1821"/>
                    </a:lnTo>
                    <a:lnTo>
                      <a:pt x="314" y="1824"/>
                    </a:lnTo>
                    <a:lnTo>
                      <a:pt x="315" y="1827"/>
                    </a:lnTo>
                    <a:lnTo>
                      <a:pt x="316" y="1828"/>
                    </a:lnTo>
                    <a:lnTo>
                      <a:pt x="319" y="1828"/>
                    </a:lnTo>
                    <a:lnTo>
                      <a:pt x="321" y="1828"/>
                    </a:lnTo>
                    <a:lnTo>
                      <a:pt x="323" y="1827"/>
                    </a:lnTo>
                    <a:lnTo>
                      <a:pt x="326" y="1824"/>
                    </a:lnTo>
                    <a:lnTo>
                      <a:pt x="327" y="1821"/>
                    </a:lnTo>
                    <a:lnTo>
                      <a:pt x="329" y="1817"/>
                    </a:lnTo>
                    <a:lnTo>
                      <a:pt x="332" y="1816"/>
                    </a:lnTo>
                    <a:lnTo>
                      <a:pt x="333" y="1816"/>
                    </a:lnTo>
                    <a:lnTo>
                      <a:pt x="334" y="1816"/>
                    </a:lnTo>
                    <a:lnTo>
                      <a:pt x="335" y="1821"/>
                    </a:lnTo>
                    <a:lnTo>
                      <a:pt x="336" y="1827"/>
                    </a:lnTo>
                    <a:lnTo>
                      <a:pt x="336" y="1830"/>
                    </a:lnTo>
                    <a:lnTo>
                      <a:pt x="336" y="1834"/>
                    </a:lnTo>
                    <a:lnTo>
                      <a:pt x="335" y="1837"/>
                    </a:lnTo>
                    <a:lnTo>
                      <a:pt x="333" y="1841"/>
                    </a:lnTo>
                    <a:lnTo>
                      <a:pt x="329" y="1845"/>
                    </a:lnTo>
                    <a:lnTo>
                      <a:pt x="325" y="1847"/>
                    </a:lnTo>
                    <a:lnTo>
                      <a:pt x="321" y="1849"/>
                    </a:lnTo>
                    <a:lnTo>
                      <a:pt x="320" y="1854"/>
                    </a:lnTo>
                    <a:lnTo>
                      <a:pt x="320" y="1859"/>
                    </a:lnTo>
                    <a:lnTo>
                      <a:pt x="322" y="1862"/>
                    </a:lnTo>
                    <a:lnTo>
                      <a:pt x="326" y="1865"/>
                    </a:lnTo>
                    <a:lnTo>
                      <a:pt x="331" y="1865"/>
                    </a:lnTo>
                    <a:lnTo>
                      <a:pt x="342" y="1858"/>
                    </a:lnTo>
                    <a:lnTo>
                      <a:pt x="355" y="1849"/>
                    </a:lnTo>
                    <a:lnTo>
                      <a:pt x="361" y="1848"/>
                    </a:lnTo>
                    <a:lnTo>
                      <a:pt x="366" y="1847"/>
                    </a:lnTo>
                    <a:lnTo>
                      <a:pt x="371" y="1847"/>
                    </a:lnTo>
                    <a:lnTo>
                      <a:pt x="374" y="1848"/>
                    </a:lnTo>
                    <a:lnTo>
                      <a:pt x="378" y="1849"/>
                    </a:lnTo>
                    <a:lnTo>
                      <a:pt x="380" y="1852"/>
                    </a:lnTo>
                    <a:lnTo>
                      <a:pt x="383" y="1854"/>
                    </a:lnTo>
                    <a:lnTo>
                      <a:pt x="384" y="1858"/>
                    </a:lnTo>
                    <a:lnTo>
                      <a:pt x="384" y="1861"/>
                    </a:lnTo>
                    <a:lnTo>
                      <a:pt x="384" y="1865"/>
                    </a:lnTo>
                    <a:lnTo>
                      <a:pt x="383" y="1867"/>
                    </a:lnTo>
                    <a:lnTo>
                      <a:pt x="382" y="1871"/>
                    </a:lnTo>
                    <a:lnTo>
                      <a:pt x="379" y="1874"/>
                    </a:lnTo>
                    <a:lnTo>
                      <a:pt x="376" y="1877"/>
                    </a:lnTo>
                    <a:lnTo>
                      <a:pt x="372" y="1878"/>
                    </a:lnTo>
                    <a:lnTo>
                      <a:pt x="367" y="1879"/>
                    </a:lnTo>
                    <a:lnTo>
                      <a:pt x="354" y="1880"/>
                    </a:lnTo>
                    <a:lnTo>
                      <a:pt x="341" y="1881"/>
                    </a:lnTo>
                    <a:lnTo>
                      <a:pt x="335" y="1883"/>
                    </a:lnTo>
                    <a:lnTo>
                      <a:pt x="331" y="1884"/>
                    </a:lnTo>
                    <a:lnTo>
                      <a:pt x="327" y="1886"/>
                    </a:lnTo>
                    <a:lnTo>
                      <a:pt x="325" y="1889"/>
                    </a:lnTo>
                    <a:lnTo>
                      <a:pt x="325" y="1891"/>
                    </a:lnTo>
                    <a:lnTo>
                      <a:pt x="326" y="1892"/>
                    </a:lnTo>
                    <a:lnTo>
                      <a:pt x="327" y="1894"/>
                    </a:lnTo>
                    <a:lnTo>
                      <a:pt x="329" y="1897"/>
                    </a:lnTo>
                    <a:lnTo>
                      <a:pt x="335" y="1903"/>
                    </a:lnTo>
                    <a:lnTo>
                      <a:pt x="342" y="1909"/>
                    </a:lnTo>
                    <a:lnTo>
                      <a:pt x="351" y="1913"/>
                    </a:lnTo>
                    <a:lnTo>
                      <a:pt x="360" y="1917"/>
                    </a:lnTo>
                    <a:lnTo>
                      <a:pt x="367" y="1919"/>
                    </a:lnTo>
                    <a:lnTo>
                      <a:pt x="373" y="1921"/>
                    </a:lnTo>
                    <a:lnTo>
                      <a:pt x="378" y="1918"/>
                    </a:lnTo>
                    <a:lnTo>
                      <a:pt x="382" y="1916"/>
                    </a:lnTo>
                    <a:lnTo>
                      <a:pt x="385" y="1911"/>
                    </a:lnTo>
                    <a:lnTo>
                      <a:pt x="388" y="1905"/>
                    </a:lnTo>
                    <a:lnTo>
                      <a:pt x="394" y="1892"/>
                    </a:lnTo>
                    <a:lnTo>
                      <a:pt x="397" y="1881"/>
                    </a:lnTo>
                    <a:lnTo>
                      <a:pt x="403" y="1860"/>
                    </a:lnTo>
                    <a:lnTo>
                      <a:pt x="410" y="1843"/>
                    </a:lnTo>
                    <a:lnTo>
                      <a:pt x="417" y="1829"/>
                    </a:lnTo>
                    <a:lnTo>
                      <a:pt x="424" y="1818"/>
                    </a:lnTo>
                    <a:lnTo>
                      <a:pt x="432" y="1811"/>
                    </a:lnTo>
                    <a:lnTo>
                      <a:pt x="439" y="1805"/>
                    </a:lnTo>
                    <a:lnTo>
                      <a:pt x="446" y="1802"/>
                    </a:lnTo>
                    <a:lnTo>
                      <a:pt x="453" y="1799"/>
                    </a:lnTo>
                    <a:lnTo>
                      <a:pt x="468" y="1798"/>
                    </a:lnTo>
                    <a:lnTo>
                      <a:pt x="483" y="1797"/>
                    </a:lnTo>
                    <a:lnTo>
                      <a:pt x="489" y="1797"/>
                    </a:lnTo>
                    <a:lnTo>
                      <a:pt x="496" y="1795"/>
                    </a:lnTo>
                    <a:lnTo>
                      <a:pt x="502" y="1792"/>
                    </a:lnTo>
                    <a:lnTo>
                      <a:pt x="508" y="1787"/>
                    </a:lnTo>
                    <a:lnTo>
                      <a:pt x="515" y="1780"/>
                    </a:lnTo>
                    <a:lnTo>
                      <a:pt x="523" y="1776"/>
                    </a:lnTo>
                    <a:lnTo>
                      <a:pt x="528" y="1773"/>
                    </a:lnTo>
                    <a:lnTo>
                      <a:pt x="533" y="1772"/>
                    </a:lnTo>
                    <a:lnTo>
                      <a:pt x="539" y="1772"/>
                    </a:lnTo>
                    <a:lnTo>
                      <a:pt x="544" y="1772"/>
                    </a:lnTo>
                    <a:lnTo>
                      <a:pt x="550" y="1772"/>
                    </a:lnTo>
                    <a:lnTo>
                      <a:pt x="558" y="1770"/>
                    </a:lnTo>
                    <a:lnTo>
                      <a:pt x="565" y="1768"/>
                    </a:lnTo>
                    <a:lnTo>
                      <a:pt x="573" y="1766"/>
                    </a:lnTo>
                    <a:lnTo>
                      <a:pt x="586" y="1761"/>
                    </a:lnTo>
                    <a:lnTo>
                      <a:pt x="598" y="1758"/>
                    </a:lnTo>
                    <a:lnTo>
                      <a:pt x="610" y="1746"/>
                    </a:lnTo>
                    <a:lnTo>
                      <a:pt x="621" y="1735"/>
                    </a:lnTo>
                    <a:lnTo>
                      <a:pt x="627" y="1735"/>
                    </a:lnTo>
                    <a:lnTo>
                      <a:pt x="634" y="1734"/>
                    </a:lnTo>
                    <a:lnTo>
                      <a:pt x="638" y="1734"/>
                    </a:lnTo>
                    <a:lnTo>
                      <a:pt x="642" y="1734"/>
                    </a:lnTo>
                    <a:lnTo>
                      <a:pt x="646" y="1735"/>
                    </a:lnTo>
                    <a:lnTo>
                      <a:pt x="649" y="1736"/>
                    </a:lnTo>
                    <a:lnTo>
                      <a:pt x="651" y="1739"/>
                    </a:lnTo>
                    <a:lnTo>
                      <a:pt x="654" y="1742"/>
                    </a:lnTo>
                    <a:lnTo>
                      <a:pt x="655" y="1746"/>
                    </a:lnTo>
                    <a:lnTo>
                      <a:pt x="656" y="1751"/>
                    </a:lnTo>
                    <a:lnTo>
                      <a:pt x="657" y="1758"/>
                    </a:lnTo>
                    <a:lnTo>
                      <a:pt x="660" y="1763"/>
                    </a:lnTo>
                    <a:lnTo>
                      <a:pt x="661" y="1766"/>
                    </a:lnTo>
                    <a:lnTo>
                      <a:pt x="663" y="1767"/>
                    </a:lnTo>
                    <a:lnTo>
                      <a:pt x="665" y="1768"/>
                    </a:lnTo>
                    <a:lnTo>
                      <a:pt x="667" y="1768"/>
                    </a:lnTo>
                    <a:lnTo>
                      <a:pt x="672" y="1767"/>
                    </a:lnTo>
                    <a:lnTo>
                      <a:pt x="679" y="1763"/>
                    </a:lnTo>
                    <a:lnTo>
                      <a:pt x="686" y="1759"/>
                    </a:lnTo>
                    <a:lnTo>
                      <a:pt x="691" y="1754"/>
                    </a:lnTo>
                    <a:lnTo>
                      <a:pt x="694" y="1751"/>
                    </a:lnTo>
                    <a:lnTo>
                      <a:pt x="695" y="1745"/>
                    </a:lnTo>
                    <a:lnTo>
                      <a:pt x="694" y="1736"/>
                    </a:lnTo>
                    <a:lnTo>
                      <a:pt x="693" y="1729"/>
                    </a:lnTo>
                    <a:lnTo>
                      <a:pt x="693" y="1727"/>
                    </a:lnTo>
                    <a:lnTo>
                      <a:pt x="693" y="1723"/>
                    </a:lnTo>
                    <a:lnTo>
                      <a:pt x="694" y="1721"/>
                    </a:lnTo>
                    <a:lnTo>
                      <a:pt x="697" y="1719"/>
                    </a:lnTo>
                    <a:lnTo>
                      <a:pt x="712" y="1711"/>
                    </a:lnTo>
                    <a:lnTo>
                      <a:pt x="709" y="1714"/>
                    </a:lnTo>
                    <a:lnTo>
                      <a:pt x="706" y="1714"/>
                    </a:lnTo>
                    <a:lnTo>
                      <a:pt x="706" y="1713"/>
                    </a:lnTo>
                    <a:lnTo>
                      <a:pt x="711" y="1709"/>
                    </a:lnTo>
                    <a:lnTo>
                      <a:pt x="722" y="1701"/>
                    </a:lnTo>
                    <a:lnTo>
                      <a:pt x="724" y="1700"/>
                    </a:lnTo>
                    <a:lnTo>
                      <a:pt x="726" y="1698"/>
                    </a:lnTo>
                    <a:lnTo>
                      <a:pt x="729" y="1700"/>
                    </a:lnTo>
                    <a:lnTo>
                      <a:pt x="730" y="1701"/>
                    </a:lnTo>
                    <a:lnTo>
                      <a:pt x="732" y="1705"/>
                    </a:lnTo>
                    <a:lnTo>
                      <a:pt x="732" y="1711"/>
                    </a:lnTo>
                    <a:lnTo>
                      <a:pt x="732" y="1719"/>
                    </a:lnTo>
                    <a:lnTo>
                      <a:pt x="733" y="1726"/>
                    </a:lnTo>
                    <a:lnTo>
                      <a:pt x="736" y="1728"/>
                    </a:lnTo>
                    <a:lnTo>
                      <a:pt x="738" y="1730"/>
                    </a:lnTo>
                    <a:lnTo>
                      <a:pt x="742" y="1733"/>
                    </a:lnTo>
                    <a:lnTo>
                      <a:pt x="747" y="1734"/>
                    </a:lnTo>
                    <a:lnTo>
                      <a:pt x="761" y="1735"/>
                    </a:lnTo>
                    <a:lnTo>
                      <a:pt x="776" y="1735"/>
                    </a:lnTo>
                    <a:lnTo>
                      <a:pt x="782" y="1734"/>
                    </a:lnTo>
                    <a:lnTo>
                      <a:pt x="787" y="1732"/>
                    </a:lnTo>
                    <a:lnTo>
                      <a:pt x="788" y="1730"/>
                    </a:lnTo>
                    <a:lnTo>
                      <a:pt x="789" y="1729"/>
                    </a:lnTo>
                    <a:lnTo>
                      <a:pt x="789" y="1727"/>
                    </a:lnTo>
                    <a:lnTo>
                      <a:pt x="789" y="1724"/>
                    </a:lnTo>
                    <a:lnTo>
                      <a:pt x="788" y="1720"/>
                    </a:lnTo>
                    <a:lnTo>
                      <a:pt x="787" y="1716"/>
                    </a:lnTo>
                    <a:lnTo>
                      <a:pt x="788" y="1713"/>
                    </a:lnTo>
                    <a:lnTo>
                      <a:pt x="788" y="1709"/>
                    </a:lnTo>
                    <a:lnTo>
                      <a:pt x="791" y="1708"/>
                    </a:lnTo>
                    <a:lnTo>
                      <a:pt x="792" y="1708"/>
                    </a:lnTo>
                    <a:lnTo>
                      <a:pt x="794" y="1709"/>
                    </a:lnTo>
                    <a:lnTo>
                      <a:pt x="798" y="1713"/>
                    </a:lnTo>
                    <a:lnTo>
                      <a:pt x="802" y="1721"/>
                    </a:lnTo>
                    <a:lnTo>
                      <a:pt x="807" y="1728"/>
                    </a:lnTo>
                    <a:lnTo>
                      <a:pt x="811" y="1730"/>
                    </a:lnTo>
                    <a:lnTo>
                      <a:pt x="812" y="1732"/>
                    </a:lnTo>
                    <a:lnTo>
                      <a:pt x="814" y="1730"/>
                    </a:lnTo>
                    <a:lnTo>
                      <a:pt x="817" y="1728"/>
                    </a:lnTo>
                    <a:lnTo>
                      <a:pt x="820" y="1719"/>
                    </a:lnTo>
                    <a:lnTo>
                      <a:pt x="823" y="1708"/>
                    </a:lnTo>
                    <a:lnTo>
                      <a:pt x="825" y="1702"/>
                    </a:lnTo>
                    <a:lnTo>
                      <a:pt x="827" y="1697"/>
                    </a:lnTo>
                    <a:lnTo>
                      <a:pt x="831" y="1694"/>
                    </a:lnTo>
                    <a:lnTo>
                      <a:pt x="836" y="1692"/>
                    </a:lnTo>
                    <a:lnTo>
                      <a:pt x="845" y="1688"/>
                    </a:lnTo>
                    <a:lnTo>
                      <a:pt x="856" y="1682"/>
                    </a:lnTo>
                    <a:lnTo>
                      <a:pt x="860" y="1678"/>
                    </a:lnTo>
                    <a:lnTo>
                      <a:pt x="863" y="1675"/>
                    </a:lnTo>
                    <a:lnTo>
                      <a:pt x="867" y="1670"/>
                    </a:lnTo>
                    <a:lnTo>
                      <a:pt x="868" y="1665"/>
                    </a:lnTo>
                    <a:lnTo>
                      <a:pt x="869" y="1660"/>
                    </a:lnTo>
                    <a:lnTo>
                      <a:pt x="868" y="1656"/>
                    </a:lnTo>
                    <a:lnTo>
                      <a:pt x="868" y="1651"/>
                    </a:lnTo>
                    <a:lnTo>
                      <a:pt x="865" y="1648"/>
                    </a:lnTo>
                    <a:lnTo>
                      <a:pt x="863" y="1645"/>
                    </a:lnTo>
                    <a:lnTo>
                      <a:pt x="860" y="1644"/>
                    </a:lnTo>
                    <a:lnTo>
                      <a:pt x="856" y="1642"/>
                    </a:lnTo>
                    <a:lnTo>
                      <a:pt x="852" y="1644"/>
                    </a:lnTo>
                    <a:lnTo>
                      <a:pt x="845" y="1645"/>
                    </a:lnTo>
                    <a:lnTo>
                      <a:pt x="839" y="1644"/>
                    </a:lnTo>
                    <a:lnTo>
                      <a:pt x="835" y="1641"/>
                    </a:lnTo>
                    <a:lnTo>
                      <a:pt x="831" y="1635"/>
                    </a:lnTo>
                    <a:lnTo>
                      <a:pt x="829" y="1632"/>
                    </a:lnTo>
                    <a:lnTo>
                      <a:pt x="829" y="1628"/>
                    </a:lnTo>
                    <a:lnTo>
                      <a:pt x="830" y="1625"/>
                    </a:lnTo>
                    <a:lnTo>
                      <a:pt x="831" y="1622"/>
                    </a:lnTo>
                    <a:lnTo>
                      <a:pt x="833" y="1621"/>
                    </a:lnTo>
                    <a:lnTo>
                      <a:pt x="836" y="1620"/>
                    </a:lnTo>
                    <a:lnTo>
                      <a:pt x="838" y="1619"/>
                    </a:lnTo>
                    <a:lnTo>
                      <a:pt x="842" y="1618"/>
                    </a:lnTo>
                    <a:lnTo>
                      <a:pt x="857" y="1618"/>
                    </a:lnTo>
                    <a:lnTo>
                      <a:pt x="877" y="1620"/>
                    </a:lnTo>
                    <a:lnTo>
                      <a:pt x="886" y="1621"/>
                    </a:lnTo>
                    <a:lnTo>
                      <a:pt x="892" y="1623"/>
                    </a:lnTo>
                    <a:lnTo>
                      <a:pt x="894" y="1625"/>
                    </a:lnTo>
                    <a:lnTo>
                      <a:pt x="895" y="1626"/>
                    </a:lnTo>
                    <a:lnTo>
                      <a:pt x="895" y="1627"/>
                    </a:lnTo>
                    <a:lnTo>
                      <a:pt x="894" y="1629"/>
                    </a:lnTo>
                    <a:lnTo>
                      <a:pt x="889" y="1634"/>
                    </a:lnTo>
                    <a:lnTo>
                      <a:pt x="888" y="1638"/>
                    </a:lnTo>
                    <a:lnTo>
                      <a:pt x="887" y="1644"/>
                    </a:lnTo>
                    <a:lnTo>
                      <a:pt x="887" y="1650"/>
                    </a:lnTo>
                    <a:lnTo>
                      <a:pt x="887" y="1652"/>
                    </a:lnTo>
                    <a:lnTo>
                      <a:pt x="888" y="1654"/>
                    </a:lnTo>
                    <a:lnTo>
                      <a:pt x="889" y="1656"/>
                    </a:lnTo>
                    <a:lnTo>
                      <a:pt x="892" y="1657"/>
                    </a:lnTo>
                    <a:lnTo>
                      <a:pt x="898" y="1658"/>
                    </a:lnTo>
                    <a:lnTo>
                      <a:pt x="903" y="1661"/>
                    </a:lnTo>
                    <a:lnTo>
                      <a:pt x="905" y="1664"/>
                    </a:lnTo>
                    <a:lnTo>
                      <a:pt x="906" y="1666"/>
                    </a:lnTo>
                    <a:lnTo>
                      <a:pt x="906" y="1670"/>
                    </a:lnTo>
                    <a:lnTo>
                      <a:pt x="905" y="1673"/>
                    </a:lnTo>
                    <a:lnTo>
                      <a:pt x="902" y="1682"/>
                    </a:lnTo>
                    <a:lnTo>
                      <a:pt x="900" y="1688"/>
                    </a:lnTo>
                    <a:lnTo>
                      <a:pt x="893" y="1696"/>
                    </a:lnTo>
                    <a:lnTo>
                      <a:pt x="881" y="1705"/>
                    </a:lnTo>
                    <a:lnTo>
                      <a:pt x="877" y="1711"/>
                    </a:lnTo>
                    <a:lnTo>
                      <a:pt x="876" y="1714"/>
                    </a:lnTo>
                    <a:lnTo>
                      <a:pt x="877" y="1715"/>
                    </a:lnTo>
                    <a:lnTo>
                      <a:pt x="880" y="1716"/>
                    </a:lnTo>
                    <a:lnTo>
                      <a:pt x="882" y="1716"/>
                    </a:lnTo>
                    <a:lnTo>
                      <a:pt x="887" y="1715"/>
                    </a:lnTo>
                    <a:lnTo>
                      <a:pt x="893" y="1714"/>
                    </a:lnTo>
                    <a:lnTo>
                      <a:pt x="899" y="1711"/>
                    </a:lnTo>
                    <a:lnTo>
                      <a:pt x="906" y="1708"/>
                    </a:lnTo>
                    <a:lnTo>
                      <a:pt x="912" y="1704"/>
                    </a:lnTo>
                    <a:lnTo>
                      <a:pt x="919" y="1700"/>
                    </a:lnTo>
                    <a:lnTo>
                      <a:pt x="926" y="1697"/>
                    </a:lnTo>
                    <a:lnTo>
                      <a:pt x="932" y="1694"/>
                    </a:lnTo>
                    <a:lnTo>
                      <a:pt x="939" y="1692"/>
                    </a:lnTo>
                    <a:lnTo>
                      <a:pt x="949" y="1692"/>
                    </a:lnTo>
                    <a:lnTo>
                      <a:pt x="955" y="1690"/>
                    </a:lnTo>
                    <a:lnTo>
                      <a:pt x="957" y="1689"/>
                    </a:lnTo>
                    <a:lnTo>
                      <a:pt x="959" y="1688"/>
                    </a:lnTo>
                    <a:lnTo>
                      <a:pt x="961" y="1685"/>
                    </a:lnTo>
                    <a:lnTo>
                      <a:pt x="961" y="1683"/>
                    </a:lnTo>
                    <a:lnTo>
                      <a:pt x="962" y="1677"/>
                    </a:lnTo>
                    <a:lnTo>
                      <a:pt x="959" y="1672"/>
                    </a:lnTo>
                    <a:lnTo>
                      <a:pt x="958" y="1670"/>
                    </a:lnTo>
                    <a:lnTo>
                      <a:pt x="956" y="1669"/>
                    </a:lnTo>
                    <a:lnTo>
                      <a:pt x="952" y="1667"/>
                    </a:lnTo>
                    <a:lnTo>
                      <a:pt x="949" y="1667"/>
                    </a:lnTo>
                    <a:lnTo>
                      <a:pt x="940" y="1669"/>
                    </a:lnTo>
                    <a:lnTo>
                      <a:pt x="934" y="1666"/>
                    </a:lnTo>
                    <a:lnTo>
                      <a:pt x="932" y="1665"/>
                    </a:lnTo>
                    <a:lnTo>
                      <a:pt x="930" y="1663"/>
                    </a:lnTo>
                    <a:lnTo>
                      <a:pt x="927" y="1660"/>
                    </a:lnTo>
                    <a:lnTo>
                      <a:pt x="926" y="1656"/>
                    </a:lnTo>
                    <a:lnTo>
                      <a:pt x="926" y="1652"/>
                    </a:lnTo>
                    <a:lnTo>
                      <a:pt x="926" y="1648"/>
                    </a:lnTo>
                    <a:lnTo>
                      <a:pt x="927" y="1645"/>
                    </a:lnTo>
                    <a:lnTo>
                      <a:pt x="928" y="1641"/>
                    </a:lnTo>
                    <a:lnTo>
                      <a:pt x="933" y="1635"/>
                    </a:lnTo>
                    <a:lnTo>
                      <a:pt x="940" y="1631"/>
                    </a:lnTo>
                    <a:lnTo>
                      <a:pt x="946" y="1625"/>
                    </a:lnTo>
                    <a:lnTo>
                      <a:pt x="950" y="1621"/>
                    </a:lnTo>
                    <a:lnTo>
                      <a:pt x="950" y="1619"/>
                    </a:lnTo>
                    <a:lnTo>
                      <a:pt x="950" y="1616"/>
                    </a:lnTo>
                    <a:lnTo>
                      <a:pt x="947" y="1615"/>
                    </a:lnTo>
                    <a:lnTo>
                      <a:pt x="944" y="1613"/>
                    </a:lnTo>
                    <a:lnTo>
                      <a:pt x="936" y="1607"/>
                    </a:lnTo>
                    <a:lnTo>
                      <a:pt x="928" y="1600"/>
                    </a:lnTo>
                    <a:lnTo>
                      <a:pt x="923" y="1593"/>
                    </a:lnTo>
                    <a:lnTo>
                      <a:pt x="919" y="1584"/>
                    </a:lnTo>
                    <a:lnTo>
                      <a:pt x="917" y="1582"/>
                    </a:lnTo>
                    <a:lnTo>
                      <a:pt x="917" y="1578"/>
                    </a:lnTo>
                    <a:lnTo>
                      <a:pt x="918" y="1576"/>
                    </a:lnTo>
                    <a:lnTo>
                      <a:pt x="919" y="1574"/>
                    </a:lnTo>
                    <a:lnTo>
                      <a:pt x="921" y="1572"/>
                    </a:lnTo>
                    <a:lnTo>
                      <a:pt x="925" y="1571"/>
                    </a:lnTo>
                    <a:lnTo>
                      <a:pt x="928" y="1571"/>
                    </a:lnTo>
                    <a:lnTo>
                      <a:pt x="934" y="1571"/>
                    </a:lnTo>
                    <a:lnTo>
                      <a:pt x="939" y="1572"/>
                    </a:lnTo>
                    <a:lnTo>
                      <a:pt x="943" y="1575"/>
                    </a:lnTo>
                    <a:lnTo>
                      <a:pt x="947" y="1578"/>
                    </a:lnTo>
                    <a:lnTo>
                      <a:pt x="951" y="1582"/>
                    </a:lnTo>
                    <a:lnTo>
                      <a:pt x="957" y="1590"/>
                    </a:lnTo>
                    <a:lnTo>
                      <a:pt x="963" y="1600"/>
                    </a:lnTo>
                    <a:lnTo>
                      <a:pt x="965" y="1603"/>
                    </a:lnTo>
                    <a:lnTo>
                      <a:pt x="968" y="1607"/>
                    </a:lnTo>
                    <a:lnTo>
                      <a:pt x="970" y="1609"/>
                    </a:lnTo>
                    <a:lnTo>
                      <a:pt x="974" y="1610"/>
                    </a:lnTo>
                    <a:lnTo>
                      <a:pt x="977" y="1612"/>
                    </a:lnTo>
                    <a:lnTo>
                      <a:pt x="980" y="1612"/>
                    </a:lnTo>
                    <a:lnTo>
                      <a:pt x="983" y="1612"/>
                    </a:lnTo>
                    <a:lnTo>
                      <a:pt x="987" y="1609"/>
                    </a:lnTo>
                    <a:lnTo>
                      <a:pt x="995" y="1607"/>
                    </a:lnTo>
                    <a:lnTo>
                      <a:pt x="1007" y="1606"/>
                    </a:lnTo>
                    <a:lnTo>
                      <a:pt x="1018" y="1606"/>
                    </a:lnTo>
                    <a:lnTo>
                      <a:pt x="1026" y="1606"/>
                    </a:lnTo>
                    <a:lnTo>
                      <a:pt x="1029" y="1606"/>
                    </a:lnTo>
                    <a:lnTo>
                      <a:pt x="1032" y="1607"/>
                    </a:lnTo>
                    <a:lnTo>
                      <a:pt x="1034" y="1608"/>
                    </a:lnTo>
                    <a:lnTo>
                      <a:pt x="1035" y="1610"/>
                    </a:lnTo>
                    <a:lnTo>
                      <a:pt x="1039" y="1616"/>
                    </a:lnTo>
                    <a:lnTo>
                      <a:pt x="1040" y="1626"/>
                    </a:lnTo>
                    <a:lnTo>
                      <a:pt x="1041" y="1629"/>
                    </a:lnTo>
                    <a:lnTo>
                      <a:pt x="1044" y="1634"/>
                    </a:lnTo>
                    <a:lnTo>
                      <a:pt x="1047" y="1639"/>
                    </a:lnTo>
                    <a:lnTo>
                      <a:pt x="1053" y="1644"/>
                    </a:lnTo>
                    <a:lnTo>
                      <a:pt x="1059" y="1647"/>
                    </a:lnTo>
                    <a:lnTo>
                      <a:pt x="1066" y="1650"/>
                    </a:lnTo>
                    <a:lnTo>
                      <a:pt x="1075" y="1651"/>
                    </a:lnTo>
                    <a:lnTo>
                      <a:pt x="1083" y="1651"/>
                    </a:lnTo>
                    <a:lnTo>
                      <a:pt x="1090" y="1648"/>
                    </a:lnTo>
                    <a:lnTo>
                      <a:pt x="1097" y="1645"/>
                    </a:lnTo>
                    <a:lnTo>
                      <a:pt x="1102" y="1640"/>
                    </a:lnTo>
                    <a:lnTo>
                      <a:pt x="1106" y="1634"/>
                    </a:lnTo>
                    <a:lnTo>
                      <a:pt x="1109" y="1628"/>
                    </a:lnTo>
                    <a:lnTo>
                      <a:pt x="1110" y="1621"/>
                    </a:lnTo>
                    <a:lnTo>
                      <a:pt x="1110" y="1613"/>
                    </a:lnTo>
                    <a:lnTo>
                      <a:pt x="1110" y="1606"/>
                    </a:lnTo>
                    <a:lnTo>
                      <a:pt x="1108" y="1588"/>
                    </a:lnTo>
                    <a:lnTo>
                      <a:pt x="1106" y="1570"/>
                    </a:lnTo>
                    <a:lnTo>
                      <a:pt x="1103" y="1553"/>
                    </a:lnTo>
                    <a:lnTo>
                      <a:pt x="1102" y="1540"/>
                    </a:lnTo>
                    <a:lnTo>
                      <a:pt x="1101" y="1533"/>
                    </a:lnTo>
                    <a:lnTo>
                      <a:pt x="1100" y="1525"/>
                    </a:lnTo>
                    <a:lnTo>
                      <a:pt x="1101" y="1521"/>
                    </a:lnTo>
                    <a:lnTo>
                      <a:pt x="1103" y="1518"/>
                    </a:lnTo>
                    <a:lnTo>
                      <a:pt x="1106" y="1515"/>
                    </a:lnTo>
                    <a:lnTo>
                      <a:pt x="1110" y="1514"/>
                    </a:lnTo>
                    <a:lnTo>
                      <a:pt x="1114" y="1514"/>
                    </a:lnTo>
                    <a:lnTo>
                      <a:pt x="1115" y="1514"/>
                    </a:lnTo>
                    <a:lnTo>
                      <a:pt x="1117" y="1515"/>
                    </a:lnTo>
                    <a:lnTo>
                      <a:pt x="1119" y="1516"/>
                    </a:lnTo>
                    <a:lnTo>
                      <a:pt x="1121" y="1521"/>
                    </a:lnTo>
                    <a:lnTo>
                      <a:pt x="1122" y="1526"/>
                    </a:lnTo>
                    <a:lnTo>
                      <a:pt x="1123" y="1536"/>
                    </a:lnTo>
                    <a:lnTo>
                      <a:pt x="1125" y="1540"/>
                    </a:lnTo>
                    <a:lnTo>
                      <a:pt x="1128" y="1541"/>
                    </a:lnTo>
                    <a:lnTo>
                      <a:pt x="1132" y="1541"/>
                    </a:lnTo>
                    <a:lnTo>
                      <a:pt x="1135" y="1541"/>
                    </a:lnTo>
                    <a:lnTo>
                      <a:pt x="1139" y="1540"/>
                    </a:lnTo>
                    <a:lnTo>
                      <a:pt x="1147" y="1537"/>
                    </a:lnTo>
                    <a:lnTo>
                      <a:pt x="1152" y="1532"/>
                    </a:lnTo>
                    <a:lnTo>
                      <a:pt x="1154" y="1530"/>
                    </a:lnTo>
                    <a:lnTo>
                      <a:pt x="1157" y="1528"/>
                    </a:lnTo>
                    <a:lnTo>
                      <a:pt x="1159" y="1528"/>
                    </a:lnTo>
                    <a:lnTo>
                      <a:pt x="1160" y="1528"/>
                    </a:lnTo>
                    <a:lnTo>
                      <a:pt x="1163" y="1531"/>
                    </a:lnTo>
                    <a:lnTo>
                      <a:pt x="1164" y="1536"/>
                    </a:lnTo>
                    <a:lnTo>
                      <a:pt x="1163" y="1540"/>
                    </a:lnTo>
                    <a:lnTo>
                      <a:pt x="1161" y="1543"/>
                    </a:lnTo>
                    <a:lnTo>
                      <a:pt x="1158" y="1545"/>
                    </a:lnTo>
                    <a:lnTo>
                      <a:pt x="1152" y="1547"/>
                    </a:lnTo>
                    <a:lnTo>
                      <a:pt x="1145" y="1551"/>
                    </a:lnTo>
                    <a:lnTo>
                      <a:pt x="1140" y="1555"/>
                    </a:lnTo>
                    <a:lnTo>
                      <a:pt x="1135" y="1559"/>
                    </a:lnTo>
                    <a:lnTo>
                      <a:pt x="1132" y="1566"/>
                    </a:lnTo>
                    <a:lnTo>
                      <a:pt x="1131" y="1574"/>
                    </a:lnTo>
                    <a:lnTo>
                      <a:pt x="1132" y="1582"/>
                    </a:lnTo>
                    <a:lnTo>
                      <a:pt x="1133" y="1585"/>
                    </a:lnTo>
                    <a:lnTo>
                      <a:pt x="1134" y="1589"/>
                    </a:lnTo>
                    <a:lnTo>
                      <a:pt x="1138" y="1591"/>
                    </a:lnTo>
                    <a:lnTo>
                      <a:pt x="1141" y="1594"/>
                    </a:lnTo>
                    <a:lnTo>
                      <a:pt x="1156" y="1601"/>
                    </a:lnTo>
                    <a:lnTo>
                      <a:pt x="1170" y="1610"/>
                    </a:lnTo>
                    <a:lnTo>
                      <a:pt x="1177" y="1615"/>
                    </a:lnTo>
                    <a:lnTo>
                      <a:pt x="1184" y="1619"/>
                    </a:lnTo>
                    <a:lnTo>
                      <a:pt x="1191" y="1621"/>
                    </a:lnTo>
                    <a:lnTo>
                      <a:pt x="1198" y="1622"/>
                    </a:lnTo>
                    <a:lnTo>
                      <a:pt x="1202" y="1621"/>
                    </a:lnTo>
                    <a:lnTo>
                      <a:pt x="1205" y="1620"/>
                    </a:lnTo>
                    <a:lnTo>
                      <a:pt x="1209" y="1618"/>
                    </a:lnTo>
                    <a:lnTo>
                      <a:pt x="1214" y="1615"/>
                    </a:lnTo>
                    <a:lnTo>
                      <a:pt x="1219" y="1610"/>
                    </a:lnTo>
                    <a:lnTo>
                      <a:pt x="1222" y="1606"/>
                    </a:lnTo>
                    <a:lnTo>
                      <a:pt x="1227" y="1600"/>
                    </a:lnTo>
                    <a:lnTo>
                      <a:pt x="1232" y="1593"/>
                    </a:lnTo>
                    <a:lnTo>
                      <a:pt x="1238" y="1581"/>
                    </a:lnTo>
                    <a:lnTo>
                      <a:pt x="1249" y="1563"/>
                    </a:lnTo>
                    <a:lnTo>
                      <a:pt x="1255" y="1555"/>
                    </a:lnTo>
                    <a:lnTo>
                      <a:pt x="1262" y="1547"/>
                    </a:lnTo>
                    <a:lnTo>
                      <a:pt x="1268" y="1541"/>
                    </a:lnTo>
                    <a:lnTo>
                      <a:pt x="1273" y="1539"/>
                    </a:lnTo>
                    <a:lnTo>
                      <a:pt x="1283" y="1536"/>
                    </a:lnTo>
                    <a:lnTo>
                      <a:pt x="1295" y="1534"/>
                    </a:lnTo>
                    <a:lnTo>
                      <a:pt x="1301" y="1536"/>
                    </a:lnTo>
                    <a:lnTo>
                      <a:pt x="1305" y="1538"/>
                    </a:lnTo>
                    <a:lnTo>
                      <a:pt x="1308" y="1540"/>
                    </a:lnTo>
                    <a:lnTo>
                      <a:pt x="1309" y="1543"/>
                    </a:lnTo>
                    <a:lnTo>
                      <a:pt x="1311" y="1545"/>
                    </a:lnTo>
                    <a:lnTo>
                      <a:pt x="1312" y="1549"/>
                    </a:lnTo>
                    <a:lnTo>
                      <a:pt x="1316" y="1563"/>
                    </a:lnTo>
                    <a:lnTo>
                      <a:pt x="1320" y="1572"/>
                    </a:lnTo>
                    <a:lnTo>
                      <a:pt x="1322" y="1575"/>
                    </a:lnTo>
                    <a:lnTo>
                      <a:pt x="1325" y="1577"/>
                    </a:lnTo>
                    <a:lnTo>
                      <a:pt x="1329" y="1577"/>
                    </a:lnTo>
                    <a:lnTo>
                      <a:pt x="1334" y="1576"/>
                    </a:lnTo>
                    <a:lnTo>
                      <a:pt x="1342" y="1572"/>
                    </a:lnTo>
                    <a:lnTo>
                      <a:pt x="1349" y="1568"/>
                    </a:lnTo>
                    <a:lnTo>
                      <a:pt x="1354" y="1563"/>
                    </a:lnTo>
                    <a:lnTo>
                      <a:pt x="1359" y="1556"/>
                    </a:lnTo>
                    <a:lnTo>
                      <a:pt x="1364" y="1547"/>
                    </a:lnTo>
                    <a:lnTo>
                      <a:pt x="1371" y="1539"/>
                    </a:lnTo>
                    <a:lnTo>
                      <a:pt x="1374" y="1536"/>
                    </a:lnTo>
                    <a:lnTo>
                      <a:pt x="1377" y="1532"/>
                    </a:lnTo>
                    <a:lnTo>
                      <a:pt x="1377" y="1528"/>
                    </a:lnTo>
                    <a:lnTo>
                      <a:pt x="1375" y="1527"/>
                    </a:lnTo>
                    <a:lnTo>
                      <a:pt x="1372" y="1520"/>
                    </a:lnTo>
                    <a:lnTo>
                      <a:pt x="1367" y="1505"/>
                    </a:lnTo>
                    <a:lnTo>
                      <a:pt x="1364" y="1488"/>
                    </a:lnTo>
                    <a:lnTo>
                      <a:pt x="1362" y="1476"/>
                    </a:lnTo>
                    <a:lnTo>
                      <a:pt x="1364" y="1465"/>
                    </a:lnTo>
                    <a:lnTo>
                      <a:pt x="1366" y="1452"/>
                    </a:lnTo>
                    <a:lnTo>
                      <a:pt x="1371" y="1439"/>
                    </a:lnTo>
                    <a:lnTo>
                      <a:pt x="1377" y="1430"/>
                    </a:lnTo>
                    <a:lnTo>
                      <a:pt x="1378" y="1426"/>
                    </a:lnTo>
                    <a:lnTo>
                      <a:pt x="1379" y="1423"/>
                    </a:lnTo>
                    <a:lnTo>
                      <a:pt x="1380" y="1419"/>
                    </a:lnTo>
                    <a:lnTo>
                      <a:pt x="1380" y="1415"/>
                    </a:lnTo>
                    <a:lnTo>
                      <a:pt x="1379" y="1405"/>
                    </a:lnTo>
                    <a:lnTo>
                      <a:pt x="1378" y="1388"/>
                    </a:lnTo>
                    <a:lnTo>
                      <a:pt x="1375" y="1370"/>
                    </a:lnTo>
                    <a:lnTo>
                      <a:pt x="1371" y="1356"/>
                    </a:lnTo>
                    <a:lnTo>
                      <a:pt x="1367" y="1343"/>
                    </a:lnTo>
                    <a:lnTo>
                      <a:pt x="1366" y="1333"/>
                    </a:lnTo>
                    <a:lnTo>
                      <a:pt x="1367" y="1325"/>
                    </a:lnTo>
                    <a:lnTo>
                      <a:pt x="1369" y="1317"/>
                    </a:lnTo>
                    <a:lnTo>
                      <a:pt x="1372" y="1313"/>
                    </a:lnTo>
                    <a:lnTo>
                      <a:pt x="1373" y="1310"/>
                    </a:lnTo>
                    <a:lnTo>
                      <a:pt x="1375" y="1307"/>
                    </a:lnTo>
                    <a:lnTo>
                      <a:pt x="1378" y="1307"/>
                    </a:lnTo>
                    <a:lnTo>
                      <a:pt x="1380" y="1307"/>
                    </a:lnTo>
                    <a:lnTo>
                      <a:pt x="1384" y="1310"/>
                    </a:lnTo>
                    <a:lnTo>
                      <a:pt x="1386" y="1314"/>
                    </a:lnTo>
                    <a:lnTo>
                      <a:pt x="1388" y="1319"/>
                    </a:lnTo>
                    <a:lnTo>
                      <a:pt x="1393" y="1332"/>
                    </a:lnTo>
                    <a:lnTo>
                      <a:pt x="1397" y="1347"/>
                    </a:lnTo>
                    <a:lnTo>
                      <a:pt x="1398" y="1356"/>
                    </a:lnTo>
                    <a:lnTo>
                      <a:pt x="1398" y="1371"/>
                    </a:lnTo>
                    <a:lnTo>
                      <a:pt x="1399" y="1392"/>
                    </a:lnTo>
                    <a:lnTo>
                      <a:pt x="1402" y="1413"/>
                    </a:lnTo>
                    <a:lnTo>
                      <a:pt x="1406" y="1438"/>
                    </a:lnTo>
                    <a:lnTo>
                      <a:pt x="1411" y="1458"/>
                    </a:lnTo>
                    <a:lnTo>
                      <a:pt x="1417" y="1474"/>
                    </a:lnTo>
                    <a:lnTo>
                      <a:pt x="1421" y="1480"/>
                    </a:lnTo>
                    <a:lnTo>
                      <a:pt x="1425" y="1483"/>
                    </a:lnTo>
                    <a:lnTo>
                      <a:pt x="1430" y="1486"/>
                    </a:lnTo>
                    <a:lnTo>
                      <a:pt x="1434" y="1488"/>
                    </a:lnTo>
                    <a:lnTo>
                      <a:pt x="1436" y="1492"/>
                    </a:lnTo>
                    <a:lnTo>
                      <a:pt x="1442" y="1505"/>
                    </a:lnTo>
                    <a:lnTo>
                      <a:pt x="1446" y="1515"/>
                    </a:lnTo>
                    <a:lnTo>
                      <a:pt x="1447" y="1516"/>
                    </a:lnTo>
                    <a:lnTo>
                      <a:pt x="1449" y="1518"/>
                    </a:lnTo>
                    <a:lnTo>
                      <a:pt x="1450" y="1518"/>
                    </a:lnTo>
                    <a:lnTo>
                      <a:pt x="1453" y="1518"/>
                    </a:lnTo>
                    <a:lnTo>
                      <a:pt x="1457" y="1515"/>
                    </a:lnTo>
                    <a:lnTo>
                      <a:pt x="1465" y="1508"/>
                    </a:lnTo>
                    <a:lnTo>
                      <a:pt x="1478" y="1496"/>
                    </a:lnTo>
                    <a:lnTo>
                      <a:pt x="1491" y="1481"/>
                    </a:lnTo>
                    <a:lnTo>
                      <a:pt x="1498" y="1473"/>
                    </a:lnTo>
                    <a:lnTo>
                      <a:pt x="1503" y="1463"/>
                    </a:lnTo>
                    <a:lnTo>
                      <a:pt x="1507" y="1453"/>
                    </a:lnTo>
                    <a:lnTo>
                      <a:pt x="1511" y="1444"/>
                    </a:lnTo>
                    <a:lnTo>
                      <a:pt x="1512" y="1437"/>
                    </a:lnTo>
                    <a:lnTo>
                      <a:pt x="1512" y="1430"/>
                    </a:lnTo>
                    <a:lnTo>
                      <a:pt x="1511" y="1424"/>
                    </a:lnTo>
                    <a:lnTo>
                      <a:pt x="1509" y="1418"/>
                    </a:lnTo>
                    <a:lnTo>
                      <a:pt x="1503" y="1405"/>
                    </a:lnTo>
                    <a:lnTo>
                      <a:pt x="1497" y="1393"/>
                    </a:lnTo>
                    <a:lnTo>
                      <a:pt x="1493" y="1382"/>
                    </a:lnTo>
                    <a:lnTo>
                      <a:pt x="1488" y="1371"/>
                    </a:lnTo>
                    <a:lnTo>
                      <a:pt x="1486" y="1367"/>
                    </a:lnTo>
                    <a:lnTo>
                      <a:pt x="1484" y="1362"/>
                    </a:lnTo>
                    <a:lnTo>
                      <a:pt x="1479" y="1358"/>
                    </a:lnTo>
                    <a:lnTo>
                      <a:pt x="1475" y="1355"/>
                    </a:lnTo>
                    <a:lnTo>
                      <a:pt x="1471" y="1352"/>
                    </a:lnTo>
                    <a:lnTo>
                      <a:pt x="1468" y="1350"/>
                    </a:lnTo>
                    <a:lnTo>
                      <a:pt x="1466" y="1348"/>
                    </a:lnTo>
                    <a:lnTo>
                      <a:pt x="1465" y="1344"/>
                    </a:lnTo>
                    <a:lnTo>
                      <a:pt x="1465" y="1342"/>
                    </a:lnTo>
                    <a:lnTo>
                      <a:pt x="1466" y="1339"/>
                    </a:lnTo>
                    <a:lnTo>
                      <a:pt x="1468" y="1338"/>
                    </a:lnTo>
                    <a:lnTo>
                      <a:pt x="1471" y="1337"/>
                    </a:lnTo>
                    <a:lnTo>
                      <a:pt x="1474" y="1338"/>
                    </a:lnTo>
                    <a:lnTo>
                      <a:pt x="1479" y="1339"/>
                    </a:lnTo>
                    <a:lnTo>
                      <a:pt x="1484" y="1343"/>
                    </a:lnTo>
                    <a:lnTo>
                      <a:pt x="1488" y="1348"/>
                    </a:lnTo>
                    <a:lnTo>
                      <a:pt x="1493" y="1354"/>
                    </a:lnTo>
                    <a:lnTo>
                      <a:pt x="1498" y="1360"/>
                    </a:lnTo>
                    <a:lnTo>
                      <a:pt x="1503" y="1367"/>
                    </a:lnTo>
                    <a:lnTo>
                      <a:pt x="1507" y="1374"/>
                    </a:lnTo>
                    <a:lnTo>
                      <a:pt x="1513" y="1388"/>
                    </a:lnTo>
                    <a:lnTo>
                      <a:pt x="1517" y="1399"/>
                    </a:lnTo>
                    <a:lnTo>
                      <a:pt x="1519" y="1407"/>
                    </a:lnTo>
                    <a:lnTo>
                      <a:pt x="1523" y="1412"/>
                    </a:lnTo>
                    <a:lnTo>
                      <a:pt x="1528" y="1413"/>
                    </a:lnTo>
                    <a:lnTo>
                      <a:pt x="1532" y="1415"/>
                    </a:lnTo>
                    <a:lnTo>
                      <a:pt x="1536" y="1418"/>
                    </a:lnTo>
                    <a:lnTo>
                      <a:pt x="1539" y="1424"/>
                    </a:lnTo>
                    <a:lnTo>
                      <a:pt x="1543" y="1429"/>
                    </a:lnTo>
                    <a:lnTo>
                      <a:pt x="1547" y="1432"/>
                    </a:lnTo>
                    <a:lnTo>
                      <a:pt x="1551" y="1433"/>
                    </a:lnTo>
                    <a:lnTo>
                      <a:pt x="1560" y="1434"/>
                    </a:lnTo>
                    <a:lnTo>
                      <a:pt x="1564" y="1433"/>
                    </a:lnTo>
                    <a:lnTo>
                      <a:pt x="1570" y="1432"/>
                    </a:lnTo>
                    <a:lnTo>
                      <a:pt x="1578" y="1429"/>
                    </a:lnTo>
                    <a:lnTo>
                      <a:pt x="1583" y="1425"/>
                    </a:lnTo>
                    <a:lnTo>
                      <a:pt x="1589" y="1420"/>
                    </a:lnTo>
                    <a:lnTo>
                      <a:pt x="1595" y="1415"/>
                    </a:lnTo>
                    <a:lnTo>
                      <a:pt x="1599" y="1411"/>
                    </a:lnTo>
                    <a:lnTo>
                      <a:pt x="1601" y="1405"/>
                    </a:lnTo>
                    <a:lnTo>
                      <a:pt x="1601" y="1400"/>
                    </a:lnTo>
                    <a:lnTo>
                      <a:pt x="1600" y="1394"/>
                    </a:lnTo>
                    <a:lnTo>
                      <a:pt x="1598" y="1390"/>
                    </a:lnTo>
                    <a:lnTo>
                      <a:pt x="1597" y="1386"/>
                    </a:lnTo>
                    <a:lnTo>
                      <a:pt x="1594" y="1382"/>
                    </a:lnTo>
                    <a:lnTo>
                      <a:pt x="1594" y="1379"/>
                    </a:lnTo>
                    <a:lnTo>
                      <a:pt x="1594" y="1376"/>
                    </a:lnTo>
                    <a:lnTo>
                      <a:pt x="1597" y="1375"/>
                    </a:lnTo>
                    <a:lnTo>
                      <a:pt x="1599" y="1373"/>
                    </a:lnTo>
                    <a:lnTo>
                      <a:pt x="1601" y="1370"/>
                    </a:lnTo>
                    <a:lnTo>
                      <a:pt x="1604" y="1367"/>
                    </a:lnTo>
                    <a:lnTo>
                      <a:pt x="1605" y="1362"/>
                    </a:lnTo>
                    <a:lnTo>
                      <a:pt x="1606" y="1357"/>
                    </a:lnTo>
                    <a:lnTo>
                      <a:pt x="1605" y="1354"/>
                    </a:lnTo>
                    <a:lnTo>
                      <a:pt x="1604" y="1350"/>
                    </a:lnTo>
                    <a:lnTo>
                      <a:pt x="1600" y="1347"/>
                    </a:lnTo>
                    <a:lnTo>
                      <a:pt x="1595" y="1343"/>
                    </a:lnTo>
                    <a:lnTo>
                      <a:pt x="1591" y="1339"/>
                    </a:lnTo>
                    <a:lnTo>
                      <a:pt x="1587" y="1336"/>
                    </a:lnTo>
                    <a:lnTo>
                      <a:pt x="1583" y="1331"/>
                    </a:lnTo>
                    <a:lnTo>
                      <a:pt x="1582" y="1326"/>
                    </a:lnTo>
                    <a:lnTo>
                      <a:pt x="1581" y="1320"/>
                    </a:lnTo>
                    <a:lnTo>
                      <a:pt x="1581" y="1313"/>
                    </a:lnTo>
                    <a:lnTo>
                      <a:pt x="1583" y="1304"/>
                    </a:lnTo>
                    <a:lnTo>
                      <a:pt x="1588" y="1288"/>
                    </a:lnTo>
                    <a:lnTo>
                      <a:pt x="1591" y="1275"/>
                    </a:lnTo>
                    <a:lnTo>
                      <a:pt x="1591" y="1270"/>
                    </a:lnTo>
                    <a:lnTo>
                      <a:pt x="1591" y="1267"/>
                    </a:lnTo>
                    <a:lnTo>
                      <a:pt x="1588" y="1263"/>
                    </a:lnTo>
                    <a:lnTo>
                      <a:pt x="1586" y="1261"/>
                    </a:lnTo>
                    <a:lnTo>
                      <a:pt x="1583" y="1260"/>
                    </a:lnTo>
                    <a:lnTo>
                      <a:pt x="1582" y="1256"/>
                    </a:lnTo>
                    <a:lnTo>
                      <a:pt x="1581" y="1253"/>
                    </a:lnTo>
                    <a:lnTo>
                      <a:pt x="1580" y="1248"/>
                    </a:lnTo>
                    <a:lnTo>
                      <a:pt x="1579" y="1240"/>
                    </a:lnTo>
                    <a:lnTo>
                      <a:pt x="1576" y="1232"/>
                    </a:lnTo>
                    <a:lnTo>
                      <a:pt x="1574" y="1229"/>
                    </a:lnTo>
                    <a:lnTo>
                      <a:pt x="1570" y="1226"/>
                    </a:lnTo>
                    <a:lnTo>
                      <a:pt x="1564" y="1223"/>
                    </a:lnTo>
                    <a:lnTo>
                      <a:pt x="1557" y="1219"/>
                    </a:lnTo>
                    <a:lnTo>
                      <a:pt x="1543" y="1213"/>
                    </a:lnTo>
                    <a:lnTo>
                      <a:pt x="1531" y="1209"/>
                    </a:lnTo>
                    <a:lnTo>
                      <a:pt x="1520" y="1205"/>
                    </a:lnTo>
                    <a:lnTo>
                      <a:pt x="1510" y="1202"/>
                    </a:lnTo>
                    <a:lnTo>
                      <a:pt x="1506" y="1199"/>
                    </a:lnTo>
                    <a:lnTo>
                      <a:pt x="1503" y="1196"/>
                    </a:lnTo>
                    <a:lnTo>
                      <a:pt x="1500" y="1192"/>
                    </a:lnTo>
                    <a:lnTo>
                      <a:pt x="1500" y="1187"/>
                    </a:lnTo>
                    <a:lnTo>
                      <a:pt x="1501" y="1185"/>
                    </a:lnTo>
                    <a:lnTo>
                      <a:pt x="1504" y="1182"/>
                    </a:lnTo>
                    <a:lnTo>
                      <a:pt x="1506" y="1180"/>
                    </a:lnTo>
                    <a:lnTo>
                      <a:pt x="1510" y="1179"/>
                    </a:lnTo>
                    <a:lnTo>
                      <a:pt x="1517" y="1178"/>
                    </a:lnTo>
                    <a:lnTo>
                      <a:pt x="1526" y="1177"/>
                    </a:lnTo>
                    <a:lnTo>
                      <a:pt x="1545" y="1177"/>
                    </a:lnTo>
                    <a:lnTo>
                      <a:pt x="1560" y="1175"/>
                    </a:lnTo>
                    <a:lnTo>
                      <a:pt x="1569" y="1174"/>
                    </a:lnTo>
                    <a:lnTo>
                      <a:pt x="1579" y="1174"/>
                    </a:lnTo>
                    <a:lnTo>
                      <a:pt x="1582" y="1173"/>
                    </a:lnTo>
                    <a:lnTo>
                      <a:pt x="1585" y="1172"/>
                    </a:lnTo>
                    <a:lnTo>
                      <a:pt x="1587" y="1171"/>
                    </a:lnTo>
                    <a:lnTo>
                      <a:pt x="1588" y="1167"/>
                    </a:lnTo>
                    <a:lnTo>
                      <a:pt x="1587" y="1162"/>
                    </a:lnTo>
                    <a:lnTo>
                      <a:pt x="1586" y="1159"/>
                    </a:lnTo>
                    <a:lnTo>
                      <a:pt x="1581" y="1156"/>
                    </a:lnTo>
                    <a:lnTo>
                      <a:pt x="1574" y="1154"/>
                    </a:lnTo>
                    <a:lnTo>
                      <a:pt x="1569" y="1153"/>
                    </a:lnTo>
                    <a:lnTo>
                      <a:pt x="1566" y="1149"/>
                    </a:lnTo>
                    <a:lnTo>
                      <a:pt x="1562" y="1146"/>
                    </a:lnTo>
                    <a:lnTo>
                      <a:pt x="1558" y="1141"/>
                    </a:lnTo>
                    <a:lnTo>
                      <a:pt x="1555" y="1135"/>
                    </a:lnTo>
                    <a:lnTo>
                      <a:pt x="1553" y="1130"/>
                    </a:lnTo>
                    <a:lnTo>
                      <a:pt x="1551" y="1124"/>
                    </a:lnTo>
                    <a:lnTo>
                      <a:pt x="1551" y="1119"/>
                    </a:lnTo>
                    <a:lnTo>
                      <a:pt x="1554" y="1108"/>
                    </a:lnTo>
                    <a:lnTo>
                      <a:pt x="1556" y="1095"/>
                    </a:lnTo>
                    <a:lnTo>
                      <a:pt x="1557" y="1087"/>
                    </a:lnTo>
                    <a:lnTo>
                      <a:pt x="1557" y="1080"/>
                    </a:lnTo>
                    <a:lnTo>
                      <a:pt x="1556" y="1074"/>
                    </a:lnTo>
                    <a:lnTo>
                      <a:pt x="1555" y="1068"/>
                    </a:lnTo>
                    <a:lnTo>
                      <a:pt x="1551" y="1060"/>
                    </a:lnTo>
                    <a:lnTo>
                      <a:pt x="1551" y="1054"/>
                    </a:lnTo>
                    <a:lnTo>
                      <a:pt x="1551" y="1053"/>
                    </a:lnTo>
                    <a:lnTo>
                      <a:pt x="1553" y="1052"/>
                    </a:lnTo>
                    <a:lnTo>
                      <a:pt x="1555" y="1051"/>
                    </a:lnTo>
                    <a:lnTo>
                      <a:pt x="1557" y="1051"/>
                    </a:lnTo>
                    <a:lnTo>
                      <a:pt x="1561" y="1052"/>
                    </a:lnTo>
                    <a:lnTo>
                      <a:pt x="1563" y="1055"/>
                    </a:lnTo>
                    <a:lnTo>
                      <a:pt x="1564" y="1060"/>
                    </a:lnTo>
                    <a:lnTo>
                      <a:pt x="1567" y="1065"/>
                    </a:lnTo>
                    <a:lnTo>
                      <a:pt x="1570" y="1077"/>
                    </a:lnTo>
                    <a:lnTo>
                      <a:pt x="1575" y="1089"/>
                    </a:lnTo>
                    <a:lnTo>
                      <a:pt x="1580" y="1096"/>
                    </a:lnTo>
                    <a:lnTo>
                      <a:pt x="1583" y="1100"/>
                    </a:lnTo>
                    <a:lnTo>
                      <a:pt x="1586" y="1102"/>
                    </a:lnTo>
                    <a:lnTo>
                      <a:pt x="1588" y="1100"/>
                    </a:lnTo>
                    <a:lnTo>
                      <a:pt x="1589" y="1099"/>
                    </a:lnTo>
                    <a:lnTo>
                      <a:pt x="1592" y="1097"/>
                    </a:lnTo>
                    <a:lnTo>
                      <a:pt x="1594" y="1093"/>
                    </a:lnTo>
                    <a:lnTo>
                      <a:pt x="1597" y="1092"/>
                    </a:lnTo>
                    <a:lnTo>
                      <a:pt x="1599" y="1092"/>
                    </a:lnTo>
                    <a:lnTo>
                      <a:pt x="1600" y="1095"/>
                    </a:lnTo>
                    <a:lnTo>
                      <a:pt x="1601" y="1097"/>
                    </a:lnTo>
                    <a:lnTo>
                      <a:pt x="1602" y="1102"/>
                    </a:lnTo>
                    <a:lnTo>
                      <a:pt x="1602" y="1108"/>
                    </a:lnTo>
                    <a:lnTo>
                      <a:pt x="1601" y="1115"/>
                    </a:lnTo>
                    <a:lnTo>
                      <a:pt x="1600" y="1129"/>
                    </a:lnTo>
                    <a:lnTo>
                      <a:pt x="1601" y="1140"/>
                    </a:lnTo>
                    <a:lnTo>
                      <a:pt x="1602" y="1144"/>
                    </a:lnTo>
                    <a:lnTo>
                      <a:pt x="1605" y="1148"/>
                    </a:lnTo>
                    <a:lnTo>
                      <a:pt x="1607" y="1152"/>
                    </a:lnTo>
                    <a:lnTo>
                      <a:pt x="1610" y="1155"/>
                    </a:lnTo>
                    <a:lnTo>
                      <a:pt x="1618" y="1161"/>
                    </a:lnTo>
                    <a:lnTo>
                      <a:pt x="1629" y="1166"/>
                    </a:lnTo>
                    <a:lnTo>
                      <a:pt x="1639" y="1169"/>
                    </a:lnTo>
                    <a:lnTo>
                      <a:pt x="1648" y="1173"/>
                    </a:lnTo>
                    <a:lnTo>
                      <a:pt x="1652" y="1175"/>
                    </a:lnTo>
                    <a:lnTo>
                      <a:pt x="1656" y="1177"/>
                    </a:lnTo>
                    <a:lnTo>
                      <a:pt x="1658" y="1179"/>
                    </a:lnTo>
                    <a:lnTo>
                      <a:pt x="1660" y="1181"/>
                    </a:lnTo>
                    <a:lnTo>
                      <a:pt x="1662" y="1184"/>
                    </a:lnTo>
                    <a:lnTo>
                      <a:pt x="1662" y="1188"/>
                    </a:lnTo>
                    <a:lnTo>
                      <a:pt x="1664" y="1200"/>
                    </a:lnTo>
                    <a:lnTo>
                      <a:pt x="1665" y="1210"/>
                    </a:lnTo>
                    <a:lnTo>
                      <a:pt x="1667" y="1215"/>
                    </a:lnTo>
                    <a:lnTo>
                      <a:pt x="1668" y="1219"/>
                    </a:lnTo>
                    <a:lnTo>
                      <a:pt x="1670" y="1224"/>
                    </a:lnTo>
                    <a:lnTo>
                      <a:pt x="1674" y="1228"/>
                    </a:lnTo>
                    <a:lnTo>
                      <a:pt x="1683" y="1236"/>
                    </a:lnTo>
                    <a:lnTo>
                      <a:pt x="1695" y="1247"/>
                    </a:lnTo>
                    <a:lnTo>
                      <a:pt x="1706" y="1257"/>
                    </a:lnTo>
                    <a:lnTo>
                      <a:pt x="1713" y="1268"/>
                    </a:lnTo>
                    <a:lnTo>
                      <a:pt x="1717" y="1273"/>
                    </a:lnTo>
                    <a:lnTo>
                      <a:pt x="1719" y="1279"/>
                    </a:lnTo>
                    <a:lnTo>
                      <a:pt x="1723" y="1284"/>
                    </a:lnTo>
                    <a:lnTo>
                      <a:pt x="1726" y="1286"/>
                    </a:lnTo>
                    <a:lnTo>
                      <a:pt x="1730" y="1286"/>
                    </a:lnTo>
                    <a:lnTo>
                      <a:pt x="1733" y="1284"/>
                    </a:lnTo>
                    <a:lnTo>
                      <a:pt x="1738" y="1280"/>
                    </a:lnTo>
                    <a:lnTo>
                      <a:pt x="1742" y="1276"/>
                    </a:lnTo>
                    <a:lnTo>
                      <a:pt x="1747" y="1273"/>
                    </a:lnTo>
                    <a:lnTo>
                      <a:pt x="1755" y="1270"/>
                    </a:lnTo>
                    <a:lnTo>
                      <a:pt x="1763" y="1270"/>
                    </a:lnTo>
                    <a:lnTo>
                      <a:pt x="1771" y="1273"/>
                    </a:lnTo>
                    <a:lnTo>
                      <a:pt x="1778" y="1278"/>
                    </a:lnTo>
                    <a:lnTo>
                      <a:pt x="1783" y="1279"/>
                    </a:lnTo>
                    <a:lnTo>
                      <a:pt x="1786" y="1278"/>
                    </a:lnTo>
                    <a:lnTo>
                      <a:pt x="1791" y="1274"/>
                    </a:lnTo>
                    <a:lnTo>
                      <a:pt x="1802" y="1269"/>
                    </a:lnTo>
                    <a:lnTo>
                      <a:pt x="1816" y="1267"/>
                    </a:lnTo>
                    <a:lnTo>
                      <a:pt x="1831" y="1266"/>
                    </a:lnTo>
                    <a:lnTo>
                      <a:pt x="1841" y="1265"/>
                    </a:lnTo>
                    <a:lnTo>
                      <a:pt x="1850" y="1263"/>
                    </a:lnTo>
                    <a:lnTo>
                      <a:pt x="1852" y="1263"/>
                    </a:lnTo>
                    <a:close/>
                    <a:moveTo>
                      <a:pt x="386" y="1985"/>
                    </a:moveTo>
                    <a:lnTo>
                      <a:pt x="390" y="1985"/>
                    </a:lnTo>
                    <a:lnTo>
                      <a:pt x="392" y="1986"/>
                    </a:lnTo>
                    <a:lnTo>
                      <a:pt x="395" y="1988"/>
                    </a:lnTo>
                    <a:lnTo>
                      <a:pt x="396" y="1991"/>
                    </a:lnTo>
                    <a:lnTo>
                      <a:pt x="397" y="1997"/>
                    </a:lnTo>
                    <a:lnTo>
                      <a:pt x="396" y="2004"/>
                    </a:lnTo>
                    <a:lnTo>
                      <a:pt x="392" y="2011"/>
                    </a:lnTo>
                    <a:lnTo>
                      <a:pt x="389" y="2015"/>
                    </a:lnTo>
                    <a:lnTo>
                      <a:pt x="384" y="2017"/>
                    </a:lnTo>
                    <a:lnTo>
                      <a:pt x="380" y="2018"/>
                    </a:lnTo>
                    <a:lnTo>
                      <a:pt x="376" y="2017"/>
                    </a:lnTo>
                    <a:lnTo>
                      <a:pt x="372" y="2015"/>
                    </a:lnTo>
                    <a:lnTo>
                      <a:pt x="371" y="2010"/>
                    </a:lnTo>
                    <a:lnTo>
                      <a:pt x="370" y="2005"/>
                    </a:lnTo>
                    <a:lnTo>
                      <a:pt x="370" y="2001"/>
                    </a:lnTo>
                    <a:lnTo>
                      <a:pt x="370" y="1998"/>
                    </a:lnTo>
                    <a:lnTo>
                      <a:pt x="371" y="1994"/>
                    </a:lnTo>
                    <a:lnTo>
                      <a:pt x="373" y="1991"/>
                    </a:lnTo>
                    <a:lnTo>
                      <a:pt x="376" y="1988"/>
                    </a:lnTo>
                    <a:lnTo>
                      <a:pt x="378" y="1987"/>
                    </a:lnTo>
                    <a:lnTo>
                      <a:pt x="383" y="1986"/>
                    </a:lnTo>
                    <a:lnTo>
                      <a:pt x="386" y="1985"/>
                    </a:lnTo>
                    <a:close/>
                    <a:moveTo>
                      <a:pt x="317" y="2101"/>
                    </a:moveTo>
                    <a:lnTo>
                      <a:pt x="317" y="2099"/>
                    </a:lnTo>
                    <a:lnTo>
                      <a:pt x="319" y="2098"/>
                    </a:lnTo>
                    <a:lnTo>
                      <a:pt x="320" y="2097"/>
                    </a:lnTo>
                    <a:lnTo>
                      <a:pt x="321" y="2097"/>
                    </a:lnTo>
                    <a:lnTo>
                      <a:pt x="323" y="2097"/>
                    </a:lnTo>
                    <a:lnTo>
                      <a:pt x="326" y="2100"/>
                    </a:lnTo>
                    <a:lnTo>
                      <a:pt x="328" y="2104"/>
                    </a:lnTo>
                    <a:lnTo>
                      <a:pt x="331" y="2106"/>
                    </a:lnTo>
                    <a:lnTo>
                      <a:pt x="333" y="2106"/>
                    </a:lnTo>
                    <a:lnTo>
                      <a:pt x="334" y="2102"/>
                    </a:lnTo>
                    <a:lnTo>
                      <a:pt x="335" y="2100"/>
                    </a:lnTo>
                    <a:lnTo>
                      <a:pt x="338" y="2098"/>
                    </a:lnTo>
                    <a:lnTo>
                      <a:pt x="339" y="2097"/>
                    </a:lnTo>
                    <a:lnTo>
                      <a:pt x="340" y="2097"/>
                    </a:lnTo>
                    <a:lnTo>
                      <a:pt x="341" y="2098"/>
                    </a:lnTo>
                    <a:lnTo>
                      <a:pt x="341" y="2100"/>
                    </a:lnTo>
                    <a:lnTo>
                      <a:pt x="341" y="2106"/>
                    </a:lnTo>
                    <a:lnTo>
                      <a:pt x="341" y="2112"/>
                    </a:lnTo>
                    <a:lnTo>
                      <a:pt x="340" y="2116"/>
                    </a:lnTo>
                    <a:lnTo>
                      <a:pt x="339" y="2118"/>
                    </a:lnTo>
                    <a:lnTo>
                      <a:pt x="338" y="2119"/>
                    </a:lnTo>
                    <a:lnTo>
                      <a:pt x="335" y="2120"/>
                    </a:lnTo>
                    <a:lnTo>
                      <a:pt x="332" y="2120"/>
                    </a:lnTo>
                    <a:lnTo>
                      <a:pt x="329" y="2119"/>
                    </a:lnTo>
                    <a:lnTo>
                      <a:pt x="326" y="2118"/>
                    </a:lnTo>
                    <a:lnTo>
                      <a:pt x="323" y="2114"/>
                    </a:lnTo>
                    <a:lnTo>
                      <a:pt x="320" y="2108"/>
                    </a:lnTo>
                    <a:lnTo>
                      <a:pt x="317" y="2101"/>
                    </a:lnTo>
                    <a:close/>
                    <a:moveTo>
                      <a:pt x="1834" y="1500"/>
                    </a:moveTo>
                    <a:lnTo>
                      <a:pt x="1832" y="1502"/>
                    </a:lnTo>
                    <a:lnTo>
                      <a:pt x="1828" y="1502"/>
                    </a:lnTo>
                    <a:lnTo>
                      <a:pt x="1826" y="1502"/>
                    </a:lnTo>
                    <a:lnTo>
                      <a:pt x="1824" y="1500"/>
                    </a:lnTo>
                    <a:lnTo>
                      <a:pt x="1824" y="1497"/>
                    </a:lnTo>
                    <a:lnTo>
                      <a:pt x="1824" y="1495"/>
                    </a:lnTo>
                    <a:lnTo>
                      <a:pt x="1826" y="1493"/>
                    </a:lnTo>
                    <a:lnTo>
                      <a:pt x="1828" y="1492"/>
                    </a:lnTo>
                    <a:lnTo>
                      <a:pt x="1837" y="1490"/>
                    </a:lnTo>
                    <a:lnTo>
                      <a:pt x="1843" y="1488"/>
                    </a:lnTo>
                    <a:lnTo>
                      <a:pt x="1846" y="1488"/>
                    </a:lnTo>
                    <a:lnTo>
                      <a:pt x="1850" y="1488"/>
                    </a:lnTo>
                    <a:lnTo>
                      <a:pt x="1852" y="1489"/>
                    </a:lnTo>
                    <a:lnTo>
                      <a:pt x="1853" y="1492"/>
                    </a:lnTo>
                    <a:lnTo>
                      <a:pt x="1853" y="1495"/>
                    </a:lnTo>
                    <a:lnTo>
                      <a:pt x="1851" y="1496"/>
                    </a:lnTo>
                    <a:lnTo>
                      <a:pt x="1849" y="1496"/>
                    </a:lnTo>
                    <a:lnTo>
                      <a:pt x="1846" y="1496"/>
                    </a:lnTo>
                    <a:lnTo>
                      <a:pt x="1840" y="1497"/>
                    </a:lnTo>
                    <a:lnTo>
                      <a:pt x="1834" y="1500"/>
                    </a:lnTo>
                    <a:close/>
                    <a:moveTo>
                      <a:pt x="1882" y="1475"/>
                    </a:moveTo>
                    <a:lnTo>
                      <a:pt x="1878" y="1477"/>
                    </a:lnTo>
                    <a:lnTo>
                      <a:pt x="1871" y="1480"/>
                    </a:lnTo>
                    <a:lnTo>
                      <a:pt x="1869" y="1480"/>
                    </a:lnTo>
                    <a:lnTo>
                      <a:pt x="1868" y="1480"/>
                    </a:lnTo>
                    <a:lnTo>
                      <a:pt x="1866" y="1478"/>
                    </a:lnTo>
                    <a:lnTo>
                      <a:pt x="1866" y="1477"/>
                    </a:lnTo>
                    <a:lnTo>
                      <a:pt x="1868" y="1474"/>
                    </a:lnTo>
                    <a:lnTo>
                      <a:pt x="1871" y="1470"/>
                    </a:lnTo>
                    <a:lnTo>
                      <a:pt x="1878" y="1468"/>
                    </a:lnTo>
                    <a:lnTo>
                      <a:pt x="1887" y="1464"/>
                    </a:lnTo>
                    <a:lnTo>
                      <a:pt x="1894" y="1463"/>
                    </a:lnTo>
                    <a:lnTo>
                      <a:pt x="1898" y="1463"/>
                    </a:lnTo>
                    <a:lnTo>
                      <a:pt x="1900" y="1465"/>
                    </a:lnTo>
                    <a:lnTo>
                      <a:pt x="1900" y="1469"/>
                    </a:lnTo>
                    <a:lnTo>
                      <a:pt x="1897" y="1471"/>
                    </a:lnTo>
                    <a:lnTo>
                      <a:pt x="1894" y="1473"/>
                    </a:lnTo>
                    <a:lnTo>
                      <a:pt x="1887" y="1474"/>
                    </a:lnTo>
                    <a:lnTo>
                      <a:pt x="1882" y="1475"/>
                    </a:lnTo>
                    <a:close/>
                    <a:moveTo>
                      <a:pt x="2931" y="788"/>
                    </a:moveTo>
                    <a:lnTo>
                      <a:pt x="2939" y="788"/>
                    </a:lnTo>
                    <a:lnTo>
                      <a:pt x="2946" y="788"/>
                    </a:lnTo>
                    <a:lnTo>
                      <a:pt x="2948" y="788"/>
                    </a:lnTo>
                    <a:lnTo>
                      <a:pt x="2952" y="786"/>
                    </a:lnTo>
                    <a:lnTo>
                      <a:pt x="2954" y="784"/>
                    </a:lnTo>
                    <a:lnTo>
                      <a:pt x="2956" y="782"/>
                    </a:lnTo>
                    <a:lnTo>
                      <a:pt x="2959" y="778"/>
                    </a:lnTo>
                    <a:lnTo>
                      <a:pt x="2961" y="777"/>
                    </a:lnTo>
                    <a:lnTo>
                      <a:pt x="2965" y="776"/>
                    </a:lnTo>
                    <a:lnTo>
                      <a:pt x="2968" y="776"/>
                    </a:lnTo>
                    <a:lnTo>
                      <a:pt x="2975" y="777"/>
                    </a:lnTo>
                    <a:lnTo>
                      <a:pt x="2981" y="778"/>
                    </a:lnTo>
                    <a:lnTo>
                      <a:pt x="2985" y="781"/>
                    </a:lnTo>
                    <a:lnTo>
                      <a:pt x="2986" y="783"/>
                    </a:lnTo>
                    <a:lnTo>
                      <a:pt x="2989" y="786"/>
                    </a:lnTo>
                    <a:lnTo>
                      <a:pt x="2990" y="788"/>
                    </a:lnTo>
                    <a:lnTo>
                      <a:pt x="2992" y="795"/>
                    </a:lnTo>
                    <a:lnTo>
                      <a:pt x="2993" y="802"/>
                    </a:lnTo>
                    <a:lnTo>
                      <a:pt x="2993" y="805"/>
                    </a:lnTo>
                    <a:lnTo>
                      <a:pt x="2992" y="807"/>
                    </a:lnTo>
                    <a:lnTo>
                      <a:pt x="2991" y="809"/>
                    </a:lnTo>
                    <a:lnTo>
                      <a:pt x="2989" y="810"/>
                    </a:lnTo>
                    <a:lnTo>
                      <a:pt x="2984" y="813"/>
                    </a:lnTo>
                    <a:lnTo>
                      <a:pt x="2979" y="814"/>
                    </a:lnTo>
                    <a:lnTo>
                      <a:pt x="2974" y="814"/>
                    </a:lnTo>
                    <a:lnTo>
                      <a:pt x="2970" y="812"/>
                    </a:lnTo>
                    <a:lnTo>
                      <a:pt x="2965" y="808"/>
                    </a:lnTo>
                    <a:lnTo>
                      <a:pt x="2961" y="805"/>
                    </a:lnTo>
                    <a:lnTo>
                      <a:pt x="2956" y="801"/>
                    </a:lnTo>
                    <a:lnTo>
                      <a:pt x="2954" y="800"/>
                    </a:lnTo>
                    <a:lnTo>
                      <a:pt x="2951" y="800"/>
                    </a:lnTo>
                    <a:lnTo>
                      <a:pt x="2948" y="801"/>
                    </a:lnTo>
                    <a:lnTo>
                      <a:pt x="2946" y="806"/>
                    </a:lnTo>
                    <a:lnTo>
                      <a:pt x="2945" y="812"/>
                    </a:lnTo>
                    <a:lnTo>
                      <a:pt x="2943" y="814"/>
                    </a:lnTo>
                    <a:lnTo>
                      <a:pt x="2942" y="815"/>
                    </a:lnTo>
                    <a:lnTo>
                      <a:pt x="2941" y="816"/>
                    </a:lnTo>
                    <a:lnTo>
                      <a:pt x="2939" y="816"/>
                    </a:lnTo>
                    <a:lnTo>
                      <a:pt x="2933" y="816"/>
                    </a:lnTo>
                    <a:lnTo>
                      <a:pt x="2927" y="815"/>
                    </a:lnTo>
                    <a:lnTo>
                      <a:pt x="2922" y="814"/>
                    </a:lnTo>
                    <a:lnTo>
                      <a:pt x="2917" y="813"/>
                    </a:lnTo>
                    <a:lnTo>
                      <a:pt x="2915" y="809"/>
                    </a:lnTo>
                    <a:lnTo>
                      <a:pt x="2914" y="807"/>
                    </a:lnTo>
                    <a:lnTo>
                      <a:pt x="2912" y="802"/>
                    </a:lnTo>
                    <a:lnTo>
                      <a:pt x="2914" y="799"/>
                    </a:lnTo>
                    <a:lnTo>
                      <a:pt x="2915" y="795"/>
                    </a:lnTo>
                    <a:lnTo>
                      <a:pt x="2917" y="793"/>
                    </a:lnTo>
                    <a:lnTo>
                      <a:pt x="2921" y="790"/>
                    </a:lnTo>
                    <a:lnTo>
                      <a:pt x="2924" y="788"/>
                    </a:lnTo>
                    <a:lnTo>
                      <a:pt x="2928" y="788"/>
                    </a:lnTo>
                    <a:lnTo>
                      <a:pt x="2931" y="788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天津"/>
              <p:cNvSpPr/>
              <p:nvPr>
                <p:custDataLst>
                  <p:tags r:id="rId33"/>
                </p:custDataLst>
              </p:nvPr>
            </p:nvSpPr>
            <p:spPr bwMode="auto">
              <a:xfrm>
                <a:off x="5744281" y="2777183"/>
                <a:ext cx="157864" cy="263107"/>
              </a:xfrm>
              <a:custGeom>
                <a:avLst/>
                <a:gdLst>
                  <a:gd name="T0" fmla="*/ 139 w 430"/>
                  <a:gd name="T1" fmla="*/ 49 h 726"/>
                  <a:gd name="T2" fmla="*/ 152 w 430"/>
                  <a:gd name="T3" fmla="*/ 42 h 726"/>
                  <a:gd name="T4" fmla="*/ 171 w 430"/>
                  <a:gd name="T5" fmla="*/ 25 h 726"/>
                  <a:gd name="T6" fmla="*/ 178 w 430"/>
                  <a:gd name="T7" fmla="*/ 4 h 726"/>
                  <a:gd name="T8" fmla="*/ 237 w 430"/>
                  <a:gd name="T9" fmla="*/ 3 h 726"/>
                  <a:gd name="T10" fmla="*/ 253 w 430"/>
                  <a:gd name="T11" fmla="*/ 22 h 726"/>
                  <a:gd name="T12" fmla="*/ 294 w 430"/>
                  <a:gd name="T13" fmla="*/ 62 h 726"/>
                  <a:gd name="T14" fmla="*/ 294 w 430"/>
                  <a:gd name="T15" fmla="*/ 89 h 726"/>
                  <a:gd name="T16" fmla="*/ 271 w 430"/>
                  <a:gd name="T17" fmla="*/ 98 h 726"/>
                  <a:gd name="T18" fmla="*/ 231 w 430"/>
                  <a:gd name="T19" fmla="*/ 110 h 726"/>
                  <a:gd name="T20" fmla="*/ 227 w 430"/>
                  <a:gd name="T21" fmla="*/ 152 h 726"/>
                  <a:gd name="T22" fmla="*/ 266 w 430"/>
                  <a:gd name="T23" fmla="*/ 212 h 726"/>
                  <a:gd name="T24" fmla="*/ 286 w 430"/>
                  <a:gd name="T25" fmla="*/ 245 h 726"/>
                  <a:gd name="T26" fmla="*/ 297 w 430"/>
                  <a:gd name="T27" fmla="*/ 281 h 726"/>
                  <a:gd name="T28" fmla="*/ 313 w 430"/>
                  <a:gd name="T29" fmla="*/ 284 h 726"/>
                  <a:gd name="T30" fmla="*/ 357 w 430"/>
                  <a:gd name="T31" fmla="*/ 268 h 726"/>
                  <a:gd name="T32" fmla="*/ 378 w 430"/>
                  <a:gd name="T33" fmla="*/ 276 h 726"/>
                  <a:gd name="T34" fmla="*/ 367 w 430"/>
                  <a:gd name="T35" fmla="*/ 321 h 726"/>
                  <a:gd name="T36" fmla="*/ 378 w 430"/>
                  <a:gd name="T37" fmla="*/ 333 h 726"/>
                  <a:gd name="T38" fmla="*/ 417 w 430"/>
                  <a:gd name="T39" fmla="*/ 356 h 726"/>
                  <a:gd name="T40" fmla="*/ 429 w 430"/>
                  <a:gd name="T41" fmla="*/ 403 h 726"/>
                  <a:gd name="T42" fmla="*/ 396 w 430"/>
                  <a:gd name="T43" fmla="*/ 431 h 726"/>
                  <a:gd name="T44" fmla="*/ 348 w 430"/>
                  <a:gd name="T45" fmla="*/ 460 h 726"/>
                  <a:gd name="T46" fmla="*/ 335 w 430"/>
                  <a:gd name="T47" fmla="*/ 503 h 726"/>
                  <a:gd name="T48" fmla="*/ 324 w 430"/>
                  <a:gd name="T49" fmla="*/ 557 h 726"/>
                  <a:gd name="T50" fmla="*/ 287 w 430"/>
                  <a:gd name="T51" fmla="*/ 630 h 726"/>
                  <a:gd name="T52" fmla="*/ 279 w 430"/>
                  <a:gd name="T53" fmla="*/ 693 h 726"/>
                  <a:gd name="T54" fmla="*/ 223 w 430"/>
                  <a:gd name="T55" fmla="*/ 716 h 726"/>
                  <a:gd name="T56" fmla="*/ 192 w 430"/>
                  <a:gd name="T57" fmla="*/ 723 h 726"/>
                  <a:gd name="T58" fmla="*/ 182 w 430"/>
                  <a:gd name="T59" fmla="*/ 711 h 726"/>
                  <a:gd name="T60" fmla="*/ 153 w 430"/>
                  <a:gd name="T61" fmla="*/ 715 h 726"/>
                  <a:gd name="T62" fmla="*/ 133 w 430"/>
                  <a:gd name="T63" fmla="*/ 726 h 726"/>
                  <a:gd name="T64" fmla="*/ 116 w 430"/>
                  <a:gd name="T65" fmla="*/ 681 h 726"/>
                  <a:gd name="T66" fmla="*/ 95 w 430"/>
                  <a:gd name="T67" fmla="*/ 674 h 726"/>
                  <a:gd name="T68" fmla="*/ 32 w 430"/>
                  <a:gd name="T69" fmla="*/ 672 h 726"/>
                  <a:gd name="T70" fmla="*/ 8 w 430"/>
                  <a:gd name="T71" fmla="*/ 635 h 726"/>
                  <a:gd name="T72" fmla="*/ 3 w 430"/>
                  <a:gd name="T73" fmla="*/ 578 h 726"/>
                  <a:gd name="T74" fmla="*/ 1 w 430"/>
                  <a:gd name="T75" fmla="*/ 536 h 726"/>
                  <a:gd name="T76" fmla="*/ 31 w 430"/>
                  <a:gd name="T77" fmla="*/ 532 h 726"/>
                  <a:gd name="T78" fmla="*/ 45 w 430"/>
                  <a:gd name="T79" fmla="*/ 518 h 726"/>
                  <a:gd name="T80" fmla="*/ 33 w 430"/>
                  <a:gd name="T81" fmla="*/ 431 h 726"/>
                  <a:gd name="T82" fmla="*/ 16 w 430"/>
                  <a:gd name="T83" fmla="*/ 290 h 726"/>
                  <a:gd name="T84" fmla="*/ 22 w 430"/>
                  <a:gd name="T85" fmla="*/ 275 h 726"/>
                  <a:gd name="T86" fmla="*/ 29 w 430"/>
                  <a:gd name="T87" fmla="*/ 259 h 726"/>
                  <a:gd name="T88" fmla="*/ 51 w 430"/>
                  <a:gd name="T89" fmla="*/ 271 h 726"/>
                  <a:gd name="T90" fmla="*/ 64 w 430"/>
                  <a:gd name="T91" fmla="*/ 280 h 726"/>
                  <a:gd name="T92" fmla="*/ 108 w 430"/>
                  <a:gd name="T93" fmla="*/ 270 h 726"/>
                  <a:gd name="T94" fmla="*/ 126 w 430"/>
                  <a:gd name="T95" fmla="*/ 252 h 726"/>
                  <a:gd name="T96" fmla="*/ 128 w 430"/>
                  <a:gd name="T97" fmla="*/ 200 h 726"/>
                  <a:gd name="T98" fmla="*/ 129 w 430"/>
                  <a:gd name="T99" fmla="*/ 174 h 726"/>
                  <a:gd name="T100" fmla="*/ 141 w 430"/>
                  <a:gd name="T101" fmla="*/ 165 h 726"/>
                  <a:gd name="T102" fmla="*/ 114 w 430"/>
                  <a:gd name="T103" fmla="*/ 146 h 726"/>
                  <a:gd name="T104" fmla="*/ 110 w 430"/>
                  <a:gd name="T105" fmla="*/ 131 h 726"/>
                  <a:gd name="T106" fmla="*/ 122 w 430"/>
                  <a:gd name="T107" fmla="*/ 8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30" h="726">
                    <a:moveTo>
                      <a:pt x="119" y="67"/>
                    </a:moveTo>
                    <a:lnTo>
                      <a:pt x="126" y="63"/>
                    </a:lnTo>
                    <a:lnTo>
                      <a:pt x="132" y="60"/>
                    </a:lnTo>
                    <a:lnTo>
                      <a:pt x="136" y="55"/>
                    </a:lnTo>
                    <a:lnTo>
                      <a:pt x="139" y="49"/>
                    </a:lnTo>
                    <a:lnTo>
                      <a:pt x="141" y="47"/>
                    </a:lnTo>
                    <a:lnTo>
                      <a:pt x="142" y="44"/>
                    </a:lnTo>
                    <a:lnTo>
                      <a:pt x="145" y="43"/>
                    </a:lnTo>
                    <a:lnTo>
                      <a:pt x="148" y="43"/>
                    </a:lnTo>
                    <a:lnTo>
                      <a:pt x="152" y="42"/>
                    </a:lnTo>
                    <a:lnTo>
                      <a:pt x="155" y="41"/>
                    </a:lnTo>
                    <a:lnTo>
                      <a:pt x="160" y="38"/>
                    </a:lnTo>
                    <a:lnTo>
                      <a:pt x="165" y="35"/>
                    </a:lnTo>
                    <a:lnTo>
                      <a:pt x="168" y="30"/>
                    </a:lnTo>
                    <a:lnTo>
                      <a:pt x="171" y="25"/>
                    </a:lnTo>
                    <a:lnTo>
                      <a:pt x="171" y="20"/>
                    </a:lnTo>
                    <a:lnTo>
                      <a:pt x="172" y="15"/>
                    </a:lnTo>
                    <a:lnTo>
                      <a:pt x="172" y="10"/>
                    </a:lnTo>
                    <a:lnTo>
                      <a:pt x="174" y="6"/>
                    </a:lnTo>
                    <a:lnTo>
                      <a:pt x="178" y="4"/>
                    </a:lnTo>
                    <a:lnTo>
                      <a:pt x="184" y="3"/>
                    </a:lnTo>
                    <a:lnTo>
                      <a:pt x="201" y="1"/>
                    </a:lnTo>
                    <a:lnTo>
                      <a:pt x="221" y="0"/>
                    </a:lnTo>
                    <a:lnTo>
                      <a:pt x="230" y="0"/>
                    </a:lnTo>
                    <a:lnTo>
                      <a:pt x="237" y="3"/>
                    </a:lnTo>
                    <a:lnTo>
                      <a:pt x="241" y="4"/>
                    </a:lnTo>
                    <a:lnTo>
                      <a:pt x="245" y="6"/>
                    </a:lnTo>
                    <a:lnTo>
                      <a:pt x="247" y="10"/>
                    </a:lnTo>
                    <a:lnTo>
                      <a:pt x="249" y="13"/>
                    </a:lnTo>
                    <a:lnTo>
                      <a:pt x="253" y="22"/>
                    </a:lnTo>
                    <a:lnTo>
                      <a:pt x="258" y="29"/>
                    </a:lnTo>
                    <a:lnTo>
                      <a:pt x="264" y="36"/>
                    </a:lnTo>
                    <a:lnTo>
                      <a:pt x="271" y="43"/>
                    </a:lnTo>
                    <a:lnTo>
                      <a:pt x="284" y="54"/>
                    </a:lnTo>
                    <a:lnTo>
                      <a:pt x="294" y="62"/>
                    </a:lnTo>
                    <a:lnTo>
                      <a:pt x="298" y="67"/>
                    </a:lnTo>
                    <a:lnTo>
                      <a:pt x="300" y="72"/>
                    </a:lnTo>
                    <a:lnTo>
                      <a:pt x="300" y="78"/>
                    </a:lnTo>
                    <a:lnTo>
                      <a:pt x="298" y="83"/>
                    </a:lnTo>
                    <a:lnTo>
                      <a:pt x="294" y="89"/>
                    </a:lnTo>
                    <a:lnTo>
                      <a:pt x="289" y="94"/>
                    </a:lnTo>
                    <a:lnTo>
                      <a:pt x="285" y="95"/>
                    </a:lnTo>
                    <a:lnTo>
                      <a:pt x="281" y="97"/>
                    </a:lnTo>
                    <a:lnTo>
                      <a:pt x="277" y="98"/>
                    </a:lnTo>
                    <a:lnTo>
                      <a:pt x="271" y="98"/>
                    </a:lnTo>
                    <a:lnTo>
                      <a:pt x="261" y="98"/>
                    </a:lnTo>
                    <a:lnTo>
                      <a:pt x="252" y="99"/>
                    </a:lnTo>
                    <a:lnTo>
                      <a:pt x="243" y="101"/>
                    </a:lnTo>
                    <a:lnTo>
                      <a:pt x="236" y="105"/>
                    </a:lnTo>
                    <a:lnTo>
                      <a:pt x="231" y="110"/>
                    </a:lnTo>
                    <a:lnTo>
                      <a:pt x="227" y="116"/>
                    </a:lnTo>
                    <a:lnTo>
                      <a:pt x="224" y="124"/>
                    </a:lnTo>
                    <a:lnTo>
                      <a:pt x="224" y="133"/>
                    </a:lnTo>
                    <a:lnTo>
                      <a:pt x="224" y="143"/>
                    </a:lnTo>
                    <a:lnTo>
                      <a:pt x="227" y="152"/>
                    </a:lnTo>
                    <a:lnTo>
                      <a:pt x="230" y="161"/>
                    </a:lnTo>
                    <a:lnTo>
                      <a:pt x="235" y="169"/>
                    </a:lnTo>
                    <a:lnTo>
                      <a:pt x="246" y="183"/>
                    </a:lnTo>
                    <a:lnTo>
                      <a:pt x="255" y="198"/>
                    </a:lnTo>
                    <a:lnTo>
                      <a:pt x="266" y="212"/>
                    </a:lnTo>
                    <a:lnTo>
                      <a:pt x="274" y="223"/>
                    </a:lnTo>
                    <a:lnTo>
                      <a:pt x="279" y="227"/>
                    </a:lnTo>
                    <a:lnTo>
                      <a:pt x="283" y="233"/>
                    </a:lnTo>
                    <a:lnTo>
                      <a:pt x="285" y="239"/>
                    </a:lnTo>
                    <a:lnTo>
                      <a:pt x="286" y="245"/>
                    </a:lnTo>
                    <a:lnTo>
                      <a:pt x="287" y="258"/>
                    </a:lnTo>
                    <a:lnTo>
                      <a:pt x="290" y="269"/>
                    </a:lnTo>
                    <a:lnTo>
                      <a:pt x="291" y="274"/>
                    </a:lnTo>
                    <a:lnTo>
                      <a:pt x="293" y="277"/>
                    </a:lnTo>
                    <a:lnTo>
                      <a:pt x="297" y="281"/>
                    </a:lnTo>
                    <a:lnTo>
                      <a:pt x="302" y="284"/>
                    </a:lnTo>
                    <a:lnTo>
                      <a:pt x="304" y="286"/>
                    </a:lnTo>
                    <a:lnTo>
                      <a:pt x="306" y="286"/>
                    </a:lnTo>
                    <a:lnTo>
                      <a:pt x="310" y="286"/>
                    </a:lnTo>
                    <a:lnTo>
                      <a:pt x="313" y="284"/>
                    </a:lnTo>
                    <a:lnTo>
                      <a:pt x="321" y="281"/>
                    </a:lnTo>
                    <a:lnTo>
                      <a:pt x="330" y="277"/>
                    </a:lnTo>
                    <a:lnTo>
                      <a:pt x="338" y="274"/>
                    </a:lnTo>
                    <a:lnTo>
                      <a:pt x="348" y="270"/>
                    </a:lnTo>
                    <a:lnTo>
                      <a:pt x="357" y="268"/>
                    </a:lnTo>
                    <a:lnTo>
                      <a:pt x="367" y="266"/>
                    </a:lnTo>
                    <a:lnTo>
                      <a:pt x="372" y="268"/>
                    </a:lnTo>
                    <a:lnTo>
                      <a:pt x="374" y="270"/>
                    </a:lnTo>
                    <a:lnTo>
                      <a:pt x="376" y="272"/>
                    </a:lnTo>
                    <a:lnTo>
                      <a:pt x="378" y="276"/>
                    </a:lnTo>
                    <a:lnTo>
                      <a:pt x="378" y="284"/>
                    </a:lnTo>
                    <a:lnTo>
                      <a:pt x="375" y="293"/>
                    </a:lnTo>
                    <a:lnTo>
                      <a:pt x="372" y="303"/>
                    </a:lnTo>
                    <a:lnTo>
                      <a:pt x="369" y="313"/>
                    </a:lnTo>
                    <a:lnTo>
                      <a:pt x="367" y="321"/>
                    </a:lnTo>
                    <a:lnTo>
                      <a:pt x="367" y="327"/>
                    </a:lnTo>
                    <a:lnTo>
                      <a:pt x="368" y="331"/>
                    </a:lnTo>
                    <a:lnTo>
                      <a:pt x="371" y="332"/>
                    </a:lnTo>
                    <a:lnTo>
                      <a:pt x="373" y="333"/>
                    </a:lnTo>
                    <a:lnTo>
                      <a:pt x="378" y="333"/>
                    </a:lnTo>
                    <a:lnTo>
                      <a:pt x="382" y="334"/>
                    </a:lnTo>
                    <a:lnTo>
                      <a:pt x="390" y="337"/>
                    </a:lnTo>
                    <a:lnTo>
                      <a:pt x="398" y="340"/>
                    </a:lnTo>
                    <a:lnTo>
                      <a:pt x="407" y="347"/>
                    </a:lnTo>
                    <a:lnTo>
                      <a:pt x="417" y="356"/>
                    </a:lnTo>
                    <a:lnTo>
                      <a:pt x="423" y="365"/>
                    </a:lnTo>
                    <a:lnTo>
                      <a:pt x="428" y="375"/>
                    </a:lnTo>
                    <a:lnTo>
                      <a:pt x="430" y="384"/>
                    </a:lnTo>
                    <a:lnTo>
                      <a:pt x="430" y="394"/>
                    </a:lnTo>
                    <a:lnTo>
                      <a:pt x="429" y="403"/>
                    </a:lnTo>
                    <a:lnTo>
                      <a:pt x="428" y="414"/>
                    </a:lnTo>
                    <a:lnTo>
                      <a:pt x="424" y="423"/>
                    </a:lnTo>
                    <a:lnTo>
                      <a:pt x="416" y="425"/>
                    </a:lnTo>
                    <a:lnTo>
                      <a:pt x="405" y="427"/>
                    </a:lnTo>
                    <a:lnTo>
                      <a:pt x="396" y="431"/>
                    </a:lnTo>
                    <a:lnTo>
                      <a:pt x="385" y="434"/>
                    </a:lnTo>
                    <a:lnTo>
                      <a:pt x="375" y="439"/>
                    </a:lnTo>
                    <a:lnTo>
                      <a:pt x="366" y="445"/>
                    </a:lnTo>
                    <a:lnTo>
                      <a:pt x="356" y="452"/>
                    </a:lnTo>
                    <a:lnTo>
                      <a:pt x="348" y="460"/>
                    </a:lnTo>
                    <a:lnTo>
                      <a:pt x="341" y="467"/>
                    </a:lnTo>
                    <a:lnTo>
                      <a:pt x="337" y="476"/>
                    </a:lnTo>
                    <a:lnTo>
                      <a:pt x="335" y="483"/>
                    </a:lnTo>
                    <a:lnTo>
                      <a:pt x="334" y="489"/>
                    </a:lnTo>
                    <a:lnTo>
                      <a:pt x="335" y="503"/>
                    </a:lnTo>
                    <a:lnTo>
                      <a:pt x="336" y="518"/>
                    </a:lnTo>
                    <a:lnTo>
                      <a:pt x="335" y="527"/>
                    </a:lnTo>
                    <a:lnTo>
                      <a:pt x="332" y="536"/>
                    </a:lnTo>
                    <a:lnTo>
                      <a:pt x="329" y="546"/>
                    </a:lnTo>
                    <a:lnTo>
                      <a:pt x="324" y="557"/>
                    </a:lnTo>
                    <a:lnTo>
                      <a:pt x="312" y="577"/>
                    </a:lnTo>
                    <a:lnTo>
                      <a:pt x="300" y="598"/>
                    </a:lnTo>
                    <a:lnTo>
                      <a:pt x="294" y="609"/>
                    </a:lnTo>
                    <a:lnTo>
                      <a:pt x="291" y="620"/>
                    </a:lnTo>
                    <a:lnTo>
                      <a:pt x="287" y="630"/>
                    </a:lnTo>
                    <a:lnTo>
                      <a:pt x="285" y="640"/>
                    </a:lnTo>
                    <a:lnTo>
                      <a:pt x="283" y="659"/>
                    </a:lnTo>
                    <a:lnTo>
                      <a:pt x="280" y="677"/>
                    </a:lnTo>
                    <a:lnTo>
                      <a:pt x="280" y="686"/>
                    </a:lnTo>
                    <a:lnTo>
                      <a:pt x="279" y="693"/>
                    </a:lnTo>
                    <a:lnTo>
                      <a:pt x="267" y="697"/>
                    </a:lnTo>
                    <a:lnTo>
                      <a:pt x="255" y="700"/>
                    </a:lnTo>
                    <a:lnTo>
                      <a:pt x="245" y="705"/>
                    </a:lnTo>
                    <a:lnTo>
                      <a:pt x="236" y="709"/>
                    </a:lnTo>
                    <a:lnTo>
                      <a:pt x="223" y="716"/>
                    </a:lnTo>
                    <a:lnTo>
                      <a:pt x="210" y="722"/>
                    </a:lnTo>
                    <a:lnTo>
                      <a:pt x="203" y="724"/>
                    </a:lnTo>
                    <a:lnTo>
                      <a:pt x="197" y="724"/>
                    </a:lnTo>
                    <a:lnTo>
                      <a:pt x="195" y="724"/>
                    </a:lnTo>
                    <a:lnTo>
                      <a:pt x="192" y="723"/>
                    </a:lnTo>
                    <a:lnTo>
                      <a:pt x="190" y="722"/>
                    </a:lnTo>
                    <a:lnTo>
                      <a:pt x="189" y="719"/>
                    </a:lnTo>
                    <a:lnTo>
                      <a:pt x="186" y="716"/>
                    </a:lnTo>
                    <a:lnTo>
                      <a:pt x="184" y="713"/>
                    </a:lnTo>
                    <a:lnTo>
                      <a:pt x="182" y="711"/>
                    </a:lnTo>
                    <a:lnTo>
                      <a:pt x="179" y="710"/>
                    </a:lnTo>
                    <a:lnTo>
                      <a:pt x="173" y="709"/>
                    </a:lnTo>
                    <a:lnTo>
                      <a:pt x="166" y="709"/>
                    </a:lnTo>
                    <a:lnTo>
                      <a:pt x="160" y="711"/>
                    </a:lnTo>
                    <a:lnTo>
                      <a:pt x="153" y="715"/>
                    </a:lnTo>
                    <a:lnTo>
                      <a:pt x="147" y="719"/>
                    </a:lnTo>
                    <a:lnTo>
                      <a:pt x="141" y="724"/>
                    </a:lnTo>
                    <a:lnTo>
                      <a:pt x="139" y="725"/>
                    </a:lnTo>
                    <a:lnTo>
                      <a:pt x="135" y="726"/>
                    </a:lnTo>
                    <a:lnTo>
                      <a:pt x="133" y="726"/>
                    </a:lnTo>
                    <a:lnTo>
                      <a:pt x="130" y="725"/>
                    </a:lnTo>
                    <a:lnTo>
                      <a:pt x="127" y="722"/>
                    </a:lnTo>
                    <a:lnTo>
                      <a:pt x="124" y="716"/>
                    </a:lnTo>
                    <a:lnTo>
                      <a:pt x="120" y="699"/>
                    </a:lnTo>
                    <a:lnTo>
                      <a:pt x="116" y="681"/>
                    </a:lnTo>
                    <a:lnTo>
                      <a:pt x="115" y="679"/>
                    </a:lnTo>
                    <a:lnTo>
                      <a:pt x="113" y="677"/>
                    </a:lnTo>
                    <a:lnTo>
                      <a:pt x="109" y="675"/>
                    </a:lnTo>
                    <a:lnTo>
                      <a:pt x="105" y="674"/>
                    </a:lnTo>
                    <a:lnTo>
                      <a:pt x="95" y="674"/>
                    </a:lnTo>
                    <a:lnTo>
                      <a:pt x="82" y="674"/>
                    </a:lnTo>
                    <a:lnTo>
                      <a:pt x="67" y="675"/>
                    </a:lnTo>
                    <a:lnTo>
                      <a:pt x="54" y="675"/>
                    </a:lnTo>
                    <a:lnTo>
                      <a:pt x="42" y="674"/>
                    </a:lnTo>
                    <a:lnTo>
                      <a:pt x="32" y="672"/>
                    </a:lnTo>
                    <a:lnTo>
                      <a:pt x="25" y="667"/>
                    </a:lnTo>
                    <a:lnTo>
                      <a:pt x="19" y="661"/>
                    </a:lnTo>
                    <a:lnTo>
                      <a:pt x="14" y="653"/>
                    </a:lnTo>
                    <a:lnTo>
                      <a:pt x="10" y="644"/>
                    </a:lnTo>
                    <a:lnTo>
                      <a:pt x="8" y="635"/>
                    </a:lnTo>
                    <a:lnTo>
                      <a:pt x="6" y="625"/>
                    </a:lnTo>
                    <a:lnTo>
                      <a:pt x="4" y="615"/>
                    </a:lnTo>
                    <a:lnTo>
                      <a:pt x="4" y="605"/>
                    </a:lnTo>
                    <a:lnTo>
                      <a:pt x="3" y="591"/>
                    </a:lnTo>
                    <a:lnTo>
                      <a:pt x="3" y="578"/>
                    </a:lnTo>
                    <a:lnTo>
                      <a:pt x="2" y="565"/>
                    </a:lnTo>
                    <a:lnTo>
                      <a:pt x="1" y="554"/>
                    </a:lnTo>
                    <a:lnTo>
                      <a:pt x="0" y="545"/>
                    </a:lnTo>
                    <a:lnTo>
                      <a:pt x="0" y="539"/>
                    </a:lnTo>
                    <a:lnTo>
                      <a:pt x="1" y="536"/>
                    </a:lnTo>
                    <a:lnTo>
                      <a:pt x="3" y="534"/>
                    </a:lnTo>
                    <a:lnTo>
                      <a:pt x="6" y="533"/>
                    </a:lnTo>
                    <a:lnTo>
                      <a:pt x="10" y="533"/>
                    </a:lnTo>
                    <a:lnTo>
                      <a:pt x="20" y="532"/>
                    </a:lnTo>
                    <a:lnTo>
                      <a:pt x="31" y="532"/>
                    </a:lnTo>
                    <a:lnTo>
                      <a:pt x="34" y="530"/>
                    </a:lnTo>
                    <a:lnTo>
                      <a:pt x="38" y="529"/>
                    </a:lnTo>
                    <a:lnTo>
                      <a:pt x="41" y="528"/>
                    </a:lnTo>
                    <a:lnTo>
                      <a:pt x="44" y="524"/>
                    </a:lnTo>
                    <a:lnTo>
                      <a:pt x="45" y="518"/>
                    </a:lnTo>
                    <a:lnTo>
                      <a:pt x="45" y="509"/>
                    </a:lnTo>
                    <a:lnTo>
                      <a:pt x="44" y="498"/>
                    </a:lnTo>
                    <a:lnTo>
                      <a:pt x="42" y="486"/>
                    </a:lnTo>
                    <a:lnTo>
                      <a:pt x="38" y="459"/>
                    </a:lnTo>
                    <a:lnTo>
                      <a:pt x="33" y="431"/>
                    </a:lnTo>
                    <a:lnTo>
                      <a:pt x="29" y="394"/>
                    </a:lnTo>
                    <a:lnTo>
                      <a:pt x="26" y="357"/>
                    </a:lnTo>
                    <a:lnTo>
                      <a:pt x="21" y="324"/>
                    </a:lnTo>
                    <a:lnTo>
                      <a:pt x="16" y="297"/>
                    </a:lnTo>
                    <a:lnTo>
                      <a:pt x="16" y="290"/>
                    </a:lnTo>
                    <a:lnTo>
                      <a:pt x="16" y="284"/>
                    </a:lnTo>
                    <a:lnTo>
                      <a:pt x="17" y="281"/>
                    </a:lnTo>
                    <a:lnTo>
                      <a:pt x="19" y="278"/>
                    </a:lnTo>
                    <a:lnTo>
                      <a:pt x="20" y="277"/>
                    </a:lnTo>
                    <a:lnTo>
                      <a:pt x="22" y="275"/>
                    </a:lnTo>
                    <a:lnTo>
                      <a:pt x="23" y="271"/>
                    </a:lnTo>
                    <a:lnTo>
                      <a:pt x="23" y="268"/>
                    </a:lnTo>
                    <a:lnTo>
                      <a:pt x="25" y="265"/>
                    </a:lnTo>
                    <a:lnTo>
                      <a:pt x="26" y="261"/>
                    </a:lnTo>
                    <a:lnTo>
                      <a:pt x="29" y="259"/>
                    </a:lnTo>
                    <a:lnTo>
                      <a:pt x="36" y="258"/>
                    </a:lnTo>
                    <a:lnTo>
                      <a:pt x="41" y="259"/>
                    </a:lnTo>
                    <a:lnTo>
                      <a:pt x="45" y="262"/>
                    </a:lnTo>
                    <a:lnTo>
                      <a:pt x="47" y="265"/>
                    </a:lnTo>
                    <a:lnTo>
                      <a:pt x="51" y="271"/>
                    </a:lnTo>
                    <a:lnTo>
                      <a:pt x="52" y="275"/>
                    </a:lnTo>
                    <a:lnTo>
                      <a:pt x="54" y="276"/>
                    </a:lnTo>
                    <a:lnTo>
                      <a:pt x="57" y="278"/>
                    </a:lnTo>
                    <a:lnTo>
                      <a:pt x="58" y="278"/>
                    </a:lnTo>
                    <a:lnTo>
                      <a:pt x="64" y="280"/>
                    </a:lnTo>
                    <a:lnTo>
                      <a:pt x="70" y="278"/>
                    </a:lnTo>
                    <a:lnTo>
                      <a:pt x="80" y="276"/>
                    </a:lnTo>
                    <a:lnTo>
                      <a:pt x="94" y="274"/>
                    </a:lnTo>
                    <a:lnTo>
                      <a:pt x="101" y="272"/>
                    </a:lnTo>
                    <a:lnTo>
                      <a:pt x="108" y="270"/>
                    </a:lnTo>
                    <a:lnTo>
                      <a:pt x="114" y="268"/>
                    </a:lnTo>
                    <a:lnTo>
                      <a:pt x="117" y="265"/>
                    </a:lnTo>
                    <a:lnTo>
                      <a:pt x="121" y="262"/>
                    </a:lnTo>
                    <a:lnTo>
                      <a:pt x="123" y="257"/>
                    </a:lnTo>
                    <a:lnTo>
                      <a:pt x="126" y="252"/>
                    </a:lnTo>
                    <a:lnTo>
                      <a:pt x="128" y="247"/>
                    </a:lnTo>
                    <a:lnTo>
                      <a:pt x="130" y="236"/>
                    </a:lnTo>
                    <a:lnTo>
                      <a:pt x="130" y="225"/>
                    </a:lnTo>
                    <a:lnTo>
                      <a:pt x="129" y="213"/>
                    </a:lnTo>
                    <a:lnTo>
                      <a:pt x="128" y="200"/>
                    </a:lnTo>
                    <a:lnTo>
                      <a:pt x="126" y="188"/>
                    </a:lnTo>
                    <a:lnTo>
                      <a:pt x="126" y="180"/>
                    </a:lnTo>
                    <a:lnTo>
                      <a:pt x="126" y="177"/>
                    </a:lnTo>
                    <a:lnTo>
                      <a:pt x="127" y="175"/>
                    </a:lnTo>
                    <a:lnTo>
                      <a:pt x="129" y="174"/>
                    </a:lnTo>
                    <a:lnTo>
                      <a:pt x="132" y="171"/>
                    </a:lnTo>
                    <a:lnTo>
                      <a:pt x="138" y="169"/>
                    </a:lnTo>
                    <a:lnTo>
                      <a:pt x="141" y="168"/>
                    </a:lnTo>
                    <a:lnTo>
                      <a:pt x="142" y="167"/>
                    </a:lnTo>
                    <a:lnTo>
                      <a:pt x="141" y="165"/>
                    </a:lnTo>
                    <a:lnTo>
                      <a:pt x="138" y="162"/>
                    </a:lnTo>
                    <a:lnTo>
                      <a:pt x="134" y="160"/>
                    </a:lnTo>
                    <a:lnTo>
                      <a:pt x="124" y="154"/>
                    </a:lnTo>
                    <a:lnTo>
                      <a:pt x="116" y="149"/>
                    </a:lnTo>
                    <a:lnTo>
                      <a:pt x="114" y="146"/>
                    </a:lnTo>
                    <a:lnTo>
                      <a:pt x="111" y="144"/>
                    </a:lnTo>
                    <a:lnTo>
                      <a:pt x="110" y="142"/>
                    </a:lnTo>
                    <a:lnTo>
                      <a:pt x="110" y="138"/>
                    </a:lnTo>
                    <a:lnTo>
                      <a:pt x="110" y="133"/>
                    </a:lnTo>
                    <a:lnTo>
                      <a:pt x="110" y="131"/>
                    </a:lnTo>
                    <a:lnTo>
                      <a:pt x="114" y="123"/>
                    </a:lnTo>
                    <a:lnTo>
                      <a:pt x="121" y="104"/>
                    </a:lnTo>
                    <a:lnTo>
                      <a:pt x="122" y="97"/>
                    </a:lnTo>
                    <a:lnTo>
                      <a:pt x="122" y="91"/>
                    </a:lnTo>
                    <a:lnTo>
                      <a:pt x="122" y="85"/>
                    </a:lnTo>
                    <a:lnTo>
                      <a:pt x="121" y="79"/>
                    </a:lnTo>
                    <a:lnTo>
                      <a:pt x="120" y="70"/>
                    </a:lnTo>
                    <a:lnTo>
                      <a:pt x="119" y="67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7" name="北京"/>
              <p:cNvSpPr/>
              <p:nvPr>
                <p:custDataLst>
                  <p:tags r:id="rId34"/>
                </p:custDataLst>
              </p:nvPr>
            </p:nvSpPr>
            <p:spPr bwMode="auto">
              <a:xfrm>
                <a:off x="5573261" y="2645629"/>
                <a:ext cx="236796" cy="263107"/>
              </a:xfrm>
              <a:custGeom>
                <a:avLst/>
                <a:gdLst>
                  <a:gd name="T0" fmla="*/ 265 w 636"/>
                  <a:gd name="T1" fmla="*/ 650 h 711"/>
                  <a:gd name="T2" fmla="*/ 282 w 636"/>
                  <a:gd name="T3" fmla="*/ 694 h 711"/>
                  <a:gd name="T4" fmla="*/ 304 w 636"/>
                  <a:gd name="T5" fmla="*/ 711 h 711"/>
                  <a:gd name="T6" fmla="*/ 325 w 636"/>
                  <a:gd name="T7" fmla="*/ 696 h 711"/>
                  <a:gd name="T8" fmla="*/ 372 w 636"/>
                  <a:gd name="T9" fmla="*/ 646 h 711"/>
                  <a:gd name="T10" fmla="*/ 401 w 636"/>
                  <a:gd name="T11" fmla="*/ 633 h 711"/>
                  <a:gd name="T12" fmla="*/ 428 w 636"/>
                  <a:gd name="T13" fmla="*/ 631 h 711"/>
                  <a:gd name="T14" fmla="*/ 448 w 636"/>
                  <a:gd name="T15" fmla="*/ 625 h 711"/>
                  <a:gd name="T16" fmla="*/ 471 w 636"/>
                  <a:gd name="T17" fmla="*/ 626 h 711"/>
                  <a:gd name="T18" fmla="*/ 486 w 636"/>
                  <a:gd name="T19" fmla="*/ 568 h 711"/>
                  <a:gd name="T20" fmla="*/ 496 w 636"/>
                  <a:gd name="T21" fmla="*/ 535 h 711"/>
                  <a:gd name="T22" fmla="*/ 446 w 636"/>
                  <a:gd name="T23" fmla="*/ 513 h 711"/>
                  <a:gd name="T24" fmla="*/ 435 w 636"/>
                  <a:gd name="T25" fmla="*/ 469 h 711"/>
                  <a:gd name="T26" fmla="*/ 446 w 636"/>
                  <a:gd name="T27" fmla="*/ 441 h 711"/>
                  <a:gd name="T28" fmla="*/ 496 w 636"/>
                  <a:gd name="T29" fmla="*/ 436 h 711"/>
                  <a:gd name="T30" fmla="*/ 572 w 636"/>
                  <a:gd name="T31" fmla="*/ 416 h 711"/>
                  <a:gd name="T32" fmla="*/ 599 w 636"/>
                  <a:gd name="T33" fmla="*/ 391 h 711"/>
                  <a:gd name="T34" fmla="*/ 619 w 636"/>
                  <a:gd name="T35" fmla="*/ 366 h 711"/>
                  <a:gd name="T36" fmla="*/ 602 w 636"/>
                  <a:gd name="T37" fmla="*/ 320 h 711"/>
                  <a:gd name="T38" fmla="*/ 594 w 636"/>
                  <a:gd name="T39" fmla="*/ 270 h 711"/>
                  <a:gd name="T40" fmla="*/ 597 w 636"/>
                  <a:gd name="T41" fmla="*/ 248 h 711"/>
                  <a:gd name="T42" fmla="*/ 574 w 636"/>
                  <a:gd name="T43" fmla="*/ 252 h 711"/>
                  <a:gd name="T44" fmla="*/ 570 w 636"/>
                  <a:gd name="T45" fmla="*/ 220 h 711"/>
                  <a:gd name="T46" fmla="*/ 592 w 636"/>
                  <a:gd name="T47" fmla="*/ 199 h 711"/>
                  <a:gd name="T48" fmla="*/ 627 w 636"/>
                  <a:gd name="T49" fmla="*/ 194 h 711"/>
                  <a:gd name="T50" fmla="*/ 633 w 636"/>
                  <a:gd name="T51" fmla="*/ 161 h 711"/>
                  <a:gd name="T52" fmla="*/ 545 w 636"/>
                  <a:gd name="T53" fmla="*/ 147 h 711"/>
                  <a:gd name="T54" fmla="*/ 474 w 636"/>
                  <a:gd name="T55" fmla="*/ 142 h 711"/>
                  <a:gd name="T56" fmla="*/ 429 w 636"/>
                  <a:gd name="T57" fmla="*/ 93 h 711"/>
                  <a:gd name="T58" fmla="*/ 382 w 636"/>
                  <a:gd name="T59" fmla="*/ 49 h 711"/>
                  <a:gd name="T60" fmla="*/ 366 w 636"/>
                  <a:gd name="T61" fmla="*/ 3 h 711"/>
                  <a:gd name="T62" fmla="*/ 353 w 636"/>
                  <a:gd name="T63" fmla="*/ 3 h 711"/>
                  <a:gd name="T64" fmla="*/ 340 w 636"/>
                  <a:gd name="T65" fmla="*/ 28 h 711"/>
                  <a:gd name="T66" fmla="*/ 308 w 636"/>
                  <a:gd name="T67" fmla="*/ 34 h 711"/>
                  <a:gd name="T68" fmla="*/ 300 w 636"/>
                  <a:gd name="T69" fmla="*/ 51 h 711"/>
                  <a:gd name="T70" fmla="*/ 288 w 636"/>
                  <a:gd name="T71" fmla="*/ 63 h 711"/>
                  <a:gd name="T72" fmla="*/ 266 w 636"/>
                  <a:gd name="T73" fmla="*/ 72 h 711"/>
                  <a:gd name="T74" fmla="*/ 298 w 636"/>
                  <a:gd name="T75" fmla="*/ 108 h 711"/>
                  <a:gd name="T76" fmla="*/ 302 w 636"/>
                  <a:gd name="T77" fmla="*/ 129 h 711"/>
                  <a:gd name="T78" fmla="*/ 252 w 636"/>
                  <a:gd name="T79" fmla="*/ 139 h 711"/>
                  <a:gd name="T80" fmla="*/ 233 w 636"/>
                  <a:gd name="T81" fmla="*/ 131 h 711"/>
                  <a:gd name="T82" fmla="*/ 216 w 636"/>
                  <a:gd name="T83" fmla="*/ 173 h 711"/>
                  <a:gd name="T84" fmla="*/ 176 w 636"/>
                  <a:gd name="T85" fmla="*/ 217 h 711"/>
                  <a:gd name="T86" fmla="*/ 144 w 636"/>
                  <a:gd name="T87" fmla="*/ 209 h 711"/>
                  <a:gd name="T88" fmla="*/ 106 w 636"/>
                  <a:gd name="T89" fmla="*/ 227 h 711"/>
                  <a:gd name="T90" fmla="*/ 90 w 636"/>
                  <a:gd name="T91" fmla="*/ 271 h 711"/>
                  <a:gd name="T92" fmla="*/ 137 w 636"/>
                  <a:gd name="T93" fmla="*/ 318 h 711"/>
                  <a:gd name="T94" fmla="*/ 145 w 636"/>
                  <a:gd name="T95" fmla="*/ 374 h 711"/>
                  <a:gd name="T96" fmla="*/ 115 w 636"/>
                  <a:gd name="T97" fmla="*/ 416 h 711"/>
                  <a:gd name="T98" fmla="*/ 63 w 636"/>
                  <a:gd name="T99" fmla="*/ 432 h 711"/>
                  <a:gd name="T100" fmla="*/ 0 w 636"/>
                  <a:gd name="T101" fmla="*/ 481 h 711"/>
                  <a:gd name="T102" fmla="*/ 10 w 636"/>
                  <a:gd name="T103" fmla="*/ 516 h 711"/>
                  <a:gd name="T104" fmla="*/ 39 w 636"/>
                  <a:gd name="T105" fmla="*/ 566 h 711"/>
                  <a:gd name="T106" fmla="*/ 17 w 636"/>
                  <a:gd name="T107" fmla="*/ 575 h 711"/>
                  <a:gd name="T108" fmla="*/ 25 w 636"/>
                  <a:gd name="T109" fmla="*/ 607 h 711"/>
                  <a:gd name="T110" fmla="*/ 37 w 636"/>
                  <a:gd name="T111" fmla="*/ 646 h 711"/>
                  <a:gd name="T112" fmla="*/ 64 w 636"/>
                  <a:gd name="T113" fmla="*/ 662 h 711"/>
                  <a:gd name="T114" fmla="*/ 93 w 636"/>
                  <a:gd name="T115" fmla="*/ 663 h 711"/>
                  <a:gd name="T116" fmla="*/ 118 w 636"/>
                  <a:gd name="T117" fmla="*/ 689 h 711"/>
                  <a:gd name="T118" fmla="*/ 157 w 636"/>
                  <a:gd name="T119" fmla="*/ 675 h 711"/>
                  <a:gd name="T120" fmla="*/ 201 w 636"/>
                  <a:gd name="T121" fmla="*/ 649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6" h="711">
                    <a:moveTo>
                      <a:pt x="237" y="646"/>
                    </a:moveTo>
                    <a:lnTo>
                      <a:pt x="245" y="646"/>
                    </a:lnTo>
                    <a:lnTo>
                      <a:pt x="252" y="646"/>
                    </a:lnTo>
                    <a:lnTo>
                      <a:pt x="257" y="646"/>
                    </a:lnTo>
                    <a:lnTo>
                      <a:pt x="262" y="648"/>
                    </a:lnTo>
                    <a:lnTo>
                      <a:pt x="265" y="650"/>
                    </a:lnTo>
                    <a:lnTo>
                      <a:pt x="268" y="655"/>
                    </a:lnTo>
                    <a:lnTo>
                      <a:pt x="270" y="659"/>
                    </a:lnTo>
                    <a:lnTo>
                      <a:pt x="272" y="668"/>
                    </a:lnTo>
                    <a:lnTo>
                      <a:pt x="275" y="678"/>
                    </a:lnTo>
                    <a:lnTo>
                      <a:pt x="279" y="689"/>
                    </a:lnTo>
                    <a:lnTo>
                      <a:pt x="282" y="694"/>
                    </a:lnTo>
                    <a:lnTo>
                      <a:pt x="285" y="699"/>
                    </a:lnTo>
                    <a:lnTo>
                      <a:pt x="289" y="703"/>
                    </a:lnTo>
                    <a:lnTo>
                      <a:pt x="291" y="706"/>
                    </a:lnTo>
                    <a:lnTo>
                      <a:pt x="296" y="708"/>
                    </a:lnTo>
                    <a:lnTo>
                      <a:pt x="300" y="709"/>
                    </a:lnTo>
                    <a:lnTo>
                      <a:pt x="304" y="711"/>
                    </a:lnTo>
                    <a:lnTo>
                      <a:pt x="308" y="711"/>
                    </a:lnTo>
                    <a:lnTo>
                      <a:pt x="312" y="711"/>
                    </a:lnTo>
                    <a:lnTo>
                      <a:pt x="315" y="708"/>
                    </a:lnTo>
                    <a:lnTo>
                      <a:pt x="319" y="707"/>
                    </a:lnTo>
                    <a:lnTo>
                      <a:pt x="321" y="703"/>
                    </a:lnTo>
                    <a:lnTo>
                      <a:pt x="325" y="696"/>
                    </a:lnTo>
                    <a:lnTo>
                      <a:pt x="331" y="689"/>
                    </a:lnTo>
                    <a:lnTo>
                      <a:pt x="337" y="681"/>
                    </a:lnTo>
                    <a:lnTo>
                      <a:pt x="344" y="675"/>
                    </a:lnTo>
                    <a:lnTo>
                      <a:pt x="354" y="664"/>
                    </a:lnTo>
                    <a:lnTo>
                      <a:pt x="364" y="655"/>
                    </a:lnTo>
                    <a:lnTo>
                      <a:pt x="372" y="646"/>
                    </a:lnTo>
                    <a:lnTo>
                      <a:pt x="379" y="639"/>
                    </a:lnTo>
                    <a:lnTo>
                      <a:pt x="383" y="637"/>
                    </a:lnTo>
                    <a:lnTo>
                      <a:pt x="386" y="635"/>
                    </a:lnTo>
                    <a:lnTo>
                      <a:pt x="390" y="633"/>
                    </a:lnTo>
                    <a:lnTo>
                      <a:pt x="394" y="633"/>
                    </a:lnTo>
                    <a:lnTo>
                      <a:pt x="401" y="633"/>
                    </a:lnTo>
                    <a:lnTo>
                      <a:pt x="409" y="636"/>
                    </a:lnTo>
                    <a:lnTo>
                      <a:pt x="413" y="637"/>
                    </a:lnTo>
                    <a:lnTo>
                      <a:pt x="416" y="637"/>
                    </a:lnTo>
                    <a:lnTo>
                      <a:pt x="420" y="636"/>
                    </a:lnTo>
                    <a:lnTo>
                      <a:pt x="422" y="636"/>
                    </a:lnTo>
                    <a:lnTo>
                      <a:pt x="428" y="631"/>
                    </a:lnTo>
                    <a:lnTo>
                      <a:pt x="434" y="625"/>
                    </a:lnTo>
                    <a:lnTo>
                      <a:pt x="436" y="623"/>
                    </a:lnTo>
                    <a:lnTo>
                      <a:pt x="439" y="621"/>
                    </a:lnTo>
                    <a:lnTo>
                      <a:pt x="441" y="621"/>
                    </a:lnTo>
                    <a:lnTo>
                      <a:pt x="444" y="621"/>
                    </a:lnTo>
                    <a:lnTo>
                      <a:pt x="448" y="625"/>
                    </a:lnTo>
                    <a:lnTo>
                      <a:pt x="453" y="631"/>
                    </a:lnTo>
                    <a:lnTo>
                      <a:pt x="457" y="632"/>
                    </a:lnTo>
                    <a:lnTo>
                      <a:pt x="460" y="633"/>
                    </a:lnTo>
                    <a:lnTo>
                      <a:pt x="464" y="632"/>
                    </a:lnTo>
                    <a:lnTo>
                      <a:pt x="467" y="630"/>
                    </a:lnTo>
                    <a:lnTo>
                      <a:pt x="471" y="626"/>
                    </a:lnTo>
                    <a:lnTo>
                      <a:pt x="474" y="621"/>
                    </a:lnTo>
                    <a:lnTo>
                      <a:pt x="477" y="615"/>
                    </a:lnTo>
                    <a:lnTo>
                      <a:pt x="478" y="608"/>
                    </a:lnTo>
                    <a:lnTo>
                      <a:pt x="479" y="593"/>
                    </a:lnTo>
                    <a:lnTo>
                      <a:pt x="482" y="580"/>
                    </a:lnTo>
                    <a:lnTo>
                      <a:pt x="486" y="568"/>
                    </a:lnTo>
                    <a:lnTo>
                      <a:pt x="492" y="556"/>
                    </a:lnTo>
                    <a:lnTo>
                      <a:pt x="499" y="547"/>
                    </a:lnTo>
                    <a:lnTo>
                      <a:pt x="503" y="542"/>
                    </a:lnTo>
                    <a:lnTo>
                      <a:pt x="503" y="539"/>
                    </a:lnTo>
                    <a:lnTo>
                      <a:pt x="501" y="537"/>
                    </a:lnTo>
                    <a:lnTo>
                      <a:pt x="496" y="535"/>
                    </a:lnTo>
                    <a:lnTo>
                      <a:pt x="489" y="532"/>
                    </a:lnTo>
                    <a:lnTo>
                      <a:pt x="478" y="528"/>
                    </a:lnTo>
                    <a:lnTo>
                      <a:pt x="467" y="524"/>
                    </a:lnTo>
                    <a:lnTo>
                      <a:pt x="458" y="519"/>
                    </a:lnTo>
                    <a:lnTo>
                      <a:pt x="449" y="516"/>
                    </a:lnTo>
                    <a:lnTo>
                      <a:pt x="446" y="513"/>
                    </a:lnTo>
                    <a:lnTo>
                      <a:pt x="442" y="509"/>
                    </a:lnTo>
                    <a:lnTo>
                      <a:pt x="440" y="504"/>
                    </a:lnTo>
                    <a:lnTo>
                      <a:pt x="438" y="499"/>
                    </a:lnTo>
                    <a:lnTo>
                      <a:pt x="435" y="488"/>
                    </a:lnTo>
                    <a:lnTo>
                      <a:pt x="435" y="479"/>
                    </a:lnTo>
                    <a:lnTo>
                      <a:pt x="435" y="469"/>
                    </a:lnTo>
                    <a:lnTo>
                      <a:pt x="434" y="460"/>
                    </a:lnTo>
                    <a:lnTo>
                      <a:pt x="434" y="455"/>
                    </a:lnTo>
                    <a:lnTo>
                      <a:pt x="435" y="450"/>
                    </a:lnTo>
                    <a:lnTo>
                      <a:pt x="436" y="447"/>
                    </a:lnTo>
                    <a:lnTo>
                      <a:pt x="440" y="444"/>
                    </a:lnTo>
                    <a:lnTo>
                      <a:pt x="446" y="441"/>
                    </a:lnTo>
                    <a:lnTo>
                      <a:pt x="454" y="436"/>
                    </a:lnTo>
                    <a:lnTo>
                      <a:pt x="460" y="435"/>
                    </a:lnTo>
                    <a:lnTo>
                      <a:pt x="465" y="434"/>
                    </a:lnTo>
                    <a:lnTo>
                      <a:pt x="472" y="434"/>
                    </a:lnTo>
                    <a:lnTo>
                      <a:pt x="480" y="435"/>
                    </a:lnTo>
                    <a:lnTo>
                      <a:pt x="496" y="436"/>
                    </a:lnTo>
                    <a:lnTo>
                      <a:pt x="510" y="435"/>
                    </a:lnTo>
                    <a:lnTo>
                      <a:pt x="523" y="432"/>
                    </a:lnTo>
                    <a:lnTo>
                      <a:pt x="534" y="428"/>
                    </a:lnTo>
                    <a:lnTo>
                      <a:pt x="546" y="423"/>
                    </a:lnTo>
                    <a:lnTo>
                      <a:pt x="559" y="419"/>
                    </a:lnTo>
                    <a:lnTo>
                      <a:pt x="572" y="416"/>
                    </a:lnTo>
                    <a:lnTo>
                      <a:pt x="583" y="410"/>
                    </a:lnTo>
                    <a:lnTo>
                      <a:pt x="589" y="404"/>
                    </a:lnTo>
                    <a:lnTo>
                      <a:pt x="592" y="397"/>
                    </a:lnTo>
                    <a:lnTo>
                      <a:pt x="593" y="394"/>
                    </a:lnTo>
                    <a:lnTo>
                      <a:pt x="596" y="392"/>
                    </a:lnTo>
                    <a:lnTo>
                      <a:pt x="599" y="391"/>
                    </a:lnTo>
                    <a:lnTo>
                      <a:pt x="604" y="390"/>
                    </a:lnTo>
                    <a:lnTo>
                      <a:pt x="612" y="388"/>
                    </a:lnTo>
                    <a:lnTo>
                      <a:pt x="617" y="386"/>
                    </a:lnTo>
                    <a:lnTo>
                      <a:pt x="619" y="381"/>
                    </a:lnTo>
                    <a:lnTo>
                      <a:pt x="619" y="374"/>
                    </a:lnTo>
                    <a:lnTo>
                      <a:pt x="619" y="366"/>
                    </a:lnTo>
                    <a:lnTo>
                      <a:pt x="619" y="358"/>
                    </a:lnTo>
                    <a:lnTo>
                      <a:pt x="617" y="348"/>
                    </a:lnTo>
                    <a:lnTo>
                      <a:pt x="615" y="341"/>
                    </a:lnTo>
                    <a:lnTo>
                      <a:pt x="614" y="334"/>
                    </a:lnTo>
                    <a:lnTo>
                      <a:pt x="611" y="330"/>
                    </a:lnTo>
                    <a:lnTo>
                      <a:pt x="602" y="320"/>
                    </a:lnTo>
                    <a:lnTo>
                      <a:pt x="592" y="306"/>
                    </a:lnTo>
                    <a:lnTo>
                      <a:pt x="589" y="299"/>
                    </a:lnTo>
                    <a:lnTo>
                      <a:pt x="586" y="293"/>
                    </a:lnTo>
                    <a:lnTo>
                      <a:pt x="584" y="287"/>
                    </a:lnTo>
                    <a:lnTo>
                      <a:pt x="583" y="281"/>
                    </a:lnTo>
                    <a:lnTo>
                      <a:pt x="594" y="270"/>
                    </a:lnTo>
                    <a:lnTo>
                      <a:pt x="606" y="260"/>
                    </a:lnTo>
                    <a:lnTo>
                      <a:pt x="606" y="257"/>
                    </a:lnTo>
                    <a:lnTo>
                      <a:pt x="605" y="254"/>
                    </a:lnTo>
                    <a:lnTo>
                      <a:pt x="603" y="252"/>
                    </a:lnTo>
                    <a:lnTo>
                      <a:pt x="600" y="249"/>
                    </a:lnTo>
                    <a:lnTo>
                      <a:pt x="597" y="248"/>
                    </a:lnTo>
                    <a:lnTo>
                      <a:pt x="593" y="248"/>
                    </a:lnTo>
                    <a:lnTo>
                      <a:pt x="589" y="249"/>
                    </a:lnTo>
                    <a:lnTo>
                      <a:pt x="585" y="252"/>
                    </a:lnTo>
                    <a:lnTo>
                      <a:pt x="580" y="253"/>
                    </a:lnTo>
                    <a:lnTo>
                      <a:pt x="577" y="253"/>
                    </a:lnTo>
                    <a:lnTo>
                      <a:pt x="574" y="252"/>
                    </a:lnTo>
                    <a:lnTo>
                      <a:pt x="572" y="248"/>
                    </a:lnTo>
                    <a:lnTo>
                      <a:pt x="570" y="245"/>
                    </a:lnTo>
                    <a:lnTo>
                      <a:pt x="568" y="239"/>
                    </a:lnTo>
                    <a:lnTo>
                      <a:pt x="568" y="233"/>
                    </a:lnTo>
                    <a:lnTo>
                      <a:pt x="568" y="227"/>
                    </a:lnTo>
                    <a:lnTo>
                      <a:pt x="570" y="220"/>
                    </a:lnTo>
                    <a:lnTo>
                      <a:pt x="573" y="215"/>
                    </a:lnTo>
                    <a:lnTo>
                      <a:pt x="575" y="210"/>
                    </a:lnTo>
                    <a:lnTo>
                      <a:pt x="579" y="205"/>
                    </a:lnTo>
                    <a:lnTo>
                      <a:pt x="584" y="203"/>
                    </a:lnTo>
                    <a:lnTo>
                      <a:pt x="589" y="201"/>
                    </a:lnTo>
                    <a:lnTo>
                      <a:pt x="592" y="199"/>
                    </a:lnTo>
                    <a:lnTo>
                      <a:pt x="597" y="198"/>
                    </a:lnTo>
                    <a:lnTo>
                      <a:pt x="606" y="198"/>
                    </a:lnTo>
                    <a:lnTo>
                      <a:pt x="615" y="198"/>
                    </a:lnTo>
                    <a:lnTo>
                      <a:pt x="619" y="197"/>
                    </a:lnTo>
                    <a:lnTo>
                      <a:pt x="623" y="196"/>
                    </a:lnTo>
                    <a:lnTo>
                      <a:pt x="627" y="194"/>
                    </a:lnTo>
                    <a:lnTo>
                      <a:pt x="629" y="191"/>
                    </a:lnTo>
                    <a:lnTo>
                      <a:pt x="633" y="184"/>
                    </a:lnTo>
                    <a:lnTo>
                      <a:pt x="635" y="177"/>
                    </a:lnTo>
                    <a:lnTo>
                      <a:pt x="636" y="171"/>
                    </a:lnTo>
                    <a:lnTo>
                      <a:pt x="635" y="165"/>
                    </a:lnTo>
                    <a:lnTo>
                      <a:pt x="633" y="161"/>
                    </a:lnTo>
                    <a:lnTo>
                      <a:pt x="629" y="158"/>
                    </a:lnTo>
                    <a:lnTo>
                      <a:pt x="623" y="154"/>
                    </a:lnTo>
                    <a:lnTo>
                      <a:pt x="615" y="152"/>
                    </a:lnTo>
                    <a:lnTo>
                      <a:pt x="592" y="148"/>
                    </a:lnTo>
                    <a:lnTo>
                      <a:pt x="567" y="147"/>
                    </a:lnTo>
                    <a:lnTo>
                      <a:pt x="545" y="147"/>
                    </a:lnTo>
                    <a:lnTo>
                      <a:pt x="530" y="147"/>
                    </a:lnTo>
                    <a:lnTo>
                      <a:pt x="518" y="150"/>
                    </a:lnTo>
                    <a:lnTo>
                      <a:pt x="508" y="151"/>
                    </a:lnTo>
                    <a:lnTo>
                      <a:pt x="498" y="150"/>
                    </a:lnTo>
                    <a:lnTo>
                      <a:pt x="486" y="147"/>
                    </a:lnTo>
                    <a:lnTo>
                      <a:pt x="474" y="142"/>
                    </a:lnTo>
                    <a:lnTo>
                      <a:pt x="464" y="135"/>
                    </a:lnTo>
                    <a:lnTo>
                      <a:pt x="454" y="127"/>
                    </a:lnTo>
                    <a:lnTo>
                      <a:pt x="448" y="117"/>
                    </a:lnTo>
                    <a:lnTo>
                      <a:pt x="442" y="109"/>
                    </a:lnTo>
                    <a:lnTo>
                      <a:pt x="436" y="101"/>
                    </a:lnTo>
                    <a:lnTo>
                      <a:pt x="429" y="93"/>
                    </a:lnTo>
                    <a:lnTo>
                      <a:pt x="422" y="87"/>
                    </a:lnTo>
                    <a:lnTo>
                      <a:pt x="413" y="79"/>
                    </a:lnTo>
                    <a:lnTo>
                      <a:pt x="404" y="73"/>
                    </a:lnTo>
                    <a:lnTo>
                      <a:pt x="396" y="66"/>
                    </a:lnTo>
                    <a:lnTo>
                      <a:pt x="388" y="58"/>
                    </a:lnTo>
                    <a:lnTo>
                      <a:pt x="382" y="49"/>
                    </a:lnTo>
                    <a:lnTo>
                      <a:pt x="377" y="40"/>
                    </a:lnTo>
                    <a:lnTo>
                      <a:pt x="373" y="31"/>
                    </a:lnTo>
                    <a:lnTo>
                      <a:pt x="371" y="21"/>
                    </a:lnTo>
                    <a:lnTo>
                      <a:pt x="370" y="13"/>
                    </a:lnTo>
                    <a:lnTo>
                      <a:pt x="367" y="6"/>
                    </a:lnTo>
                    <a:lnTo>
                      <a:pt x="366" y="3"/>
                    </a:lnTo>
                    <a:lnTo>
                      <a:pt x="364" y="1"/>
                    </a:lnTo>
                    <a:lnTo>
                      <a:pt x="361" y="0"/>
                    </a:lnTo>
                    <a:lnTo>
                      <a:pt x="359" y="0"/>
                    </a:lnTo>
                    <a:lnTo>
                      <a:pt x="357" y="0"/>
                    </a:lnTo>
                    <a:lnTo>
                      <a:pt x="354" y="1"/>
                    </a:lnTo>
                    <a:lnTo>
                      <a:pt x="353" y="3"/>
                    </a:lnTo>
                    <a:lnTo>
                      <a:pt x="352" y="6"/>
                    </a:lnTo>
                    <a:lnTo>
                      <a:pt x="350" y="10"/>
                    </a:lnTo>
                    <a:lnTo>
                      <a:pt x="348" y="16"/>
                    </a:lnTo>
                    <a:lnTo>
                      <a:pt x="346" y="22"/>
                    </a:lnTo>
                    <a:lnTo>
                      <a:pt x="342" y="27"/>
                    </a:lnTo>
                    <a:lnTo>
                      <a:pt x="340" y="28"/>
                    </a:lnTo>
                    <a:lnTo>
                      <a:pt x="337" y="30"/>
                    </a:lnTo>
                    <a:lnTo>
                      <a:pt x="332" y="31"/>
                    </a:lnTo>
                    <a:lnTo>
                      <a:pt x="325" y="31"/>
                    </a:lnTo>
                    <a:lnTo>
                      <a:pt x="318" y="32"/>
                    </a:lnTo>
                    <a:lnTo>
                      <a:pt x="313" y="32"/>
                    </a:lnTo>
                    <a:lnTo>
                      <a:pt x="308" y="34"/>
                    </a:lnTo>
                    <a:lnTo>
                      <a:pt x="304" y="35"/>
                    </a:lnTo>
                    <a:lnTo>
                      <a:pt x="303" y="38"/>
                    </a:lnTo>
                    <a:lnTo>
                      <a:pt x="301" y="40"/>
                    </a:lnTo>
                    <a:lnTo>
                      <a:pt x="301" y="44"/>
                    </a:lnTo>
                    <a:lnTo>
                      <a:pt x="301" y="47"/>
                    </a:lnTo>
                    <a:lnTo>
                      <a:pt x="300" y="51"/>
                    </a:lnTo>
                    <a:lnTo>
                      <a:pt x="300" y="53"/>
                    </a:lnTo>
                    <a:lnTo>
                      <a:pt x="297" y="57"/>
                    </a:lnTo>
                    <a:lnTo>
                      <a:pt x="296" y="59"/>
                    </a:lnTo>
                    <a:lnTo>
                      <a:pt x="294" y="62"/>
                    </a:lnTo>
                    <a:lnTo>
                      <a:pt x="290" y="63"/>
                    </a:lnTo>
                    <a:lnTo>
                      <a:pt x="288" y="63"/>
                    </a:lnTo>
                    <a:lnTo>
                      <a:pt x="284" y="63"/>
                    </a:lnTo>
                    <a:lnTo>
                      <a:pt x="276" y="63"/>
                    </a:lnTo>
                    <a:lnTo>
                      <a:pt x="270" y="65"/>
                    </a:lnTo>
                    <a:lnTo>
                      <a:pt x="269" y="68"/>
                    </a:lnTo>
                    <a:lnTo>
                      <a:pt x="266" y="70"/>
                    </a:lnTo>
                    <a:lnTo>
                      <a:pt x="266" y="72"/>
                    </a:lnTo>
                    <a:lnTo>
                      <a:pt x="268" y="76"/>
                    </a:lnTo>
                    <a:lnTo>
                      <a:pt x="272" y="84"/>
                    </a:lnTo>
                    <a:lnTo>
                      <a:pt x="279" y="93"/>
                    </a:lnTo>
                    <a:lnTo>
                      <a:pt x="287" y="101"/>
                    </a:lnTo>
                    <a:lnTo>
                      <a:pt x="295" y="106"/>
                    </a:lnTo>
                    <a:lnTo>
                      <a:pt x="298" y="108"/>
                    </a:lnTo>
                    <a:lnTo>
                      <a:pt x="301" y="112"/>
                    </a:lnTo>
                    <a:lnTo>
                      <a:pt x="303" y="116"/>
                    </a:lnTo>
                    <a:lnTo>
                      <a:pt x="304" y="120"/>
                    </a:lnTo>
                    <a:lnTo>
                      <a:pt x="306" y="123"/>
                    </a:lnTo>
                    <a:lnTo>
                      <a:pt x="304" y="127"/>
                    </a:lnTo>
                    <a:lnTo>
                      <a:pt x="302" y="129"/>
                    </a:lnTo>
                    <a:lnTo>
                      <a:pt x="300" y="131"/>
                    </a:lnTo>
                    <a:lnTo>
                      <a:pt x="282" y="132"/>
                    </a:lnTo>
                    <a:lnTo>
                      <a:pt x="268" y="136"/>
                    </a:lnTo>
                    <a:lnTo>
                      <a:pt x="262" y="138"/>
                    </a:lnTo>
                    <a:lnTo>
                      <a:pt x="255" y="139"/>
                    </a:lnTo>
                    <a:lnTo>
                      <a:pt x="252" y="139"/>
                    </a:lnTo>
                    <a:lnTo>
                      <a:pt x="249" y="138"/>
                    </a:lnTo>
                    <a:lnTo>
                      <a:pt x="245" y="136"/>
                    </a:lnTo>
                    <a:lnTo>
                      <a:pt x="243" y="134"/>
                    </a:lnTo>
                    <a:lnTo>
                      <a:pt x="238" y="129"/>
                    </a:lnTo>
                    <a:lnTo>
                      <a:pt x="234" y="128"/>
                    </a:lnTo>
                    <a:lnTo>
                      <a:pt x="233" y="131"/>
                    </a:lnTo>
                    <a:lnTo>
                      <a:pt x="232" y="138"/>
                    </a:lnTo>
                    <a:lnTo>
                      <a:pt x="232" y="146"/>
                    </a:lnTo>
                    <a:lnTo>
                      <a:pt x="230" y="153"/>
                    </a:lnTo>
                    <a:lnTo>
                      <a:pt x="227" y="159"/>
                    </a:lnTo>
                    <a:lnTo>
                      <a:pt x="222" y="165"/>
                    </a:lnTo>
                    <a:lnTo>
                      <a:pt x="216" y="173"/>
                    </a:lnTo>
                    <a:lnTo>
                      <a:pt x="212" y="183"/>
                    </a:lnTo>
                    <a:lnTo>
                      <a:pt x="205" y="194"/>
                    </a:lnTo>
                    <a:lnTo>
                      <a:pt x="194" y="205"/>
                    </a:lnTo>
                    <a:lnTo>
                      <a:pt x="187" y="211"/>
                    </a:lnTo>
                    <a:lnTo>
                      <a:pt x="181" y="215"/>
                    </a:lnTo>
                    <a:lnTo>
                      <a:pt x="176" y="217"/>
                    </a:lnTo>
                    <a:lnTo>
                      <a:pt x="170" y="219"/>
                    </a:lnTo>
                    <a:lnTo>
                      <a:pt x="165" y="219"/>
                    </a:lnTo>
                    <a:lnTo>
                      <a:pt x="161" y="217"/>
                    </a:lnTo>
                    <a:lnTo>
                      <a:pt x="156" y="215"/>
                    </a:lnTo>
                    <a:lnTo>
                      <a:pt x="150" y="211"/>
                    </a:lnTo>
                    <a:lnTo>
                      <a:pt x="144" y="209"/>
                    </a:lnTo>
                    <a:lnTo>
                      <a:pt x="138" y="209"/>
                    </a:lnTo>
                    <a:lnTo>
                      <a:pt x="132" y="210"/>
                    </a:lnTo>
                    <a:lnTo>
                      <a:pt x="125" y="213"/>
                    </a:lnTo>
                    <a:lnTo>
                      <a:pt x="118" y="216"/>
                    </a:lnTo>
                    <a:lnTo>
                      <a:pt x="112" y="221"/>
                    </a:lnTo>
                    <a:lnTo>
                      <a:pt x="106" y="227"/>
                    </a:lnTo>
                    <a:lnTo>
                      <a:pt x="101" y="232"/>
                    </a:lnTo>
                    <a:lnTo>
                      <a:pt x="98" y="239"/>
                    </a:lnTo>
                    <a:lnTo>
                      <a:pt x="94" y="246"/>
                    </a:lnTo>
                    <a:lnTo>
                      <a:pt x="93" y="254"/>
                    </a:lnTo>
                    <a:lnTo>
                      <a:pt x="92" y="262"/>
                    </a:lnTo>
                    <a:lnTo>
                      <a:pt x="90" y="271"/>
                    </a:lnTo>
                    <a:lnTo>
                      <a:pt x="92" y="278"/>
                    </a:lnTo>
                    <a:lnTo>
                      <a:pt x="94" y="285"/>
                    </a:lnTo>
                    <a:lnTo>
                      <a:pt x="99" y="290"/>
                    </a:lnTo>
                    <a:lnTo>
                      <a:pt x="112" y="301"/>
                    </a:lnTo>
                    <a:lnTo>
                      <a:pt x="130" y="312"/>
                    </a:lnTo>
                    <a:lnTo>
                      <a:pt x="137" y="318"/>
                    </a:lnTo>
                    <a:lnTo>
                      <a:pt x="142" y="323"/>
                    </a:lnTo>
                    <a:lnTo>
                      <a:pt x="145" y="328"/>
                    </a:lnTo>
                    <a:lnTo>
                      <a:pt x="148" y="337"/>
                    </a:lnTo>
                    <a:lnTo>
                      <a:pt x="149" y="349"/>
                    </a:lnTo>
                    <a:lnTo>
                      <a:pt x="148" y="362"/>
                    </a:lnTo>
                    <a:lnTo>
                      <a:pt x="145" y="374"/>
                    </a:lnTo>
                    <a:lnTo>
                      <a:pt x="142" y="386"/>
                    </a:lnTo>
                    <a:lnTo>
                      <a:pt x="137" y="396"/>
                    </a:lnTo>
                    <a:lnTo>
                      <a:pt x="132" y="404"/>
                    </a:lnTo>
                    <a:lnTo>
                      <a:pt x="126" y="409"/>
                    </a:lnTo>
                    <a:lnTo>
                      <a:pt x="121" y="413"/>
                    </a:lnTo>
                    <a:lnTo>
                      <a:pt x="115" y="416"/>
                    </a:lnTo>
                    <a:lnTo>
                      <a:pt x="111" y="417"/>
                    </a:lnTo>
                    <a:lnTo>
                      <a:pt x="104" y="417"/>
                    </a:lnTo>
                    <a:lnTo>
                      <a:pt x="95" y="418"/>
                    </a:lnTo>
                    <a:lnTo>
                      <a:pt x="87" y="421"/>
                    </a:lnTo>
                    <a:lnTo>
                      <a:pt x="76" y="424"/>
                    </a:lnTo>
                    <a:lnTo>
                      <a:pt x="63" y="432"/>
                    </a:lnTo>
                    <a:lnTo>
                      <a:pt x="44" y="443"/>
                    </a:lnTo>
                    <a:lnTo>
                      <a:pt x="26" y="456"/>
                    </a:lnTo>
                    <a:lnTo>
                      <a:pt x="11" y="466"/>
                    </a:lnTo>
                    <a:lnTo>
                      <a:pt x="6" y="470"/>
                    </a:lnTo>
                    <a:lnTo>
                      <a:pt x="2" y="475"/>
                    </a:lnTo>
                    <a:lnTo>
                      <a:pt x="0" y="481"/>
                    </a:lnTo>
                    <a:lnTo>
                      <a:pt x="0" y="486"/>
                    </a:lnTo>
                    <a:lnTo>
                      <a:pt x="0" y="492"/>
                    </a:lnTo>
                    <a:lnTo>
                      <a:pt x="0" y="497"/>
                    </a:lnTo>
                    <a:lnTo>
                      <a:pt x="1" y="501"/>
                    </a:lnTo>
                    <a:lnTo>
                      <a:pt x="4" y="506"/>
                    </a:lnTo>
                    <a:lnTo>
                      <a:pt x="10" y="516"/>
                    </a:lnTo>
                    <a:lnTo>
                      <a:pt x="19" y="528"/>
                    </a:lnTo>
                    <a:lnTo>
                      <a:pt x="29" y="539"/>
                    </a:lnTo>
                    <a:lnTo>
                      <a:pt x="35" y="549"/>
                    </a:lnTo>
                    <a:lnTo>
                      <a:pt x="38" y="557"/>
                    </a:lnTo>
                    <a:lnTo>
                      <a:pt x="41" y="563"/>
                    </a:lnTo>
                    <a:lnTo>
                      <a:pt x="39" y="566"/>
                    </a:lnTo>
                    <a:lnTo>
                      <a:pt x="39" y="567"/>
                    </a:lnTo>
                    <a:lnTo>
                      <a:pt x="37" y="569"/>
                    </a:lnTo>
                    <a:lnTo>
                      <a:pt x="33" y="569"/>
                    </a:lnTo>
                    <a:lnTo>
                      <a:pt x="25" y="570"/>
                    </a:lnTo>
                    <a:lnTo>
                      <a:pt x="19" y="574"/>
                    </a:lnTo>
                    <a:lnTo>
                      <a:pt x="17" y="575"/>
                    </a:lnTo>
                    <a:lnTo>
                      <a:pt x="14" y="577"/>
                    </a:lnTo>
                    <a:lnTo>
                      <a:pt x="13" y="581"/>
                    </a:lnTo>
                    <a:lnTo>
                      <a:pt x="13" y="585"/>
                    </a:lnTo>
                    <a:lnTo>
                      <a:pt x="17" y="593"/>
                    </a:lnTo>
                    <a:lnTo>
                      <a:pt x="22" y="602"/>
                    </a:lnTo>
                    <a:lnTo>
                      <a:pt x="25" y="607"/>
                    </a:lnTo>
                    <a:lnTo>
                      <a:pt x="29" y="611"/>
                    </a:lnTo>
                    <a:lnTo>
                      <a:pt x="30" y="615"/>
                    </a:lnTo>
                    <a:lnTo>
                      <a:pt x="31" y="620"/>
                    </a:lnTo>
                    <a:lnTo>
                      <a:pt x="33" y="631"/>
                    </a:lnTo>
                    <a:lnTo>
                      <a:pt x="35" y="642"/>
                    </a:lnTo>
                    <a:lnTo>
                      <a:pt x="37" y="646"/>
                    </a:lnTo>
                    <a:lnTo>
                      <a:pt x="39" y="651"/>
                    </a:lnTo>
                    <a:lnTo>
                      <a:pt x="42" y="655"/>
                    </a:lnTo>
                    <a:lnTo>
                      <a:pt x="45" y="658"/>
                    </a:lnTo>
                    <a:lnTo>
                      <a:pt x="50" y="659"/>
                    </a:lnTo>
                    <a:lnTo>
                      <a:pt x="57" y="661"/>
                    </a:lnTo>
                    <a:lnTo>
                      <a:pt x="64" y="662"/>
                    </a:lnTo>
                    <a:lnTo>
                      <a:pt x="71" y="662"/>
                    </a:lnTo>
                    <a:lnTo>
                      <a:pt x="79" y="661"/>
                    </a:lnTo>
                    <a:lnTo>
                      <a:pt x="86" y="659"/>
                    </a:lnTo>
                    <a:lnTo>
                      <a:pt x="88" y="661"/>
                    </a:lnTo>
                    <a:lnTo>
                      <a:pt x="90" y="662"/>
                    </a:lnTo>
                    <a:lnTo>
                      <a:pt x="93" y="663"/>
                    </a:lnTo>
                    <a:lnTo>
                      <a:pt x="95" y="667"/>
                    </a:lnTo>
                    <a:lnTo>
                      <a:pt x="99" y="671"/>
                    </a:lnTo>
                    <a:lnTo>
                      <a:pt x="102" y="677"/>
                    </a:lnTo>
                    <a:lnTo>
                      <a:pt x="107" y="682"/>
                    </a:lnTo>
                    <a:lnTo>
                      <a:pt x="112" y="687"/>
                    </a:lnTo>
                    <a:lnTo>
                      <a:pt x="118" y="689"/>
                    </a:lnTo>
                    <a:lnTo>
                      <a:pt x="123" y="689"/>
                    </a:lnTo>
                    <a:lnTo>
                      <a:pt x="128" y="689"/>
                    </a:lnTo>
                    <a:lnTo>
                      <a:pt x="134" y="688"/>
                    </a:lnTo>
                    <a:lnTo>
                      <a:pt x="144" y="683"/>
                    </a:lnTo>
                    <a:lnTo>
                      <a:pt x="150" y="680"/>
                    </a:lnTo>
                    <a:lnTo>
                      <a:pt x="157" y="675"/>
                    </a:lnTo>
                    <a:lnTo>
                      <a:pt x="163" y="669"/>
                    </a:lnTo>
                    <a:lnTo>
                      <a:pt x="171" y="663"/>
                    </a:lnTo>
                    <a:lnTo>
                      <a:pt x="180" y="657"/>
                    </a:lnTo>
                    <a:lnTo>
                      <a:pt x="187" y="654"/>
                    </a:lnTo>
                    <a:lnTo>
                      <a:pt x="194" y="650"/>
                    </a:lnTo>
                    <a:lnTo>
                      <a:pt x="201" y="649"/>
                    </a:lnTo>
                    <a:lnTo>
                      <a:pt x="213" y="648"/>
                    </a:lnTo>
                    <a:lnTo>
                      <a:pt x="225" y="646"/>
                    </a:lnTo>
                    <a:lnTo>
                      <a:pt x="237" y="646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河北"/>
              <p:cNvSpPr>
                <a:spLocks noEditPoint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62776" y="2395677"/>
                <a:ext cx="749855" cy="1052428"/>
              </a:xfrm>
              <a:custGeom>
                <a:avLst/>
                <a:gdLst>
                  <a:gd name="T0" fmla="*/ 1177 w 2047"/>
                  <a:gd name="T1" fmla="*/ 2101 h 2907"/>
                  <a:gd name="T2" fmla="*/ 917 w 2047"/>
                  <a:gd name="T3" fmla="*/ 2293 h 2907"/>
                  <a:gd name="T4" fmla="*/ 781 w 2047"/>
                  <a:gd name="T5" fmla="*/ 2510 h 2907"/>
                  <a:gd name="T6" fmla="*/ 635 w 2047"/>
                  <a:gd name="T7" fmla="*/ 2788 h 2907"/>
                  <a:gd name="T8" fmla="*/ 608 w 2047"/>
                  <a:gd name="T9" fmla="*/ 2863 h 2907"/>
                  <a:gd name="T10" fmla="*/ 320 w 2047"/>
                  <a:gd name="T11" fmla="*/ 2852 h 2907"/>
                  <a:gd name="T12" fmla="*/ 104 w 2047"/>
                  <a:gd name="T13" fmla="*/ 2796 h 2907"/>
                  <a:gd name="T14" fmla="*/ 33 w 2047"/>
                  <a:gd name="T15" fmla="*/ 2646 h 2907"/>
                  <a:gd name="T16" fmla="*/ 117 w 2047"/>
                  <a:gd name="T17" fmla="*/ 2466 h 2907"/>
                  <a:gd name="T18" fmla="*/ 165 w 2047"/>
                  <a:gd name="T19" fmla="*/ 2214 h 2907"/>
                  <a:gd name="T20" fmla="*/ 105 w 2047"/>
                  <a:gd name="T21" fmla="*/ 2031 h 2907"/>
                  <a:gd name="T22" fmla="*/ 0 w 2047"/>
                  <a:gd name="T23" fmla="*/ 1928 h 2907"/>
                  <a:gd name="T24" fmla="*/ 98 w 2047"/>
                  <a:gd name="T25" fmla="*/ 1761 h 2907"/>
                  <a:gd name="T26" fmla="*/ 174 w 2047"/>
                  <a:gd name="T27" fmla="*/ 1620 h 2907"/>
                  <a:gd name="T28" fmla="*/ 299 w 2047"/>
                  <a:gd name="T29" fmla="*/ 1564 h 2907"/>
                  <a:gd name="T30" fmla="*/ 269 w 2047"/>
                  <a:gd name="T31" fmla="*/ 1321 h 2907"/>
                  <a:gd name="T32" fmla="*/ 108 w 2047"/>
                  <a:gd name="T33" fmla="*/ 1206 h 2907"/>
                  <a:gd name="T34" fmla="*/ 184 w 2047"/>
                  <a:gd name="T35" fmla="*/ 1121 h 2907"/>
                  <a:gd name="T36" fmla="*/ 221 w 2047"/>
                  <a:gd name="T37" fmla="*/ 1036 h 2907"/>
                  <a:gd name="T38" fmla="*/ 66 w 2047"/>
                  <a:gd name="T39" fmla="*/ 735 h 2907"/>
                  <a:gd name="T40" fmla="*/ 74 w 2047"/>
                  <a:gd name="T41" fmla="*/ 586 h 2907"/>
                  <a:gd name="T42" fmla="*/ 193 w 2047"/>
                  <a:gd name="T43" fmla="*/ 354 h 2907"/>
                  <a:gd name="T44" fmla="*/ 357 w 2047"/>
                  <a:gd name="T45" fmla="*/ 247 h 2907"/>
                  <a:gd name="T46" fmla="*/ 382 w 2047"/>
                  <a:gd name="T47" fmla="*/ 482 h 2907"/>
                  <a:gd name="T48" fmla="*/ 532 w 2047"/>
                  <a:gd name="T49" fmla="*/ 449 h 2907"/>
                  <a:gd name="T50" fmla="*/ 718 w 2047"/>
                  <a:gd name="T51" fmla="*/ 374 h 2907"/>
                  <a:gd name="T52" fmla="*/ 857 w 2047"/>
                  <a:gd name="T53" fmla="*/ 311 h 2907"/>
                  <a:gd name="T54" fmla="*/ 986 w 2047"/>
                  <a:gd name="T55" fmla="*/ 214 h 2907"/>
                  <a:gd name="T56" fmla="*/ 1058 w 2047"/>
                  <a:gd name="T57" fmla="*/ 70 h 2907"/>
                  <a:gd name="T58" fmla="*/ 1301 w 2047"/>
                  <a:gd name="T59" fmla="*/ 12 h 2907"/>
                  <a:gd name="T60" fmla="*/ 1397 w 2047"/>
                  <a:gd name="T61" fmla="*/ 196 h 2907"/>
                  <a:gd name="T62" fmla="*/ 1466 w 2047"/>
                  <a:gd name="T63" fmla="*/ 341 h 2907"/>
                  <a:gd name="T64" fmla="*/ 1475 w 2047"/>
                  <a:gd name="T65" fmla="*/ 482 h 2907"/>
                  <a:gd name="T66" fmla="*/ 1660 w 2047"/>
                  <a:gd name="T67" fmla="*/ 518 h 2907"/>
                  <a:gd name="T68" fmla="*/ 1700 w 2047"/>
                  <a:gd name="T69" fmla="*/ 623 h 2907"/>
                  <a:gd name="T70" fmla="*/ 1682 w 2047"/>
                  <a:gd name="T71" fmla="*/ 752 h 2907"/>
                  <a:gd name="T72" fmla="*/ 1863 w 2047"/>
                  <a:gd name="T73" fmla="*/ 853 h 2907"/>
                  <a:gd name="T74" fmla="*/ 2009 w 2047"/>
                  <a:gd name="T75" fmla="*/ 1033 h 2907"/>
                  <a:gd name="T76" fmla="*/ 1905 w 2047"/>
                  <a:gd name="T77" fmla="*/ 1185 h 2907"/>
                  <a:gd name="T78" fmla="*/ 1862 w 2047"/>
                  <a:gd name="T79" fmla="*/ 1338 h 2907"/>
                  <a:gd name="T80" fmla="*/ 1782 w 2047"/>
                  <a:gd name="T81" fmla="*/ 1457 h 2907"/>
                  <a:gd name="T82" fmla="*/ 1548 w 2047"/>
                  <a:gd name="T83" fmla="*/ 1538 h 2907"/>
                  <a:gd name="T84" fmla="*/ 1420 w 2047"/>
                  <a:gd name="T85" fmla="*/ 1382 h 2907"/>
                  <a:gd name="T86" fmla="*/ 1328 w 2047"/>
                  <a:gd name="T87" fmla="*/ 1277 h 2907"/>
                  <a:gd name="T88" fmla="*/ 1307 w 2047"/>
                  <a:gd name="T89" fmla="*/ 1079 h 2907"/>
                  <a:gd name="T90" fmla="*/ 1204 w 2047"/>
                  <a:gd name="T91" fmla="*/ 957 h 2907"/>
                  <a:gd name="T92" fmla="*/ 1233 w 2047"/>
                  <a:gd name="T93" fmla="*/ 877 h 2907"/>
                  <a:gd name="T94" fmla="*/ 968 w 2047"/>
                  <a:gd name="T95" fmla="*/ 713 h 2907"/>
                  <a:gd name="T96" fmla="*/ 888 w 2047"/>
                  <a:gd name="T97" fmla="*/ 763 h 2907"/>
                  <a:gd name="T98" fmla="*/ 831 w 2047"/>
                  <a:gd name="T99" fmla="*/ 831 h 2907"/>
                  <a:gd name="T100" fmla="*/ 690 w 2047"/>
                  <a:gd name="T101" fmla="*/ 979 h 2907"/>
                  <a:gd name="T102" fmla="*/ 597 w 2047"/>
                  <a:gd name="T103" fmla="*/ 1192 h 2907"/>
                  <a:gd name="T104" fmla="*/ 643 w 2047"/>
                  <a:gd name="T105" fmla="*/ 1358 h 2907"/>
                  <a:gd name="T106" fmla="*/ 843 w 2047"/>
                  <a:gd name="T107" fmla="*/ 1346 h 2907"/>
                  <a:gd name="T108" fmla="*/ 984 w 2047"/>
                  <a:gd name="T109" fmla="*/ 1336 h 2907"/>
                  <a:gd name="T110" fmla="*/ 1093 w 2047"/>
                  <a:gd name="T111" fmla="*/ 1548 h 2907"/>
                  <a:gd name="T112" fmla="*/ 1131 w 2047"/>
                  <a:gd name="T113" fmla="*/ 1723 h 2907"/>
                  <a:gd name="T114" fmla="*/ 1272 w 2047"/>
                  <a:gd name="T115" fmla="*/ 1765 h 2907"/>
                  <a:gd name="T116" fmla="*/ 1390 w 2047"/>
                  <a:gd name="T117" fmla="*/ 1918 h 2907"/>
                  <a:gd name="T118" fmla="*/ 1163 w 2047"/>
                  <a:gd name="T119" fmla="*/ 1195 h 2907"/>
                  <a:gd name="T120" fmla="*/ 1107 w 2047"/>
                  <a:gd name="T121" fmla="*/ 1329 h 2907"/>
                  <a:gd name="T122" fmla="*/ 1033 w 2047"/>
                  <a:gd name="T123" fmla="*/ 1188 h 2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47" h="2907">
                    <a:moveTo>
                      <a:pt x="1422" y="1913"/>
                    </a:moveTo>
                    <a:lnTo>
                      <a:pt x="1422" y="1915"/>
                    </a:lnTo>
                    <a:lnTo>
                      <a:pt x="1421" y="1916"/>
                    </a:lnTo>
                    <a:lnTo>
                      <a:pt x="1422" y="1922"/>
                    </a:lnTo>
                    <a:lnTo>
                      <a:pt x="1421" y="1928"/>
                    </a:lnTo>
                    <a:lnTo>
                      <a:pt x="1421" y="1935"/>
                    </a:lnTo>
                    <a:lnTo>
                      <a:pt x="1418" y="1942"/>
                    </a:lnTo>
                    <a:lnTo>
                      <a:pt x="1416" y="1949"/>
                    </a:lnTo>
                    <a:lnTo>
                      <a:pt x="1411" y="1956"/>
                    </a:lnTo>
                    <a:lnTo>
                      <a:pt x="1405" y="1963"/>
                    </a:lnTo>
                    <a:lnTo>
                      <a:pt x="1397" y="1968"/>
                    </a:lnTo>
                    <a:lnTo>
                      <a:pt x="1384" y="1976"/>
                    </a:lnTo>
                    <a:lnTo>
                      <a:pt x="1371" y="1986"/>
                    </a:lnTo>
                    <a:lnTo>
                      <a:pt x="1360" y="1995"/>
                    </a:lnTo>
                    <a:lnTo>
                      <a:pt x="1352" y="2006"/>
                    </a:lnTo>
                    <a:lnTo>
                      <a:pt x="1345" y="2023"/>
                    </a:lnTo>
                    <a:lnTo>
                      <a:pt x="1339" y="2039"/>
                    </a:lnTo>
                    <a:lnTo>
                      <a:pt x="1333" y="2058"/>
                    </a:lnTo>
                    <a:lnTo>
                      <a:pt x="1327" y="2071"/>
                    </a:lnTo>
                    <a:lnTo>
                      <a:pt x="1322" y="2074"/>
                    </a:lnTo>
                    <a:lnTo>
                      <a:pt x="1316" y="2076"/>
                    </a:lnTo>
                    <a:lnTo>
                      <a:pt x="1309" y="2077"/>
                    </a:lnTo>
                    <a:lnTo>
                      <a:pt x="1301" y="2080"/>
                    </a:lnTo>
                    <a:lnTo>
                      <a:pt x="1288" y="2082"/>
                    </a:lnTo>
                    <a:lnTo>
                      <a:pt x="1270" y="2085"/>
                    </a:lnTo>
                    <a:lnTo>
                      <a:pt x="1251" y="2087"/>
                    </a:lnTo>
                    <a:lnTo>
                      <a:pt x="1234" y="2089"/>
                    </a:lnTo>
                    <a:lnTo>
                      <a:pt x="1220" y="2092"/>
                    </a:lnTo>
                    <a:lnTo>
                      <a:pt x="1204" y="2095"/>
                    </a:lnTo>
                    <a:lnTo>
                      <a:pt x="1190" y="2099"/>
                    </a:lnTo>
                    <a:lnTo>
                      <a:pt x="1177" y="2101"/>
                    </a:lnTo>
                    <a:lnTo>
                      <a:pt x="1149" y="2104"/>
                    </a:lnTo>
                    <a:lnTo>
                      <a:pt x="1126" y="2105"/>
                    </a:lnTo>
                    <a:lnTo>
                      <a:pt x="1116" y="2108"/>
                    </a:lnTo>
                    <a:lnTo>
                      <a:pt x="1107" y="2113"/>
                    </a:lnTo>
                    <a:lnTo>
                      <a:pt x="1102" y="2117"/>
                    </a:lnTo>
                    <a:lnTo>
                      <a:pt x="1099" y="2121"/>
                    </a:lnTo>
                    <a:lnTo>
                      <a:pt x="1094" y="2126"/>
                    </a:lnTo>
                    <a:lnTo>
                      <a:pt x="1090" y="2133"/>
                    </a:lnTo>
                    <a:lnTo>
                      <a:pt x="1076" y="2161"/>
                    </a:lnTo>
                    <a:lnTo>
                      <a:pt x="1063" y="2184"/>
                    </a:lnTo>
                    <a:lnTo>
                      <a:pt x="1056" y="2195"/>
                    </a:lnTo>
                    <a:lnTo>
                      <a:pt x="1049" y="2206"/>
                    </a:lnTo>
                    <a:lnTo>
                      <a:pt x="1039" y="2215"/>
                    </a:lnTo>
                    <a:lnTo>
                      <a:pt x="1030" y="2224"/>
                    </a:lnTo>
                    <a:lnTo>
                      <a:pt x="1011" y="2238"/>
                    </a:lnTo>
                    <a:lnTo>
                      <a:pt x="998" y="2249"/>
                    </a:lnTo>
                    <a:lnTo>
                      <a:pt x="990" y="2252"/>
                    </a:lnTo>
                    <a:lnTo>
                      <a:pt x="984" y="2253"/>
                    </a:lnTo>
                    <a:lnTo>
                      <a:pt x="977" y="2253"/>
                    </a:lnTo>
                    <a:lnTo>
                      <a:pt x="969" y="2250"/>
                    </a:lnTo>
                    <a:lnTo>
                      <a:pt x="961" y="2247"/>
                    </a:lnTo>
                    <a:lnTo>
                      <a:pt x="954" y="2245"/>
                    </a:lnTo>
                    <a:lnTo>
                      <a:pt x="948" y="2245"/>
                    </a:lnTo>
                    <a:lnTo>
                      <a:pt x="942" y="2246"/>
                    </a:lnTo>
                    <a:lnTo>
                      <a:pt x="936" y="2251"/>
                    </a:lnTo>
                    <a:lnTo>
                      <a:pt x="931" y="2257"/>
                    </a:lnTo>
                    <a:lnTo>
                      <a:pt x="926" y="2265"/>
                    </a:lnTo>
                    <a:lnTo>
                      <a:pt x="920" y="2277"/>
                    </a:lnTo>
                    <a:lnTo>
                      <a:pt x="918" y="2283"/>
                    </a:lnTo>
                    <a:lnTo>
                      <a:pt x="917" y="2288"/>
                    </a:lnTo>
                    <a:lnTo>
                      <a:pt x="917" y="2293"/>
                    </a:lnTo>
                    <a:lnTo>
                      <a:pt x="918" y="2297"/>
                    </a:lnTo>
                    <a:lnTo>
                      <a:pt x="920" y="2303"/>
                    </a:lnTo>
                    <a:lnTo>
                      <a:pt x="924" y="2308"/>
                    </a:lnTo>
                    <a:lnTo>
                      <a:pt x="926" y="2312"/>
                    </a:lnTo>
                    <a:lnTo>
                      <a:pt x="927" y="2315"/>
                    </a:lnTo>
                    <a:lnTo>
                      <a:pt x="927" y="2316"/>
                    </a:lnTo>
                    <a:lnTo>
                      <a:pt x="926" y="2319"/>
                    </a:lnTo>
                    <a:lnTo>
                      <a:pt x="924" y="2321"/>
                    </a:lnTo>
                    <a:lnTo>
                      <a:pt x="919" y="2323"/>
                    </a:lnTo>
                    <a:lnTo>
                      <a:pt x="914" y="2326"/>
                    </a:lnTo>
                    <a:lnTo>
                      <a:pt x="911" y="2328"/>
                    </a:lnTo>
                    <a:lnTo>
                      <a:pt x="906" y="2329"/>
                    </a:lnTo>
                    <a:lnTo>
                      <a:pt x="901" y="2329"/>
                    </a:lnTo>
                    <a:lnTo>
                      <a:pt x="894" y="2329"/>
                    </a:lnTo>
                    <a:lnTo>
                      <a:pt x="886" y="2328"/>
                    </a:lnTo>
                    <a:lnTo>
                      <a:pt x="879" y="2327"/>
                    </a:lnTo>
                    <a:lnTo>
                      <a:pt x="870" y="2328"/>
                    </a:lnTo>
                    <a:lnTo>
                      <a:pt x="867" y="2331"/>
                    </a:lnTo>
                    <a:lnTo>
                      <a:pt x="863" y="2333"/>
                    </a:lnTo>
                    <a:lnTo>
                      <a:pt x="858" y="2336"/>
                    </a:lnTo>
                    <a:lnTo>
                      <a:pt x="855" y="2341"/>
                    </a:lnTo>
                    <a:lnTo>
                      <a:pt x="847" y="2352"/>
                    </a:lnTo>
                    <a:lnTo>
                      <a:pt x="838" y="2366"/>
                    </a:lnTo>
                    <a:lnTo>
                      <a:pt x="829" y="2382"/>
                    </a:lnTo>
                    <a:lnTo>
                      <a:pt x="820" y="2401"/>
                    </a:lnTo>
                    <a:lnTo>
                      <a:pt x="812" y="2423"/>
                    </a:lnTo>
                    <a:lnTo>
                      <a:pt x="806" y="2446"/>
                    </a:lnTo>
                    <a:lnTo>
                      <a:pt x="800" y="2467"/>
                    </a:lnTo>
                    <a:lnTo>
                      <a:pt x="795" y="2486"/>
                    </a:lnTo>
                    <a:lnTo>
                      <a:pt x="788" y="2498"/>
                    </a:lnTo>
                    <a:lnTo>
                      <a:pt x="781" y="2510"/>
                    </a:lnTo>
                    <a:lnTo>
                      <a:pt x="775" y="2522"/>
                    </a:lnTo>
                    <a:lnTo>
                      <a:pt x="769" y="2533"/>
                    </a:lnTo>
                    <a:lnTo>
                      <a:pt x="765" y="2547"/>
                    </a:lnTo>
                    <a:lnTo>
                      <a:pt x="760" y="2560"/>
                    </a:lnTo>
                    <a:lnTo>
                      <a:pt x="757" y="2571"/>
                    </a:lnTo>
                    <a:lnTo>
                      <a:pt x="755" y="2578"/>
                    </a:lnTo>
                    <a:lnTo>
                      <a:pt x="743" y="2586"/>
                    </a:lnTo>
                    <a:lnTo>
                      <a:pt x="729" y="2594"/>
                    </a:lnTo>
                    <a:lnTo>
                      <a:pt x="712" y="2604"/>
                    </a:lnTo>
                    <a:lnTo>
                      <a:pt x="694" y="2613"/>
                    </a:lnTo>
                    <a:lnTo>
                      <a:pt x="691" y="2616"/>
                    </a:lnTo>
                    <a:lnTo>
                      <a:pt x="688" y="2619"/>
                    </a:lnTo>
                    <a:lnTo>
                      <a:pt x="686" y="2623"/>
                    </a:lnTo>
                    <a:lnTo>
                      <a:pt x="684" y="2627"/>
                    </a:lnTo>
                    <a:lnTo>
                      <a:pt x="680" y="2635"/>
                    </a:lnTo>
                    <a:lnTo>
                      <a:pt x="674" y="2642"/>
                    </a:lnTo>
                    <a:lnTo>
                      <a:pt x="668" y="2653"/>
                    </a:lnTo>
                    <a:lnTo>
                      <a:pt x="661" y="2662"/>
                    </a:lnTo>
                    <a:lnTo>
                      <a:pt x="653" y="2674"/>
                    </a:lnTo>
                    <a:lnTo>
                      <a:pt x="641" y="2692"/>
                    </a:lnTo>
                    <a:lnTo>
                      <a:pt x="635" y="2706"/>
                    </a:lnTo>
                    <a:lnTo>
                      <a:pt x="629" y="2723"/>
                    </a:lnTo>
                    <a:lnTo>
                      <a:pt x="625" y="2730"/>
                    </a:lnTo>
                    <a:lnTo>
                      <a:pt x="624" y="2736"/>
                    </a:lnTo>
                    <a:lnTo>
                      <a:pt x="623" y="2742"/>
                    </a:lnTo>
                    <a:lnTo>
                      <a:pt x="623" y="2745"/>
                    </a:lnTo>
                    <a:lnTo>
                      <a:pt x="625" y="2754"/>
                    </a:lnTo>
                    <a:lnTo>
                      <a:pt x="628" y="2763"/>
                    </a:lnTo>
                    <a:lnTo>
                      <a:pt x="630" y="2774"/>
                    </a:lnTo>
                    <a:lnTo>
                      <a:pt x="634" y="2785"/>
                    </a:lnTo>
                    <a:lnTo>
                      <a:pt x="635" y="2788"/>
                    </a:lnTo>
                    <a:lnTo>
                      <a:pt x="637" y="2791"/>
                    </a:lnTo>
                    <a:lnTo>
                      <a:pt x="641" y="2793"/>
                    </a:lnTo>
                    <a:lnTo>
                      <a:pt x="644" y="2794"/>
                    </a:lnTo>
                    <a:lnTo>
                      <a:pt x="653" y="2798"/>
                    </a:lnTo>
                    <a:lnTo>
                      <a:pt x="662" y="2801"/>
                    </a:lnTo>
                    <a:lnTo>
                      <a:pt x="668" y="2805"/>
                    </a:lnTo>
                    <a:lnTo>
                      <a:pt x="673" y="2810"/>
                    </a:lnTo>
                    <a:lnTo>
                      <a:pt x="678" y="2815"/>
                    </a:lnTo>
                    <a:lnTo>
                      <a:pt x="681" y="2820"/>
                    </a:lnTo>
                    <a:lnTo>
                      <a:pt x="687" y="2832"/>
                    </a:lnTo>
                    <a:lnTo>
                      <a:pt x="692" y="2843"/>
                    </a:lnTo>
                    <a:lnTo>
                      <a:pt x="697" y="2858"/>
                    </a:lnTo>
                    <a:lnTo>
                      <a:pt x="700" y="2869"/>
                    </a:lnTo>
                    <a:lnTo>
                      <a:pt x="700" y="2873"/>
                    </a:lnTo>
                    <a:lnTo>
                      <a:pt x="698" y="2875"/>
                    </a:lnTo>
                    <a:lnTo>
                      <a:pt x="694" y="2878"/>
                    </a:lnTo>
                    <a:lnTo>
                      <a:pt x="688" y="2882"/>
                    </a:lnTo>
                    <a:lnTo>
                      <a:pt x="678" y="2892"/>
                    </a:lnTo>
                    <a:lnTo>
                      <a:pt x="669" y="2899"/>
                    </a:lnTo>
                    <a:lnTo>
                      <a:pt x="665" y="2901"/>
                    </a:lnTo>
                    <a:lnTo>
                      <a:pt x="660" y="2903"/>
                    </a:lnTo>
                    <a:lnTo>
                      <a:pt x="655" y="2903"/>
                    </a:lnTo>
                    <a:lnTo>
                      <a:pt x="650" y="2903"/>
                    </a:lnTo>
                    <a:lnTo>
                      <a:pt x="647" y="2902"/>
                    </a:lnTo>
                    <a:lnTo>
                      <a:pt x="642" y="2900"/>
                    </a:lnTo>
                    <a:lnTo>
                      <a:pt x="639" y="2896"/>
                    </a:lnTo>
                    <a:lnTo>
                      <a:pt x="635" y="2893"/>
                    </a:lnTo>
                    <a:lnTo>
                      <a:pt x="628" y="2882"/>
                    </a:lnTo>
                    <a:lnTo>
                      <a:pt x="620" y="2871"/>
                    </a:lnTo>
                    <a:lnTo>
                      <a:pt x="614" y="2867"/>
                    </a:lnTo>
                    <a:lnTo>
                      <a:pt x="608" y="2863"/>
                    </a:lnTo>
                    <a:lnTo>
                      <a:pt x="600" y="2861"/>
                    </a:lnTo>
                    <a:lnTo>
                      <a:pt x="592" y="2861"/>
                    </a:lnTo>
                    <a:lnTo>
                      <a:pt x="584" y="2862"/>
                    </a:lnTo>
                    <a:lnTo>
                      <a:pt x="578" y="2864"/>
                    </a:lnTo>
                    <a:lnTo>
                      <a:pt x="571" y="2869"/>
                    </a:lnTo>
                    <a:lnTo>
                      <a:pt x="566" y="2875"/>
                    </a:lnTo>
                    <a:lnTo>
                      <a:pt x="558" y="2887"/>
                    </a:lnTo>
                    <a:lnTo>
                      <a:pt x="553" y="2898"/>
                    </a:lnTo>
                    <a:lnTo>
                      <a:pt x="551" y="2901"/>
                    </a:lnTo>
                    <a:lnTo>
                      <a:pt x="547" y="2903"/>
                    </a:lnTo>
                    <a:lnTo>
                      <a:pt x="542" y="2906"/>
                    </a:lnTo>
                    <a:lnTo>
                      <a:pt x="537" y="2907"/>
                    </a:lnTo>
                    <a:lnTo>
                      <a:pt x="533" y="2907"/>
                    </a:lnTo>
                    <a:lnTo>
                      <a:pt x="527" y="2906"/>
                    </a:lnTo>
                    <a:lnTo>
                      <a:pt x="521" y="2905"/>
                    </a:lnTo>
                    <a:lnTo>
                      <a:pt x="516" y="2902"/>
                    </a:lnTo>
                    <a:lnTo>
                      <a:pt x="509" y="2901"/>
                    </a:lnTo>
                    <a:lnTo>
                      <a:pt x="501" y="2899"/>
                    </a:lnTo>
                    <a:lnTo>
                      <a:pt x="491" y="2898"/>
                    </a:lnTo>
                    <a:lnTo>
                      <a:pt x="480" y="2896"/>
                    </a:lnTo>
                    <a:lnTo>
                      <a:pt x="457" y="2895"/>
                    </a:lnTo>
                    <a:lnTo>
                      <a:pt x="432" y="2896"/>
                    </a:lnTo>
                    <a:lnTo>
                      <a:pt x="410" y="2895"/>
                    </a:lnTo>
                    <a:lnTo>
                      <a:pt x="394" y="2894"/>
                    </a:lnTo>
                    <a:lnTo>
                      <a:pt x="387" y="2892"/>
                    </a:lnTo>
                    <a:lnTo>
                      <a:pt x="378" y="2888"/>
                    </a:lnTo>
                    <a:lnTo>
                      <a:pt x="370" y="2884"/>
                    </a:lnTo>
                    <a:lnTo>
                      <a:pt x="359" y="2878"/>
                    </a:lnTo>
                    <a:lnTo>
                      <a:pt x="346" y="2870"/>
                    </a:lnTo>
                    <a:lnTo>
                      <a:pt x="332" y="2862"/>
                    </a:lnTo>
                    <a:lnTo>
                      <a:pt x="320" y="2852"/>
                    </a:lnTo>
                    <a:lnTo>
                      <a:pt x="310" y="2846"/>
                    </a:lnTo>
                    <a:lnTo>
                      <a:pt x="306" y="2844"/>
                    </a:lnTo>
                    <a:lnTo>
                      <a:pt x="299" y="2844"/>
                    </a:lnTo>
                    <a:lnTo>
                      <a:pt x="291" y="2845"/>
                    </a:lnTo>
                    <a:lnTo>
                      <a:pt x="284" y="2846"/>
                    </a:lnTo>
                    <a:lnTo>
                      <a:pt x="281" y="2849"/>
                    </a:lnTo>
                    <a:lnTo>
                      <a:pt x="277" y="2854"/>
                    </a:lnTo>
                    <a:lnTo>
                      <a:pt x="272" y="2855"/>
                    </a:lnTo>
                    <a:lnTo>
                      <a:pt x="266" y="2855"/>
                    </a:lnTo>
                    <a:lnTo>
                      <a:pt x="259" y="2855"/>
                    </a:lnTo>
                    <a:lnTo>
                      <a:pt x="251" y="2855"/>
                    </a:lnTo>
                    <a:lnTo>
                      <a:pt x="243" y="2854"/>
                    </a:lnTo>
                    <a:lnTo>
                      <a:pt x="236" y="2852"/>
                    </a:lnTo>
                    <a:lnTo>
                      <a:pt x="228" y="2850"/>
                    </a:lnTo>
                    <a:lnTo>
                      <a:pt x="224" y="2848"/>
                    </a:lnTo>
                    <a:lnTo>
                      <a:pt x="211" y="2836"/>
                    </a:lnTo>
                    <a:lnTo>
                      <a:pt x="199" y="2823"/>
                    </a:lnTo>
                    <a:lnTo>
                      <a:pt x="184" y="2821"/>
                    </a:lnTo>
                    <a:lnTo>
                      <a:pt x="174" y="2818"/>
                    </a:lnTo>
                    <a:lnTo>
                      <a:pt x="165" y="2815"/>
                    </a:lnTo>
                    <a:lnTo>
                      <a:pt x="157" y="2814"/>
                    </a:lnTo>
                    <a:lnTo>
                      <a:pt x="148" y="2814"/>
                    </a:lnTo>
                    <a:lnTo>
                      <a:pt x="138" y="2815"/>
                    </a:lnTo>
                    <a:lnTo>
                      <a:pt x="127" y="2819"/>
                    </a:lnTo>
                    <a:lnTo>
                      <a:pt x="115" y="2820"/>
                    </a:lnTo>
                    <a:lnTo>
                      <a:pt x="108" y="2823"/>
                    </a:lnTo>
                    <a:lnTo>
                      <a:pt x="105" y="2823"/>
                    </a:lnTo>
                    <a:lnTo>
                      <a:pt x="104" y="2819"/>
                    </a:lnTo>
                    <a:lnTo>
                      <a:pt x="105" y="2811"/>
                    </a:lnTo>
                    <a:lnTo>
                      <a:pt x="105" y="2804"/>
                    </a:lnTo>
                    <a:lnTo>
                      <a:pt x="104" y="2796"/>
                    </a:lnTo>
                    <a:lnTo>
                      <a:pt x="102" y="2793"/>
                    </a:lnTo>
                    <a:lnTo>
                      <a:pt x="100" y="2789"/>
                    </a:lnTo>
                    <a:lnTo>
                      <a:pt x="96" y="2787"/>
                    </a:lnTo>
                    <a:lnTo>
                      <a:pt x="93" y="2785"/>
                    </a:lnTo>
                    <a:lnTo>
                      <a:pt x="79" y="2777"/>
                    </a:lnTo>
                    <a:lnTo>
                      <a:pt x="66" y="2770"/>
                    </a:lnTo>
                    <a:lnTo>
                      <a:pt x="60" y="2767"/>
                    </a:lnTo>
                    <a:lnTo>
                      <a:pt x="55" y="2763"/>
                    </a:lnTo>
                    <a:lnTo>
                      <a:pt x="50" y="2758"/>
                    </a:lnTo>
                    <a:lnTo>
                      <a:pt x="48" y="2752"/>
                    </a:lnTo>
                    <a:lnTo>
                      <a:pt x="48" y="2741"/>
                    </a:lnTo>
                    <a:lnTo>
                      <a:pt x="49" y="2728"/>
                    </a:lnTo>
                    <a:lnTo>
                      <a:pt x="49" y="2720"/>
                    </a:lnTo>
                    <a:lnTo>
                      <a:pt x="47" y="2714"/>
                    </a:lnTo>
                    <a:lnTo>
                      <a:pt x="44" y="2711"/>
                    </a:lnTo>
                    <a:lnTo>
                      <a:pt x="42" y="2709"/>
                    </a:lnTo>
                    <a:lnTo>
                      <a:pt x="38" y="2705"/>
                    </a:lnTo>
                    <a:lnTo>
                      <a:pt x="33" y="2703"/>
                    </a:lnTo>
                    <a:lnTo>
                      <a:pt x="25" y="2698"/>
                    </a:lnTo>
                    <a:lnTo>
                      <a:pt x="20" y="2693"/>
                    </a:lnTo>
                    <a:lnTo>
                      <a:pt x="17" y="2689"/>
                    </a:lnTo>
                    <a:lnTo>
                      <a:pt x="14" y="2686"/>
                    </a:lnTo>
                    <a:lnTo>
                      <a:pt x="13" y="2678"/>
                    </a:lnTo>
                    <a:lnTo>
                      <a:pt x="14" y="2668"/>
                    </a:lnTo>
                    <a:lnTo>
                      <a:pt x="13" y="2659"/>
                    </a:lnTo>
                    <a:lnTo>
                      <a:pt x="14" y="2653"/>
                    </a:lnTo>
                    <a:lnTo>
                      <a:pt x="16" y="2650"/>
                    </a:lnTo>
                    <a:lnTo>
                      <a:pt x="18" y="2648"/>
                    </a:lnTo>
                    <a:lnTo>
                      <a:pt x="22" y="2648"/>
                    </a:lnTo>
                    <a:lnTo>
                      <a:pt x="28" y="2647"/>
                    </a:lnTo>
                    <a:lnTo>
                      <a:pt x="33" y="2646"/>
                    </a:lnTo>
                    <a:lnTo>
                      <a:pt x="41" y="2644"/>
                    </a:lnTo>
                    <a:lnTo>
                      <a:pt x="47" y="2641"/>
                    </a:lnTo>
                    <a:lnTo>
                      <a:pt x="54" y="2637"/>
                    </a:lnTo>
                    <a:lnTo>
                      <a:pt x="58" y="2634"/>
                    </a:lnTo>
                    <a:lnTo>
                      <a:pt x="63" y="2629"/>
                    </a:lnTo>
                    <a:lnTo>
                      <a:pt x="68" y="2624"/>
                    </a:lnTo>
                    <a:lnTo>
                      <a:pt x="69" y="2619"/>
                    </a:lnTo>
                    <a:lnTo>
                      <a:pt x="71" y="2610"/>
                    </a:lnTo>
                    <a:lnTo>
                      <a:pt x="73" y="2600"/>
                    </a:lnTo>
                    <a:lnTo>
                      <a:pt x="75" y="2596"/>
                    </a:lnTo>
                    <a:lnTo>
                      <a:pt x="76" y="2593"/>
                    </a:lnTo>
                    <a:lnTo>
                      <a:pt x="80" y="2591"/>
                    </a:lnTo>
                    <a:lnTo>
                      <a:pt x="85" y="2591"/>
                    </a:lnTo>
                    <a:lnTo>
                      <a:pt x="89" y="2592"/>
                    </a:lnTo>
                    <a:lnTo>
                      <a:pt x="94" y="2591"/>
                    </a:lnTo>
                    <a:lnTo>
                      <a:pt x="98" y="2588"/>
                    </a:lnTo>
                    <a:lnTo>
                      <a:pt x="101" y="2586"/>
                    </a:lnTo>
                    <a:lnTo>
                      <a:pt x="102" y="2581"/>
                    </a:lnTo>
                    <a:lnTo>
                      <a:pt x="105" y="2577"/>
                    </a:lnTo>
                    <a:lnTo>
                      <a:pt x="106" y="2571"/>
                    </a:lnTo>
                    <a:lnTo>
                      <a:pt x="106" y="2564"/>
                    </a:lnTo>
                    <a:lnTo>
                      <a:pt x="105" y="2547"/>
                    </a:lnTo>
                    <a:lnTo>
                      <a:pt x="104" y="2530"/>
                    </a:lnTo>
                    <a:lnTo>
                      <a:pt x="102" y="2515"/>
                    </a:lnTo>
                    <a:lnTo>
                      <a:pt x="100" y="2503"/>
                    </a:lnTo>
                    <a:lnTo>
                      <a:pt x="100" y="2498"/>
                    </a:lnTo>
                    <a:lnTo>
                      <a:pt x="100" y="2493"/>
                    </a:lnTo>
                    <a:lnTo>
                      <a:pt x="101" y="2489"/>
                    </a:lnTo>
                    <a:lnTo>
                      <a:pt x="102" y="2484"/>
                    </a:lnTo>
                    <a:lnTo>
                      <a:pt x="108" y="2474"/>
                    </a:lnTo>
                    <a:lnTo>
                      <a:pt x="117" y="2466"/>
                    </a:lnTo>
                    <a:lnTo>
                      <a:pt x="125" y="2458"/>
                    </a:lnTo>
                    <a:lnTo>
                      <a:pt x="131" y="2448"/>
                    </a:lnTo>
                    <a:lnTo>
                      <a:pt x="137" y="2436"/>
                    </a:lnTo>
                    <a:lnTo>
                      <a:pt x="140" y="2422"/>
                    </a:lnTo>
                    <a:lnTo>
                      <a:pt x="143" y="2414"/>
                    </a:lnTo>
                    <a:lnTo>
                      <a:pt x="146" y="2405"/>
                    </a:lnTo>
                    <a:lnTo>
                      <a:pt x="150" y="2397"/>
                    </a:lnTo>
                    <a:lnTo>
                      <a:pt x="155" y="2389"/>
                    </a:lnTo>
                    <a:lnTo>
                      <a:pt x="165" y="2372"/>
                    </a:lnTo>
                    <a:lnTo>
                      <a:pt x="175" y="2358"/>
                    </a:lnTo>
                    <a:lnTo>
                      <a:pt x="184" y="2342"/>
                    </a:lnTo>
                    <a:lnTo>
                      <a:pt x="194" y="2326"/>
                    </a:lnTo>
                    <a:lnTo>
                      <a:pt x="201" y="2308"/>
                    </a:lnTo>
                    <a:lnTo>
                      <a:pt x="208" y="2291"/>
                    </a:lnTo>
                    <a:lnTo>
                      <a:pt x="215" y="2275"/>
                    </a:lnTo>
                    <a:lnTo>
                      <a:pt x="220" y="2260"/>
                    </a:lnTo>
                    <a:lnTo>
                      <a:pt x="222" y="2247"/>
                    </a:lnTo>
                    <a:lnTo>
                      <a:pt x="222" y="2237"/>
                    </a:lnTo>
                    <a:lnTo>
                      <a:pt x="222" y="2232"/>
                    </a:lnTo>
                    <a:lnTo>
                      <a:pt x="220" y="2228"/>
                    </a:lnTo>
                    <a:lnTo>
                      <a:pt x="218" y="2226"/>
                    </a:lnTo>
                    <a:lnTo>
                      <a:pt x="214" y="2224"/>
                    </a:lnTo>
                    <a:lnTo>
                      <a:pt x="211" y="2222"/>
                    </a:lnTo>
                    <a:lnTo>
                      <a:pt x="206" y="2221"/>
                    </a:lnTo>
                    <a:lnTo>
                      <a:pt x="200" y="2220"/>
                    </a:lnTo>
                    <a:lnTo>
                      <a:pt x="194" y="2220"/>
                    </a:lnTo>
                    <a:lnTo>
                      <a:pt x="181" y="2220"/>
                    </a:lnTo>
                    <a:lnTo>
                      <a:pt x="173" y="2219"/>
                    </a:lnTo>
                    <a:lnTo>
                      <a:pt x="169" y="2218"/>
                    </a:lnTo>
                    <a:lnTo>
                      <a:pt x="167" y="2216"/>
                    </a:lnTo>
                    <a:lnTo>
                      <a:pt x="165" y="2214"/>
                    </a:lnTo>
                    <a:lnTo>
                      <a:pt x="164" y="2210"/>
                    </a:lnTo>
                    <a:lnTo>
                      <a:pt x="165" y="2208"/>
                    </a:lnTo>
                    <a:lnTo>
                      <a:pt x="167" y="2206"/>
                    </a:lnTo>
                    <a:lnTo>
                      <a:pt x="173" y="2202"/>
                    </a:lnTo>
                    <a:lnTo>
                      <a:pt x="178" y="2200"/>
                    </a:lnTo>
                    <a:lnTo>
                      <a:pt x="183" y="2196"/>
                    </a:lnTo>
                    <a:lnTo>
                      <a:pt x="186" y="2194"/>
                    </a:lnTo>
                    <a:lnTo>
                      <a:pt x="186" y="2193"/>
                    </a:lnTo>
                    <a:lnTo>
                      <a:pt x="186" y="2190"/>
                    </a:lnTo>
                    <a:lnTo>
                      <a:pt x="184" y="2188"/>
                    </a:lnTo>
                    <a:lnTo>
                      <a:pt x="182" y="2187"/>
                    </a:lnTo>
                    <a:lnTo>
                      <a:pt x="171" y="2177"/>
                    </a:lnTo>
                    <a:lnTo>
                      <a:pt x="159" y="2169"/>
                    </a:lnTo>
                    <a:lnTo>
                      <a:pt x="154" y="2163"/>
                    </a:lnTo>
                    <a:lnTo>
                      <a:pt x="149" y="2157"/>
                    </a:lnTo>
                    <a:lnTo>
                      <a:pt x="143" y="2149"/>
                    </a:lnTo>
                    <a:lnTo>
                      <a:pt x="138" y="2139"/>
                    </a:lnTo>
                    <a:lnTo>
                      <a:pt x="131" y="2118"/>
                    </a:lnTo>
                    <a:lnTo>
                      <a:pt x="125" y="2098"/>
                    </a:lnTo>
                    <a:lnTo>
                      <a:pt x="123" y="2089"/>
                    </a:lnTo>
                    <a:lnTo>
                      <a:pt x="120" y="2081"/>
                    </a:lnTo>
                    <a:lnTo>
                      <a:pt x="117" y="2075"/>
                    </a:lnTo>
                    <a:lnTo>
                      <a:pt x="113" y="2069"/>
                    </a:lnTo>
                    <a:lnTo>
                      <a:pt x="107" y="2062"/>
                    </a:lnTo>
                    <a:lnTo>
                      <a:pt x="104" y="2054"/>
                    </a:lnTo>
                    <a:lnTo>
                      <a:pt x="102" y="2050"/>
                    </a:lnTo>
                    <a:lnTo>
                      <a:pt x="102" y="2046"/>
                    </a:lnTo>
                    <a:lnTo>
                      <a:pt x="102" y="2043"/>
                    </a:lnTo>
                    <a:lnTo>
                      <a:pt x="104" y="2038"/>
                    </a:lnTo>
                    <a:lnTo>
                      <a:pt x="105" y="2035"/>
                    </a:lnTo>
                    <a:lnTo>
                      <a:pt x="105" y="2031"/>
                    </a:lnTo>
                    <a:lnTo>
                      <a:pt x="105" y="2027"/>
                    </a:lnTo>
                    <a:lnTo>
                      <a:pt x="102" y="2026"/>
                    </a:lnTo>
                    <a:lnTo>
                      <a:pt x="100" y="2025"/>
                    </a:lnTo>
                    <a:lnTo>
                      <a:pt x="98" y="2025"/>
                    </a:lnTo>
                    <a:lnTo>
                      <a:pt x="94" y="2025"/>
                    </a:lnTo>
                    <a:lnTo>
                      <a:pt x="91" y="2027"/>
                    </a:lnTo>
                    <a:lnTo>
                      <a:pt x="83" y="2031"/>
                    </a:lnTo>
                    <a:lnTo>
                      <a:pt x="77" y="2032"/>
                    </a:lnTo>
                    <a:lnTo>
                      <a:pt x="75" y="2031"/>
                    </a:lnTo>
                    <a:lnTo>
                      <a:pt x="73" y="2030"/>
                    </a:lnTo>
                    <a:lnTo>
                      <a:pt x="70" y="2027"/>
                    </a:lnTo>
                    <a:lnTo>
                      <a:pt x="68" y="2025"/>
                    </a:lnTo>
                    <a:lnTo>
                      <a:pt x="66" y="2018"/>
                    </a:lnTo>
                    <a:lnTo>
                      <a:pt x="63" y="2013"/>
                    </a:lnTo>
                    <a:lnTo>
                      <a:pt x="61" y="2011"/>
                    </a:lnTo>
                    <a:lnTo>
                      <a:pt x="57" y="2010"/>
                    </a:lnTo>
                    <a:lnTo>
                      <a:pt x="52" y="2008"/>
                    </a:lnTo>
                    <a:lnTo>
                      <a:pt x="47" y="2008"/>
                    </a:lnTo>
                    <a:lnTo>
                      <a:pt x="38" y="2008"/>
                    </a:lnTo>
                    <a:lnTo>
                      <a:pt x="32" y="2007"/>
                    </a:lnTo>
                    <a:lnTo>
                      <a:pt x="26" y="2005"/>
                    </a:lnTo>
                    <a:lnTo>
                      <a:pt x="20" y="2001"/>
                    </a:lnTo>
                    <a:lnTo>
                      <a:pt x="17" y="1998"/>
                    </a:lnTo>
                    <a:lnTo>
                      <a:pt x="13" y="1993"/>
                    </a:lnTo>
                    <a:lnTo>
                      <a:pt x="11" y="1987"/>
                    </a:lnTo>
                    <a:lnTo>
                      <a:pt x="10" y="1980"/>
                    </a:lnTo>
                    <a:lnTo>
                      <a:pt x="7" y="1967"/>
                    </a:lnTo>
                    <a:lnTo>
                      <a:pt x="7" y="1954"/>
                    </a:lnTo>
                    <a:lnTo>
                      <a:pt x="5" y="1943"/>
                    </a:lnTo>
                    <a:lnTo>
                      <a:pt x="3" y="1934"/>
                    </a:lnTo>
                    <a:lnTo>
                      <a:pt x="0" y="1928"/>
                    </a:lnTo>
                    <a:lnTo>
                      <a:pt x="0" y="1923"/>
                    </a:lnTo>
                    <a:lnTo>
                      <a:pt x="1" y="1917"/>
                    </a:lnTo>
                    <a:lnTo>
                      <a:pt x="4" y="1911"/>
                    </a:lnTo>
                    <a:lnTo>
                      <a:pt x="7" y="1900"/>
                    </a:lnTo>
                    <a:lnTo>
                      <a:pt x="11" y="1891"/>
                    </a:lnTo>
                    <a:lnTo>
                      <a:pt x="11" y="1881"/>
                    </a:lnTo>
                    <a:lnTo>
                      <a:pt x="10" y="1869"/>
                    </a:lnTo>
                    <a:lnTo>
                      <a:pt x="10" y="1857"/>
                    </a:lnTo>
                    <a:lnTo>
                      <a:pt x="10" y="1847"/>
                    </a:lnTo>
                    <a:lnTo>
                      <a:pt x="11" y="1842"/>
                    </a:lnTo>
                    <a:lnTo>
                      <a:pt x="12" y="1837"/>
                    </a:lnTo>
                    <a:lnTo>
                      <a:pt x="13" y="1833"/>
                    </a:lnTo>
                    <a:lnTo>
                      <a:pt x="16" y="1828"/>
                    </a:lnTo>
                    <a:lnTo>
                      <a:pt x="19" y="1824"/>
                    </a:lnTo>
                    <a:lnTo>
                      <a:pt x="23" y="1821"/>
                    </a:lnTo>
                    <a:lnTo>
                      <a:pt x="28" y="1819"/>
                    </a:lnTo>
                    <a:lnTo>
                      <a:pt x="32" y="1818"/>
                    </a:lnTo>
                    <a:lnTo>
                      <a:pt x="41" y="1817"/>
                    </a:lnTo>
                    <a:lnTo>
                      <a:pt x="47" y="1815"/>
                    </a:lnTo>
                    <a:lnTo>
                      <a:pt x="49" y="1811"/>
                    </a:lnTo>
                    <a:lnTo>
                      <a:pt x="52" y="1804"/>
                    </a:lnTo>
                    <a:lnTo>
                      <a:pt x="55" y="1796"/>
                    </a:lnTo>
                    <a:lnTo>
                      <a:pt x="60" y="1789"/>
                    </a:lnTo>
                    <a:lnTo>
                      <a:pt x="63" y="1785"/>
                    </a:lnTo>
                    <a:lnTo>
                      <a:pt x="68" y="1783"/>
                    </a:lnTo>
                    <a:lnTo>
                      <a:pt x="73" y="1780"/>
                    </a:lnTo>
                    <a:lnTo>
                      <a:pt x="80" y="1779"/>
                    </a:lnTo>
                    <a:lnTo>
                      <a:pt x="86" y="1777"/>
                    </a:lnTo>
                    <a:lnTo>
                      <a:pt x="92" y="1773"/>
                    </a:lnTo>
                    <a:lnTo>
                      <a:pt x="95" y="1768"/>
                    </a:lnTo>
                    <a:lnTo>
                      <a:pt x="98" y="1761"/>
                    </a:lnTo>
                    <a:lnTo>
                      <a:pt x="99" y="1755"/>
                    </a:lnTo>
                    <a:lnTo>
                      <a:pt x="100" y="1749"/>
                    </a:lnTo>
                    <a:lnTo>
                      <a:pt x="100" y="1743"/>
                    </a:lnTo>
                    <a:lnTo>
                      <a:pt x="99" y="1737"/>
                    </a:lnTo>
                    <a:lnTo>
                      <a:pt x="98" y="1734"/>
                    </a:lnTo>
                    <a:lnTo>
                      <a:pt x="95" y="1728"/>
                    </a:lnTo>
                    <a:lnTo>
                      <a:pt x="92" y="1723"/>
                    </a:lnTo>
                    <a:lnTo>
                      <a:pt x="88" y="1718"/>
                    </a:lnTo>
                    <a:lnTo>
                      <a:pt x="80" y="1708"/>
                    </a:lnTo>
                    <a:lnTo>
                      <a:pt x="73" y="1701"/>
                    </a:lnTo>
                    <a:lnTo>
                      <a:pt x="71" y="1697"/>
                    </a:lnTo>
                    <a:lnTo>
                      <a:pt x="69" y="1692"/>
                    </a:lnTo>
                    <a:lnTo>
                      <a:pt x="68" y="1685"/>
                    </a:lnTo>
                    <a:lnTo>
                      <a:pt x="68" y="1679"/>
                    </a:lnTo>
                    <a:lnTo>
                      <a:pt x="69" y="1671"/>
                    </a:lnTo>
                    <a:lnTo>
                      <a:pt x="71" y="1664"/>
                    </a:lnTo>
                    <a:lnTo>
                      <a:pt x="75" y="1658"/>
                    </a:lnTo>
                    <a:lnTo>
                      <a:pt x="80" y="1652"/>
                    </a:lnTo>
                    <a:lnTo>
                      <a:pt x="94" y="1639"/>
                    </a:lnTo>
                    <a:lnTo>
                      <a:pt x="110" y="1623"/>
                    </a:lnTo>
                    <a:lnTo>
                      <a:pt x="124" y="1610"/>
                    </a:lnTo>
                    <a:lnTo>
                      <a:pt x="136" y="1601"/>
                    </a:lnTo>
                    <a:lnTo>
                      <a:pt x="140" y="1598"/>
                    </a:lnTo>
                    <a:lnTo>
                      <a:pt x="145" y="1597"/>
                    </a:lnTo>
                    <a:lnTo>
                      <a:pt x="150" y="1598"/>
                    </a:lnTo>
                    <a:lnTo>
                      <a:pt x="155" y="1600"/>
                    </a:lnTo>
                    <a:lnTo>
                      <a:pt x="158" y="1602"/>
                    </a:lnTo>
                    <a:lnTo>
                      <a:pt x="163" y="1606"/>
                    </a:lnTo>
                    <a:lnTo>
                      <a:pt x="167" y="1609"/>
                    </a:lnTo>
                    <a:lnTo>
                      <a:pt x="170" y="1614"/>
                    </a:lnTo>
                    <a:lnTo>
                      <a:pt x="174" y="1620"/>
                    </a:lnTo>
                    <a:lnTo>
                      <a:pt x="178" y="1623"/>
                    </a:lnTo>
                    <a:lnTo>
                      <a:pt x="183" y="1627"/>
                    </a:lnTo>
                    <a:lnTo>
                      <a:pt x="189" y="1630"/>
                    </a:lnTo>
                    <a:lnTo>
                      <a:pt x="195" y="1632"/>
                    </a:lnTo>
                    <a:lnTo>
                      <a:pt x="202" y="1633"/>
                    </a:lnTo>
                    <a:lnTo>
                      <a:pt x="209" y="1632"/>
                    </a:lnTo>
                    <a:lnTo>
                      <a:pt x="215" y="1630"/>
                    </a:lnTo>
                    <a:lnTo>
                      <a:pt x="221" y="1627"/>
                    </a:lnTo>
                    <a:lnTo>
                      <a:pt x="226" y="1622"/>
                    </a:lnTo>
                    <a:lnTo>
                      <a:pt x="230" y="1617"/>
                    </a:lnTo>
                    <a:lnTo>
                      <a:pt x="233" y="1613"/>
                    </a:lnTo>
                    <a:lnTo>
                      <a:pt x="236" y="1608"/>
                    </a:lnTo>
                    <a:lnTo>
                      <a:pt x="239" y="1604"/>
                    </a:lnTo>
                    <a:lnTo>
                      <a:pt x="243" y="1603"/>
                    </a:lnTo>
                    <a:lnTo>
                      <a:pt x="247" y="1602"/>
                    </a:lnTo>
                    <a:lnTo>
                      <a:pt x="253" y="1602"/>
                    </a:lnTo>
                    <a:lnTo>
                      <a:pt x="257" y="1602"/>
                    </a:lnTo>
                    <a:lnTo>
                      <a:pt x="261" y="1602"/>
                    </a:lnTo>
                    <a:lnTo>
                      <a:pt x="263" y="1600"/>
                    </a:lnTo>
                    <a:lnTo>
                      <a:pt x="265" y="1596"/>
                    </a:lnTo>
                    <a:lnTo>
                      <a:pt x="268" y="1589"/>
                    </a:lnTo>
                    <a:lnTo>
                      <a:pt x="268" y="1585"/>
                    </a:lnTo>
                    <a:lnTo>
                      <a:pt x="270" y="1582"/>
                    </a:lnTo>
                    <a:lnTo>
                      <a:pt x="272" y="1578"/>
                    </a:lnTo>
                    <a:lnTo>
                      <a:pt x="275" y="1576"/>
                    </a:lnTo>
                    <a:lnTo>
                      <a:pt x="281" y="1571"/>
                    </a:lnTo>
                    <a:lnTo>
                      <a:pt x="288" y="1570"/>
                    </a:lnTo>
                    <a:lnTo>
                      <a:pt x="291" y="1569"/>
                    </a:lnTo>
                    <a:lnTo>
                      <a:pt x="295" y="1567"/>
                    </a:lnTo>
                    <a:lnTo>
                      <a:pt x="296" y="1566"/>
                    </a:lnTo>
                    <a:lnTo>
                      <a:pt x="299" y="1564"/>
                    </a:lnTo>
                    <a:lnTo>
                      <a:pt x="299" y="1560"/>
                    </a:lnTo>
                    <a:lnTo>
                      <a:pt x="299" y="1557"/>
                    </a:lnTo>
                    <a:lnTo>
                      <a:pt x="297" y="1552"/>
                    </a:lnTo>
                    <a:lnTo>
                      <a:pt x="295" y="1547"/>
                    </a:lnTo>
                    <a:lnTo>
                      <a:pt x="293" y="1535"/>
                    </a:lnTo>
                    <a:lnTo>
                      <a:pt x="290" y="1525"/>
                    </a:lnTo>
                    <a:lnTo>
                      <a:pt x="291" y="1515"/>
                    </a:lnTo>
                    <a:lnTo>
                      <a:pt x="293" y="1506"/>
                    </a:lnTo>
                    <a:lnTo>
                      <a:pt x="294" y="1496"/>
                    </a:lnTo>
                    <a:lnTo>
                      <a:pt x="294" y="1484"/>
                    </a:lnTo>
                    <a:lnTo>
                      <a:pt x="295" y="1472"/>
                    </a:lnTo>
                    <a:lnTo>
                      <a:pt x="299" y="1458"/>
                    </a:lnTo>
                    <a:lnTo>
                      <a:pt x="303" y="1447"/>
                    </a:lnTo>
                    <a:lnTo>
                      <a:pt x="307" y="1438"/>
                    </a:lnTo>
                    <a:lnTo>
                      <a:pt x="309" y="1433"/>
                    </a:lnTo>
                    <a:lnTo>
                      <a:pt x="310" y="1428"/>
                    </a:lnTo>
                    <a:lnTo>
                      <a:pt x="312" y="1422"/>
                    </a:lnTo>
                    <a:lnTo>
                      <a:pt x="312" y="1417"/>
                    </a:lnTo>
                    <a:lnTo>
                      <a:pt x="310" y="1403"/>
                    </a:lnTo>
                    <a:lnTo>
                      <a:pt x="307" y="1393"/>
                    </a:lnTo>
                    <a:lnTo>
                      <a:pt x="304" y="1388"/>
                    </a:lnTo>
                    <a:lnTo>
                      <a:pt x="301" y="1383"/>
                    </a:lnTo>
                    <a:lnTo>
                      <a:pt x="297" y="1380"/>
                    </a:lnTo>
                    <a:lnTo>
                      <a:pt x="293" y="1376"/>
                    </a:lnTo>
                    <a:lnTo>
                      <a:pt x="282" y="1368"/>
                    </a:lnTo>
                    <a:lnTo>
                      <a:pt x="275" y="1361"/>
                    </a:lnTo>
                    <a:lnTo>
                      <a:pt x="271" y="1356"/>
                    </a:lnTo>
                    <a:lnTo>
                      <a:pt x="269" y="1351"/>
                    </a:lnTo>
                    <a:lnTo>
                      <a:pt x="268" y="1345"/>
                    </a:lnTo>
                    <a:lnTo>
                      <a:pt x="268" y="1338"/>
                    </a:lnTo>
                    <a:lnTo>
                      <a:pt x="269" y="1321"/>
                    </a:lnTo>
                    <a:lnTo>
                      <a:pt x="269" y="1302"/>
                    </a:lnTo>
                    <a:lnTo>
                      <a:pt x="268" y="1294"/>
                    </a:lnTo>
                    <a:lnTo>
                      <a:pt x="268" y="1286"/>
                    </a:lnTo>
                    <a:lnTo>
                      <a:pt x="266" y="1279"/>
                    </a:lnTo>
                    <a:lnTo>
                      <a:pt x="265" y="1274"/>
                    </a:lnTo>
                    <a:lnTo>
                      <a:pt x="262" y="1269"/>
                    </a:lnTo>
                    <a:lnTo>
                      <a:pt x="258" y="1267"/>
                    </a:lnTo>
                    <a:lnTo>
                      <a:pt x="255" y="1266"/>
                    </a:lnTo>
                    <a:lnTo>
                      <a:pt x="250" y="1264"/>
                    </a:lnTo>
                    <a:lnTo>
                      <a:pt x="240" y="1264"/>
                    </a:lnTo>
                    <a:lnTo>
                      <a:pt x="231" y="1266"/>
                    </a:lnTo>
                    <a:lnTo>
                      <a:pt x="220" y="1266"/>
                    </a:lnTo>
                    <a:lnTo>
                      <a:pt x="208" y="1266"/>
                    </a:lnTo>
                    <a:lnTo>
                      <a:pt x="194" y="1263"/>
                    </a:lnTo>
                    <a:lnTo>
                      <a:pt x="178" y="1258"/>
                    </a:lnTo>
                    <a:lnTo>
                      <a:pt x="164" y="1251"/>
                    </a:lnTo>
                    <a:lnTo>
                      <a:pt x="154" y="1243"/>
                    </a:lnTo>
                    <a:lnTo>
                      <a:pt x="149" y="1239"/>
                    </a:lnTo>
                    <a:lnTo>
                      <a:pt x="145" y="1235"/>
                    </a:lnTo>
                    <a:lnTo>
                      <a:pt x="143" y="1231"/>
                    </a:lnTo>
                    <a:lnTo>
                      <a:pt x="140" y="1226"/>
                    </a:lnTo>
                    <a:lnTo>
                      <a:pt x="137" y="1219"/>
                    </a:lnTo>
                    <a:lnTo>
                      <a:pt x="134" y="1216"/>
                    </a:lnTo>
                    <a:lnTo>
                      <a:pt x="130" y="1214"/>
                    </a:lnTo>
                    <a:lnTo>
                      <a:pt x="121" y="1214"/>
                    </a:lnTo>
                    <a:lnTo>
                      <a:pt x="117" y="1214"/>
                    </a:lnTo>
                    <a:lnTo>
                      <a:pt x="113" y="1213"/>
                    </a:lnTo>
                    <a:lnTo>
                      <a:pt x="111" y="1212"/>
                    </a:lnTo>
                    <a:lnTo>
                      <a:pt x="108" y="1211"/>
                    </a:lnTo>
                    <a:lnTo>
                      <a:pt x="108" y="1209"/>
                    </a:lnTo>
                    <a:lnTo>
                      <a:pt x="108" y="1206"/>
                    </a:lnTo>
                    <a:lnTo>
                      <a:pt x="110" y="1203"/>
                    </a:lnTo>
                    <a:lnTo>
                      <a:pt x="112" y="1199"/>
                    </a:lnTo>
                    <a:lnTo>
                      <a:pt x="115" y="1195"/>
                    </a:lnTo>
                    <a:lnTo>
                      <a:pt x="118" y="1192"/>
                    </a:lnTo>
                    <a:lnTo>
                      <a:pt x="119" y="1188"/>
                    </a:lnTo>
                    <a:lnTo>
                      <a:pt x="119" y="1185"/>
                    </a:lnTo>
                    <a:lnTo>
                      <a:pt x="120" y="1178"/>
                    </a:lnTo>
                    <a:lnTo>
                      <a:pt x="120" y="1172"/>
                    </a:lnTo>
                    <a:lnTo>
                      <a:pt x="121" y="1169"/>
                    </a:lnTo>
                    <a:lnTo>
                      <a:pt x="121" y="1167"/>
                    </a:lnTo>
                    <a:lnTo>
                      <a:pt x="124" y="1166"/>
                    </a:lnTo>
                    <a:lnTo>
                      <a:pt x="125" y="1165"/>
                    </a:lnTo>
                    <a:lnTo>
                      <a:pt x="130" y="1166"/>
                    </a:lnTo>
                    <a:lnTo>
                      <a:pt x="136" y="1170"/>
                    </a:lnTo>
                    <a:lnTo>
                      <a:pt x="139" y="1173"/>
                    </a:lnTo>
                    <a:lnTo>
                      <a:pt x="143" y="1174"/>
                    </a:lnTo>
                    <a:lnTo>
                      <a:pt x="146" y="1174"/>
                    </a:lnTo>
                    <a:lnTo>
                      <a:pt x="149" y="1173"/>
                    </a:lnTo>
                    <a:lnTo>
                      <a:pt x="152" y="1172"/>
                    </a:lnTo>
                    <a:lnTo>
                      <a:pt x="155" y="1169"/>
                    </a:lnTo>
                    <a:lnTo>
                      <a:pt x="156" y="1165"/>
                    </a:lnTo>
                    <a:lnTo>
                      <a:pt x="156" y="1161"/>
                    </a:lnTo>
                    <a:lnTo>
                      <a:pt x="154" y="1150"/>
                    </a:lnTo>
                    <a:lnTo>
                      <a:pt x="151" y="1140"/>
                    </a:lnTo>
                    <a:lnTo>
                      <a:pt x="151" y="1135"/>
                    </a:lnTo>
                    <a:lnTo>
                      <a:pt x="152" y="1130"/>
                    </a:lnTo>
                    <a:lnTo>
                      <a:pt x="155" y="1128"/>
                    </a:lnTo>
                    <a:lnTo>
                      <a:pt x="159" y="1125"/>
                    </a:lnTo>
                    <a:lnTo>
                      <a:pt x="169" y="1124"/>
                    </a:lnTo>
                    <a:lnTo>
                      <a:pt x="177" y="1123"/>
                    </a:lnTo>
                    <a:lnTo>
                      <a:pt x="184" y="1121"/>
                    </a:lnTo>
                    <a:lnTo>
                      <a:pt x="193" y="1116"/>
                    </a:lnTo>
                    <a:lnTo>
                      <a:pt x="200" y="1110"/>
                    </a:lnTo>
                    <a:lnTo>
                      <a:pt x="208" y="1105"/>
                    </a:lnTo>
                    <a:lnTo>
                      <a:pt x="219" y="1102"/>
                    </a:lnTo>
                    <a:lnTo>
                      <a:pt x="234" y="1098"/>
                    </a:lnTo>
                    <a:lnTo>
                      <a:pt x="252" y="1096"/>
                    </a:lnTo>
                    <a:lnTo>
                      <a:pt x="268" y="1091"/>
                    </a:lnTo>
                    <a:lnTo>
                      <a:pt x="274" y="1087"/>
                    </a:lnTo>
                    <a:lnTo>
                      <a:pt x="280" y="1084"/>
                    </a:lnTo>
                    <a:lnTo>
                      <a:pt x="284" y="1080"/>
                    </a:lnTo>
                    <a:lnTo>
                      <a:pt x="288" y="1077"/>
                    </a:lnTo>
                    <a:lnTo>
                      <a:pt x="293" y="1067"/>
                    </a:lnTo>
                    <a:lnTo>
                      <a:pt x="296" y="1060"/>
                    </a:lnTo>
                    <a:lnTo>
                      <a:pt x="296" y="1056"/>
                    </a:lnTo>
                    <a:lnTo>
                      <a:pt x="296" y="1053"/>
                    </a:lnTo>
                    <a:lnTo>
                      <a:pt x="295" y="1050"/>
                    </a:lnTo>
                    <a:lnTo>
                      <a:pt x="293" y="1047"/>
                    </a:lnTo>
                    <a:lnTo>
                      <a:pt x="290" y="1044"/>
                    </a:lnTo>
                    <a:lnTo>
                      <a:pt x="288" y="1043"/>
                    </a:lnTo>
                    <a:lnTo>
                      <a:pt x="284" y="1043"/>
                    </a:lnTo>
                    <a:lnTo>
                      <a:pt x="280" y="1044"/>
                    </a:lnTo>
                    <a:lnTo>
                      <a:pt x="271" y="1046"/>
                    </a:lnTo>
                    <a:lnTo>
                      <a:pt x="263" y="1049"/>
                    </a:lnTo>
                    <a:lnTo>
                      <a:pt x="258" y="1049"/>
                    </a:lnTo>
                    <a:lnTo>
                      <a:pt x="253" y="1049"/>
                    </a:lnTo>
                    <a:lnTo>
                      <a:pt x="247" y="1049"/>
                    </a:lnTo>
                    <a:lnTo>
                      <a:pt x="241" y="1047"/>
                    </a:lnTo>
                    <a:lnTo>
                      <a:pt x="236" y="1044"/>
                    </a:lnTo>
                    <a:lnTo>
                      <a:pt x="230" y="1042"/>
                    </a:lnTo>
                    <a:lnTo>
                      <a:pt x="225" y="1040"/>
                    </a:lnTo>
                    <a:lnTo>
                      <a:pt x="221" y="1036"/>
                    </a:lnTo>
                    <a:lnTo>
                      <a:pt x="219" y="1031"/>
                    </a:lnTo>
                    <a:lnTo>
                      <a:pt x="217" y="1025"/>
                    </a:lnTo>
                    <a:lnTo>
                      <a:pt x="215" y="1017"/>
                    </a:lnTo>
                    <a:lnTo>
                      <a:pt x="214" y="1010"/>
                    </a:lnTo>
                    <a:lnTo>
                      <a:pt x="212" y="992"/>
                    </a:lnTo>
                    <a:lnTo>
                      <a:pt x="209" y="976"/>
                    </a:lnTo>
                    <a:lnTo>
                      <a:pt x="208" y="967"/>
                    </a:lnTo>
                    <a:lnTo>
                      <a:pt x="206" y="960"/>
                    </a:lnTo>
                    <a:lnTo>
                      <a:pt x="203" y="954"/>
                    </a:lnTo>
                    <a:lnTo>
                      <a:pt x="200" y="947"/>
                    </a:lnTo>
                    <a:lnTo>
                      <a:pt x="193" y="936"/>
                    </a:lnTo>
                    <a:lnTo>
                      <a:pt x="183" y="927"/>
                    </a:lnTo>
                    <a:lnTo>
                      <a:pt x="175" y="917"/>
                    </a:lnTo>
                    <a:lnTo>
                      <a:pt x="167" y="904"/>
                    </a:lnTo>
                    <a:lnTo>
                      <a:pt x="163" y="898"/>
                    </a:lnTo>
                    <a:lnTo>
                      <a:pt x="159" y="891"/>
                    </a:lnTo>
                    <a:lnTo>
                      <a:pt x="157" y="884"/>
                    </a:lnTo>
                    <a:lnTo>
                      <a:pt x="156" y="876"/>
                    </a:lnTo>
                    <a:lnTo>
                      <a:pt x="154" y="869"/>
                    </a:lnTo>
                    <a:lnTo>
                      <a:pt x="150" y="858"/>
                    </a:lnTo>
                    <a:lnTo>
                      <a:pt x="145" y="848"/>
                    </a:lnTo>
                    <a:lnTo>
                      <a:pt x="139" y="836"/>
                    </a:lnTo>
                    <a:lnTo>
                      <a:pt x="127" y="815"/>
                    </a:lnTo>
                    <a:lnTo>
                      <a:pt x="117" y="797"/>
                    </a:lnTo>
                    <a:lnTo>
                      <a:pt x="106" y="783"/>
                    </a:lnTo>
                    <a:lnTo>
                      <a:pt x="96" y="770"/>
                    </a:lnTo>
                    <a:lnTo>
                      <a:pt x="87" y="758"/>
                    </a:lnTo>
                    <a:lnTo>
                      <a:pt x="77" y="750"/>
                    </a:lnTo>
                    <a:lnTo>
                      <a:pt x="73" y="745"/>
                    </a:lnTo>
                    <a:lnTo>
                      <a:pt x="69" y="740"/>
                    </a:lnTo>
                    <a:lnTo>
                      <a:pt x="66" y="735"/>
                    </a:lnTo>
                    <a:lnTo>
                      <a:pt x="64" y="730"/>
                    </a:lnTo>
                    <a:lnTo>
                      <a:pt x="63" y="724"/>
                    </a:lnTo>
                    <a:lnTo>
                      <a:pt x="63" y="718"/>
                    </a:lnTo>
                    <a:lnTo>
                      <a:pt x="66" y="712"/>
                    </a:lnTo>
                    <a:lnTo>
                      <a:pt x="68" y="706"/>
                    </a:lnTo>
                    <a:lnTo>
                      <a:pt x="73" y="700"/>
                    </a:lnTo>
                    <a:lnTo>
                      <a:pt x="76" y="696"/>
                    </a:lnTo>
                    <a:lnTo>
                      <a:pt x="80" y="693"/>
                    </a:lnTo>
                    <a:lnTo>
                      <a:pt x="83" y="690"/>
                    </a:lnTo>
                    <a:lnTo>
                      <a:pt x="92" y="688"/>
                    </a:lnTo>
                    <a:lnTo>
                      <a:pt x="100" y="686"/>
                    </a:lnTo>
                    <a:lnTo>
                      <a:pt x="104" y="684"/>
                    </a:lnTo>
                    <a:lnTo>
                      <a:pt x="107" y="682"/>
                    </a:lnTo>
                    <a:lnTo>
                      <a:pt x="110" y="677"/>
                    </a:lnTo>
                    <a:lnTo>
                      <a:pt x="111" y="674"/>
                    </a:lnTo>
                    <a:lnTo>
                      <a:pt x="111" y="669"/>
                    </a:lnTo>
                    <a:lnTo>
                      <a:pt x="110" y="664"/>
                    </a:lnTo>
                    <a:lnTo>
                      <a:pt x="107" y="659"/>
                    </a:lnTo>
                    <a:lnTo>
                      <a:pt x="102" y="656"/>
                    </a:lnTo>
                    <a:lnTo>
                      <a:pt x="94" y="649"/>
                    </a:lnTo>
                    <a:lnTo>
                      <a:pt x="87" y="640"/>
                    </a:lnTo>
                    <a:lnTo>
                      <a:pt x="85" y="637"/>
                    </a:lnTo>
                    <a:lnTo>
                      <a:pt x="83" y="631"/>
                    </a:lnTo>
                    <a:lnTo>
                      <a:pt x="83" y="626"/>
                    </a:lnTo>
                    <a:lnTo>
                      <a:pt x="86" y="620"/>
                    </a:lnTo>
                    <a:lnTo>
                      <a:pt x="87" y="615"/>
                    </a:lnTo>
                    <a:lnTo>
                      <a:pt x="87" y="611"/>
                    </a:lnTo>
                    <a:lnTo>
                      <a:pt x="86" y="606"/>
                    </a:lnTo>
                    <a:lnTo>
                      <a:pt x="85" y="601"/>
                    </a:lnTo>
                    <a:lnTo>
                      <a:pt x="79" y="594"/>
                    </a:lnTo>
                    <a:lnTo>
                      <a:pt x="74" y="586"/>
                    </a:lnTo>
                    <a:lnTo>
                      <a:pt x="73" y="581"/>
                    </a:lnTo>
                    <a:lnTo>
                      <a:pt x="71" y="576"/>
                    </a:lnTo>
                    <a:lnTo>
                      <a:pt x="73" y="570"/>
                    </a:lnTo>
                    <a:lnTo>
                      <a:pt x="75" y="564"/>
                    </a:lnTo>
                    <a:lnTo>
                      <a:pt x="79" y="558"/>
                    </a:lnTo>
                    <a:lnTo>
                      <a:pt x="82" y="554"/>
                    </a:lnTo>
                    <a:lnTo>
                      <a:pt x="87" y="548"/>
                    </a:lnTo>
                    <a:lnTo>
                      <a:pt x="93" y="543"/>
                    </a:lnTo>
                    <a:lnTo>
                      <a:pt x="99" y="539"/>
                    </a:lnTo>
                    <a:lnTo>
                      <a:pt x="105" y="537"/>
                    </a:lnTo>
                    <a:lnTo>
                      <a:pt x="110" y="536"/>
                    </a:lnTo>
                    <a:lnTo>
                      <a:pt x="115" y="535"/>
                    </a:lnTo>
                    <a:lnTo>
                      <a:pt x="129" y="535"/>
                    </a:lnTo>
                    <a:lnTo>
                      <a:pt x="148" y="537"/>
                    </a:lnTo>
                    <a:lnTo>
                      <a:pt x="164" y="539"/>
                    </a:lnTo>
                    <a:lnTo>
                      <a:pt x="174" y="539"/>
                    </a:lnTo>
                    <a:lnTo>
                      <a:pt x="176" y="537"/>
                    </a:lnTo>
                    <a:lnTo>
                      <a:pt x="177" y="535"/>
                    </a:lnTo>
                    <a:lnTo>
                      <a:pt x="177" y="530"/>
                    </a:lnTo>
                    <a:lnTo>
                      <a:pt x="177" y="525"/>
                    </a:lnTo>
                    <a:lnTo>
                      <a:pt x="175" y="506"/>
                    </a:lnTo>
                    <a:lnTo>
                      <a:pt x="171" y="481"/>
                    </a:lnTo>
                    <a:lnTo>
                      <a:pt x="168" y="456"/>
                    </a:lnTo>
                    <a:lnTo>
                      <a:pt x="167" y="440"/>
                    </a:lnTo>
                    <a:lnTo>
                      <a:pt x="167" y="425"/>
                    </a:lnTo>
                    <a:lnTo>
                      <a:pt x="170" y="407"/>
                    </a:lnTo>
                    <a:lnTo>
                      <a:pt x="174" y="390"/>
                    </a:lnTo>
                    <a:lnTo>
                      <a:pt x="180" y="373"/>
                    </a:lnTo>
                    <a:lnTo>
                      <a:pt x="184" y="366"/>
                    </a:lnTo>
                    <a:lnTo>
                      <a:pt x="188" y="360"/>
                    </a:lnTo>
                    <a:lnTo>
                      <a:pt x="193" y="354"/>
                    </a:lnTo>
                    <a:lnTo>
                      <a:pt x="199" y="350"/>
                    </a:lnTo>
                    <a:lnTo>
                      <a:pt x="205" y="347"/>
                    </a:lnTo>
                    <a:lnTo>
                      <a:pt x="211" y="344"/>
                    </a:lnTo>
                    <a:lnTo>
                      <a:pt x="217" y="343"/>
                    </a:lnTo>
                    <a:lnTo>
                      <a:pt x="224" y="342"/>
                    </a:lnTo>
                    <a:lnTo>
                      <a:pt x="236" y="340"/>
                    </a:lnTo>
                    <a:lnTo>
                      <a:pt x="244" y="336"/>
                    </a:lnTo>
                    <a:lnTo>
                      <a:pt x="247" y="334"/>
                    </a:lnTo>
                    <a:lnTo>
                      <a:pt x="250" y="330"/>
                    </a:lnTo>
                    <a:lnTo>
                      <a:pt x="252" y="327"/>
                    </a:lnTo>
                    <a:lnTo>
                      <a:pt x="252" y="322"/>
                    </a:lnTo>
                    <a:lnTo>
                      <a:pt x="252" y="310"/>
                    </a:lnTo>
                    <a:lnTo>
                      <a:pt x="252" y="296"/>
                    </a:lnTo>
                    <a:lnTo>
                      <a:pt x="252" y="289"/>
                    </a:lnTo>
                    <a:lnTo>
                      <a:pt x="253" y="283"/>
                    </a:lnTo>
                    <a:lnTo>
                      <a:pt x="256" y="277"/>
                    </a:lnTo>
                    <a:lnTo>
                      <a:pt x="258" y="272"/>
                    </a:lnTo>
                    <a:lnTo>
                      <a:pt x="263" y="270"/>
                    </a:lnTo>
                    <a:lnTo>
                      <a:pt x="268" y="266"/>
                    </a:lnTo>
                    <a:lnTo>
                      <a:pt x="274" y="265"/>
                    </a:lnTo>
                    <a:lnTo>
                      <a:pt x="280" y="264"/>
                    </a:lnTo>
                    <a:lnTo>
                      <a:pt x="291" y="262"/>
                    </a:lnTo>
                    <a:lnTo>
                      <a:pt x="303" y="264"/>
                    </a:lnTo>
                    <a:lnTo>
                      <a:pt x="315" y="266"/>
                    </a:lnTo>
                    <a:lnTo>
                      <a:pt x="326" y="266"/>
                    </a:lnTo>
                    <a:lnTo>
                      <a:pt x="331" y="265"/>
                    </a:lnTo>
                    <a:lnTo>
                      <a:pt x="335" y="264"/>
                    </a:lnTo>
                    <a:lnTo>
                      <a:pt x="339" y="261"/>
                    </a:lnTo>
                    <a:lnTo>
                      <a:pt x="344" y="259"/>
                    </a:lnTo>
                    <a:lnTo>
                      <a:pt x="351" y="252"/>
                    </a:lnTo>
                    <a:lnTo>
                      <a:pt x="357" y="247"/>
                    </a:lnTo>
                    <a:lnTo>
                      <a:pt x="359" y="246"/>
                    </a:lnTo>
                    <a:lnTo>
                      <a:pt x="363" y="245"/>
                    </a:lnTo>
                    <a:lnTo>
                      <a:pt x="365" y="246"/>
                    </a:lnTo>
                    <a:lnTo>
                      <a:pt x="367" y="247"/>
                    </a:lnTo>
                    <a:lnTo>
                      <a:pt x="370" y="249"/>
                    </a:lnTo>
                    <a:lnTo>
                      <a:pt x="371" y="252"/>
                    </a:lnTo>
                    <a:lnTo>
                      <a:pt x="372" y="255"/>
                    </a:lnTo>
                    <a:lnTo>
                      <a:pt x="371" y="258"/>
                    </a:lnTo>
                    <a:lnTo>
                      <a:pt x="369" y="265"/>
                    </a:lnTo>
                    <a:lnTo>
                      <a:pt x="365" y="271"/>
                    </a:lnTo>
                    <a:lnTo>
                      <a:pt x="364" y="274"/>
                    </a:lnTo>
                    <a:lnTo>
                      <a:pt x="363" y="278"/>
                    </a:lnTo>
                    <a:lnTo>
                      <a:pt x="363" y="284"/>
                    </a:lnTo>
                    <a:lnTo>
                      <a:pt x="363" y="289"/>
                    </a:lnTo>
                    <a:lnTo>
                      <a:pt x="364" y="300"/>
                    </a:lnTo>
                    <a:lnTo>
                      <a:pt x="367" y="310"/>
                    </a:lnTo>
                    <a:lnTo>
                      <a:pt x="372" y="321"/>
                    </a:lnTo>
                    <a:lnTo>
                      <a:pt x="377" y="331"/>
                    </a:lnTo>
                    <a:lnTo>
                      <a:pt x="382" y="343"/>
                    </a:lnTo>
                    <a:lnTo>
                      <a:pt x="385" y="356"/>
                    </a:lnTo>
                    <a:lnTo>
                      <a:pt x="387" y="369"/>
                    </a:lnTo>
                    <a:lnTo>
                      <a:pt x="385" y="380"/>
                    </a:lnTo>
                    <a:lnTo>
                      <a:pt x="384" y="388"/>
                    </a:lnTo>
                    <a:lnTo>
                      <a:pt x="383" y="397"/>
                    </a:lnTo>
                    <a:lnTo>
                      <a:pt x="382" y="409"/>
                    </a:lnTo>
                    <a:lnTo>
                      <a:pt x="382" y="422"/>
                    </a:lnTo>
                    <a:lnTo>
                      <a:pt x="382" y="435"/>
                    </a:lnTo>
                    <a:lnTo>
                      <a:pt x="382" y="444"/>
                    </a:lnTo>
                    <a:lnTo>
                      <a:pt x="382" y="461"/>
                    </a:lnTo>
                    <a:lnTo>
                      <a:pt x="382" y="479"/>
                    </a:lnTo>
                    <a:lnTo>
                      <a:pt x="382" y="482"/>
                    </a:lnTo>
                    <a:lnTo>
                      <a:pt x="383" y="486"/>
                    </a:lnTo>
                    <a:lnTo>
                      <a:pt x="384" y="487"/>
                    </a:lnTo>
                    <a:lnTo>
                      <a:pt x="387" y="488"/>
                    </a:lnTo>
                    <a:lnTo>
                      <a:pt x="392" y="489"/>
                    </a:lnTo>
                    <a:lnTo>
                      <a:pt x="402" y="488"/>
                    </a:lnTo>
                    <a:lnTo>
                      <a:pt x="419" y="486"/>
                    </a:lnTo>
                    <a:lnTo>
                      <a:pt x="440" y="483"/>
                    </a:lnTo>
                    <a:lnTo>
                      <a:pt x="451" y="482"/>
                    </a:lnTo>
                    <a:lnTo>
                      <a:pt x="461" y="482"/>
                    </a:lnTo>
                    <a:lnTo>
                      <a:pt x="471" y="483"/>
                    </a:lnTo>
                    <a:lnTo>
                      <a:pt x="477" y="486"/>
                    </a:lnTo>
                    <a:lnTo>
                      <a:pt x="483" y="488"/>
                    </a:lnTo>
                    <a:lnTo>
                      <a:pt x="486" y="491"/>
                    </a:lnTo>
                    <a:lnTo>
                      <a:pt x="490" y="492"/>
                    </a:lnTo>
                    <a:lnTo>
                      <a:pt x="494" y="492"/>
                    </a:lnTo>
                    <a:lnTo>
                      <a:pt x="496" y="491"/>
                    </a:lnTo>
                    <a:lnTo>
                      <a:pt x="498" y="488"/>
                    </a:lnTo>
                    <a:lnTo>
                      <a:pt x="499" y="485"/>
                    </a:lnTo>
                    <a:lnTo>
                      <a:pt x="502" y="481"/>
                    </a:lnTo>
                    <a:lnTo>
                      <a:pt x="504" y="472"/>
                    </a:lnTo>
                    <a:lnTo>
                      <a:pt x="507" y="466"/>
                    </a:lnTo>
                    <a:lnTo>
                      <a:pt x="509" y="463"/>
                    </a:lnTo>
                    <a:lnTo>
                      <a:pt x="511" y="462"/>
                    </a:lnTo>
                    <a:lnTo>
                      <a:pt x="515" y="461"/>
                    </a:lnTo>
                    <a:lnTo>
                      <a:pt x="518" y="461"/>
                    </a:lnTo>
                    <a:lnTo>
                      <a:pt x="523" y="461"/>
                    </a:lnTo>
                    <a:lnTo>
                      <a:pt x="527" y="460"/>
                    </a:lnTo>
                    <a:lnTo>
                      <a:pt x="529" y="459"/>
                    </a:lnTo>
                    <a:lnTo>
                      <a:pt x="532" y="455"/>
                    </a:lnTo>
                    <a:lnTo>
                      <a:pt x="532" y="453"/>
                    </a:lnTo>
                    <a:lnTo>
                      <a:pt x="532" y="449"/>
                    </a:lnTo>
                    <a:lnTo>
                      <a:pt x="530" y="447"/>
                    </a:lnTo>
                    <a:lnTo>
                      <a:pt x="529" y="443"/>
                    </a:lnTo>
                    <a:lnTo>
                      <a:pt x="527" y="441"/>
                    </a:lnTo>
                    <a:lnTo>
                      <a:pt x="524" y="437"/>
                    </a:lnTo>
                    <a:lnTo>
                      <a:pt x="524" y="435"/>
                    </a:lnTo>
                    <a:lnTo>
                      <a:pt x="523" y="431"/>
                    </a:lnTo>
                    <a:lnTo>
                      <a:pt x="524" y="429"/>
                    </a:lnTo>
                    <a:lnTo>
                      <a:pt x="527" y="426"/>
                    </a:lnTo>
                    <a:lnTo>
                      <a:pt x="530" y="425"/>
                    </a:lnTo>
                    <a:lnTo>
                      <a:pt x="535" y="423"/>
                    </a:lnTo>
                    <a:lnTo>
                      <a:pt x="542" y="422"/>
                    </a:lnTo>
                    <a:lnTo>
                      <a:pt x="549" y="418"/>
                    </a:lnTo>
                    <a:lnTo>
                      <a:pt x="559" y="413"/>
                    </a:lnTo>
                    <a:lnTo>
                      <a:pt x="568" y="409"/>
                    </a:lnTo>
                    <a:lnTo>
                      <a:pt x="589" y="396"/>
                    </a:lnTo>
                    <a:lnTo>
                      <a:pt x="606" y="382"/>
                    </a:lnTo>
                    <a:lnTo>
                      <a:pt x="622" y="369"/>
                    </a:lnTo>
                    <a:lnTo>
                      <a:pt x="637" y="356"/>
                    </a:lnTo>
                    <a:lnTo>
                      <a:pt x="652" y="344"/>
                    </a:lnTo>
                    <a:lnTo>
                      <a:pt x="665" y="336"/>
                    </a:lnTo>
                    <a:lnTo>
                      <a:pt x="671" y="333"/>
                    </a:lnTo>
                    <a:lnTo>
                      <a:pt x="677" y="330"/>
                    </a:lnTo>
                    <a:lnTo>
                      <a:pt x="683" y="329"/>
                    </a:lnTo>
                    <a:lnTo>
                      <a:pt x="688" y="329"/>
                    </a:lnTo>
                    <a:lnTo>
                      <a:pt x="693" y="330"/>
                    </a:lnTo>
                    <a:lnTo>
                      <a:pt x="698" y="333"/>
                    </a:lnTo>
                    <a:lnTo>
                      <a:pt x="702" y="337"/>
                    </a:lnTo>
                    <a:lnTo>
                      <a:pt x="705" y="343"/>
                    </a:lnTo>
                    <a:lnTo>
                      <a:pt x="711" y="355"/>
                    </a:lnTo>
                    <a:lnTo>
                      <a:pt x="715" y="366"/>
                    </a:lnTo>
                    <a:lnTo>
                      <a:pt x="718" y="374"/>
                    </a:lnTo>
                    <a:lnTo>
                      <a:pt x="722" y="384"/>
                    </a:lnTo>
                    <a:lnTo>
                      <a:pt x="725" y="387"/>
                    </a:lnTo>
                    <a:lnTo>
                      <a:pt x="729" y="390"/>
                    </a:lnTo>
                    <a:lnTo>
                      <a:pt x="734" y="391"/>
                    </a:lnTo>
                    <a:lnTo>
                      <a:pt x="740" y="391"/>
                    </a:lnTo>
                    <a:lnTo>
                      <a:pt x="744" y="390"/>
                    </a:lnTo>
                    <a:lnTo>
                      <a:pt x="750" y="386"/>
                    </a:lnTo>
                    <a:lnTo>
                      <a:pt x="755" y="382"/>
                    </a:lnTo>
                    <a:lnTo>
                      <a:pt x="760" y="378"/>
                    </a:lnTo>
                    <a:lnTo>
                      <a:pt x="767" y="367"/>
                    </a:lnTo>
                    <a:lnTo>
                      <a:pt x="774" y="357"/>
                    </a:lnTo>
                    <a:lnTo>
                      <a:pt x="782" y="349"/>
                    </a:lnTo>
                    <a:lnTo>
                      <a:pt x="790" y="342"/>
                    </a:lnTo>
                    <a:lnTo>
                      <a:pt x="793" y="338"/>
                    </a:lnTo>
                    <a:lnTo>
                      <a:pt x="797" y="333"/>
                    </a:lnTo>
                    <a:lnTo>
                      <a:pt x="800" y="325"/>
                    </a:lnTo>
                    <a:lnTo>
                      <a:pt x="804" y="317"/>
                    </a:lnTo>
                    <a:lnTo>
                      <a:pt x="807" y="309"/>
                    </a:lnTo>
                    <a:lnTo>
                      <a:pt x="811" y="300"/>
                    </a:lnTo>
                    <a:lnTo>
                      <a:pt x="816" y="293"/>
                    </a:lnTo>
                    <a:lnTo>
                      <a:pt x="820" y="287"/>
                    </a:lnTo>
                    <a:lnTo>
                      <a:pt x="826" y="281"/>
                    </a:lnTo>
                    <a:lnTo>
                      <a:pt x="832" y="279"/>
                    </a:lnTo>
                    <a:lnTo>
                      <a:pt x="838" y="277"/>
                    </a:lnTo>
                    <a:lnTo>
                      <a:pt x="843" y="278"/>
                    </a:lnTo>
                    <a:lnTo>
                      <a:pt x="847" y="279"/>
                    </a:lnTo>
                    <a:lnTo>
                      <a:pt x="850" y="283"/>
                    </a:lnTo>
                    <a:lnTo>
                      <a:pt x="853" y="286"/>
                    </a:lnTo>
                    <a:lnTo>
                      <a:pt x="854" y="292"/>
                    </a:lnTo>
                    <a:lnTo>
                      <a:pt x="855" y="303"/>
                    </a:lnTo>
                    <a:lnTo>
                      <a:pt x="857" y="311"/>
                    </a:lnTo>
                    <a:lnTo>
                      <a:pt x="860" y="312"/>
                    </a:lnTo>
                    <a:lnTo>
                      <a:pt x="862" y="312"/>
                    </a:lnTo>
                    <a:lnTo>
                      <a:pt x="864" y="311"/>
                    </a:lnTo>
                    <a:lnTo>
                      <a:pt x="867" y="309"/>
                    </a:lnTo>
                    <a:lnTo>
                      <a:pt x="870" y="305"/>
                    </a:lnTo>
                    <a:lnTo>
                      <a:pt x="873" y="303"/>
                    </a:lnTo>
                    <a:lnTo>
                      <a:pt x="875" y="300"/>
                    </a:lnTo>
                    <a:lnTo>
                      <a:pt x="879" y="299"/>
                    </a:lnTo>
                    <a:lnTo>
                      <a:pt x="882" y="299"/>
                    </a:lnTo>
                    <a:lnTo>
                      <a:pt x="886" y="300"/>
                    </a:lnTo>
                    <a:lnTo>
                      <a:pt x="889" y="302"/>
                    </a:lnTo>
                    <a:lnTo>
                      <a:pt x="894" y="303"/>
                    </a:lnTo>
                    <a:lnTo>
                      <a:pt x="900" y="305"/>
                    </a:lnTo>
                    <a:lnTo>
                      <a:pt x="906" y="306"/>
                    </a:lnTo>
                    <a:lnTo>
                      <a:pt x="912" y="306"/>
                    </a:lnTo>
                    <a:lnTo>
                      <a:pt x="918" y="306"/>
                    </a:lnTo>
                    <a:lnTo>
                      <a:pt x="931" y="304"/>
                    </a:lnTo>
                    <a:lnTo>
                      <a:pt x="944" y="302"/>
                    </a:lnTo>
                    <a:lnTo>
                      <a:pt x="956" y="298"/>
                    </a:lnTo>
                    <a:lnTo>
                      <a:pt x="967" y="292"/>
                    </a:lnTo>
                    <a:lnTo>
                      <a:pt x="976" y="285"/>
                    </a:lnTo>
                    <a:lnTo>
                      <a:pt x="986" y="279"/>
                    </a:lnTo>
                    <a:lnTo>
                      <a:pt x="995" y="274"/>
                    </a:lnTo>
                    <a:lnTo>
                      <a:pt x="1003" y="268"/>
                    </a:lnTo>
                    <a:lnTo>
                      <a:pt x="1006" y="265"/>
                    </a:lnTo>
                    <a:lnTo>
                      <a:pt x="1007" y="261"/>
                    </a:lnTo>
                    <a:lnTo>
                      <a:pt x="1007" y="256"/>
                    </a:lnTo>
                    <a:lnTo>
                      <a:pt x="1005" y="251"/>
                    </a:lnTo>
                    <a:lnTo>
                      <a:pt x="999" y="239"/>
                    </a:lnTo>
                    <a:lnTo>
                      <a:pt x="992" y="227"/>
                    </a:lnTo>
                    <a:lnTo>
                      <a:pt x="986" y="214"/>
                    </a:lnTo>
                    <a:lnTo>
                      <a:pt x="981" y="201"/>
                    </a:lnTo>
                    <a:lnTo>
                      <a:pt x="980" y="195"/>
                    </a:lnTo>
                    <a:lnTo>
                      <a:pt x="979" y="190"/>
                    </a:lnTo>
                    <a:lnTo>
                      <a:pt x="979" y="186"/>
                    </a:lnTo>
                    <a:lnTo>
                      <a:pt x="980" y="184"/>
                    </a:lnTo>
                    <a:lnTo>
                      <a:pt x="982" y="183"/>
                    </a:lnTo>
                    <a:lnTo>
                      <a:pt x="984" y="182"/>
                    </a:lnTo>
                    <a:lnTo>
                      <a:pt x="988" y="183"/>
                    </a:lnTo>
                    <a:lnTo>
                      <a:pt x="993" y="184"/>
                    </a:lnTo>
                    <a:lnTo>
                      <a:pt x="996" y="186"/>
                    </a:lnTo>
                    <a:lnTo>
                      <a:pt x="1001" y="188"/>
                    </a:lnTo>
                    <a:lnTo>
                      <a:pt x="1005" y="188"/>
                    </a:lnTo>
                    <a:lnTo>
                      <a:pt x="1007" y="186"/>
                    </a:lnTo>
                    <a:lnTo>
                      <a:pt x="1009" y="185"/>
                    </a:lnTo>
                    <a:lnTo>
                      <a:pt x="1011" y="183"/>
                    </a:lnTo>
                    <a:lnTo>
                      <a:pt x="1012" y="179"/>
                    </a:lnTo>
                    <a:lnTo>
                      <a:pt x="1011" y="173"/>
                    </a:lnTo>
                    <a:lnTo>
                      <a:pt x="1007" y="163"/>
                    </a:lnTo>
                    <a:lnTo>
                      <a:pt x="1003" y="152"/>
                    </a:lnTo>
                    <a:lnTo>
                      <a:pt x="1000" y="140"/>
                    </a:lnTo>
                    <a:lnTo>
                      <a:pt x="999" y="123"/>
                    </a:lnTo>
                    <a:lnTo>
                      <a:pt x="1000" y="114"/>
                    </a:lnTo>
                    <a:lnTo>
                      <a:pt x="1002" y="107"/>
                    </a:lnTo>
                    <a:lnTo>
                      <a:pt x="1005" y="101"/>
                    </a:lnTo>
                    <a:lnTo>
                      <a:pt x="1009" y="96"/>
                    </a:lnTo>
                    <a:lnTo>
                      <a:pt x="1020" y="88"/>
                    </a:lnTo>
                    <a:lnTo>
                      <a:pt x="1032" y="79"/>
                    </a:lnTo>
                    <a:lnTo>
                      <a:pt x="1039" y="76"/>
                    </a:lnTo>
                    <a:lnTo>
                      <a:pt x="1045" y="73"/>
                    </a:lnTo>
                    <a:lnTo>
                      <a:pt x="1051" y="71"/>
                    </a:lnTo>
                    <a:lnTo>
                      <a:pt x="1058" y="70"/>
                    </a:lnTo>
                    <a:lnTo>
                      <a:pt x="1074" y="67"/>
                    </a:lnTo>
                    <a:lnTo>
                      <a:pt x="1093" y="69"/>
                    </a:lnTo>
                    <a:lnTo>
                      <a:pt x="1103" y="69"/>
                    </a:lnTo>
                    <a:lnTo>
                      <a:pt x="1116" y="69"/>
                    </a:lnTo>
                    <a:lnTo>
                      <a:pt x="1128" y="67"/>
                    </a:lnTo>
                    <a:lnTo>
                      <a:pt x="1140" y="65"/>
                    </a:lnTo>
                    <a:lnTo>
                      <a:pt x="1151" y="63"/>
                    </a:lnTo>
                    <a:lnTo>
                      <a:pt x="1160" y="59"/>
                    </a:lnTo>
                    <a:lnTo>
                      <a:pt x="1164" y="57"/>
                    </a:lnTo>
                    <a:lnTo>
                      <a:pt x="1168" y="54"/>
                    </a:lnTo>
                    <a:lnTo>
                      <a:pt x="1170" y="52"/>
                    </a:lnTo>
                    <a:lnTo>
                      <a:pt x="1171" y="50"/>
                    </a:lnTo>
                    <a:lnTo>
                      <a:pt x="1172" y="39"/>
                    </a:lnTo>
                    <a:lnTo>
                      <a:pt x="1175" y="28"/>
                    </a:lnTo>
                    <a:lnTo>
                      <a:pt x="1176" y="23"/>
                    </a:lnTo>
                    <a:lnTo>
                      <a:pt x="1178" y="20"/>
                    </a:lnTo>
                    <a:lnTo>
                      <a:pt x="1182" y="16"/>
                    </a:lnTo>
                    <a:lnTo>
                      <a:pt x="1188" y="15"/>
                    </a:lnTo>
                    <a:lnTo>
                      <a:pt x="1201" y="14"/>
                    </a:lnTo>
                    <a:lnTo>
                      <a:pt x="1214" y="13"/>
                    </a:lnTo>
                    <a:lnTo>
                      <a:pt x="1221" y="13"/>
                    </a:lnTo>
                    <a:lnTo>
                      <a:pt x="1229" y="10"/>
                    </a:lnTo>
                    <a:lnTo>
                      <a:pt x="1238" y="8"/>
                    </a:lnTo>
                    <a:lnTo>
                      <a:pt x="1250" y="4"/>
                    </a:lnTo>
                    <a:lnTo>
                      <a:pt x="1260" y="1"/>
                    </a:lnTo>
                    <a:lnTo>
                      <a:pt x="1270" y="0"/>
                    </a:lnTo>
                    <a:lnTo>
                      <a:pt x="1278" y="0"/>
                    </a:lnTo>
                    <a:lnTo>
                      <a:pt x="1285" y="0"/>
                    </a:lnTo>
                    <a:lnTo>
                      <a:pt x="1291" y="3"/>
                    </a:lnTo>
                    <a:lnTo>
                      <a:pt x="1296" y="7"/>
                    </a:lnTo>
                    <a:lnTo>
                      <a:pt x="1301" y="12"/>
                    </a:lnTo>
                    <a:lnTo>
                      <a:pt x="1304" y="18"/>
                    </a:lnTo>
                    <a:lnTo>
                      <a:pt x="1314" y="33"/>
                    </a:lnTo>
                    <a:lnTo>
                      <a:pt x="1324" y="48"/>
                    </a:lnTo>
                    <a:lnTo>
                      <a:pt x="1336" y="64"/>
                    </a:lnTo>
                    <a:lnTo>
                      <a:pt x="1348" y="78"/>
                    </a:lnTo>
                    <a:lnTo>
                      <a:pt x="1354" y="84"/>
                    </a:lnTo>
                    <a:lnTo>
                      <a:pt x="1358" y="89"/>
                    </a:lnTo>
                    <a:lnTo>
                      <a:pt x="1361" y="95"/>
                    </a:lnTo>
                    <a:lnTo>
                      <a:pt x="1365" y="100"/>
                    </a:lnTo>
                    <a:lnTo>
                      <a:pt x="1366" y="106"/>
                    </a:lnTo>
                    <a:lnTo>
                      <a:pt x="1367" y="110"/>
                    </a:lnTo>
                    <a:lnTo>
                      <a:pt x="1368" y="116"/>
                    </a:lnTo>
                    <a:lnTo>
                      <a:pt x="1368" y="121"/>
                    </a:lnTo>
                    <a:lnTo>
                      <a:pt x="1367" y="126"/>
                    </a:lnTo>
                    <a:lnTo>
                      <a:pt x="1366" y="129"/>
                    </a:lnTo>
                    <a:lnTo>
                      <a:pt x="1364" y="133"/>
                    </a:lnTo>
                    <a:lnTo>
                      <a:pt x="1362" y="135"/>
                    </a:lnTo>
                    <a:lnTo>
                      <a:pt x="1357" y="141"/>
                    </a:lnTo>
                    <a:lnTo>
                      <a:pt x="1353" y="147"/>
                    </a:lnTo>
                    <a:lnTo>
                      <a:pt x="1351" y="149"/>
                    </a:lnTo>
                    <a:lnTo>
                      <a:pt x="1351" y="152"/>
                    </a:lnTo>
                    <a:lnTo>
                      <a:pt x="1352" y="154"/>
                    </a:lnTo>
                    <a:lnTo>
                      <a:pt x="1354" y="155"/>
                    </a:lnTo>
                    <a:lnTo>
                      <a:pt x="1360" y="159"/>
                    </a:lnTo>
                    <a:lnTo>
                      <a:pt x="1367" y="161"/>
                    </a:lnTo>
                    <a:lnTo>
                      <a:pt x="1376" y="166"/>
                    </a:lnTo>
                    <a:lnTo>
                      <a:pt x="1384" y="173"/>
                    </a:lnTo>
                    <a:lnTo>
                      <a:pt x="1387" y="178"/>
                    </a:lnTo>
                    <a:lnTo>
                      <a:pt x="1392" y="183"/>
                    </a:lnTo>
                    <a:lnTo>
                      <a:pt x="1395" y="190"/>
                    </a:lnTo>
                    <a:lnTo>
                      <a:pt x="1397" y="196"/>
                    </a:lnTo>
                    <a:lnTo>
                      <a:pt x="1399" y="203"/>
                    </a:lnTo>
                    <a:lnTo>
                      <a:pt x="1403" y="209"/>
                    </a:lnTo>
                    <a:lnTo>
                      <a:pt x="1406" y="212"/>
                    </a:lnTo>
                    <a:lnTo>
                      <a:pt x="1410" y="216"/>
                    </a:lnTo>
                    <a:lnTo>
                      <a:pt x="1415" y="218"/>
                    </a:lnTo>
                    <a:lnTo>
                      <a:pt x="1420" y="218"/>
                    </a:lnTo>
                    <a:lnTo>
                      <a:pt x="1424" y="217"/>
                    </a:lnTo>
                    <a:lnTo>
                      <a:pt x="1429" y="215"/>
                    </a:lnTo>
                    <a:lnTo>
                      <a:pt x="1435" y="212"/>
                    </a:lnTo>
                    <a:lnTo>
                      <a:pt x="1440" y="211"/>
                    </a:lnTo>
                    <a:lnTo>
                      <a:pt x="1445" y="211"/>
                    </a:lnTo>
                    <a:lnTo>
                      <a:pt x="1449" y="214"/>
                    </a:lnTo>
                    <a:lnTo>
                      <a:pt x="1453" y="216"/>
                    </a:lnTo>
                    <a:lnTo>
                      <a:pt x="1456" y="221"/>
                    </a:lnTo>
                    <a:lnTo>
                      <a:pt x="1460" y="227"/>
                    </a:lnTo>
                    <a:lnTo>
                      <a:pt x="1461" y="234"/>
                    </a:lnTo>
                    <a:lnTo>
                      <a:pt x="1462" y="247"/>
                    </a:lnTo>
                    <a:lnTo>
                      <a:pt x="1464" y="256"/>
                    </a:lnTo>
                    <a:lnTo>
                      <a:pt x="1462" y="265"/>
                    </a:lnTo>
                    <a:lnTo>
                      <a:pt x="1462" y="273"/>
                    </a:lnTo>
                    <a:lnTo>
                      <a:pt x="1462" y="281"/>
                    </a:lnTo>
                    <a:lnTo>
                      <a:pt x="1465" y="289"/>
                    </a:lnTo>
                    <a:lnTo>
                      <a:pt x="1467" y="294"/>
                    </a:lnTo>
                    <a:lnTo>
                      <a:pt x="1471" y="300"/>
                    </a:lnTo>
                    <a:lnTo>
                      <a:pt x="1473" y="304"/>
                    </a:lnTo>
                    <a:lnTo>
                      <a:pt x="1473" y="308"/>
                    </a:lnTo>
                    <a:lnTo>
                      <a:pt x="1474" y="314"/>
                    </a:lnTo>
                    <a:lnTo>
                      <a:pt x="1473" y="318"/>
                    </a:lnTo>
                    <a:lnTo>
                      <a:pt x="1472" y="329"/>
                    </a:lnTo>
                    <a:lnTo>
                      <a:pt x="1468" y="338"/>
                    </a:lnTo>
                    <a:lnTo>
                      <a:pt x="1466" y="341"/>
                    </a:lnTo>
                    <a:lnTo>
                      <a:pt x="1462" y="343"/>
                    </a:lnTo>
                    <a:lnTo>
                      <a:pt x="1460" y="344"/>
                    </a:lnTo>
                    <a:lnTo>
                      <a:pt x="1456" y="344"/>
                    </a:lnTo>
                    <a:lnTo>
                      <a:pt x="1448" y="341"/>
                    </a:lnTo>
                    <a:lnTo>
                      <a:pt x="1440" y="336"/>
                    </a:lnTo>
                    <a:lnTo>
                      <a:pt x="1433" y="331"/>
                    </a:lnTo>
                    <a:lnTo>
                      <a:pt x="1424" y="329"/>
                    </a:lnTo>
                    <a:lnTo>
                      <a:pt x="1421" y="329"/>
                    </a:lnTo>
                    <a:lnTo>
                      <a:pt x="1418" y="330"/>
                    </a:lnTo>
                    <a:lnTo>
                      <a:pt x="1415" y="333"/>
                    </a:lnTo>
                    <a:lnTo>
                      <a:pt x="1412" y="336"/>
                    </a:lnTo>
                    <a:lnTo>
                      <a:pt x="1410" y="341"/>
                    </a:lnTo>
                    <a:lnTo>
                      <a:pt x="1410" y="347"/>
                    </a:lnTo>
                    <a:lnTo>
                      <a:pt x="1410" y="353"/>
                    </a:lnTo>
                    <a:lnTo>
                      <a:pt x="1411" y="359"/>
                    </a:lnTo>
                    <a:lnTo>
                      <a:pt x="1414" y="365"/>
                    </a:lnTo>
                    <a:lnTo>
                      <a:pt x="1416" y="371"/>
                    </a:lnTo>
                    <a:lnTo>
                      <a:pt x="1420" y="377"/>
                    </a:lnTo>
                    <a:lnTo>
                      <a:pt x="1424" y="381"/>
                    </a:lnTo>
                    <a:lnTo>
                      <a:pt x="1434" y="391"/>
                    </a:lnTo>
                    <a:lnTo>
                      <a:pt x="1446" y="403"/>
                    </a:lnTo>
                    <a:lnTo>
                      <a:pt x="1458" y="415"/>
                    </a:lnTo>
                    <a:lnTo>
                      <a:pt x="1468" y="428"/>
                    </a:lnTo>
                    <a:lnTo>
                      <a:pt x="1472" y="434"/>
                    </a:lnTo>
                    <a:lnTo>
                      <a:pt x="1475" y="440"/>
                    </a:lnTo>
                    <a:lnTo>
                      <a:pt x="1477" y="444"/>
                    </a:lnTo>
                    <a:lnTo>
                      <a:pt x="1478" y="449"/>
                    </a:lnTo>
                    <a:lnTo>
                      <a:pt x="1478" y="459"/>
                    </a:lnTo>
                    <a:lnTo>
                      <a:pt x="1477" y="467"/>
                    </a:lnTo>
                    <a:lnTo>
                      <a:pt x="1475" y="475"/>
                    </a:lnTo>
                    <a:lnTo>
                      <a:pt x="1475" y="482"/>
                    </a:lnTo>
                    <a:lnTo>
                      <a:pt x="1477" y="485"/>
                    </a:lnTo>
                    <a:lnTo>
                      <a:pt x="1479" y="487"/>
                    </a:lnTo>
                    <a:lnTo>
                      <a:pt x="1481" y="489"/>
                    </a:lnTo>
                    <a:lnTo>
                      <a:pt x="1485" y="492"/>
                    </a:lnTo>
                    <a:lnTo>
                      <a:pt x="1492" y="497"/>
                    </a:lnTo>
                    <a:lnTo>
                      <a:pt x="1496" y="501"/>
                    </a:lnTo>
                    <a:lnTo>
                      <a:pt x="1497" y="507"/>
                    </a:lnTo>
                    <a:lnTo>
                      <a:pt x="1497" y="517"/>
                    </a:lnTo>
                    <a:lnTo>
                      <a:pt x="1498" y="526"/>
                    </a:lnTo>
                    <a:lnTo>
                      <a:pt x="1499" y="535"/>
                    </a:lnTo>
                    <a:lnTo>
                      <a:pt x="1500" y="538"/>
                    </a:lnTo>
                    <a:lnTo>
                      <a:pt x="1503" y="541"/>
                    </a:lnTo>
                    <a:lnTo>
                      <a:pt x="1505" y="542"/>
                    </a:lnTo>
                    <a:lnTo>
                      <a:pt x="1508" y="543"/>
                    </a:lnTo>
                    <a:lnTo>
                      <a:pt x="1511" y="543"/>
                    </a:lnTo>
                    <a:lnTo>
                      <a:pt x="1515" y="541"/>
                    </a:lnTo>
                    <a:lnTo>
                      <a:pt x="1518" y="538"/>
                    </a:lnTo>
                    <a:lnTo>
                      <a:pt x="1523" y="535"/>
                    </a:lnTo>
                    <a:lnTo>
                      <a:pt x="1528" y="531"/>
                    </a:lnTo>
                    <a:lnTo>
                      <a:pt x="1532" y="529"/>
                    </a:lnTo>
                    <a:lnTo>
                      <a:pt x="1538" y="526"/>
                    </a:lnTo>
                    <a:lnTo>
                      <a:pt x="1544" y="524"/>
                    </a:lnTo>
                    <a:lnTo>
                      <a:pt x="1557" y="523"/>
                    </a:lnTo>
                    <a:lnTo>
                      <a:pt x="1571" y="523"/>
                    </a:lnTo>
                    <a:lnTo>
                      <a:pt x="1585" y="523"/>
                    </a:lnTo>
                    <a:lnTo>
                      <a:pt x="1601" y="523"/>
                    </a:lnTo>
                    <a:lnTo>
                      <a:pt x="1622" y="520"/>
                    </a:lnTo>
                    <a:lnTo>
                      <a:pt x="1638" y="518"/>
                    </a:lnTo>
                    <a:lnTo>
                      <a:pt x="1647" y="517"/>
                    </a:lnTo>
                    <a:lnTo>
                      <a:pt x="1654" y="517"/>
                    </a:lnTo>
                    <a:lnTo>
                      <a:pt x="1660" y="518"/>
                    </a:lnTo>
                    <a:lnTo>
                      <a:pt x="1666" y="522"/>
                    </a:lnTo>
                    <a:lnTo>
                      <a:pt x="1672" y="526"/>
                    </a:lnTo>
                    <a:lnTo>
                      <a:pt x="1679" y="530"/>
                    </a:lnTo>
                    <a:lnTo>
                      <a:pt x="1686" y="532"/>
                    </a:lnTo>
                    <a:lnTo>
                      <a:pt x="1693" y="533"/>
                    </a:lnTo>
                    <a:lnTo>
                      <a:pt x="1701" y="535"/>
                    </a:lnTo>
                    <a:lnTo>
                      <a:pt x="1711" y="535"/>
                    </a:lnTo>
                    <a:lnTo>
                      <a:pt x="1720" y="535"/>
                    </a:lnTo>
                    <a:lnTo>
                      <a:pt x="1731" y="532"/>
                    </a:lnTo>
                    <a:lnTo>
                      <a:pt x="1749" y="529"/>
                    </a:lnTo>
                    <a:lnTo>
                      <a:pt x="1763" y="524"/>
                    </a:lnTo>
                    <a:lnTo>
                      <a:pt x="1769" y="523"/>
                    </a:lnTo>
                    <a:lnTo>
                      <a:pt x="1773" y="522"/>
                    </a:lnTo>
                    <a:lnTo>
                      <a:pt x="1776" y="522"/>
                    </a:lnTo>
                    <a:lnTo>
                      <a:pt x="1779" y="524"/>
                    </a:lnTo>
                    <a:lnTo>
                      <a:pt x="1779" y="527"/>
                    </a:lnTo>
                    <a:lnTo>
                      <a:pt x="1777" y="533"/>
                    </a:lnTo>
                    <a:lnTo>
                      <a:pt x="1774" y="543"/>
                    </a:lnTo>
                    <a:lnTo>
                      <a:pt x="1769" y="556"/>
                    </a:lnTo>
                    <a:lnTo>
                      <a:pt x="1764" y="571"/>
                    </a:lnTo>
                    <a:lnTo>
                      <a:pt x="1758" y="588"/>
                    </a:lnTo>
                    <a:lnTo>
                      <a:pt x="1755" y="598"/>
                    </a:lnTo>
                    <a:lnTo>
                      <a:pt x="1751" y="605"/>
                    </a:lnTo>
                    <a:lnTo>
                      <a:pt x="1748" y="611"/>
                    </a:lnTo>
                    <a:lnTo>
                      <a:pt x="1744" y="615"/>
                    </a:lnTo>
                    <a:lnTo>
                      <a:pt x="1738" y="617"/>
                    </a:lnTo>
                    <a:lnTo>
                      <a:pt x="1731" y="618"/>
                    </a:lnTo>
                    <a:lnTo>
                      <a:pt x="1724" y="619"/>
                    </a:lnTo>
                    <a:lnTo>
                      <a:pt x="1714" y="619"/>
                    </a:lnTo>
                    <a:lnTo>
                      <a:pt x="1707" y="620"/>
                    </a:lnTo>
                    <a:lnTo>
                      <a:pt x="1700" y="623"/>
                    </a:lnTo>
                    <a:lnTo>
                      <a:pt x="1697" y="624"/>
                    </a:lnTo>
                    <a:lnTo>
                      <a:pt x="1694" y="625"/>
                    </a:lnTo>
                    <a:lnTo>
                      <a:pt x="1692" y="627"/>
                    </a:lnTo>
                    <a:lnTo>
                      <a:pt x="1691" y="631"/>
                    </a:lnTo>
                    <a:lnTo>
                      <a:pt x="1691" y="633"/>
                    </a:lnTo>
                    <a:lnTo>
                      <a:pt x="1691" y="636"/>
                    </a:lnTo>
                    <a:lnTo>
                      <a:pt x="1693" y="638"/>
                    </a:lnTo>
                    <a:lnTo>
                      <a:pt x="1695" y="642"/>
                    </a:lnTo>
                    <a:lnTo>
                      <a:pt x="1701" y="646"/>
                    </a:lnTo>
                    <a:lnTo>
                      <a:pt x="1710" y="652"/>
                    </a:lnTo>
                    <a:lnTo>
                      <a:pt x="1717" y="658"/>
                    </a:lnTo>
                    <a:lnTo>
                      <a:pt x="1724" y="664"/>
                    </a:lnTo>
                    <a:lnTo>
                      <a:pt x="1726" y="669"/>
                    </a:lnTo>
                    <a:lnTo>
                      <a:pt x="1727" y="672"/>
                    </a:lnTo>
                    <a:lnTo>
                      <a:pt x="1729" y="677"/>
                    </a:lnTo>
                    <a:lnTo>
                      <a:pt x="1727" y="682"/>
                    </a:lnTo>
                    <a:lnTo>
                      <a:pt x="1726" y="684"/>
                    </a:lnTo>
                    <a:lnTo>
                      <a:pt x="1721" y="687"/>
                    </a:lnTo>
                    <a:lnTo>
                      <a:pt x="1716" y="689"/>
                    </a:lnTo>
                    <a:lnTo>
                      <a:pt x="1710" y="690"/>
                    </a:lnTo>
                    <a:lnTo>
                      <a:pt x="1697" y="694"/>
                    </a:lnTo>
                    <a:lnTo>
                      <a:pt x="1688" y="697"/>
                    </a:lnTo>
                    <a:lnTo>
                      <a:pt x="1683" y="703"/>
                    </a:lnTo>
                    <a:lnTo>
                      <a:pt x="1680" y="709"/>
                    </a:lnTo>
                    <a:lnTo>
                      <a:pt x="1677" y="715"/>
                    </a:lnTo>
                    <a:lnTo>
                      <a:pt x="1676" y="722"/>
                    </a:lnTo>
                    <a:lnTo>
                      <a:pt x="1676" y="728"/>
                    </a:lnTo>
                    <a:lnTo>
                      <a:pt x="1676" y="734"/>
                    </a:lnTo>
                    <a:lnTo>
                      <a:pt x="1677" y="740"/>
                    </a:lnTo>
                    <a:lnTo>
                      <a:pt x="1680" y="746"/>
                    </a:lnTo>
                    <a:lnTo>
                      <a:pt x="1682" y="752"/>
                    </a:lnTo>
                    <a:lnTo>
                      <a:pt x="1687" y="759"/>
                    </a:lnTo>
                    <a:lnTo>
                      <a:pt x="1693" y="766"/>
                    </a:lnTo>
                    <a:lnTo>
                      <a:pt x="1700" y="773"/>
                    </a:lnTo>
                    <a:lnTo>
                      <a:pt x="1716" y="788"/>
                    </a:lnTo>
                    <a:lnTo>
                      <a:pt x="1730" y="800"/>
                    </a:lnTo>
                    <a:lnTo>
                      <a:pt x="1737" y="803"/>
                    </a:lnTo>
                    <a:lnTo>
                      <a:pt x="1743" y="806"/>
                    </a:lnTo>
                    <a:lnTo>
                      <a:pt x="1748" y="807"/>
                    </a:lnTo>
                    <a:lnTo>
                      <a:pt x="1752" y="807"/>
                    </a:lnTo>
                    <a:lnTo>
                      <a:pt x="1760" y="806"/>
                    </a:lnTo>
                    <a:lnTo>
                      <a:pt x="1768" y="802"/>
                    </a:lnTo>
                    <a:lnTo>
                      <a:pt x="1771" y="800"/>
                    </a:lnTo>
                    <a:lnTo>
                      <a:pt x="1775" y="798"/>
                    </a:lnTo>
                    <a:lnTo>
                      <a:pt x="1777" y="798"/>
                    </a:lnTo>
                    <a:lnTo>
                      <a:pt x="1779" y="800"/>
                    </a:lnTo>
                    <a:lnTo>
                      <a:pt x="1780" y="804"/>
                    </a:lnTo>
                    <a:lnTo>
                      <a:pt x="1780" y="814"/>
                    </a:lnTo>
                    <a:lnTo>
                      <a:pt x="1781" y="820"/>
                    </a:lnTo>
                    <a:lnTo>
                      <a:pt x="1783" y="825"/>
                    </a:lnTo>
                    <a:lnTo>
                      <a:pt x="1787" y="831"/>
                    </a:lnTo>
                    <a:lnTo>
                      <a:pt x="1792" y="836"/>
                    </a:lnTo>
                    <a:lnTo>
                      <a:pt x="1798" y="842"/>
                    </a:lnTo>
                    <a:lnTo>
                      <a:pt x="1804" y="847"/>
                    </a:lnTo>
                    <a:lnTo>
                      <a:pt x="1811" y="852"/>
                    </a:lnTo>
                    <a:lnTo>
                      <a:pt x="1818" y="856"/>
                    </a:lnTo>
                    <a:lnTo>
                      <a:pt x="1824" y="859"/>
                    </a:lnTo>
                    <a:lnTo>
                      <a:pt x="1830" y="860"/>
                    </a:lnTo>
                    <a:lnTo>
                      <a:pt x="1836" y="861"/>
                    </a:lnTo>
                    <a:lnTo>
                      <a:pt x="1840" y="860"/>
                    </a:lnTo>
                    <a:lnTo>
                      <a:pt x="1851" y="858"/>
                    </a:lnTo>
                    <a:lnTo>
                      <a:pt x="1863" y="853"/>
                    </a:lnTo>
                    <a:lnTo>
                      <a:pt x="1870" y="850"/>
                    </a:lnTo>
                    <a:lnTo>
                      <a:pt x="1878" y="847"/>
                    </a:lnTo>
                    <a:lnTo>
                      <a:pt x="1887" y="846"/>
                    </a:lnTo>
                    <a:lnTo>
                      <a:pt x="1896" y="846"/>
                    </a:lnTo>
                    <a:lnTo>
                      <a:pt x="1906" y="847"/>
                    </a:lnTo>
                    <a:lnTo>
                      <a:pt x="1914" y="851"/>
                    </a:lnTo>
                    <a:lnTo>
                      <a:pt x="1918" y="853"/>
                    </a:lnTo>
                    <a:lnTo>
                      <a:pt x="1921" y="856"/>
                    </a:lnTo>
                    <a:lnTo>
                      <a:pt x="1924" y="859"/>
                    </a:lnTo>
                    <a:lnTo>
                      <a:pt x="1927" y="864"/>
                    </a:lnTo>
                    <a:lnTo>
                      <a:pt x="1931" y="872"/>
                    </a:lnTo>
                    <a:lnTo>
                      <a:pt x="1933" y="880"/>
                    </a:lnTo>
                    <a:lnTo>
                      <a:pt x="1933" y="889"/>
                    </a:lnTo>
                    <a:lnTo>
                      <a:pt x="1933" y="897"/>
                    </a:lnTo>
                    <a:lnTo>
                      <a:pt x="1932" y="913"/>
                    </a:lnTo>
                    <a:lnTo>
                      <a:pt x="1932" y="928"/>
                    </a:lnTo>
                    <a:lnTo>
                      <a:pt x="1933" y="936"/>
                    </a:lnTo>
                    <a:lnTo>
                      <a:pt x="1937" y="945"/>
                    </a:lnTo>
                    <a:lnTo>
                      <a:pt x="1943" y="952"/>
                    </a:lnTo>
                    <a:lnTo>
                      <a:pt x="1947" y="959"/>
                    </a:lnTo>
                    <a:lnTo>
                      <a:pt x="1963" y="970"/>
                    </a:lnTo>
                    <a:lnTo>
                      <a:pt x="1981" y="983"/>
                    </a:lnTo>
                    <a:lnTo>
                      <a:pt x="1988" y="989"/>
                    </a:lnTo>
                    <a:lnTo>
                      <a:pt x="1993" y="995"/>
                    </a:lnTo>
                    <a:lnTo>
                      <a:pt x="1997" y="1002"/>
                    </a:lnTo>
                    <a:lnTo>
                      <a:pt x="2002" y="1012"/>
                    </a:lnTo>
                    <a:lnTo>
                      <a:pt x="2003" y="1018"/>
                    </a:lnTo>
                    <a:lnTo>
                      <a:pt x="2006" y="1025"/>
                    </a:lnTo>
                    <a:lnTo>
                      <a:pt x="2007" y="1028"/>
                    </a:lnTo>
                    <a:lnTo>
                      <a:pt x="2008" y="1031"/>
                    </a:lnTo>
                    <a:lnTo>
                      <a:pt x="2009" y="1033"/>
                    </a:lnTo>
                    <a:lnTo>
                      <a:pt x="2012" y="1034"/>
                    </a:lnTo>
                    <a:lnTo>
                      <a:pt x="2019" y="1033"/>
                    </a:lnTo>
                    <a:lnTo>
                      <a:pt x="2027" y="1034"/>
                    </a:lnTo>
                    <a:lnTo>
                      <a:pt x="2031" y="1034"/>
                    </a:lnTo>
                    <a:lnTo>
                      <a:pt x="2033" y="1035"/>
                    </a:lnTo>
                    <a:lnTo>
                      <a:pt x="2035" y="1036"/>
                    </a:lnTo>
                    <a:lnTo>
                      <a:pt x="2038" y="1039"/>
                    </a:lnTo>
                    <a:lnTo>
                      <a:pt x="2041" y="1053"/>
                    </a:lnTo>
                    <a:lnTo>
                      <a:pt x="2047" y="1072"/>
                    </a:lnTo>
                    <a:lnTo>
                      <a:pt x="2038" y="1080"/>
                    </a:lnTo>
                    <a:lnTo>
                      <a:pt x="2029" y="1090"/>
                    </a:lnTo>
                    <a:lnTo>
                      <a:pt x="2013" y="1100"/>
                    </a:lnTo>
                    <a:lnTo>
                      <a:pt x="1995" y="1109"/>
                    </a:lnTo>
                    <a:lnTo>
                      <a:pt x="1977" y="1117"/>
                    </a:lnTo>
                    <a:lnTo>
                      <a:pt x="1957" y="1124"/>
                    </a:lnTo>
                    <a:lnTo>
                      <a:pt x="1949" y="1128"/>
                    </a:lnTo>
                    <a:lnTo>
                      <a:pt x="1943" y="1132"/>
                    </a:lnTo>
                    <a:lnTo>
                      <a:pt x="1939" y="1136"/>
                    </a:lnTo>
                    <a:lnTo>
                      <a:pt x="1937" y="1141"/>
                    </a:lnTo>
                    <a:lnTo>
                      <a:pt x="1937" y="1146"/>
                    </a:lnTo>
                    <a:lnTo>
                      <a:pt x="1938" y="1150"/>
                    </a:lnTo>
                    <a:lnTo>
                      <a:pt x="1939" y="1156"/>
                    </a:lnTo>
                    <a:lnTo>
                      <a:pt x="1941" y="1161"/>
                    </a:lnTo>
                    <a:lnTo>
                      <a:pt x="1943" y="1165"/>
                    </a:lnTo>
                    <a:lnTo>
                      <a:pt x="1944" y="1168"/>
                    </a:lnTo>
                    <a:lnTo>
                      <a:pt x="1943" y="1172"/>
                    </a:lnTo>
                    <a:lnTo>
                      <a:pt x="1940" y="1174"/>
                    </a:lnTo>
                    <a:lnTo>
                      <a:pt x="1930" y="1178"/>
                    </a:lnTo>
                    <a:lnTo>
                      <a:pt x="1914" y="1181"/>
                    </a:lnTo>
                    <a:lnTo>
                      <a:pt x="1909" y="1182"/>
                    </a:lnTo>
                    <a:lnTo>
                      <a:pt x="1905" y="1185"/>
                    </a:lnTo>
                    <a:lnTo>
                      <a:pt x="1901" y="1187"/>
                    </a:lnTo>
                    <a:lnTo>
                      <a:pt x="1897" y="1191"/>
                    </a:lnTo>
                    <a:lnTo>
                      <a:pt x="1890" y="1198"/>
                    </a:lnTo>
                    <a:lnTo>
                      <a:pt x="1886" y="1207"/>
                    </a:lnTo>
                    <a:lnTo>
                      <a:pt x="1882" y="1217"/>
                    </a:lnTo>
                    <a:lnTo>
                      <a:pt x="1878" y="1225"/>
                    </a:lnTo>
                    <a:lnTo>
                      <a:pt x="1877" y="1233"/>
                    </a:lnTo>
                    <a:lnTo>
                      <a:pt x="1877" y="1239"/>
                    </a:lnTo>
                    <a:lnTo>
                      <a:pt x="1877" y="1249"/>
                    </a:lnTo>
                    <a:lnTo>
                      <a:pt x="1875" y="1257"/>
                    </a:lnTo>
                    <a:lnTo>
                      <a:pt x="1872" y="1261"/>
                    </a:lnTo>
                    <a:lnTo>
                      <a:pt x="1870" y="1264"/>
                    </a:lnTo>
                    <a:lnTo>
                      <a:pt x="1867" y="1267"/>
                    </a:lnTo>
                    <a:lnTo>
                      <a:pt x="1861" y="1269"/>
                    </a:lnTo>
                    <a:lnTo>
                      <a:pt x="1852" y="1273"/>
                    </a:lnTo>
                    <a:lnTo>
                      <a:pt x="1846" y="1276"/>
                    </a:lnTo>
                    <a:lnTo>
                      <a:pt x="1845" y="1279"/>
                    </a:lnTo>
                    <a:lnTo>
                      <a:pt x="1846" y="1280"/>
                    </a:lnTo>
                    <a:lnTo>
                      <a:pt x="1847" y="1281"/>
                    </a:lnTo>
                    <a:lnTo>
                      <a:pt x="1851" y="1281"/>
                    </a:lnTo>
                    <a:lnTo>
                      <a:pt x="1857" y="1281"/>
                    </a:lnTo>
                    <a:lnTo>
                      <a:pt x="1863" y="1282"/>
                    </a:lnTo>
                    <a:lnTo>
                      <a:pt x="1865" y="1283"/>
                    </a:lnTo>
                    <a:lnTo>
                      <a:pt x="1867" y="1285"/>
                    </a:lnTo>
                    <a:lnTo>
                      <a:pt x="1868" y="1287"/>
                    </a:lnTo>
                    <a:lnTo>
                      <a:pt x="1868" y="1289"/>
                    </a:lnTo>
                    <a:lnTo>
                      <a:pt x="1867" y="1296"/>
                    </a:lnTo>
                    <a:lnTo>
                      <a:pt x="1865" y="1305"/>
                    </a:lnTo>
                    <a:lnTo>
                      <a:pt x="1863" y="1315"/>
                    </a:lnTo>
                    <a:lnTo>
                      <a:pt x="1863" y="1327"/>
                    </a:lnTo>
                    <a:lnTo>
                      <a:pt x="1862" y="1338"/>
                    </a:lnTo>
                    <a:lnTo>
                      <a:pt x="1859" y="1348"/>
                    </a:lnTo>
                    <a:lnTo>
                      <a:pt x="1857" y="1354"/>
                    </a:lnTo>
                    <a:lnTo>
                      <a:pt x="1853" y="1359"/>
                    </a:lnTo>
                    <a:lnTo>
                      <a:pt x="1849" y="1367"/>
                    </a:lnTo>
                    <a:lnTo>
                      <a:pt x="1842" y="1375"/>
                    </a:lnTo>
                    <a:lnTo>
                      <a:pt x="1834" y="1386"/>
                    </a:lnTo>
                    <a:lnTo>
                      <a:pt x="1828" y="1396"/>
                    </a:lnTo>
                    <a:lnTo>
                      <a:pt x="1824" y="1407"/>
                    </a:lnTo>
                    <a:lnTo>
                      <a:pt x="1820" y="1419"/>
                    </a:lnTo>
                    <a:lnTo>
                      <a:pt x="1813" y="1439"/>
                    </a:lnTo>
                    <a:lnTo>
                      <a:pt x="1806" y="1455"/>
                    </a:lnTo>
                    <a:lnTo>
                      <a:pt x="1802" y="1460"/>
                    </a:lnTo>
                    <a:lnTo>
                      <a:pt x="1798" y="1466"/>
                    </a:lnTo>
                    <a:lnTo>
                      <a:pt x="1792" y="1472"/>
                    </a:lnTo>
                    <a:lnTo>
                      <a:pt x="1786" y="1478"/>
                    </a:lnTo>
                    <a:lnTo>
                      <a:pt x="1780" y="1483"/>
                    </a:lnTo>
                    <a:lnTo>
                      <a:pt x="1774" y="1488"/>
                    </a:lnTo>
                    <a:lnTo>
                      <a:pt x="1769" y="1490"/>
                    </a:lnTo>
                    <a:lnTo>
                      <a:pt x="1764" y="1491"/>
                    </a:lnTo>
                    <a:lnTo>
                      <a:pt x="1762" y="1491"/>
                    </a:lnTo>
                    <a:lnTo>
                      <a:pt x="1760" y="1490"/>
                    </a:lnTo>
                    <a:lnTo>
                      <a:pt x="1758" y="1489"/>
                    </a:lnTo>
                    <a:lnTo>
                      <a:pt x="1758" y="1487"/>
                    </a:lnTo>
                    <a:lnTo>
                      <a:pt x="1758" y="1484"/>
                    </a:lnTo>
                    <a:lnTo>
                      <a:pt x="1761" y="1482"/>
                    </a:lnTo>
                    <a:lnTo>
                      <a:pt x="1762" y="1478"/>
                    </a:lnTo>
                    <a:lnTo>
                      <a:pt x="1765" y="1476"/>
                    </a:lnTo>
                    <a:lnTo>
                      <a:pt x="1773" y="1470"/>
                    </a:lnTo>
                    <a:lnTo>
                      <a:pt x="1780" y="1463"/>
                    </a:lnTo>
                    <a:lnTo>
                      <a:pt x="1781" y="1459"/>
                    </a:lnTo>
                    <a:lnTo>
                      <a:pt x="1782" y="1457"/>
                    </a:lnTo>
                    <a:lnTo>
                      <a:pt x="1782" y="1455"/>
                    </a:lnTo>
                    <a:lnTo>
                      <a:pt x="1780" y="1455"/>
                    </a:lnTo>
                    <a:lnTo>
                      <a:pt x="1764" y="1460"/>
                    </a:lnTo>
                    <a:lnTo>
                      <a:pt x="1748" y="1468"/>
                    </a:lnTo>
                    <a:lnTo>
                      <a:pt x="1739" y="1471"/>
                    </a:lnTo>
                    <a:lnTo>
                      <a:pt x="1729" y="1478"/>
                    </a:lnTo>
                    <a:lnTo>
                      <a:pt x="1721" y="1482"/>
                    </a:lnTo>
                    <a:lnTo>
                      <a:pt x="1716" y="1485"/>
                    </a:lnTo>
                    <a:lnTo>
                      <a:pt x="1711" y="1489"/>
                    </a:lnTo>
                    <a:lnTo>
                      <a:pt x="1705" y="1490"/>
                    </a:lnTo>
                    <a:lnTo>
                      <a:pt x="1693" y="1489"/>
                    </a:lnTo>
                    <a:lnTo>
                      <a:pt x="1680" y="1485"/>
                    </a:lnTo>
                    <a:lnTo>
                      <a:pt x="1673" y="1483"/>
                    </a:lnTo>
                    <a:lnTo>
                      <a:pt x="1666" y="1482"/>
                    </a:lnTo>
                    <a:lnTo>
                      <a:pt x="1661" y="1481"/>
                    </a:lnTo>
                    <a:lnTo>
                      <a:pt x="1655" y="1482"/>
                    </a:lnTo>
                    <a:lnTo>
                      <a:pt x="1651" y="1483"/>
                    </a:lnTo>
                    <a:lnTo>
                      <a:pt x="1645" y="1488"/>
                    </a:lnTo>
                    <a:lnTo>
                      <a:pt x="1639" y="1493"/>
                    </a:lnTo>
                    <a:lnTo>
                      <a:pt x="1634" y="1499"/>
                    </a:lnTo>
                    <a:lnTo>
                      <a:pt x="1619" y="1513"/>
                    </a:lnTo>
                    <a:lnTo>
                      <a:pt x="1605" y="1527"/>
                    </a:lnTo>
                    <a:lnTo>
                      <a:pt x="1598" y="1533"/>
                    </a:lnTo>
                    <a:lnTo>
                      <a:pt x="1591" y="1538"/>
                    </a:lnTo>
                    <a:lnTo>
                      <a:pt x="1584" y="1541"/>
                    </a:lnTo>
                    <a:lnTo>
                      <a:pt x="1576" y="1544"/>
                    </a:lnTo>
                    <a:lnTo>
                      <a:pt x="1571" y="1546"/>
                    </a:lnTo>
                    <a:lnTo>
                      <a:pt x="1563" y="1546"/>
                    </a:lnTo>
                    <a:lnTo>
                      <a:pt x="1557" y="1545"/>
                    </a:lnTo>
                    <a:lnTo>
                      <a:pt x="1553" y="1541"/>
                    </a:lnTo>
                    <a:lnTo>
                      <a:pt x="1548" y="1538"/>
                    </a:lnTo>
                    <a:lnTo>
                      <a:pt x="1543" y="1534"/>
                    </a:lnTo>
                    <a:lnTo>
                      <a:pt x="1538" y="1528"/>
                    </a:lnTo>
                    <a:lnTo>
                      <a:pt x="1535" y="1522"/>
                    </a:lnTo>
                    <a:lnTo>
                      <a:pt x="1527" y="1510"/>
                    </a:lnTo>
                    <a:lnTo>
                      <a:pt x="1521" y="1497"/>
                    </a:lnTo>
                    <a:lnTo>
                      <a:pt x="1517" y="1490"/>
                    </a:lnTo>
                    <a:lnTo>
                      <a:pt x="1513" y="1485"/>
                    </a:lnTo>
                    <a:lnTo>
                      <a:pt x="1509" y="1481"/>
                    </a:lnTo>
                    <a:lnTo>
                      <a:pt x="1504" y="1477"/>
                    </a:lnTo>
                    <a:lnTo>
                      <a:pt x="1498" y="1475"/>
                    </a:lnTo>
                    <a:lnTo>
                      <a:pt x="1491" y="1474"/>
                    </a:lnTo>
                    <a:lnTo>
                      <a:pt x="1484" y="1472"/>
                    </a:lnTo>
                    <a:lnTo>
                      <a:pt x="1474" y="1472"/>
                    </a:lnTo>
                    <a:lnTo>
                      <a:pt x="1473" y="1472"/>
                    </a:lnTo>
                    <a:lnTo>
                      <a:pt x="1471" y="1474"/>
                    </a:lnTo>
                    <a:lnTo>
                      <a:pt x="1472" y="1472"/>
                    </a:lnTo>
                    <a:lnTo>
                      <a:pt x="1473" y="1472"/>
                    </a:lnTo>
                    <a:lnTo>
                      <a:pt x="1477" y="1463"/>
                    </a:lnTo>
                    <a:lnTo>
                      <a:pt x="1478" y="1453"/>
                    </a:lnTo>
                    <a:lnTo>
                      <a:pt x="1479" y="1443"/>
                    </a:lnTo>
                    <a:lnTo>
                      <a:pt x="1479" y="1433"/>
                    </a:lnTo>
                    <a:lnTo>
                      <a:pt x="1477" y="1424"/>
                    </a:lnTo>
                    <a:lnTo>
                      <a:pt x="1472" y="1414"/>
                    </a:lnTo>
                    <a:lnTo>
                      <a:pt x="1466" y="1405"/>
                    </a:lnTo>
                    <a:lnTo>
                      <a:pt x="1456" y="1396"/>
                    </a:lnTo>
                    <a:lnTo>
                      <a:pt x="1446" y="1389"/>
                    </a:lnTo>
                    <a:lnTo>
                      <a:pt x="1437" y="1386"/>
                    </a:lnTo>
                    <a:lnTo>
                      <a:pt x="1431" y="1383"/>
                    </a:lnTo>
                    <a:lnTo>
                      <a:pt x="1427" y="1382"/>
                    </a:lnTo>
                    <a:lnTo>
                      <a:pt x="1422" y="1382"/>
                    </a:lnTo>
                    <a:lnTo>
                      <a:pt x="1420" y="1382"/>
                    </a:lnTo>
                    <a:lnTo>
                      <a:pt x="1417" y="1380"/>
                    </a:lnTo>
                    <a:lnTo>
                      <a:pt x="1416" y="1376"/>
                    </a:lnTo>
                    <a:lnTo>
                      <a:pt x="1416" y="1370"/>
                    </a:lnTo>
                    <a:lnTo>
                      <a:pt x="1418" y="1362"/>
                    </a:lnTo>
                    <a:lnTo>
                      <a:pt x="1421" y="1352"/>
                    </a:lnTo>
                    <a:lnTo>
                      <a:pt x="1424" y="1343"/>
                    </a:lnTo>
                    <a:lnTo>
                      <a:pt x="1425" y="1333"/>
                    </a:lnTo>
                    <a:lnTo>
                      <a:pt x="1425" y="1325"/>
                    </a:lnTo>
                    <a:lnTo>
                      <a:pt x="1425" y="1321"/>
                    </a:lnTo>
                    <a:lnTo>
                      <a:pt x="1423" y="1319"/>
                    </a:lnTo>
                    <a:lnTo>
                      <a:pt x="1420" y="1318"/>
                    </a:lnTo>
                    <a:lnTo>
                      <a:pt x="1416" y="1317"/>
                    </a:lnTo>
                    <a:lnTo>
                      <a:pt x="1406" y="1317"/>
                    </a:lnTo>
                    <a:lnTo>
                      <a:pt x="1397" y="1319"/>
                    </a:lnTo>
                    <a:lnTo>
                      <a:pt x="1387" y="1323"/>
                    </a:lnTo>
                    <a:lnTo>
                      <a:pt x="1379" y="1326"/>
                    </a:lnTo>
                    <a:lnTo>
                      <a:pt x="1370" y="1331"/>
                    </a:lnTo>
                    <a:lnTo>
                      <a:pt x="1362" y="1333"/>
                    </a:lnTo>
                    <a:lnTo>
                      <a:pt x="1359" y="1335"/>
                    </a:lnTo>
                    <a:lnTo>
                      <a:pt x="1355" y="1335"/>
                    </a:lnTo>
                    <a:lnTo>
                      <a:pt x="1353" y="1335"/>
                    </a:lnTo>
                    <a:lnTo>
                      <a:pt x="1351" y="1333"/>
                    </a:lnTo>
                    <a:lnTo>
                      <a:pt x="1346" y="1331"/>
                    </a:lnTo>
                    <a:lnTo>
                      <a:pt x="1342" y="1327"/>
                    </a:lnTo>
                    <a:lnTo>
                      <a:pt x="1340" y="1323"/>
                    </a:lnTo>
                    <a:lnTo>
                      <a:pt x="1339" y="1318"/>
                    </a:lnTo>
                    <a:lnTo>
                      <a:pt x="1336" y="1307"/>
                    </a:lnTo>
                    <a:lnTo>
                      <a:pt x="1335" y="1295"/>
                    </a:lnTo>
                    <a:lnTo>
                      <a:pt x="1333" y="1288"/>
                    </a:lnTo>
                    <a:lnTo>
                      <a:pt x="1330" y="1282"/>
                    </a:lnTo>
                    <a:lnTo>
                      <a:pt x="1328" y="1277"/>
                    </a:lnTo>
                    <a:lnTo>
                      <a:pt x="1323" y="1272"/>
                    </a:lnTo>
                    <a:lnTo>
                      <a:pt x="1315" y="1261"/>
                    </a:lnTo>
                    <a:lnTo>
                      <a:pt x="1304" y="1248"/>
                    </a:lnTo>
                    <a:lnTo>
                      <a:pt x="1295" y="1232"/>
                    </a:lnTo>
                    <a:lnTo>
                      <a:pt x="1284" y="1218"/>
                    </a:lnTo>
                    <a:lnTo>
                      <a:pt x="1279" y="1211"/>
                    </a:lnTo>
                    <a:lnTo>
                      <a:pt x="1276" y="1203"/>
                    </a:lnTo>
                    <a:lnTo>
                      <a:pt x="1273" y="1193"/>
                    </a:lnTo>
                    <a:lnTo>
                      <a:pt x="1273" y="1182"/>
                    </a:lnTo>
                    <a:lnTo>
                      <a:pt x="1273" y="1173"/>
                    </a:lnTo>
                    <a:lnTo>
                      <a:pt x="1276" y="1165"/>
                    </a:lnTo>
                    <a:lnTo>
                      <a:pt x="1280" y="1159"/>
                    </a:lnTo>
                    <a:lnTo>
                      <a:pt x="1285" y="1154"/>
                    </a:lnTo>
                    <a:lnTo>
                      <a:pt x="1292" y="1151"/>
                    </a:lnTo>
                    <a:lnTo>
                      <a:pt x="1301" y="1149"/>
                    </a:lnTo>
                    <a:lnTo>
                      <a:pt x="1310" y="1148"/>
                    </a:lnTo>
                    <a:lnTo>
                      <a:pt x="1320" y="1147"/>
                    </a:lnTo>
                    <a:lnTo>
                      <a:pt x="1326" y="1147"/>
                    </a:lnTo>
                    <a:lnTo>
                      <a:pt x="1330" y="1147"/>
                    </a:lnTo>
                    <a:lnTo>
                      <a:pt x="1334" y="1144"/>
                    </a:lnTo>
                    <a:lnTo>
                      <a:pt x="1338" y="1143"/>
                    </a:lnTo>
                    <a:lnTo>
                      <a:pt x="1343" y="1138"/>
                    </a:lnTo>
                    <a:lnTo>
                      <a:pt x="1347" y="1132"/>
                    </a:lnTo>
                    <a:lnTo>
                      <a:pt x="1349" y="1127"/>
                    </a:lnTo>
                    <a:lnTo>
                      <a:pt x="1349" y="1122"/>
                    </a:lnTo>
                    <a:lnTo>
                      <a:pt x="1347" y="1116"/>
                    </a:lnTo>
                    <a:lnTo>
                      <a:pt x="1343" y="1112"/>
                    </a:lnTo>
                    <a:lnTo>
                      <a:pt x="1333" y="1104"/>
                    </a:lnTo>
                    <a:lnTo>
                      <a:pt x="1320" y="1092"/>
                    </a:lnTo>
                    <a:lnTo>
                      <a:pt x="1313" y="1086"/>
                    </a:lnTo>
                    <a:lnTo>
                      <a:pt x="1307" y="1079"/>
                    </a:lnTo>
                    <a:lnTo>
                      <a:pt x="1302" y="1071"/>
                    </a:lnTo>
                    <a:lnTo>
                      <a:pt x="1298" y="1062"/>
                    </a:lnTo>
                    <a:lnTo>
                      <a:pt x="1296" y="1059"/>
                    </a:lnTo>
                    <a:lnTo>
                      <a:pt x="1294" y="1056"/>
                    </a:lnTo>
                    <a:lnTo>
                      <a:pt x="1290" y="1054"/>
                    </a:lnTo>
                    <a:lnTo>
                      <a:pt x="1286" y="1052"/>
                    </a:lnTo>
                    <a:lnTo>
                      <a:pt x="1278" y="1049"/>
                    </a:lnTo>
                    <a:lnTo>
                      <a:pt x="1270" y="1049"/>
                    </a:lnTo>
                    <a:lnTo>
                      <a:pt x="1250" y="1052"/>
                    </a:lnTo>
                    <a:lnTo>
                      <a:pt x="1233" y="1053"/>
                    </a:lnTo>
                    <a:lnTo>
                      <a:pt x="1227" y="1053"/>
                    </a:lnTo>
                    <a:lnTo>
                      <a:pt x="1223" y="1055"/>
                    </a:lnTo>
                    <a:lnTo>
                      <a:pt x="1222" y="1059"/>
                    </a:lnTo>
                    <a:lnTo>
                      <a:pt x="1221" y="1062"/>
                    </a:lnTo>
                    <a:lnTo>
                      <a:pt x="1220" y="1071"/>
                    </a:lnTo>
                    <a:lnTo>
                      <a:pt x="1217" y="1080"/>
                    </a:lnTo>
                    <a:lnTo>
                      <a:pt x="1217" y="1074"/>
                    </a:lnTo>
                    <a:lnTo>
                      <a:pt x="1217" y="1067"/>
                    </a:lnTo>
                    <a:lnTo>
                      <a:pt x="1217" y="1060"/>
                    </a:lnTo>
                    <a:lnTo>
                      <a:pt x="1216" y="1052"/>
                    </a:lnTo>
                    <a:lnTo>
                      <a:pt x="1213" y="1039"/>
                    </a:lnTo>
                    <a:lnTo>
                      <a:pt x="1209" y="1030"/>
                    </a:lnTo>
                    <a:lnTo>
                      <a:pt x="1200" y="1020"/>
                    </a:lnTo>
                    <a:lnTo>
                      <a:pt x="1190" y="1006"/>
                    </a:lnTo>
                    <a:lnTo>
                      <a:pt x="1187" y="999"/>
                    </a:lnTo>
                    <a:lnTo>
                      <a:pt x="1183" y="993"/>
                    </a:lnTo>
                    <a:lnTo>
                      <a:pt x="1182" y="987"/>
                    </a:lnTo>
                    <a:lnTo>
                      <a:pt x="1181" y="981"/>
                    </a:lnTo>
                    <a:lnTo>
                      <a:pt x="1192" y="970"/>
                    </a:lnTo>
                    <a:lnTo>
                      <a:pt x="1204" y="961"/>
                    </a:lnTo>
                    <a:lnTo>
                      <a:pt x="1204" y="957"/>
                    </a:lnTo>
                    <a:lnTo>
                      <a:pt x="1202" y="954"/>
                    </a:lnTo>
                    <a:lnTo>
                      <a:pt x="1201" y="952"/>
                    </a:lnTo>
                    <a:lnTo>
                      <a:pt x="1198" y="949"/>
                    </a:lnTo>
                    <a:lnTo>
                      <a:pt x="1195" y="949"/>
                    </a:lnTo>
                    <a:lnTo>
                      <a:pt x="1191" y="949"/>
                    </a:lnTo>
                    <a:lnTo>
                      <a:pt x="1187" y="951"/>
                    </a:lnTo>
                    <a:lnTo>
                      <a:pt x="1183" y="952"/>
                    </a:lnTo>
                    <a:lnTo>
                      <a:pt x="1178" y="954"/>
                    </a:lnTo>
                    <a:lnTo>
                      <a:pt x="1175" y="953"/>
                    </a:lnTo>
                    <a:lnTo>
                      <a:pt x="1172" y="952"/>
                    </a:lnTo>
                    <a:lnTo>
                      <a:pt x="1169" y="948"/>
                    </a:lnTo>
                    <a:lnTo>
                      <a:pt x="1168" y="945"/>
                    </a:lnTo>
                    <a:lnTo>
                      <a:pt x="1166" y="939"/>
                    </a:lnTo>
                    <a:lnTo>
                      <a:pt x="1166" y="933"/>
                    </a:lnTo>
                    <a:lnTo>
                      <a:pt x="1166" y="927"/>
                    </a:lnTo>
                    <a:lnTo>
                      <a:pt x="1168" y="921"/>
                    </a:lnTo>
                    <a:lnTo>
                      <a:pt x="1170" y="915"/>
                    </a:lnTo>
                    <a:lnTo>
                      <a:pt x="1173" y="910"/>
                    </a:lnTo>
                    <a:lnTo>
                      <a:pt x="1177" y="907"/>
                    </a:lnTo>
                    <a:lnTo>
                      <a:pt x="1182" y="903"/>
                    </a:lnTo>
                    <a:lnTo>
                      <a:pt x="1185" y="901"/>
                    </a:lnTo>
                    <a:lnTo>
                      <a:pt x="1190" y="899"/>
                    </a:lnTo>
                    <a:lnTo>
                      <a:pt x="1195" y="899"/>
                    </a:lnTo>
                    <a:lnTo>
                      <a:pt x="1204" y="899"/>
                    </a:lnTo>
                    <a:lnTo>
                      <a:pt x="1213" y="898"/>
                    </a:lnTo>
                    <a:lnTo>
                      <a:pt x="1217" y="898"/>
                    </a:lnTo>
                    <a:lnTo>
                      <a:pt x="1221" y="896"/>
                    </a:lnTo>
                    <a:lnTo>
                      <a:pt x="1225" y="895"/>
                    </a:lnTo>
                    <a:lnTo>
                      <a:pt x="1227" y="891"/>
                    </a:lnTo>
                    <a:lnTo>
                      <a:pt x="1231" y="884"/>
                    </a:lnTo>
                    <a:lnTo>
                      <a:pt x="1233" y="877"/>
                    </a:lnTo>
                    <a:lnTo>
                      <a:pt x="1234" y="871"/>
                    </a:lnTo>
                    <a:lnTo>
                      <a:pt x="1233" y="866"/>
                    </a:lnTo>
                    <a:lnTo>
                      <a:pt x="1231" y="861"/>
                    </a:lnTo>
                    <a:lnTo>
                      <a:pt x="1226" y="858"/>
                    </a:lnTo>
                    <a:lnTo>
                      <a:pt x="1220" y="854"/>
                    </a:lnTo>
                    <a:lnTo>
                      <a:pt x="1213" y="852"/>
                    </a:lnTo>
                    <a:lnTo>
                      <a:pt x="1190" y="848"/>
                    </a:lnTo>
                    <a:lnTo>
                      <a:pt x="1165" y="847"/>
                    </a:lnTo>
                    <a:lnTo>
                      <a:pt x="1143" y="847"/>
                    </a:lnTo>
                    <a:lnTo>
                      <a:pt x="1128" y="848"/>
                    </a:lnTo>
                    <a:lnTo>
                      <a:pt x="1116" y="850"/>
                    </a:lnTo>
                    <a:lnTo>
                      <a:pt x="1106" y="851"/>
                    </a:lnTo>
                    <a:lnTo>
                      <a:pt x="1096" y="851"/>
                    </a:lnTo>
                    <a:lnTo>
                      <a:pt x="1084" y="847"/>
                    </a:lnTo>
                    <a:lnTo>
                      <a:pt x="1072" y="842"/>
                    </a:lnTo>
                    <a:lnTo>
                      <a:pt x="1062" y="835"/>
                    </a:lnTo>
                    <a:lnTo>
                      <a:pt x="1052" y="827"/>
                    </a:lnTo>
                    <a:lnTo>
                      <a:pt x="1046" y="817"/>
                    </a:lnTo>
                    <a:lnTo>
                      <a:pt x="1040" y="809"/>
                    </a:lnTo>
                    <a:lnTo>
                      <a:pt x="1034" y="801"/>
                    </a:lnTo>
                    <a:lnTo>
                      <a:pt x="1027" y="794"/>
                    </a:lnTo>
                    <a:lnTo>
                      <a:pt x="1019" y="787"/>
                    </a:lnTo>
                    <a:lnTo>
                      <a:pt x="1011" y="781"/>
                    </a:lnTo>
                    <a:lnTo>
                      <a:pt x="1002" y="773"/>
                    </a:lnTo>
                    <a:lnTo>
                      <a:pt x="994" y="768"/>
                    </a:lnTo>
                    <a:lnTo>
                      <a:pt x="986" y="759"/>
                    </a:lnTo>
                    <a:lnTo>
                      <a:pt x="980" y="750"/>
                    </a:lnTo>
                    <a:lnTo>
                      <a:pt x="975" y="740"/>
                    </a:lnTo>
                    <a:lnTo>
                      <a:pt x="971" y="731"/>
                    </a:lnTo>
                    <a:lnTo>
                      <a:pt x="969" y="721"/>
                    </a:lnTo>
                    <a:lnTo>
                      <a:pt x="968" y="713"/>
                    </a:lnTo>
                    <a:lnTo>
                      <a:pt x="965" y="706"/>
                    </a:lnTo>
                    <a:lnTo>
                      <a:pt x="964" y="703"/>
                    </a:lnTo>
                    <a:lnTo>
                      <a:pt x="962" y="701"/>
                    </a:lnTo>
                    <a:lnTo>
                      <a:pt x="959" y="700"/>
                    </a:lnTo>
                    <a:lnTo>
                      <a:pt x="957" y="700"/>
                    </a:lnTo>
                    <a:lnTo>
                      <a:pt x="955" y="701"/>
                    </a:lnTo>
                    <a:lnTo>
                      <a:pt x="952" y="702"/>
                    </a:lnTo>
                    <a:lnTo>
                      <a:pt x="951" y="703"/>
                    </a:lnTo>
                    <a:lnTo>
                      <a:pt x="950" y="706"/>
                    </a:lnTo>
                    <a:lnTo>
                      <a:pt x="948" y="710"/>
                    </a:lnTo>
                    <a:lnTo>
                      <a:pt x="946" y="716"/>
                    </a:lnTo>
                    <a:lnTo>
                      <a:pt x="944" y="722"/>
                    </a:lnTo>
                    <a:lnTo>
                      <a:pt x="940" y="727"/>
                    </a:lnTo>
                    <a:lnTo>
                      <a:pt x="938" y="730"/>
                    </a:lnTo>
                    <a:lnTo>
                      <a:pt x="935" y="731"/>
                    </a:lnTo>
                    <a:lnTo>
                      <a:pt x="929" y="731"/>
                    </a:lnTo>
                    <a:lnTo>
                      <a:pt x="923" y="732"/>
                    </a:lnTo>
                    <a:lnTo>
                      <a:pt x="916" y="732"/>
                    </a:lnTo>
                    <a:lnTo>
                      <a:pt x="910" y="733"/>
                    </a:lnTo>
                    <a:lnTo>
                      <a:pt x="906" y="734"/>
                    </a:lnTo>
                    <a:lnTo>
                      <a:pt x="902" y="737"/>
                    </a:lnTo>
                    <a:lnTo>
                      <a:pt x="900" y="738"/>
                    </a:lnTo>
                    <a:lnTo>
                      <a:pt x="899" y="741"/>
                    </a:lnTo>
                    <a:lnTo>
                      <a:pt x="899" y="744"/>
                    </a:lnTo>
                    <a:lnTo>
                      <a:pt x="899" y="747"/>
                    </a:lnTo>
                    <a:lnTo>
                      <a:pt x="898" y="751"/>
                    </a:lnTo>
                    <a:lnTo>
                      <a:pt x="898" y="754"/>
                    </a:lnTo>
                    <a:lnTo>
                      <a:pt x="895" y="757"/>
                    </a:lnTo>
                    <a:lnTo>
                      <a:pt x="894" y="759"/>
                    </a:lnTo>
                    <a:lnTo>
                      <a:pt x="892" y="762"/>
                    </a:lnTo>
                    <a:lnTo>
                      <a:pt x="888" y="763"/>
                    </a:lnTo>
                    <a:lnTo>
                      <a:pt x="886" y="764"/>
                    </a:lnTo>
                    <a:lnTo>
                      <a:pt x="882" y="764"/>
                    </a:lnTo>
                    <a:lnTo>
                      <a:pt x="874" y="764"/>
                    </a:lnTo>
                    <a:lnTo>
                      <a:pt x="868" y="765"/>
                    </a:lnTo>
                    <a:lnTo>
                      <a:pt x="866" y="768"/>
                    </a:lnTo>
                    <a:lnTo>
                      <a:pt x="864" y="770"/>
                    </a:lnTo>
                    <a:lnTo>
                      <a:pt x="864" y="773"/>
                    </a:lnTo>
                    <a:lnTo>
                      <a:pt x="866" y="777"/>
                    </a:lnTo>
                    <a:lnTo>
                      <a:pt x="870" y="785"/>
                    </a:lnTo>
                    <a:lnTo>
                      <a:pt x="877" y="794"/>
                    </a:lnTo>
                    <a:lnTo>
                      <a:pt x="885" y="801"/>
                    </a:lnTo>
                    <a:lnTo>
                      <a:pt x="893" y="807"/>
                    </a:lnTo>
                    <a:lnTo>
                      <a:pt x="896" y="809"/>
                    </a:lnTo>
                    <a:lnTo>
                      <a:pt x="899" y="813"/>
                    </a:lnTo>
                    <a:lnTo>
                      <a:pt x="901" y="816"/>
                    </a:lnTo>
                    <a:lnTo>
                      <a:pt x="902" y="820"/>
                    </a:lnTo>
                    <a:lnTo>
                      <a:pt x="902" y="823"/>
                    </a:lnTo>
                    <a:lnTo>
                      <a:pt x="902" y="827"/>
                    </a:lnTo>
                    <a:lnTo>
                      <a:pt x="900" y="829"/>
                    </a:lnTo>
                    <a:lnTo>
                      <a:pt x="898" y="831"/>
                    </a:lnTo>
                    <a:lnTo>
                      <a:pt x="880" y="833"/>
                    </a:lnTo>
                    <a:lnTo>
                      <a:pt x="864" y="836"/>
                    </a:lnTo>
                    <a:lnTo>
                      <a:pt x="860" y="839"/>
                    </a:lnTo>
                    <a:lnTo>
                      <a:pt x="853" y="839"/>
                    </a:lnTo>
                    <a:lnTo>
                      <a:pt x="849" y="839"/>
                    </a:lnTo>
                    <a:lnTo>
                      <a:pt x="847" y="838"/>
                    </a:lnTo>
                    <a:lnTo>
                      <a:pt x="843" y="836"/>
                    </a:lnTo>
                    <a:lnTo>
                      <a:pt x="841" y="834"/>
                    </a:lnTo>
                    <a:lnTo>
                      <a:pt x="836" y="829"/>
                    </a:lnTo>
                    <a:lnTo>
                      <a:pt x="832" y="828"/>
                    </a:lnTo>
                    <a:lnTo>
                      <a:pt x="831" y="831"/>
                    </a:lnTo>
                    <a:lnTo>
                      <a:pt x="830" y="838"/>
                    </a:lnTo>
                    <a:lnTo>
                      <a:pt x="830" y="846"/>
                    </a:lnTo>
                    <a:lnTo>
                      <a:pt x="828" y="853"/>
                    </a:lnTo>
                    <a:lnTo>
                      <a:pt x="825" y="859"/>
                    </a:lnTo>
                    <a:lnTo>
                      <a:pt x="820" y="865"/>
                    </a:lnTo>
                    <a:lnTo>
                      <a:pt x="814" y="873"/>
                    </a:lnTo>
                    <a:lnTo>
                      <a:pt x="810" y="883"/>
                    </a:lnTo>
                    <a:lnTo>
                      <a:pt x="803" y="894"/>
                    </a:lnTo>
                    <a:lnTo>
                      <a:pt x="792" y="905"/>
                    </a:lnTo>
                    <a:lnTo>
                      <a:pt x="785" y="911"/>
                    </a:lnTo>
                    <a:lnTo>
                      <a:pt x="779" y="915"/>
                    </a:lnTo>
                    <a:lnTo>
                      <a:pt x="774" y="917"/>
                    </a:lnTo>
                    <a:lnTo>
                      <a:pt x="768" y="919"/>
                    </a:lnTo>
                    <a:lnTo>
                      <a:pt x="763" y="919"/>
                    </a:lnTo>
                    <a:lnTo>
                      <a:pt x="759" y="917"/>
                    </a:lnTo>
                    <a:lnTo>
                      <a:pt x="754" y="915"/>
                    </a:lnTo>
                    <a:lnTo>
                      <a:pt x="748" y="911"/>
                    </a:lnTo>
                    <a:lnTo>
                      <a:pt x="742" y="909"/>
                    </a:lnTo>
                    <a:lnTo>
                      <a:pt x="736" y="909"/>
                    </a:lnTo>
                    <a:lnTo>
                      <a:pt x="729" y="910"/>
                    </a:lnTo>
                    <a:lnTo>
                      <a:pt x="723" y="913"/>
                    </a:lnTo>
                    <a:lnTo>
                      <a:pt x="716" y="916"/>
                    </a:lnTo>
                    <a:lnTo>
                      <a:pt x="710" y="921"/>
                    </a:lnTo>
                    <a:lnTo>
                      <a:pt x="704" y="927"/>
                    </a:lnTo>
                    <a:lnTo>
                      <a:pt x="699" y="933"/>
                    </a:lnTo>
                    <a:lnTo>
                      <a:pt x="696" y="939"/>
                    </a:lnTo>
                    <a:lnTo>
                      <a:pt x="692" y="947"/>
                    </a:lnTo>
                    <a:lnTo>
                      <a:pt x="690" y="954"/>
                    </a:lnTo>
                    <a:lnTo>
                      <a:pt x="688" y="964"/>
                    </a:lnTo>
                    <a:lnTo>
                      <a:pt x="688" y="971"/>
                    </a:lnTo>
                    <a:lnTo>
                      <a:pt x="690" y="979"/>
                    </a:lnTo>
                    <a:lnTo>
                      <a:pt x="692" y="985"/>
                    </a:lnTo>
                    <a:lnTo>
                      <a:pt x="697" y="990"/>
                    </a:lnTo>
                    <a:lnTo>
                      <a:pt x="710" y="1001"/>
                    </a:lnTo>
                    <a:lnTo>
                      <a:pt x="726" y="1014"/>
                    </a:lnTo>
                    <a:lnTo>
                      <a:pt x="735" y="1018"/>
                    </a:lnTo>
                    <a:lnTo>
                      <a:pt x="740" y="1023"/>
                    </a:lnTo>
                    <a:lnTo>
                      <a:pt x="743" y="1029"/>
                    </a:lnTo>
                    <a:lnTo>
                      <a:pt x="746" y="1037"/>
                    </a:lnTo>
                    <a:lnTo>
                      <a:pt x="746" y="1049"/>
                    </a:lnTo>
                    <a:lnTo>
                      <a:pt x="746" y="1062"/>
                    </a:lnTo>
                    <a:lnTo>
                      <a:pt x="743" y="1074"/>
                    </a:lnTo>
                    <a:lnTo>
                      <a:pt x="740" y="1086"/>
                    </a:lnTo>
                    <a:lnTo>
                      <a:pt x="735" y="1096"/>
                    </a:lnTo>
                    <a:lnTo>
                      <a:pt x="730" y="1104"/>
                    </a:lnTo>
                    <a:lnTo>
                      <a:pt x="724" y="1110"/>
                    </a:lnTo>
                    <a:lnTo>
                      <a:pt x="719" y="1113"/>
                    </a:lnTo>
                    <a:lnTo>
                      <a:pt x="713" y="1116"/>
                    </a:lnTo>
                    <a:lnTo>
                      <a:pt x="709" y="1117"/>
                    </a:lnTo>
                    <a:lnTo>
                      <a:pt x="702" y="1117"/>
                    </a:lnTo>
                    <a:lnTo>
                      <a:pt x="693" y="1118"/>
                    </a:lnTo>
                    <a:lnTo>
                      <a:pt x="685" y="1121"/>
                    </a:lnTo>
                    <a:lnTo>
                      <a:pt x="674" y="1124"/>
                    </a:lnTo>
                    <a:lnTo>
                      <a:pt x="661" y="1132"/>
                    </a:lnTo>
                    <a:lnTo>
                      <a:pt x="642" y="1144"/>
                    </a:lnTo>
                    <a:lnTo>
                      <a:pt x="624" y="1156"/>
                    </a:lnTo>
                    <a:lnTo>
                      <a:pt x="609" y="1167"/>
                    </a:lnTo>
                    <a:lnTo>
                      <a:pt x="604" y="1170"/>
                    </a:lnTo>
                    <a:lnTo>
                      <a:pt x="600" y="1176"/>
                    </a:lnTo>
                    <a:lnTo>
                      <a:pt x="598" y="1181"/>
                    </a:lnTo>
                    <a:lnTo>
                      <a:pt x="597" y="1186"/>
                    </a:lnTo>
                    <a:lnTo>
                      <a:pt x="597" y="1192"/>
                    </a:lnTo>
                    <a:lnTo>
                      <a:pt x="598" y="1197"/>
                    </a:lnTo>
                    <a:lnTo>
                      <a:pt x="599" y="1201"/>
                    </a:lnTo>
                    <a:lnTo>
                      <a:pt x="602" y="1206"/>
                    </a:lnTo>
                    <a:lnTo>
                      <a:pt x="608" y="1216"/>
                    </a:lnTo>
                    <a:lnTo>
                      <a:pt x="617" y="1228"/>
                    </a:lnTo>
                    <a:lnTo>
                      <a:pt x="627" y="1239"/>
                    </a:lnTo>
                    <a:lnTo>
                      <a:pt x="633" y="1249"/>
                    </a:lnTo>
                    <a:lnTo>
                      <a:pt x="636" y="1257"/>
                    </a:lnTo>
                    <a:lnTo>
                      <a:pt x="639" y="1263"/>
                    </a:lnTo>
                    <a:lnTo>
                      <a:pt x="637" y="1266"/>
                    </a:lnTo>
                    <a:lnTo>
                      <a:pt x="636" y="1268"/>
                    </a:lnTo>
                    <a:lnTo>
                      <a:pt x="635" y="1269"/>
                    </a:lnTo>
                    <a:lnTo>
                      <a:pt x="631" y="1270"/>
                    </a:lnTo>
                    <a:lnTo>
                      <a:pt x="623" y="1272"/>
                    </a:lnTo>
                    <a:lnTo>
                      <a:pt x="617" y="1274"/>
                    </a:lnTo>
                    <a:lnTo>
                      <a:pt x="614" y="1276"/>
                    </a:lnTo>
                    <a:lnTo>
                      <a:pt x="612" y="1279"/>
                    </a:lnTo>
                    <a:lnTo>
                      <a:pt x="611" y="1281"/>
                    </a:lnTo>
                    <a:lnTo>
                      <a:pt x="611" y="1286"/>
                    </a:lnTo>
                    <a:lnTo>
                      <a:pt x="614" y="1294"/>
                    </a:lnTo>
                    <a:lnTo>
                      <a:pt x="620" y="1302"/>
                    </a:lnTo>
                    <a:lnTo>
                      <a:pt x="623" y="1307"/>
                    </a:lnTo>
                    <a:lnTo>
                      <a:pt x="625" y="1312"/>
                    </a:lnTo>
                    <a:lnTo>
                      <a:pt x="628" y="1317"/>
                    </a:lnTo>
                    <a:lnTo>
                      <a:pt x="629" y="1321"/>
                    </a:lnTo>
                    <a:lnTo>
                      <a:pt x="631" y="1331"/>
                    </a:lnTo>
                    <a:lnTo>
                      <a:pt x="633" y="1342"/>
                    </a:lnTo>
                    <a:lnTo>
                      <a:pt x="635" y="1348"/>
                    </a:lnTo>
                    <a:lnTo>
                      <a:pt x="637" y="1351"/>
                    </a:lnTo>
                    <a:lnTo>
                      <a:pt x="640" y="1356"/>
                    </a:lnTo>
                    <a:lnTo>
                      <a:pt x="643" y="1358"/>
                    </a:lnTo>
                    <a:lnTo>
                      <a:pt x="648" y="1359"/>
                    </a:lnTo>
                    <a:lnTo>
                      <a:pt x="654" y="1361"/>
                    </a:lnTo>
                    <a:lnTo>
                      <a:pt x="662" y="1362"/>
                    </a:lnTo>
                    <a:lnTo>
                      <a:pt x="669" y="1362"/>
                    </a:lnTo>
                    <a:lnTo>
                      <a:pt x="677" y="1361"/>
                    </a:lnTo>
                    <a:lnTo>
                      <a:pt x="684" y="1361"/>
                    </a:lnTo>
                    <a:lnTo>
                      <a:pt x="686" y="1361"/>
                    </a:lnTo>
                    <a:lnTo>
                      <a:pt x="688" y="1362"/>
                    </a:lnTo>
                    <a:lnTo>
                      <a:pt x="691" y="1363"/>
                    </a:lnTo>
                    <a:lnTo>
                      <a:pt x="693" y="1367"/>
                    </a:lnTo>
                    <a:lnTo>
                      <a:pt x="697" y="1371"/>
                    </a:lnTo>
                    <a:lnTo>
                      <a:pt x="700" y="1377"/>
                    </a:lnTo>
                    <a:lnTo>
                      <a:pt x="705" y="1382"/>
                    </a:lnTo>
                    <a:lnTo>
                      <a:pt x="710" y="1387"/>
                    </a:lnTo>
                    <a:lnTo>
                      <a:pt x="716" y="1389"/>
                    </a:lnTo>
                    <a:lnTo>
                      <a:pt x="721" y="1389"/>
                    </a:lnTo>
                    <a:lnTo>
                      <a:pt x="726" y="1389"/>
                    </a:lnTo>
                    <a:lnTo>
                      <a:pt x="732" y="1388"/>
                    </a:lnTo>
                    <a:lnTo>
                      <a:pt x="742" y="1384"/>
                    </a:lnTo>
                    <a:lnTo>
                      <a:pt x="748" y="1381"/>
                    </a:lnTo>
                    <a:lnTo>
                      <a:pt x="755" y="1375"/>
                    </a:lnTo>
                    <a:lnTo>
                      <a:pt x="761" y="1370"/>
                    </a:lnTo>
                    <a:lnTo>
                      <a:pt x="769" y="1363"/>
                    </a:lnTo>
                    <a:lnTo>
                      <a:pt x="778" y="1357"/>
                    </a:lnTo>
                    <a:lnTo>
                      <a:pt x="785" y="1354"/>
                    </a:lnTo>
                    <a:lnTo>
                      <a:pt x="792" y="1351"/>
                    </a:lnTo>
                    <a:lnTo>
                      <a:pt x="799" y="1350"/>
                    </a:lnTo>
                    <a:lnTo>
                      <a:pt x="811" y="1349"/>
                    </a:lnTo>
                    <a:lnTo>
                      <a:pt x="823" y="1348"/>
                    </a:lnTo>
                    <a:lnTo>
                      <a:pt x="835" y="1346"/>
                    </a:lnTo>
                    <a:lnTo>
                      <a:pt x="843" y="1346"/>
                    </a:lnTo>
                    <a:lnTo>
                      <a:pt x="849" y="1346"/>
                    </a:lnTo>
                    <a:lnTo>
                      <a:pt x="855" y="1346"/>
                    </a:lnTo>
                    <a:lnTo>
                      <a:pt x="860" y="1349"/>
                    </a:lnTo>
                    <a:lnTo>
                      <a:pt x="862" y="1351"/>
                    </a:lnTo>
                    <a:lnTo>
                      <a:pt x="866" y="1355"/>
                    </a:lnTo>
                    <a:lnTo>
                      <a:pt x="868" y="1361"/>
                    </a:lnTo>
                    <a:lnTo>
                      <a:pt x="870" y="1368"/>
                    </a:lnTo>
                    <a:lnTo>
                      <a:pt x="873" y="1378"/>
                    </a:lnTo>
                    <a:lnTo>
                      <a:pt x="877" y="1389"/>
                    </a:lnTo>
                    <a:lnTo>
                      <a:pt x="880" y="1395"/>
                    </a:lnTo>
                    <a:lnTo>
                      <a:pt x="883" y="1400"/>
                    </a:lnTo>
                    <a:lnTo>
                      <a:pt x="886" y="1403"/>
                    </a:lnTo>
                    <a:lnTo>
                      <a:pt x="889" y="1407"/>
                    </a:lnTo>
                    <a:lnTo>
                      <a:pt x="894" y="1409"/>
                    </a:lnTo>
                    <a:lnTo>
                      <a:pt x="898" y="1411"/>
                    </a:lnTo>
                    <a:lnTo>
                      <a:pt x="901" y="1411"/>
                    </a:lnTo>
                    <a:lnTo>
                      <a:pt x="906" y="1411"/>
                    </a:lnTo>
                    <a:lnTo>
                      <a:pt x="910" y="1411"/>
                    </a:lnTo>
                    <a:lnTo>
                      <a:pt x="913" y="1409"/>
                    </a:lnTo>
                    <a:lnTo>
                      <a:pt x="917" y="1407"/>
                    </a:lnTo>
                    <a:lnTo>
                      <a:pt x="919" y="1403"/>
                    </a:lnTo>
                    <a:lnTo>
                      <a:pt x="923" y="1398"/>
                    </a:lnTo>
                    <a:lnTo>
                      <a:pt x="929" y="1389"/>
                    </a:lnTo>
                    <a:lnTo>
                      <a:pt x="935" y="1382"/>
                    </a:lnTo>
                    <a:lnTo>
                      <a:pt x="942" y="1375"/>
                    </a:lnTo>
                    <a:lnTo>
                      <a:pt x="952" y="1365"/>
                    </a:lnTo>
                    <a:lnTo>
                      <a:pt x="962" y="1356"/>
                    </a:lnTo>
                    <a:lnTo>
                      <a:pt x="970" y="1346"/>
                    </a:lnTo>
                    <a:lnTo>
                      <a:pt x="977" y="1339"/>
                    </a:lnTo>
                    <a:lnTo>
                      <a:pt x="981" y="1337"/>
                    </a:lnTo>
                    <a:lnTo>
                      <a:pt x="984" y="1336"/>
                    </a:lnTo>
                    <a:lnTo>
                      <a:pt x="988" y="1335"/>
                    </a:lnTo>
                    <a:lnTo>
                      <a:pt x="992" y="1333"/>
                    </a:lnTo>
                    <a:lnTo>
                      <a:pt x="999" y="1333"/>
                    </a:lnTo>
                    <a:lnTo>
                      <a:pt x="1007" y="1336"/>
                    </a:lnTo>
                    <a:lnTo>
                      <a:pt x="1011" y="1337"/>
                    </a:lnTo>
                    <a:lnTo>
                      <a:pt x="1014" y="1337"/>
                    </a:lnTo>
                    <a:lnTo>
                      <a:pt x="1018" y="1337"/>
                    </a:lnTo>
                    <a:lnTo>
                      <a:pt x="1020" y="1336"/>
                    </a:lnTo>
                    <a:lnTo>
                      <a:pt x="1026" y="1331"/>
                    </a:lnTo>
                    <a:lnTo>
                      <a:pt x="1032" y="1325"/>
                    </a:lnTo>
                    <a:lnTo>
                      <a:pt x="1034" y="1323"/>
                    </a:lnTo>
                    <a:lnTo>
                      <a:pt x="1037" y="1321"/>
                    </a:lnTo>
                    <a:lnTo>
                      <a:pt x="1039" y="1321"/>
                    </a:lnTo>
                    <a:lnTo>
                      <a:pt x="1042" y="1323"/>
                    </a:lnTo>
                    <a:lnTo>
                      <a:pt x="1046" y="1326"/>
                    </a:lnTo>
                    <a:lnTo>
                      <a:pt x="1051" y="1331"/>
                    </a:lnTo>
                    <a:lnTo>
                      <a:pt x="1055" y="1333"/>
                    </a:lnTo>
                    <a:lnTo>
                      <a:pt x="1058" y="1333"/>
                    </a:lnTo>
                    <a:lnTo>
                      <a:pt x="1063" y="1332"/>
                    </a:lnTo>
                    <a:lnTo>
                      <a:pt x="1066" y="1329"/>
                    </a:lnTo>
                    <a:lnTo>
                      <a:pt x="1065" y="1331"/>
                    </a:lnTo>
                    <a:lnTo>
                      <a:pt x="1065" y="1335"/>
                    </a:lnTo>
                    <a:lnTo>
                      <a:pt x="1065" y="1340"/>
                    </a:lnTo>
                    <a:lnTo>
                      <a:pt x="1065" y="1346"/>
                    </a:lnTo>
                    <a:lnTo>
                      <a:pt x="1070" y="1373"/>
                    </a:lnTo>
                    <a:lnTo>
                      <a:pt x="1074" y="1406"/>
                    </a:lnTo>
                    <a:lnTo>
                      <a:pt x="1078" y="1443"/>
                    </a:lnTo>
                    <a:lnTo>
                      <a:pt x="1082" y="1480"/>
                    </a:lnTo>
                    <a:lnTo>
                      <a:pt x="1087" y="1509"/>
                    </a:lnTo>
                    <a:lnTo>
                      <a:pt x="1091" y="1537"/>
                    </a:lnTo>
                    <a:lnTo>
                      <a:pt x="1093" y="1548"/>
                    </a:lnTo>
                    <a:lnTo>
                      <a:pt x="1094" y="1559"/>
                    </a:lnTo>
                    <a:lnTo>
                      <a:pt x="1094" y="1567"/>
                    </a:lnTo>
                    <a:lnTo>
                      <a:pt x="1091" y="1573"/>
                    </a:lnTo>
                    <a:lnTo>
                      <a:pt x="1090" y="1577"/>
                    </a:lnTo>
                    <a:lnTo>
                      <a:pt x="1087" y="1578"/>
                    </a:lnTo>
                    <a:lnTo>
                      <a:pt x="1083" y="1581"/>
                    </a:lnTo>
                    <a:lnTo>
                      <a:pt x="1078" y="1581"/>
                    </a:lnTo>
                    <a:lnTo>
                      <a:pt x="1069" y="1582"/>
                    </a:lnTo>
                    <a:lnTo>
                      <a:pt x="1059" y="1582"/>
                    </a:lnTo>
                    <a:lnTo>
                      <a:pt x="1055" y="1583"/>
                    </a:lnTo>
                    <a:lnTo>
                      <a:pt x="1051" y="1584"/>
                    </a:lnTo>
                    <a:lnTo>
                      <a:pt x="1050" y="1585"/>
                    </a:lnTo>
                    <a:lnTo>
                      <a:pt x="1049" y="1588"/>
                    </a:lnTo>
                    <a:lnTo>
                      <a:pt x="1049" y="1595"/>
                    </a:lnTo>
                    <a:lnTo>
                      <a:pt x="1050" y="1603"/>
                    </a:lnTo>
                    <a:lnTo>
                      <a:pt x="1051" y="1614"/>
                    </a:lnTo>
                    <a:lnTo>
                      <a:pt x="1052" y="1627"/>
                    </a:lnTo>
                    <a:lnTo>
                      <a:pt x="1052" y="1640"/>
                    </a:lnTo>
                    <a:lnTo>
                      <a:pt x="1053" y="1654"/>
                    </a:lnTo>
                    <a:lnTo>
                      <a:pt x="1053" y="1664"/>
                    </a:lnTo>
                    <a:lnTo>
                      <a:pt x="1055" y="1674"/>
                    </a:lnTo>
                    <a:lnTo>
                      <a:pt x="1057" y="1684"/>
                    </a:lnTo>
                    <a:lnTo>
                      <a:pt x="1059" y="1693"/>
                    </a:lnTo>
                    <a:lnTo>
                      <a:pt x="1063" y="1703"/>
                    </a:lnTo>
                    <a:lnTo>
                      <a:pt x="1068" y="1710"/>
                    </a:lnTo>
                    <a:lnTo>
                      <a:pt x="1074" y="1716"/>
                    </a:lnTo>
                    <a:lnTo>
                      <a:pt x="1081" y="1721"/>
                    </a:lnTo>
                    <a:lnTo>
                      <a:pt x="1091" y="1723"/>
                    </a:lnTo>
                    <a:lnTo>
                      <a:pt x="1103" y="1724"/>
                    </a:lnTo>
                    <a:lnTo>
                      <a:pt x="1116" y="1724"/>
                    </a:lnTo>
                    <a:lnTo>
                      <a:pt x="1131" y="1723"/>
                    </a:lnTo>
                    <a:lnTo>
                      <a:pt x="1144" y="1723"/>
                    </a:lnTo>
                    <a:lnTo>
                      <a:pt x="1154" y="1724"/>
                    </a:lnTo>
                    <a:lnTo>
                      <a:pt x="1158" y="1724"/>
                    </a:lnTo>
                    <a:lnTo>
                      <a:pt x="1162" y="1727"/>
                    </a:lnTo>
                    <a:lnTo>
                      <a:pt x="1164" y="1728"/>
                    </a:lnTo>
                    <a:lnTo>
                      <a:pt x="1165" y="1731"/>
                    </a:lnTo>
                    <a:lnTo>
                      <a:pt x="1169" y="1748"/>
                    </a:lnTo>
                    <a:lnTo>
                      <a:pt x="1173" y="1765"/>
                    </a:lnTo>
                    <a:lnTo>
                      <a:pt x="1176" y="1771"/>
                    </a:lnTo>
                    <a:lnTo>
                      <a:pt x="1179" y="1774"/>
                    </a:lnTo>
                    <a:lnTo>
                      <a:pt x="1182" y="1775"/>
                    </a:lnTo>
                    <a:lnTo>
                      <a:pt x="1184" y="1775"/>
                    </a:lnTo>
                    <a:lnTo>
                      <a:pt x="1187" y="1775"/>
                    </a:lnTo>
                    <a:lnTo>
                      <a:pt x="1190" y="1773"/>
                    </a:lnTo>
                    <a:lnTo>
                      <a:pt x="1196" y="1770"/>
                    </a:lnTo>
                    <a:lnTo>
                      <a:pt x="1202" y="1765"/>
                    </a:lnTo>
                    <a:lnTo>
                      <a:pt x="1208" y="1760"/>
                    </a:lnTo>
                    <a:lnTo>
                      <a:pt x="1215" y="1759"/>
                    </a:lnTo>
                    <a:lnTo>
                      <a:pt x="1221" y="1758"/>
                    </a:lnTo>
                    <a:lnTo>
                      <a:pt x="1227" y="1759"/>
                    </a:lnTo>
                    <a:lnTo>
                      <a:pt x="1231" y="1760"/>
                    </a:lnTo>
                    <a:lnTo>
                      <a:pt x="1233" y="1762"/>
                    </a:lnTo>
                    <a:lnTo>
                      <a:pt x="1235" y="1765"/>
                    </a:lnTo>
                    <a:lnTo>
                      <a:pt x="1238" y="1768"/>
                    </a:lnTo>
                    <a:lnTo>
                      <a:pt x="1239" y="1771"/>
                    </a:lnTo>
                    <a:lnTo>
                      <a:pt x="1241" y="1772"/>
                    </a:lnTo>
                    <a:lnTo>
                      <a:pt x="1244" y="1773"/>
                    </a:lnTo>
                    <a:lnTo>
                      <a:pt x="1246" y="1774"/>
                    </a:lnTo>
                    <a:lnTo>
                      <a:pt x="1252" y="1773"/>
                    </a:lnTo>
                    <a:lnTo>
                      <a:pt x="1259" y="1772"/>
                    </a:lnTo>
                    <a:lnTo>
                      <a:pt x="1272" y="1765"/>
                    </a:lnTo>
                    <a:lnTo>
                      <a:pt x="1284" y="1759"/>
                    </a:lnTo>
                    <a:lnTo>
                      <a:pt x="1294" y="1754"/>
                    </a:lnTo>
                    <a:lnTo>
                      <a:pt x="1304" y="1751"/>
                    </a:lnTo>
                    <a:lnTo>
                      <a:pt x="1316" y="1746"/>
                    </a:lnTo>
                    <a:lnTo>
                      <a:pt x="1328" y="1743"/>
                    </a:lnTo>
                    <a:lnTo>
                      <a:pt x="1328" y="1742"/>
                    </a:lnTo>
                    <a:lnTo>
                      <a:pt x="1328" y="1741"/>
                    </a:lnTo>
                    <a:lnTo>
                      <a:pt x="1329" y="1749"/>
                    </a:lnTo>
                    <a:lnTo>
                      <a:pt x="1330" y="1758"/>
                    </a:lnTo>
                    <a:lnTo>
                      <a:pt x="1334" y="1762"/>
                    </a:lnTo>
                    <a:lnTo>
                      <a:pt x="1339" y="1766"/>
                    </a:lnTo>
                    <a:lnTo>
                      <a:pt x="1345" y="1771"/>
                    </a:lnTo>
                    <a:lnTo>
                      <a:pt x="1351" y="1778"/>
                    </a:lnTo>
                    <a:lnTo>
                      <a:pt x="1357" y="1789"/>
                    </a:lnTo>
                    <a:lnTo>
                      <a:pt x="1364" y="1803"/>
                    </a:lnTo>
                    <a:lnTo>
                      <a:pt x="1374" y="1821"/>
                    </a:lnTo>
                    <a:lnTo>
                      <a:pt x="1387" y="1840"/>
                    </a:lnTo>
                    <a:lnTo>
                      <a:pt x="1401" y="1856"/>
                    </a:lnTo>
                    <a:lnTo>
                      <a:pt x="1412" y="1871"/>
                    </a:lnTo>
                    <a:lnTo>
                      <a:pt x="1417" y="1877"/>
                    </a:lnTo>
                    <a:lnTo>
                      <a:pt x="1421" y="1882"/>
                    </a:lnTo>
                    <a:lnTo>
                      <a:pt x="1422" y="1887"/>
                    </a:lnTo>
                    <a:lnTo>
                      <a:pt x="1422" y="1893"/>
                    </a:lnTo>
                    <a:lnTo>
                      <a:pt x="1421" y="1897"/>
                    </a:lnTo>
                    <a:lnTo>
                      <a:pt x="1418" y="1901"/>
                    </a:lnTo>
                    <a:lnTo>
                      <a:pt x="1414" y="1904"/>
                    </a:lnTo>
                    <a:lnTo>
                      <a:pt x="1408" y="1906"/>
                    </a:lnTo>
                    <a:lnTo>
                      <a:pt x="1402" y="1909"/>
                    </a:lnTo>
                    <a:lnTo>
                      <a:pt x="1396" y="1911"/>
                    </a:lnTo>
                    <a:lnTo>
                      <a:pt x="1392" y="1915"/>
                    </a:lnTo>
                    <a:lnTo>
                      <a:pt x="1390" y="1918"/>
                    </a:lnTo>
                    <a:lnTo>
                      <a:pt x="1387" y="1920"/>
                    </a:lnTo>
                    <a:lnTo>
                      <a:pt x="1387" y="1923"/>
                    </a:lnTo>
                    <a:lnTo>
                      <a:pt x="1389" y="1925"/>
                    </a:lnTo>
                    <a:lnTo>
                      <a:pt x="1391" y="1925"/>
                    </a:lnTo>
                    <a:lnTo>
                      <a:pt x="1402" y="1920"/>
                    </a:lnTo>
                    <a:lnTo>
                      <a:pt x="1417" y="1913"/>
                    </a:lnTo>
                    <a:lnTo>
                      <a:pt x="1420" y="1913"/>
                    </a:lnTo>
                    <a:lnTo>
                      <a:pt x="1422" y="1913"/>
                    </a:lnTo>
                    <a:close/>
                    <a:moveTo>
                      <a:pt x="1203" y="1091"/>
                    </a:moveTo>
                    <a:lnTo>
                      <a:pt x="1198" y="1092"/>
                    </a:lnTo>
                    <a:lnTo>
                      <a:pt x="1195" y="1092"/>
                    </a:lnTo>
                    <a:lnTo>
                      <a:pt x="1198" y="1091"/>
                    </a:lnTo>
                    <a:lnTo>
                      <a:pt x="1202" y="1091"/>
                    </a:lnTo>
                    <a:lnTo>
                      <a:pt x="1203" y="1091"/>
                    </a:lnTo>
                    <a:lnTo>
                      <a:pt x="1203" y="1091"/>
                    </a:lnTo>
                    <a:close/>
                    <a:moveTo>
                      <a:pt x="1169" y="1116"/>
                    </a:moveTo>
                    <a:lnTo>
                      <a:pt x="1169" y="1116"/>
                    </a:lnTo>
                    <a:lnTo>
                      <a:pt x="1168" y="1117"/>
                    </a:lnTo>
                    <a:lnTo>
                      <a:pt x="1169" y="1121"/>
                    </a:lnTo>
                    <a:lnTo>
                      <a:pt x="1170" y="1129"/>
                    </a:lnTo>
                    <a:lnTo>
                      <a:pt x="1171" y="1134"/>
                    </a:lnTo>
                    <a:lnTo>
                      <a:pt x="1171" y="1140"/>
                    </a:lnTo>
                    <a:lnTo>
                      <a:pt x="1171" y="1147"/>
                    </a:lnTo>
                    <a:lnTo>
                      <a:pt x="1170" y="1153"/>
                    </a:lnTo>
                    <a:lnTo>
                      <a:pt x="1163" y="1173"/>
                    </a:lnTo>
                    <a:lnTo>
                      <a:pt x="1159" y="1180"/>
                    </a:lnTo>
                    <a:lnTo>
                      <a:pt x="1159" y="1182"/>
                    </a:lnTo>
                    <a:lnTo>
                      <a:pt x="1159" y="1187"/>
                    </a:lnTo>
                    <a:lnTo>
                      <a:pt x="1159" y="1191"/>
                    </a:lnTo>
                    <a:lnTo>
                      <a:pt x="1160" y="1193"/>
                    </a:lnTo>
                    <a:lnTo>
                      <a:pt x="1163" y="1195"/>
                    </a:lnTo>
                    <a:lnTo>
                      <a:pt x="1165" y="1198"/>
                    </a:lnTo>
                    <a:lnTo>
                      <a:pt x="1173" y="1203"/>
                    </a:lnTo>
                    <a:lnTo>
                      <a:pt x="1183" y="1209"/>
                    </a:lnTo>
                    <a:lnTo>
                      <a:pt x="1187" y="1212"/>
                    </a:lnTo>
                    <a:lnTo>
                      <a:pt x="1189" y="1214"/>
                    </a:lnTo>
                    <a:lnTo>
                      <a:pt x="1191" y="1217"/>
                    </a:lnTo>
                    <a:lnTo>
                      <a:pt x="1190" y="1217"/>
                    </a:lnTo>
                    <a:lnTo>
                      <a:pt x="1185" y="1219"/>
                    </a:lnTo>
                    <a:lnTo>
                      <a:pt x="1181" y="1222"/>
                    </a:lnTo>
                    <a:lnTo>
                      <a:pt x="1178" y="1223"/>
                    </a:lnTo>
                    <a:lnTo>
                      <a:pt x="1176" y="1225"/>
                    </a:lnTo>
                    <a:lnTo>
                      <a:pt x="1175" y="1226"/>
                    </a:lnTo>
                    <a:lnTo>
                      <a:pt x="1175" y="1229"/>
                    </a:lnTo>
                    <a:lnTo>
                      <a:pt x="1175" y="1237"/>
                    </a:lnTo>
                    <a:lnTo>
                      <a:pt x="1177" y="1249"/>
                    </a:lnTo>
                    <a:lnTo>
                      <a:pt x="1178" y="1263"/>
                    </a:lnTo>
                    <a:lnTo>
                      <a:pt x="1179" y="1274"/>
                    </a:lnTo>
                    <a:lnTo>
                      <a:pt x="1179" y="1285"/>
                    </a:lnTo>
                    <a:lnTo>
                      <a:pt x="1177" y="1296"/>
                    </a:lnTo>
                    <a:lnTo>
                      <a:pt x="1175" y="1302"/>
                    </a:lnTo>
                    <a:lnTo>
                      <a:pt x="1172" y="1307"/>
                    </a:lnTo>
                    <a:lnTo>
                      <a:pt x="1170" y="1311"/>
                    </a:lnTo>
                    <a:lnTo>
                      <a:pt x="1166" y="1314"/>
                    </a:lnTo>
                    <a:lnTo>
                      <a:pt x="1162" y="1317"/>
                    </a:lnTo>
                    <a:lnTo>
                      <a:pt x="1157" y="1319"/>
                    </a:lnTo>
                    <a:lnTo>
                      <a:pt x="1150" y="1321"/>
                    </a:lnTo>
                    <a:lnTo>
                      <a:pt x="1143" y="1323"/>
                    </a:lnTo>
                    <a:lnTo>
                      <a:pt x="1129" y="1325"/>
                    </a:lnTo>
                    <a:lnTo>
                      <a:pt x="1119" y="1327"/>
                    </a:lnTo>
                    <a:lnTo>
                      <a:pt x="1113" y="1329"/>
                    </a:lnTo>
                    <a:lnTo>
                      <a:pt x="1107" y="1329"/>
                    </a:lnTo>
                    <a:lnTo>
                      <a:pt x="1105" y="1327"/>
                    </a:lnTo>
                    <a:lnTo>
                      <a:pt x="1103" y="1326"/>
                    </a:lnTo>
                    <a:lnTo>
                      <a:pt x="1101" y="1324"/>
                    </a:lnTo>
                    <a:lnTo>
                      <a:pt x="1100" y="1320"/>
                    </a:lnTo>
                    <a:lnTo>
                      <a:pt x="1096" y="1315"/>
                    </a:lnTo>
                    <a:lnTo>
                      <a:pt x="1094" y="1311"/>
                    </a:lnTo>
                    <a:lnTo>
                      <a:pt x="1090" y="1308"/>
                    </a:lnTo>
                    <a:lnTo>
                      <a:pt x="1085" y="1308"/>
                    </a:lnTo>
                    <a:lnTo>
                      <a:pt x="1078" y="1308"/>
                    </a:lnTo>
                    <a:lnTo>
                      <a:pt x="1076" y="1310"/>
                    </a:lnTo>
                    <a:lnTo>
                      <a:pt x="1076" y="1310"/>
                    </a:lnTo>
                    <a:lnTo>
                      <a:pt x="1076" y="1308"/>
                    </a:lnTo>
                    <a:lnTo>
                      <a:pt x="1077" y="1293"/>
                    </a:lnTo>
                    <a:lnTo>
                      <a:pt x="1080" y="1280"/>
                    </a:lnTo>
                    <a:lnTo>
                      <a:pt x="1084" y="1268"/>
                    </a:lnTo>
                    <a:lnTo>
                      <a:pt x="1090" y="1256"/>
                    </a:lnTo>
                    <a:lnTo>
                      <a:pt x="1097" y="1248"/>
                    </a:lnTo>
                    <a:lnTo>
                      <a:pt x="1101" y="1242"/>
                    </a:lnTo>
                    <a:lnTo>
                      <a:pt x="1100" y="1239"/>
                    </a:lnTo>
                    <a:lnTo>
                      <a:pt x="1099" y="1237"/>
                    </a:lnTo>
                    <a:lnTo>
                      <a:pt x="1094" y="1235"/>
                    </a:lnTo>
                    <a:lnTo>
                      <a:pt x="1087" y="1232"/>
                    </a:lnTo>
                    <a:lnTo>
                      <a:pt x="1076" y="1228"/>
                    </a:lnTo>
                    <a:lnTo>
                      <a:pt x="1065" y="1224"/>
                    </a:lnTo>
                    <a:lnTo>
                      <a:pt x="1056" y="1220"/>
                    </a:lnTo>
                    <a:lnTo>
                      <a:pt x="1047" y="1217"/>
                    </a:lnTo>
                    <a:lnTo>
                      <a:pt x="1044" y="1213"/>
                    </a:lnTo>
                    <a:lnTo>
                      <a:pt x="1040" y="1210"/>
                    </a:lnTo>
                    <a:lnTo>
                      <a:pt x="1038" y="1205"/>
                    </a:lnTo>
                    <a:lnTo>
                      <a:pt x="1036" y="1199"/>
                    </a:lnTo>
                    <a:lnTo>
                      <a:pt x="1033" y="1188"/>
                    </a:lnTo>
                    <a:lnTo>
                      <a:pt x="1033" y="1179"/>
                    </a:lnTo>
                    <a:lnTo>
                      <a:pt x="1032" y="1170"/>
                    </a:lnTo>
                    <a:lnTo>
                      <a:pt x="1032" y="1160"/>
                    </a:lnTo>
                    <a:lnTo>
                      <a:pt x="1032" y="1155"/>
                    </a:lnTo>
                    <a:lnTo>
                      <a:pt x="1033" y="1151"/>
                    </a:lnTo>
                    <a:lnTo>
                      <a:pt x="1034" y="1148"/>
                    </a:lnTo>
                    <a:lnTo>
                      <a:pt x="1038" y="1144"/>
                    </a:lnTo>
                    <a:lnTo>
                      <a:pt x="1044" y="1141"/>
                    </a:lnTo>
                    <a:lnTo>
                      <a:pt x="1052" y="1137"/>
                    </a:lnTo>
                    <a:lnTo>
                      <a:pt x="1058" y="1135"/>
                    </a:lnTo>
                    <a:lnTo>
                      <a:pt x="1063" y="1135"/>
                    </a:lnTo>
                    <a:lnTo>
                      <a:pt x="1070" y="1135"/>
                    </a:lnTo>
                    <a:lnTo>
                      <a:pt x="1078" y="1135"/>
                    </a:lnTo>
                    <a:lnTo>
                      <a:pt x="1094" y="1136"/>
                    </a:lnTo>
                    <a:lnTo>
                      <a:pt x="1108" y="1136"/>
                    </a:lnTo>
                    <a:lnTo>
                      <a:pt x="1120" y="1132"/>
                    </a:lnTo>
                    <a:lnTo>
                      <a:pt x="1132" y="1128"/>
                    </a:lnTo>
                    <a:lnTo>
                      <a:pt x="1140" y="1124"/>
                    </a:lnTo>
                    <a:lnTo>
                      <a:pt x="1150" y="1122"/>
                    </a:lnTo>
                    <a:lnTo>
                      <a:pt x="1159" y="1119"/>
                    </a:lnTo>
                    <a:lnTo>
                      <a:pt x="1169" y="1116"/>
                    </a:lnTo>
                    <a:close/>
                    <a:moveTo>
                      <a:pt x="1071" y="1323"/>
                    </a:moveTo>
                    <a:lnTo>
                      <a:pt x="1071" y="1324"/>
                    </a:lnTo>
                    <a:lnTo>
                      <a:pt x="1070" y="1324"/>
                    </a:lnTo>
                    <a:lnTo>
                      <a:pt x="1071" y="1324"/>
                    </a:lnTo>
                    <a:lnTo>
                      <a:pt x="1071" y="1323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9" name="内蒙古"/>
              <p:cNvSpPr/>
              <p:nvPr>
                <p:custDataLst>
                  <p:tags r:id="rId36"/>
                </p:custDataLst>
              </p:nvPr>
            </p:nvSpPr>
            <p:spPr bwMode="auto">
              <a:xfrm>
                <a:off x="3455249" y="672326"/>
                <a:ext cx="3104664" cy="2565294"/>
              </a:xfrm>
              <a:custGeom>
                <a:avLst/>
                <a:gdLst>
                  <a:gd name="T0" fmla="*/ 3037 w 8497"/>
                  <a:gd name="T1" fmla="*/ 6400 h 7037"/>
                  <a:gd name="T2" fmla="*/ 2793 w 8497"/>
                  <a:gd name="T3" fmla="*/ 6311 h 7037"/>
                  <a:gd name="T4" fmla="*/ 2585 w 8497"/>
                  <a:gd name="T5" fmla="*/ 6887 h 7037"/>
                  <a:gd name="T6" fmla="*/ 2116 w 8497"/>
                  <a:gd name="T7" fmla="*/ 7024 h 7037"/>
                  <a:gd name="T8" fmla="*/ 1852 w 8497"/>
                  <a:gd name="T9" fmla="*/ 6611 h 7037"/>
                  <a:gd name="T10" fmla="*/ 2048 w 8497"/>
                  <a:gd name="T11" fmla="*/ 6147 h 7037"/>
                  <a:gd name="T12" fmla="*/ 1341 w 8497"/>
                  <a:gd name="T13" fmla="*/ 6249 h 7037"/>
                  <a:gd name="T14" fmla="*/ 1134 w 8497"/>
                  <a:gd name="T15" fmla="*/ 6306 h 7037"/>
                  <a:gd name="T16" fmla="*/ 856 w 8497"/>
                  <a:gd name="T17" fmla="*/ 5986 h 7037"/>
                  <a:gd name="T18" fmla="*/ 822 w 8497"/>
                  <a:gd name="T19" fmla="*/ 5621 h 7037"/>
                  <a:gd name="T20" fmla="*/ 443 w 8497"/>
                  <a:gd name="T21" fmla="*/ 5430 h 7037"/>
                  <a:gd name="T22" fmla="*/ 184 w 8497"/>
                  <a:gd name="T23" fmla="*/ 5245 h 7037"/>
                  <a:gd name="T24" fmla="*/ 123 w 8497"/>
                  <a:gd name="T25" fmla="*/ 4497 h 7037"/>
                  <a:gd name="T26" fmla="*/ 1476 w 8497"/>
                  <a:gd name="T27" fmla="*/ 4787 h 7037"/>
                  <a:gd name="T28" fmla="*/ 2334 w 8497"/>
                  <a:gd name="T29" fmla="*/ 5189 h 7037"/>
                  <a:gd name="T30" fmla="*/ 3262 w 8497"/>
                  <a:gd name="T31" fmla="*/ 4881 h 7037"/>
                  <a:gd name="T32" fmla="*/ 4097 w 8497"/>
                  <a:gd name="T33" fmla="*/ 4763 h 7037"/>
                  <a:gd name="T34" fmla="*/ 4531 w 8497"/>
                  <a:gd name="T35" fmla="*/ 4161 h 7037"/>
                  <a:gd name="T36" fmla="*/ 5111 w 8497"/>
                  <a:gd name="T37" fmla="*/ 3848 h 7037"/>
                  <a:gd name="T38" fmla="*/ 5838 w 8497"/>
                  <a:gd name="T39" fmla="*/ 3413 h 7037"/>
                  <a:gd name="T40" fmla="*/ 6310 w 8497"/>
                  <a:gd name="T41" fmla="*/ 2990 h 7037"/>
                  <a:gd name="T42" fmla="*/ 6874 w 8497"/>
                  <a:gd name="T43" fmla="*/ 2918 h 7037"/>
                  <a:gd name="T44" fmla="*/ 6779 w 8497"/>
                  <a:gd name="T45" fmla="*/ 2573 h 7037"/>
                  <a:gd name="T46" fmla="*/ 6193 w 8497"/>
                  <a:gd name="T47" fmla="*/ 2525 h 7037"/>
                  <a:gd name="T48" fmla="*/ 5720 w 8497"/>
                  <a:gd name="T49" fmla="*/ 2216 h 7037"/>
                  <a:gd name="T50" fmla="*/ 6283 w 8497"/>
                  <a:gd name="T51" fmla="*/ 1669 h 7037"/>
                  <a:gd name="T52" fmla="*/ 6621 w 8497"/>
                  <a:gd name="T53" fmla="*/ 1322 h 7037"/>
                  <a:gd name="T54" fmla="*/ 6818 w 8497"/>
                  <a:gd name="T55" fmla="*/ 786 h 7037"/>
                  <a:gd name="T56" fmla="*/ 6937 w 8497"/>
                  <a:gd name="T57" fmla="*/ 349 h 7037"/>
                  <a:gd name="T58" fmla="*/ 6993 w 8497"/>
                  <a:gd name="T59" fmla="*/ 35 h 7037"/>
                  <a:gd name="T60" fmla="*/ 7108 w 8497"/>
                  <a:gd name="T61" fmla="*/ 346 h 7037"/>
                  <a:gd name="T62" fmla="*/ 7530 w 8497"/>
                  <a:gd name="T63" fmla="*/ 419 h 7037"/>
                  <a:gd name="T64" fmla="*/ 7725 w 8497"/>
                  <a:gd name="T65" fmla="*/ 815 h 7037"/>
                  <a:gd name="T66" fmla="*/ 8106 w 8497"/>
                  <a:gd name="T67" fmla="*/ 709 h 7037"/>
                  <a:gd name="T68" fmla="*/ 8491 w 8497"/>
                  <a:gd name="T69" fmla="*/ 842 h 7037"/>
                  <a:gd name="T70" fmla="*/ 8330 w 8497"/>
                  <a:gd name="T71" fmla="*/ 1414 h 7037"/>
                  <a:gd name="T72" fmla="*/ 8223 w 8497"/>
                  <a:gd name="T73" fmla="*/ 2079 h 7037"/>
                  <a:gd name="T74" fmla="*/ 7691 w 8497"/>
                  <a:gd name="T75" fmla="*/ 2500 h 7037"/>
                  <a:gd name="T76" fmla="*/ 7983 w 8497"/>
                  <a:gd name="T77" fmla="*/ 2670 h 7037"/>
                  <a:gd name="T78" fmla="*/ 7968 w 8497"/>
                  <a:gd name="T79" fmla="*/ 2801 h 7037"/>
                  <a:gd name="T80" fmla="*/ 7799 w 8497"/>
                  <a:gd name="T81" fmla="*/ 3172 h 7037"/>
                  <a:gd name="T82" fmla="*/ 7559 w 8497"/>
                  <a:gd name="T83" fmla="*/ 3236 h 7037"/>
                  <a:gd name="T84" fmla="*/ 7718 w 8497"/>
                  <a:gd name="T85" fmla="*/ 3627 h 7037"/>
                  <a:gd name="T86" fmla="*/ 8068 w 8497"/>
                  <a:gd name="T87" fmla="*/ 3722 h 7037"/>
                  <a:gd name="T88" fmla="*/ 8207 w 8497"/>
                  <a:gd name="T89" fmla="*/ 4165 h 7037"/>
                  <a:gd name="T90" fmla="*/ 8061 w 8497"/>
                  <a:gd name="T91" fmla="*/ 4497 h 7037"/>
                  <a:gd name="T92" fmla="*/ 7779 w 8497"/>
                  <a:gd name="T93" fmla="*/ 4600 h 7037"/>
                  <a:gd name="T94" fmla="*/ 7318 w 8497"/>
                  <a:gd name="T95" fmla="*/ 4915 h 7037"/>
                  <a:gd name="T96" fmla="*/ 6971 w 8497"/>
                  <a:gd name="T97" fmla="*/ 4840 h 7037"/>
                  <a:gd name="T98" fmla="*/ 7017 w 8497"/>
                  <a:gd name="T99" fmla="*/ 5229 h 7037"/>
                  <a:gd name="T100" fmla="*/ 6632 w 8497"/>
                  <a:gd name="T101" fmla="*/ 5051 h 7037"/>
                  <a:gd name="T102" fmla="*/ 6525 w 8497"/>
                  <a:gd name="T103" fmla="*/ 4756 h 7037"/>
                  <a:gd name="T104" fmla="*/ 6218 w 8497"/>
                  <a:gd name="T105" fmla="*/ 4978 h 7037"/>
                  <a:gd name="T106" fmla="*/ 5883 w 8497"/>
                  <a:gd name="T107" fmla="*/ 5056 h 7037"/>
                  <a:gd name="T108" fmla="*/ 5575 w 8497"/>
                  <a:gd name="T109" fmla="*/ 5022 h 7037"/>
                  <a:gd name="T110" fmla="*/ 5310 w 8497"/>
                  <a:gd name="T111" fmla="*/ 5262 h 7037"/>
                  <a:gd name="T112" fmla="*/ 5258 w 8497"/>
                  <a:gd name="T113" fmla="*/ 5721 h 7037"/>
                  <a:gd name="T114" fmla="*/ 4683 w 8497"/>
                  <a:gd name="T115" fmla="*/ 6112 h 7037"/>
                  <a:gd name="T116" fmla="*/ 4410 w 8497"/>
                  <a:gd name="T117" fmla="*/ 6157 h 7037"/>
                  <a:gd name="T118" fmla="*/ 4101 w 8497"/>
                  <a:gd name="T119" fmla="*/ 6279 h 7037"/>
                  <a:gd name="T120" fmla="*/ 3769 w 8497"/>
                  <a:gd name="T121" fmla="*/ 6592 h 7037"/>
                  <a:gd name="T122" fmla="*/ 3634 w 8497"/>
                  <a:gd name="T123" fmla="*/ 6961 h 7037"/>
                  <a:gd name="T124" fmla="*/ 3048 w 8497"/>
                  <a:gd name="T125" fmla="*/ 6779 h 70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497" h="7037">
                    <a:moveTo>
                      <a:pt x="3012" y="6774"/>
                    </a:moveTo>
                    <a:lnTo>
                      <a:pt x="2998" y="6768"/>
                    </a:lnTo>
                    <a:lnTo>
                      <a:pt x="2981" y="6761"/>
                    </a:lnTo>
                    <a:lnTo>
                      <a:pt x="2978" y="6760"/>
                    </a:lnTo>
                    <a:lnTo>
                      <a:pt x="2975" y="6758"/>
                    </a:lnTo>
                    <a:lnTo>
                      <a:pt x="2961" y="6752"/>
                    </a:lnTo>
                    <a:lnTo>
                      <a:pt x="2943" y="6742"/>
                    </a:lnTo>
                    <a:lnTo>
                      <a:pt x="2934" y="6735"/>
                    </a:lnTo>
                    <a:lnTo>
                      <a:pt x="2925" y="6730"/>
                    </a:lnTo>
                    <a:lnTo>
                      <a:pt x="2915" y="6724"/>
                    </a:lnTo>
                    <a:lnTo>
                      <a:pt x="2901" y="6716"/>
                    </a:lnTo>
                    <a:lnTo>
                      <a:pt x="2892" y="6710"/>
                    </a:lnTo>
                    <a:lnTo>
                      <a:pt x="2885" y="6704"/>
                    </a:lnTo>
                    <a:lnTo>
                      <a:pt x="2881" y="6702"/>
                    </a:lnTo>
                    <a:lnTo>
                      <a:pt x="2879" y="6698"/>
                    </a:lnTo>
                    <a:lnTo>
                      <a:pt x="2879" y="6698"/>
                    </a:lnTo>
                    <a:lnTo>
                      <a:pt x="2879" y="6697"/>
                    </a:lnTo>
                    <a:lnTo>
                      <a:pt x="2879" y="6697"/>
                    </a:lnTo>
                    <a:lnTo>
                      <a:pt x="2878" y="6696"/>
                    </a:lnTo>
                    <a:lnTo>
                      <a:pt x="2878" y="6693"/>
                    </a:lnTo>
                    <a:lnTo>
                      <a:pt x="2876" y="6691"/>
                    </a:lnTo>
                    <a:lnTo>
                      <a:pt x="2876" y="6689"/>
                    </a:lnTo>
                    <a:lnTo>
                      <a:pt x="2878" y="6684"/>
                    </a:lnTo>
                    <a:lnTo>
                      <a:pt x="2880" y="6678"/>
                    </a:lnTo>
                    <a:lnTo>
                      <a:pt x="2884" y="6672"/>
                    </a:lnTo>
                    <a:lnTo>
                      <a:pt x="2887" y="6668"/>
                    </a:lnTo>
                    <a:lnTo>
                      <a:pt x="2891" y="6664"/>
                    </a:lnTo>
                    <a:lnTo>
                      <a:pt x="2894" y="6661"/>
                    </a:lnTo>
                    <a:lnTo>
                      <a:pt x="2897" y="6659"/>
                    </a:lnTo>
                    <a:lnTo>
                      <a:pt x="2904" y="6653"/>
                    </a:lnTo>
                    <a:lnTo>
                      <a:pt x="2911" y="6647"/>
                    </a:lnTo>
                    <a:lnTo>
                      <a:pt x="2917" y="6640"/>
                    </a:lnTo>
                    <a:lnTo>
                      <a:pt x="2923" y="6632"/>
                    </a:lnTo>
                    <a:lnTo>
                      <a:pt x="2925" y="6627"/>
                    </a:lnTo>
                    <a:lnTo>
                      <a:pt x="2926" y="6620"/>
                    </a:lnTo>
                    <a:lnTo>
                      <a:pt x="2926" y="6614"/>
                    </a:lnTo>
                    <a:lnTo>
                      <a:pt x="2926" y="6607"/>
                    </a:lnTo>
                    <a:lnTo>
                      <a:pt x="2925" y="6597"/>
                    </a:lnTo>
                    <a:lnTo>
                      <a:pt x="2924" y="6589"/>
                    </a:lnTo>
                    <a:lnTo>
                      <a:pt x="2922" y="6580"/>
                    </a:lnTo>
                    <a:lnTo>
                      <a:pt x="2918" y="6571"/>
                    </a:lnTo>
                    <a:lnTo>
                      <a:pt x="2916" y="6565"/>
                    </a:lnTo>
                    <a:lnTo>
                      <a:pt x="2915" y="6560"/>
                    </a:lnTo>
                    <a:lnTo>
                      <a:pt x="2915" y="6556"/>
                    </a:lnTo>
                    <a:lnTo>
                      <a:pt x="2915" y="6551"/>
                    </a:lnTo>
                    <a:lnTo>
                      <a:pt x="2916" y="6545"/>
                    </a:lnTo>
                    <a:lnTo>
                      <a:pt x="2919" y="6540"/>
                    </a:lnTo>
                    <a:lnTo>
                      <a:pt x="2922" y="6534"/>
                    </a:lnTo>
                    <a:lnTo>
                      <a:pt x="2926" y="6529"/>
                    </a:lnTo>
                    <a:lnTo>
                      <a:pt x="2934" y="6521"/>
                    </a:lnTo>
                    <a:lnTo>
                      <a:pt x="2942" y="6510"/>
                    </a:lnTo>
                    <a:lnTo>
                      <a:pt x="2947" y="6501"/>
                    </a:lnTo>
                    <a:lnTo>
                      <a:pt x="2951" y="6491"/>
                    </a:lnTo>
                    <a:lnTo>
                      <a:pt x="2956" y="6482"/>
                    </a:lnTo>
                    <a:lnTo>
                      <a:pt x="2962" y="6474"/>
                    </a:lnTo>
                    <a:lnTo>
                      <a:pt x="2970" y="6463"/>
                    </a:lnTo>
                    <a:lnTo>
                      <a:pt x="2979" y="6454"/>
                    </a:lnTo>
                    <a:lnTo>
                      <a:pt x="2986" y="6447"/>
                    </a:lnTo>
                    <a:lnTo>
                      <a:pt x="2993" y="6443"/>
                    </a:lnTo>
                    <a:lnTo>
                      <a:pt x="3007" y="6430"/>
                    </a:lnTo>
                    <a:lnTo>
                      <a:pt x="3018" y="6420"/>
                    </a:lnTo>
                    <a:lnTo>
                      <a:pt x="3023" y="6416"/>
                    </a:lnTo>
                    <a:lnTo>
                      <a:pt x="3026" y="6413"/>
                    </a:lnTo>
                    <a:lnTo>
                      <a:pt x="3029" y="6411"/>
                    </a:lnTo>
                    <a:lnTo>
                      <a:pt x="3031" y="6409"/>
                    </a:lnTo>
                    <a:lnTo>
                      <a:pt x="3032" y="6406"/>
                    </a:lnTo>
                    <a:lnTo>
                      <a:pt x="3035" y="6403"/>
                    </a:lnTo>
                    <a:lnTo>
                      <a:pt x="3037" y="6400"/>
                    </a:lnTo>
                    <a:lnTo>
                      <a:pt x="3039" y="6395"/>
                    </a:lnTo>
                    <a:lnTo>
                      <a:pt x="3041" y="6393"/>
                    </a:lnTo>
                    <a:lnTo>
                      <a:pt x="3044" y="6387"/>
                    </a:lnTo>
                    <a:lnTo>
                      <a:pt x="3044" y="6386"/>
                    </a:lnTo>
                    <a:lnTo>
                      <a:pt x="3045" y="6384"/>
                    </a:lnTo>
                    <a:lnTo>
                      <a:pt x="3046" y="6383"/>
                    </a:lnTo>
                    <a:lnTo>
                      <a:pt x="3046" y="6382"/>
                    </a:lnTo>
                    <a:lnTo>
                      <a:pt x="3046" y="6382"/>
                    </a:lnTo>
                    <a:lnTo>
                      <a:pt x="3045" y="6381"/>
                    </a:lnTo>
                    <a:lnTo>
                      <a:pt x="3045" y="6380"/>
                    </a:lnTo>
                    <a:lnTo>
                      <a:pt x="3045" y="6378"/>
                    </a:lnTo>
                    <a:lnTo>
                      <a:pt x="3045" y="6374"/>
                    </a:lnTo>
                    <a:lnTo>
                      <a:pt x="3043" y="6374"/>
                    </a:lnTo>
                    <a:lnTo>
                      <a:pt x="3041" y="6372"/>
                    </a:lnTo>
                    <a:lnTo>
                      <a:pt x="3039" y="6371"/>
                    </a:lnTo>
                    <a:lnTo>
                      <a:pt x="3038" y="6371"/>
                    </a:lnTo>
                    <a:lnTo>
                      <a:pt x="3036" y="6371"/>
                    </a:lnTo>
                    <a:lnTo>
                      <a:pt x="3027" y="6367"/>
                    </a:lnTo>
                    <a:lnTo>
                      <a:pt x="3016" y="6361"/>
                    </a:lnTo>
                    <a:lnTo>
                      <a:pt x="3005" y="6352"/>
                    </a:lnTo>
                    <a:lnTo>
                      <a:pt x="2993" y="6343"/>
                    </a:lnTo>
                    <a:lnTo>
                      <a:pt x="2992" y="6334"/>
                    </a:lnTo>
                    <a:lnTo>
                      <a:pt x="2989" y="6321"/>
                    </a:lnTo>
                    <a:lnTo>
                      <a:pt x="2987" y="6312"/>
                    </a:lnTo>
                    <a:lnTo>
                      <a:pt x="2983" y="6301"/>
                    </a:lnTo>
                    <a:lnTo>
                      <a:pt x="2981" y="6290"/>
                    </a:lnTo>
                    <a:lnTo>
                      <a:pt x="2978" y="6279"/>
                    </a:lnTo>
                    <a:lnTo>
                      <a:pt x="2978" y="6269"/>
                    </a:lnTo>
                    <a:lnTo>
                      <a:pt x="2979" y="6260"/>
                    </a:lnTo>
                    <a:lnTo>
                      <a:pt x="2981" y="6251"/>
                    </a:lnTo>
                    <a:lnTo>
                      <a:pt x="2982" y="6243"/>
                    </a:lnTo>
                    <a:lnTo>
                      <a:pt x="2981" y="6237"/>
                    </a:lnTo>
                    <a:lnTo>
                      <a:pt x="2980" y="6231"/>
                    </a:lnTo>
                    <a:lnTo>
                      <a:pt x="2979" y="6229"/>
                    </a:lnTo>
                    <a:lnTo>
                      <a:pt x="2976" y="6226"/>
                    </a:lnTo>
                    <a:lnTo>
                      <a:pt x="2974" y="6225"/>
                    </a:lnTo>
                    <a:lnTo>
                      <a:pt x="2972" y="6224"/>
                    </a:lnTo>
                    <a:lnTo>
                      <a:pt x="2958" y="6224"/>
                    </a:lnTo>
                    <a:lnTo>
                      <a:pt x="2949" y="6224"/>
                    </a:lnTo>
                    <a:lnTo>
                      <a:pt x="2938" y="6225"/>
                    </a:lnTo>
                    <a:lnTo>
                      <a:pt x="2930" y="6225"/>
                    </a:lnTo>
                    <a:lnTo>
                      <a:pt x="2922" y="6227"/>
                    </a:lnTo>
                    <a:lnTo>
                      <a:pt x="2915" y="6231"/>
                    </a:lnTo>
                    <a:lnTo>
                      <a:pt x="2909" y="6233"/>
                    </a:lnTo>
                    <a:lnTo>
                      <a:pt x="2903" y="6238"/>
                    </a:lnTo>
                    <a:lnTo>
                      <a:pt x="2895" y="6243"/>
                    </a:lnTo>
                    <a:lnTo>
                      <a:pt x="2888" y="6246"/>
                    </a:lnTo>
                    <a:lnTo>
                      <a:pt x="2884" y="6248"/>
                    </a:lnTo>
                    <a:lnTo>
                      <a:pt x="2879" y="6248"/>
                    </a:lnTo>
                    <a:lnTo>
                      <a:pt x="2869" y="6248"/>
                    </a:lnTo>
                    <a:lnTo>
                      <a:pt x="2860" y="6248"/>
                    </a:lnTo>
                    <a:lnTo>
                      <a:pt x="2852" y="6248"/>
                    </a:lnTo>
                    <a:lnTo>
                      <a:pt x="2842" y="6248"/>
                    </a:lnTo>
                    <a:lnTo>
                      <a:pt x="2838" y="6248"/>
                    </a:lnTo>
                    <a:lnTo>
                      <a:pt x="2835" y="6249"/>
                    </a:lnTo>
                    <a:lnTo>
                      <a:pt x="2830" y="6251"/>
                    </a:lnTo>
                    <a:lnTo>
                      <a:pt x="2827" y="6254"/>
                    </a:lnTo>
                    <a:lnTo>
                      <a:pt x="2821" y="6261"/>
                    </a:lnTo>
                    <a:lnTo>
                      <a:pt x="2817" y="6269"/>
                    </a:lnTo>
                    <a:lnTo>
                      <a:pt x="2816" y="6276"/>
                    </a:lnTo>
                    <a:lnTo>
                      <a:pt x="2815" y="6287"/>
                    </a:lnTo>
                    <a:lnTo>
                      <a:pt x="2815" y="6294"/>
                    </a:lnTo>
                    <a:lnTo>
                      <a:pt x="2815" y="6300"/>
                    </a:lnTo>
                    <a:lnTo>
                      <a:pt x="2812" y="6306"/>
                    </a:lnTo>
                    <a:lnTo>
                      <a:pt x="2810" y="6309"/>
                    </a:lnTo>
                    <a:lnTo>
                      <a:pt x="2805" y="6312"/>
                    </a:lnTo>
                    <a:lnTo>
                      <a:pt x="2799" y="6312"/>
                    </a:lnTo>
                    <a:lnTo>
                      <a:pt x="2793" y="6311"/>
                    </a:lnTo>
                    <a:lnTo>
                      <a:pt x="2787" y="6309"/>
                    </a:lnTo>
                    <a:lnTo>
                      <a:pt x="2780" y="6308"/>
                    </a:lnTo>
                    <a:lnTo>
                      <a:pt x="2774" y="6308"/>
                    </a:lnTo>
                    <a:lnTo>
                      <a:pt x="2768" y="6309"/>
                    </a:lnTo>
                    <a:lnTo>
                      <a:pt x="2764" y="6312"/>
                    </a:lnTo>
                    <a:lnTo>
                      <a:pt x="2759" y="6319"/>
                    </a:lnTo>
                    <a:lnTo>
                      <a:pt x="2755" y="6326"/>
                    </a:lnTo>
                    <a:lnTo>
                      <a:pt x="2753" y="6334"/>
                    </a:lnTo>
                    <a:lnTo>
                      <a:pt x="2749" y="6343"/>
                    </a:lnTo>
                    <a:lnTo>
                      <a:pt x="2745" y="6355"/>
                    </a:lnTo>
                    <a:lnTo>
                      <a:pt x="2739" y="6367"/>
                    </a:lnTo>
                    <a:lnTo>
                      <a:pt x="2733" y="6378"/>
                    </a:lnTo>
                    <a:lnTo>
                      <a:pt x="2727" y="6390"/>
                    </a:lnTo>
                    <a:lnTo>
                      <a:pt x="2716" y="6408"/>
                    </a:lnTo>
                    <a:lnTo>
                      <a:pt x="2702" y="6426"/>
                    </a:lnTo>
                    <a:lnTo>
                      <a:pt x="2695" y="6435"/>
                    </a:lnTo>
                    <a:lnTo>
                      <a:pt x="2689" y="6446"/>
                    </a:lnTo>
                    <a:lnTo>
                      <a:pt x="2684" y="6458"/>
                    </a:lnTo>
                    <a:lnTo>
                      <a:pt x="2680" y="6470"/>
                    </a:lnTo>
                    <a:lnTo>
                      <a:pt x="2679" y="6482"/>
                    </a:lnTo>
                    <a:lnTo>
                      <a:pt x="2679" y="6494"/>
                    </a:lnTo>
                    <a:lnTo>
                      <a:pt x="2678" y="6506"/>
                    </a:lnTo>
                    <a:lnTo>
                      <a:pt x="2677" y="6516"/>
                    </a:lnTo>
                    <a:lnTo>
                      <a:pt x="2674" y="6526"/>
                    </a:lnTo>
                    <a:lnTo>
                      <a:pt x="2671" y="6534"/>
                    </a:lnTo>
                    <a:lnTo>
                      <a:pt x="2666" y="6544"/>
                    </a:lnTo>
                    <a:lnTo>
                      <a:pt x="2664" y="6553"/>
                    </a:lnTo>
                    <a:lnTo>
                      <a:pt x="2661" y="6566"/>
                    </a:lnTo>
                    <a:lnTo>
                      <a:pt x="2660" y="6579"/>
                    </a:lnTo>
                    <a:lnTo>
                      <a:pt x="2659" y="6594"/>
                    </a:lnTo>
                    <a:lnTo>
                      <a:pt x="2659" y="6608"/>
                    </a:lnTo>
                    <a:lnTo>
                      <a:pt x="2660" y="6620"/>
                    </a:lnTo>
                    <a:lnTo>
                      <a:pt x="2660" y="6632"/>
                    </a:lnTo>
                    <a:lnTo>
                      <a:pt x="2660" y="6643"/>
                    </a:lnTo>
                    <a:lnTo>
                      <a:pt x="2659" y="6655"/>
                    </a:lnTo>
                    <a:lnTo>
                      <a:pt x="2655" y="6667"/>
                    </a:lnTo>
                    <a:lnTo>
                      <a:pt x="2651" y="6678"/>
                    </a:lnTo>
                    <a:lnTo>
                      <a:pt x="2646" y="6689"/>
                    </a:lnTo>
                    <a:lnTo>
                      <a:pt x="2641" y="6701"/>
                    </a:lnTo>
                    <a:lnTo>
                      <a:pt x="2638" y="6711"/>
                    </a:lnTo>
                    <a:lnTo>
                      <a:pt x="2635" y="6722"/>
                    </a:lnTo>
                    <a:lnTo>
                      <a:pt x="2634" y="6733"/>
                    </a:lnTo>
                    <a:lnTo>
                      <a:pt x="2634" y="6743"/>
                    </a:lnTo>
                    <a:lnTo>
                      <a:pt x="2634" y="6761"/>
                    </a:lnTo>
                    <a:lnTo>
                      <a:pt x="2635" y="6779"/>
                    </a:lnTo>
                    <a:lnTo>
                      <a:pt x="2636" y="6797"/>
                    </a:lnTo>
                    <a:lnTo>
                      <a:pt x="2638" y="6813"/>
                    </a:lnTo>
                    <a:lnTo>
                      <a:pt x="2636" y="6830"/>
                    </a:lnTo>
                    <a:lnTo>
                      <a:pt x="2635" y="6844"/>
                    </a:lnTo>
                    <a:lnTo>
                      <a:pt x="2632" y="6857"/>
                    </a:lnTo>
                    <a:lnTo>
                      <a:pt x="2629" y="6869"/>
                    </a:lnTo>
                    <a:lnTo>
                      <a:pt x="2624" y="6878"/>
                    </a:lnTo>
                    <a:lnTo>
                      <a:pt x="2620" y="6885"/>
                    </a:lnTo>
                    <a:lnTo>
                      <a:pt x="2619" y="6886"/>
                    </a:lnTo>
                    <a:lnTo>
                      <a:pt x="2616" y="6888"/>
                    </a:lnTo>
                    <a:lnTo>
                      <a:pt x="2616" y="6888"/>
                    </a:lnTo>
                    <a:lnTo>
                      <a:pt x="2615" y="6888"/>
                    </a:lnTo>
                    <a:lnTo>
                      <a:pt x="2615" y="6890"/>
                    </a:lnTo>
                    <a:lnTo>
                      <a:pt x="2614" y="6890"/>
                    </a:lnTo>
                    <a:lnTo>
                      <a:pt x="2614" y="6890"/>
                    </a:lnTo>
                    <a:lnTo>
                      <a:pt x="2613" y="6890"/>
                    </a:lnTo>
                    <a:lnTo>
                      <a:pt x="2611" y="6890"/>
                    </a:lnTo>
                    <a:lnTo>
                      <a:pt x="2609" y="6890"/>
                    </a:lnTo>
                    <a:lnTo>
                      <a:pt x="2607" y="6888"/>
                    </a:lnTo>
                    <a:lnTo>
                      <a:pt x="2604" y="6887"/>
                    </a:lnTo>
                    <a:lnTo>
                      <a:pt x="2602" y="6887"/>
                    </a:lnTo>
                    <a:lnTo>
                      <a:pt x="2599" y="6887"/>
                    </a:lnTo>
                    <a:lnTo>
                      <a:pt x="2585" y="6887"/>
                    </a:lnTo>
                    <a:lnTo>
                      <a:pt x="2571" y="6890"/>
                    </a:lnTo>
                    <a:lnTo>
                      <a:pt x="2563" y="6891"/>
                    </a:lnTo>
                    <a:lnTo>
                      <a:pt x="2557" y="6893"/>
                    </a:lnTo>
                    <a:lnTo>
                      <a:pt x="2557" y="6894"/>
                    </a:lnTo>
                    <a:lnTo>
                      <a:pt x="2556" y="6895"/>
                    </a:lnTo>
                    <a:lnTo>
                      <a:pt x="2556" y="6897"/>
                    </a:lnTo>
                    <a:lnTo>
                      <a:pt x="2556" y="6898"/>
                    </a:lnTo>
                    <a:lnTo>
                      <a:pt x="2556" y="6899"/>
                    </a:lnTo>
                    <a:lnTo>
                      <a:pt x="2557" y="6903"/>
                    </a:lnTo>
                    <a:lnTo>
                      <a:pt x="2557" y="6906"/>
                    </a:lnTo>
                    <a:lnTo>
                      <a:pt x="2558" y="6911"/>
                    </a:lnTo>
                    <a:lnTo>
                      <a:pt x="2557" y="6916"/>
                    </a:lnTo>
                    <a:lnTo>
                      <a:pt x="2553" y="6918"/>
                    </a:lnTo>
                    <a:lnTo>
                      <a:pt x="2548" y="6920"/>
                    </a:lnTo>
                    <a:lnTo>
                      <a:pt x="2542" y="6920"/>
                    </a:lnTo>
                    <a:lnTo>
                      <a:pt x="2535" y="6920"/>
                    </a:lnTo>
                    <a:lnTo>
                      <a:pt x="2528" y="6919"/>
                    </a:lnTo>
                    <a:lnTo>
                      <a:pt x="2519" y="6917"/>
                    </a:lnTo>
                    <a:lnTo>
                      <a:pt x="2509" y="6914"/>
                    </a:lnTo>
                    <a:lnTo>
                      <a:pt x="2500" y="6911"/>
                    </a:lnTo>
                    <a:lnTo>
                      <a:pt x="2491" y="6909"/>
                    </a:lnTo>
                    <a:lnTo>
                      <a:pt x="2487" y="6907"/>
                    </a:lnTo>
                    <a:lnTo>
                      <a:pt x="2482" y="6906"/>
                    </a:lnTo>
                    <a:lnTo>
                      <a:pt x="2475" y="6905"/>
                    </a:lnTo>
                    <a:lnTo>
                      <a:pt x="2468" y="6906"/>
                    </a:lnTo>
                    <a:lnTo>
                      <a:pt x="2456" y="6912"/>
                    </a:lnTo>
                    <a:lnTo>
                      <a:pt x="2443" y="6920"/>
                    </a:lnTo>
                    <a:lnTo>
                      <a:pt x="2434" y="6925"/>
                    </a:lnTo>
                    <a:lnTo>
                      <a:pt x="2425" y="6931"/>
                    </a:lnTo>
                    <a:lnTo>
                      <a:pt x="2421" y="6933"/>
                    </a:lnTo>
                    <a:lnTo>
                      <a:pt x="2416" y="6935"/>
                    </a:lnTo>
                    <a:lnTo>
                      <a:pt x="2407" y="6939"/>
                    </a:lnTo>
                    <a:lnTo>
                      <a:pt x="2397" y="6942"/>
                    </a:lnTo>
                    <a:lnTo>
                      <a:pt x="2388" y="6945"/>
                    </a:lnTo>
                    <a:lnTo>
                      <a:pt x="2377" y="6950"/>
                    </a:lnTo>
                    <a:lnTo>
                      <a:pt x="2369" y="6956"/>
                    </a:lnTo>
                    <a:lnTo>
                      <a:pt x="2358" y="6963"/>
                    </a:lnTo>
                    <a:lnTo>
                      <a:pt x="2347" y="6972"/>
                    </a:lnTo>
                    <a:lnTo>
                      <a:pt x="2337" y="6977"/>
                    </a:lnTo>
                    <a:lnTo>
                      <a:pt x="2331" y="6981"/>
                    </a:lnTo>
                    <a:lnTo>
                      <a:pt x="2325" y="6985"/>
                    </a:lnTo>
                    <a:lnTo>
                      <a:pt x="2318" y="6987"/>
                    </a:lnTo>
                    <a:lnTo>
                      <a:pt x="2311" y="6988"/>
                    </a:lnTo>
                    <a:lnTo>
                      <a:pt x="2299" y="6989"/>
                    </a:lnTo>
                    <a:lnTo>
                      <a:pt x="2287" y="6988"/>
                    </a:lnTo>
                    <a:lnTo>
                      <a:pt x="2275" y="6989"/>
                    </a:lnTo>
                    <a:lnTo>
                      <a:pt x="2263" y="6989"/>
                    </a:lnTo>
                    <a:lnTo>
                      <a:pt x="2251" y="6991"/>
                    </a:lnTo>
                    <a:lnTo>
                      <a:pt x="2239" y="6989"/>
                    </a:lnTo>
                    <a:lnTo>
                      <a:pt x="2224" y="6988"/>
                    </a:lnTo>
                    <a:lnTo>
                      <a:pt x="2208" y="6986"/>
                    </a:lnTo>
                    <a:lnTo>
                      <a:pt x="2197" y="6986"/>
                    </a:lnTo>
                    <a:lnTo>
                      <a:pt x="2185" y="6986"/>
                    </a:lnTo>
                    <a:lnTo>
                      <a:pt x="2173" y="6987"/>
                    </a:lnTo>
                    <a:lnTo>
                      <a:pt x="2162" y="6989"/>
                    </a:lnTo>
                    <a:lnTo>
                      <a:pt x="2157" y="6991"/>
                    </a:lnTo>
                    <a:lnTo>
                      <a:pt x="2153" y="6993"/>
                    </a:lnTo>
                    <a:lnTo>
                      <a:pt x="2149" y="6996"/>
                    </a:lnTo>
                    <a:lnTo>
                      <a:pt x="2145" y="7001"/>
                    </a:lnTo>
                    <a:lnTo>
                      <a:pt x="2144" y="7011"/>
                    </a:lnTo>
                    <a:lnTo>
                      <a:pt x="2142" y="7019"/>
                    </a:lnTo>
                    <a:lnTo>
                      <a:pt x="2141" y="7019"/>
                    </a:lnTo>
                    <a:lnTo>
                      <a:pt x="2139" y="7019"/>
                    </a:lnTo>
                    <a:lnTo>
                      <a:pt x="2138" y="7019"/>
                    </a:lnTo>
                    <a:lnTo>
                      <a:pt x="2136" y="7020"/>
                    </a:lnTo>
                    <a:lnTo>
                      <a:pt x="2131" y="7021"/>
                    </a:lnTo>
                    <a:lnTo>
                      <a:pt x="2126" y="7023"/>
                    </a:lnTo>
                    <a:lnTo>
                      <a:pt x="2116" y="7024"/>
                    </a:lnTo>
                    <a:lnTo>
                      <a:pt x="2106" y="7027"/>
                    </a:lnTo>
                    <a:lnTo>
                      <a:pt x="2101" y="7030"/>
                    </a:lnTo>
                    <a:lnTo>
                      <a:pt x="2097" y="7032"/>
                    </a:lnTo>
                    <a:lnTo>
                      <a:pt x="2095" y="7035"/>
                    </a:lnTo>
                    <a:lnTo>
                      <a:pt x="2093" y="7037"/>
                    </a:lnTo>
                    <a:lnTo>
                      <a:pt x="2081" y="7035"/>
                    </a:lnTo>
                    <a:lnTo>
                      <a:pt x="2069" y="7032"/>
                    </a:lnTo>
                    <a:lnTo>
                      <a:pt x="2060" y="7030"/>
                    </a:lnTo>
                    <a:lnTo>
                      <a:pt x="2049" y="7025"/>
                    </a:lnTo>
                    <a:lnTo>
                      <a:pt x="2038" y="7020"/>
                    </a:lnTo>
                    <a:lnTo>
                      <a:pt x="2029" y="7013"/>
                    </a:lnTo>
                    <a:lnTo>
                      <a:pt x="2019" y="7006"/>
                    </a:lnTo>
                    <a:lnTo>
                      <a:pt x="2011" y="6996"/>
                    </a:lnTo>
                    <a:lnTo>
                      <a:pt x="2002" y="6988"/>
                    </a:lnTo>
                    <a:lnTo>
                      <a:pt x="1993" y="6980"/>
                    </a:lnTo>
                    <a:lnTo>
                      <a:pt x="1987" y="6975"/>
                    </a:lnTo>
                    <a:lnTo>
                      <a:pt x="1983" y="6969"/>
                    </a:lnTo>
                    <a:lnTo>
                      <a:pt x="1968" y="6954"/>
                    </a:lnTo>
                    <a:lnTo>
                      <a:pt x="1958" y="6938"/>
                    </a:lnTo>
                    <a:lnTo>
                      <a:pt x="1948" y="6926"/>
                    </a:lnTo>
                    <a:lnTo>
                      <a:pt x="1939" y="6910"/>
                    </a:lnTo>
                    <a:lnTo>
                      <a:pt x="1934" y="6900"/>
                    </a:lnTo>
                    <a:lnTo>
                      <a:pt x="1929" y="6892"/>
                    </a:lnTo>
                    <a:lnTo>
                      <a:pt x="1924" y="6885"/>
                    </a:lnTo>
                    <a:lnTo>
                      <a:pt x="1918" y="6880"/>
                    </a:lnTo>
                    <a:lnTo>
                      <a:pt x="1912" y="6876"/>
                    </a:lnTo>
                    <a:lnTo>
                      <a:pt x="1906" y="6873"/>
                    </a:lnTo>
                    <a:lnTo>
                      <a:pt x="1895" y="6868"/>
                    </a:lnTo>
                    <a:lnTo>
                      <a:pt x="1883" y="6863"/>
                    </a:lnTo>
                    <a:lnTo>
                      <a:pt x="1872" y="6860"/>
                    </a:lnTo>
                    <a:lnTo>
                      <a:pt x="1860" y="6856"/>
                    </a:lnTo>
                    <a:lnTo>
                      <a:pt x="1849" y="6853"/>
                    </a:lnTo>
                    <a:lnTo>
                      <a:pt x="1839" y="6850"/>
                    </a:lnTo>
                    <a:lnTo>
                      <a:pt x="1830" y="6848"/>
                    </a:lnTo>
                    <a:lnTo>
                      <a:pt x="1824" y="6844"/>
                    </a:lnTo>
                    <a:lnTo>
                      <a:pt x="1820" y="6840"/>
                    </a:lnTo>
                    <a:lnTo>
                      <a:pt x="1816" y="6834"/>
                    </a:lnTo>
                    <a:lnTo>
                      <a:pt x="1814" y="6828"/>
                    </a:lnTo>
                    <a:lnTo>
                      <a:pt x="1811" y="6822"/>
                    </a:lnTo>
                    <a:lnTo>
                      <a:pt x="1810" y="6808"/>
                    </a:lnTo>
                    <a:lnTo>
                      <a:pt x="1809" y="6793"/>
                    </a:lnTo>
                    <a:lnTo>
                      <a:pt x="1809" y="6777"/>
                    </a:lnTo>
                    <a:lnTo>
                      <a:pt x="1810" y="6761"/>
                    </a:lnTo>
                    <a:lnTo>
                      <a:pt x="1811" y="6748"/>
                    </a:lnTo>
                    <a:lnTo>
                      <a:pt x="1815" y="6737"/>
                    </a:lnTo>
                    <a:lnTo>
                      <a:pt x="1817" y="6733"/>
                    </a:lnTo>
                    <a:lnTo>
                      <a:pt x="1821" y="6728"/>
                    </a:lnTo>
                    <a:lnTo>
                      <a:pt x="1826" y="6722"/>
                    </a:lnTo>
                    <a:lnTo>
                      <a:pt x="1833" y="6717"/>
                    </a:lnTo>
                    <a:lnTo>
                      <a:pt x="1847" y="6714"/>
                    </a:lnTo>
                    <a:lnTo>
                      <a:pt x="1860" y="6710"/>
                    </a:lnTo>
                    <a:lnTo>
                      <a:pt x="1867" y="6708"/>
                    </a:lnTo>
                    <a:lnTo>
                      <a:pt x="1872" y="6705"/>
                    </a:lnTo>
                    <a:lnTo>
                      <a:pt x="1874" y="6703"/>
                    </a:lnTo>
                    <a:lnTo>
                      <a:pt x="1877" y="6702"/>
                    </a:lnTo>
                    <a:lnTo>
                      <a:pt x="1878" y="6698"/>
                    </a:lnTo>
                    <a:lnTo>
                      <a:pt x="1878" y="6695"/>
                    </a:lnTo>
                    <a:lnTo>
                      <a:pt x="1878" y="6691"/>
                    </a:lnTo>
                    <a:lnTo>
                      <a:pt x="1877" y="6686"/>
                    </a:lnTo>
                    <a:lnTo>
                      <a:pt x="1872" y="6671"/>
                    </a:lnTo>
                    <a:lnTo>
                      <a:pt x="1864" y="6654"/>
                    </a:lnTo>
                    <a:lnTo>
                      <a:pt x="1861" y="6642"/>
                    </a:lnTo>
                    <a:lnTo>
                      <a:pt x="1860" y="6630"/>
                    </a:lnTo>
                    <a:lnTo>
                      <a:pt x="1859" y="6623"/>
                    </a:lnTo>
                    <a:lnTo>
                      <a:pt x="1857" y="6617"/>
                    </a:lnTo>
                    <a:lnTo>
                      <a:pt x="1854" y="6615"/>
                    </a:lnTo>
                    <a:lnTo>
                      <a:pt x="1852" y="6613"/>
                    </a:lnTo>
                    <a:lnTo>
                      <a:pt x="1852" y="6611"/>
                    </a:lnTo>
                    <a:lnTo>
                      <a:pt x="1851" y="6610"/>
                    </a:lnTo>
                    <a:lnTo>
                      <a:pt x="1847" y="6608"/>
                    </a:lnTo>
                    <a:lnTo>
                      <a:pt x="1843" y="6604"/>
                    </a:lnTo>
                    <a:lnTo>
                      <a:pt x="1842" y="6601"/>
                    </a:lnTo>
                    <a:lnTo>
                      <a:pt x="1842" y="6597"/>
                    </a:lnTo>
                    <a:lnTo>
                      <a:pt x="1845" y="6592"/>
                    </a:lnTo>
                    <a:lnTo>
                      <a:pt x="1848" y="6589"/>
                    </a:lnTo>
                    <a:lnTo>
                      <a:pt x="1858" y="6584"/>
                    </a:lnTo>
                    <a:lnTo>
                      <a:pt x="1868" y="6580"/>
                    </a:lnTo>
                    <a:lnTo>
                      <a:pt x="1883" y="6573"/>
                    </a:lnTo>
                    <a:lnTo>
                      <a:pt x="1898" y="6564"/>
                    </a:lnTo>
                    <a:lnTo>
                      <a:pt x="1922" y="6551"/>
                    </a:lnTo>
                    <a:lnTo>
                      <a:pt x="1948" y="6537"/>
                    </a:lnTo>
                    <a:lnTo>
                      <a:pt x="1960" y="6528"/>
                    </a:lnTo>
                    <a:lnTo>
                      <a:pt x="1973" y="6520"/>
                    </a:lnTo>
                    <a:lnTo>
                      <a:pt x="1985" y="6510"/>
                    </a:lnTo>
                    <a:lnTo>
                      <a:pt x="1997" y="6501"/>
                    </a:lnTo>
                    <a:lnTo>
                      <a:pt x="2002" y="6496"/>
                    </a:lnTo>
                    <a:lnTo>
                      <a:pt x="2006" y="6490"/>
                    </a:lnTo>
                    <a:lnTo>
                      <a:pt x="2011" y="6483"/>
                    </a:lnTo>
                    <a:lnTo>
                      <a:pt x="2015" y="6476"/>
                    </a:lnTo>
                    <a:lnTo>
                      <a:pt x="2022" y="6459"/>
                    </a:lnTo>
                    <a:lnTo>
                      <a:pt x="2029" y="6443"/>
                    </a:lnTo>
                    <a:lnTo>
                      <a:pt x="2036" y="6426"/>
                    </a:lnTo>
                    <a:lnTo>
                      <a:pt x="2043" y="6411"/>
                    </a:lnTo>
                    <a:lnTo>
                      <a:pt x="2047" y="6405"/>
                    </a:lnTo>
                    <a:lnTo>
                      <a:pt x="2051" y="6399"/>
                    </a:lnTo>
                    <a:lnTo>
                      <a:pt x="2055" y="6394"/>
                    </a:lnTo>
                    <a:lnTo>
                      <a:pt x="2060" y="6390"/>
                    </a:lnTo>
                    <a:lnTo>
                      <a:pt x="2066" y="6387"/>
                    </a:lnTo>
                    <a:lnTo>
                      <a:pt x="2074" y="6383"/>
                    </a:lnTo>
                    <a:lnTo>
                      <a:pt x="2080" y="6381"/>
                    </a:lnTo>
                    <a:lnTo>
                      <a:pt x="2085" y="6378"/>
                    </a:lnTo>
                    <a:lnTo>
                      <a:pt x="2090" y="6375"/>
                    </a:lnTo>
                    <a:lnTo>
                      <a:pt x="2094" y="6371"/>
                    </a:lnTo>
                    <a:lnTo>
                      <a:pt x="2098" y="6365"/>
                    </a:lnTo>
                    <a:lnTo>
                      <a:pt x="2101" y="6359"/>
                    </a:lnTo>
                    <a:lnTo>
                      <a:pt x="2105" y="6352"/>
                    </a:lnTo>
                    <a:lnTo>
                      <a:pt x="2107" y="6345"/>
                    </a:lnTo>
                    <a:lnTo>
                      <a:pt x="2110" y="6332"/>
                    </a:lnTo>
                    <a:lnTo>
                      <a:pt x="2111" y="6321"/>
                    </a:lnTo>
                    <a:lnTo>
                      <a:pt x="2111" y="6313"/>
                    </a:lnTo>
                    <a:lnTo>
                      <a:pt x="2111" y="6304"/>
                    </a:lnTo>
                    <a:lnTo>
                      <a:pt x="2110" y="6294"/>
                    </a:lnTo>
                    <a:lnTo>
                      <a:pt x="2107" y="6285"/>
                    </a:lnTo>
                    <a:lnTo>
                      <a:pt x="2103" y="6276"/>
                    </a:lnTo>
                    <a:lnTo>
                      <a:pt x="2097" y="6269"/>
                    </a:lnTo>
                    <a:lnTo>
                      <a:pt x="2087" y="6256"/>
                    </a:lnTo>
                    <a:lnTo>
                      <a:pt x="2078" y="6244"/>
                    </a:lnTo>
                    <a:lnTo>
                      <a:pt x="2069" y="6235"/>
                    </a:lnTo>
                    <a:lnTo>
                      <a:pt x="2063" y="6225"/>
                    </a:lnTo>
                    <a:lnTo>
                      <a:pt x="2063" y="6220"/>
                    </a:lnTo>
                    <a:lnTo>
                      <a:pt x="2062" y="6216"/>
                    </a:lnTo>
                    <a:lnTo>
                      <a:pt x="2063" y="6211"/>
                    </a:lnTo>
                    <a:lnTo>
                      <a:pt x="2063" y="6206"/>
                    </a:lnTo>
                    <a:lnTo>
                      <a:pt x="2067" y="6197"/>
                    </a:lnTo>
                    <a:lnTo>
                      <a:pt x="2070" y="6187"/>
                    </a:lnTo>
                    <a:lnTo>
                      <a:pt x="2075" y="6179"/>
                    </a:lnTo>
                    <a:lnTo>
                      <a:pt x="2078" y="6170"/>
                    </a:lnTo>
                    <a:lnTo>
                      <a:pt x="2079" y="6168"/>
                    </a:lnTo>
                    <a:lnTo>
                      <a:pt x="2078" y="6164"/>
                    </a:lnTo>
                    <a:lnTo>
                      <a:pt x="2076" y="6162"/>
                    </a:lnTo>
                    <a:lnTo>
                      <a:pt x="2074" y="6160"/>
                    </a:lnTo>
                    <a:lnTo>
                      <a:pt x="2072" y="6157"/>
                    </a:lnTo>
                    <a:lnTo>
                      <a:pt x="2068" y="6155"/>
                    </a:lnTo>
                    <a:lnTo>
                      <a:pt x="2062" y="6151"/>
                    </a:lnTo>
                    <a:lnTo>
                      <a:pt x="2055" y="6149"/>
                    </a:lnTo>
                    <a:lnTo>
                      <a:pt x="2048" y="6147"/>
                    </a:lnTo>
                    <a:lnTo>
                      <a:pt x="2041" y="6145"/>
                    </a:lnTo>
                    <a:lnTo>
                      <a:pt x="2022" y="6144"/>
                    </a:lnTo>
                    <a:lnTo>
                      <a:pt x="2004" y="6144"/>
                    </a:lnTo>
                    <a:lnTo>
                      <a:pt x="1987" y="6144"/>
                    </a:lnTo>
                    <a:lnTo>
                      <a:pt x="1974" y="6145"/>
                    </a:lnTo>
                    <a:lnTo>
                      <a:pt x="1962" y="6145"/>
                    </a:lnTo>
                    <a:lnTo>
                      <a:pt x="1950" y="6147"/>
                    </a:lnTo>
                    <a:lnTo>
                      <a:pt x="1937" y="6149"/>
                    </a:lnTo>
                    <a:lnTo>
                      <a:pt x="1924" y="6151"/>
                    </a:lnTo>
                    <a:lnTo>
                      <a:pt x="1911" y="6155"/>
                    </a:lnTo>
                    <a:lnTo>
                      <a:pt x="1898" y="6160"/>
                    </a:lnTo>
                    <a:lnTo>
                      <a:pt x="1885" y="6166"/>
                    </a:lnTo>
                    <a:lnTo>
                      <a:pt x="1872" y="6172"/>
                    </a:lnTo>
                    <a:lnTo>
                      <a:pt x="1865" y="6175"/>
                    </a:lnTo>
                    <a:lnTo>
                      <a:pt x="1857" y="6181"/>
                    </a:lnTo>
                    <a:lnTo>
                      <a:pt x="1849" y="6186"/>
                    </a:lnTo>
                    <a:lnTo>
                      <a:pt x="1842" y="6193"/>
                    </a:lnTo>
                    <a:lnTo>
                      <a:pt x="1829" y="6206"/>
                    </a:lnTo>
                    <a:lnTo>
                      <a:pt x="1815" y="6218"/>
                    </a:lnTo>
                    <a:lnTo>
                      <a:pt x="1810" y="6222"/>
                    </a:lnTo>
                    <a:lnTo>
                      <a:pt x="1803" y="6225"/>
                    </a:lnTo>
                    <a:lnTo>
                      <a:pt x="1794" y="6229"/>
                    </a:lnTo>
                    <a:lnTo>
                      <a:pt x="1784" y="6233"/>
                    </a:lnTo>
                    <a:lnTo>
                      <a:pt x="1778" y="6236"/>
                    </a:lnTo>
                    <a:lnTo>
                      <a:pt x="1772" y="6239"/>
                    </a:lnTo>
                    <a:lnTo>
                      <a:pt x="1761" y="6246"/>
                    </a:lnTo>
                    <a:lnTo>
                      <a:pt x="1754" y="6252"/>
                    </a:lnTo>
                    <a:lnTo>
                      <a:pt x="1752" y="6255"/>
                    </a:lnTo>
                    <a:lnTo>
                      <a:pt x="1748" y="6257"/>
                    </a:lnTo>
                    <a:lnTo>
                      <a:pt x="1742" y="6261"/>
                    </a:lnTo>
                    <a:lnTo>
                      <a:pt x="1738" y="6264"/>
                    </a:lnTo>
                    <a:lnTo>
                      <a:pt x="1732" y="6268"/>
                    </a:lnTo>
                    <a:lnTo>
                      <a:pt x="1726" y="6270"/>
                    </a:lnTo>
                    <a:lnTo>
                      <a:pt x="1714" y="6270"/>
                    </a:lnTo>
                    <a:lnTo>
                      <a:pt x="1703" y="6270"/>
                    </a:lnTo>
                    <a:lnTo>
                      <a:pt x="1690" y="6268"/>
                    </a:lnTo>
                    <a:lnTo>
                      <a:pt x="1677" y="6264"/>
                    </a:lnTo>
                    <a:lnTo>
                      <a:pt x="1659" y="6257"/>
                    </a:lnTo>
                    <a:lnTo>
                      <a:pt x="1640" y="6250"/>
                    </a:lnTo>
                    <a:lnTo>
                      <a:pt x="1621" y="6241"/>
                    </a:lnTo>
                    <a:lnTo>
                      <a:pt x="1603" y="6231"/>
                    </a:lnTo>
                    <a:lnTo>
                      <a:pt x="1590" y="6224"/>
                    </a:lnTo>
                    <a:lnTo>
                      <a:pt x="1578" y="6216"/>
                    </a:lnTo>
                    <a:lnTo>
                      <a:pt x="1571" y="6211"/>
                    </a:lnTo>
                    <a:lnTo>
                      <a:pt x="1565" y="6205"/>
                    </a:lnTo>
                    <a:lnTo>
                      <a:pt x="1558" y="6201"/>
                    </a:lnTo>
                    <a:lnTo>
                      <a:pt x="1552" y="6199"/>
                    </a:lnTo>
                    <a:lnTo>
                      <a:pt x="1545" y="6199"/>
                    </a:lnTo>
                    <a:lnTo>
                      <a:pt x="1537" y="6199"/>
                    </a:lnTo>
                    <a:lnTo>
                      <a:pt x="1530" y="6200"/>
                    </a:lnTo>
                    <a:lnTo>
                      <a:pt x="1522" y="6201"/>
                    </a:lnTo>
                    <a:lnTo>
                      <a:pt x="1508" y="6206"/>
                    </a:lnTo>
                    <a:lnTo>
                      <a:pt x="1493" y="6210"/>
                    </a:lnTo>
                    <a:lnTo>
                      <a:pt x="1469" y="6216"/>
                    </a:lnTo>
                    <a:lnTo>
                      <a:pt x="1446" y="6219"/>
                    </a:lnTo>
                    <a:lnTo>
                      <a:pt x="1423" y="6223"/>
                    </a:lnTo>
                    <a:lnTo>
                      <a:pt x="1401" y="6227"/>
                    </a:lnTo>
                    <a:lnTo>
                      <a:pt x="1388" y="6229"/>
                    </a:lnTo>
                    <a:lnTo>
                      <a:pt x="1376" y="6231"/>
                    </a:lnTo>
                    <a:lnTo>
                      <a:pt x="1364" y="6233"/>
                    </a:lnTo>
                    <a:lnTo>
                      <a:pt x="1355" y="6236"/>
                    </a:lnTo>
                    <a:lnTo>
                      <a:pt x="1349" y="6237"/>
                    </a:lnTo>
                    <a:lnTo>
                      <a:pt x="1344" y="6238"/>
                    </a:lnTo>
                    <a:lnTo>
                      <a:pt x="1342" y="6239"/>
                    </a:lnTo>
                    <a:lnTo>
                      <a:pt x="1341" y="6241"/>
                    </a:lnTo>
                    <a:lnTo>
                      <a:pt x="1339" y="6244"/>
                    </a:lnTo>
                    <a:lnTo>
                      <a:pt x="1339" y="6246"/>
                    </a:lnTo>
                    <a:lnTo>
                      <a:pt x="1341" y="6249"/>
                    </a:lnTo>
                    <a:lnTo>
                      <a:pt x="1342" y="6252"/>
                    </a:lnTo>
                    <a:lnTo>
                      <a:pt x="1347" y="6260"/>
                    </a:lnTo>
                    <a:lnTo>
                      <a:pt x="1351" y="6267"/>
                    </a:lnTo>
                    <a:lnTo>
                      <a:pt x="1360" y="6277"/>
                    </a:lnTo>
                    <a:lnTo>
                      <a:pt x="1368" y="6288"/>
                    </a:lnTo>
                    <a:lnTo>
                      <a:pt x="1379" y="6299"/>
                    </a:lnTo>
                    <a:lnTo>
                      <a:pt x="1389" y="6311"/>
                    </a:lnTo>
                    <a:lnTo>
                      <a:pt x="1396" y="6318"/>
                    </a:lnTo>
                    <a:lnTo>
                      <a:pt x="1404" y="6325"/>
                    </a:lnTo>
                    <a:lnTo>
                      <a:pt x="1408" y="6330"/>
                    </a:lnTo>
                    <a:lnTo>
                      <a:pt x="1412" y="6334"/>
                    </a:lnTo>
                    <a:lnTo>
                      <a:pt x="1414" y="6338"/>
                    </a:lnTo>
                    <a:lnTo>
                      <a:pt x="1414" y="6344"/>
                    </a:lnTo>
                    <a:lnTo>
                      <a:pt x="1414" y="6348"/>
                    </a:lnTo>
                    <a:lnTo>
                      <a:pt x="1412" y="6351"/>
                    </a:lnTo>
                    <a:lnTo>
                      <a:pt x="1408" y="6355"/>
                    </a:lnTo>
                    <a:lnTo>
                      <a:pt x="1405" y="6358"/>
                    </a:lnTo>
                    <a:lnTo>
                      <a:pt x="1389" y="6371"/>
                    </a:lnTo>
                    <a:lnTo>
                      <a:pt x="1377" y="6381"/>
                    </a:lnTo>
                    <a:lnTo>
                      <a:pt x="1369" y="6390"/>
                    </a:lnTo>
                    <a:lnTo>
                      <a:pt x="1361" y="6401"/>
                    </a:lnTo>
                    <a:lnTo>
                      <a:pt x="1354" y="6412"/>
                    </a:lnTo>
                    <a:lnTo>
                      <a:pt x="1349" y="6419"/>
                    </a:lnTo>
                    <a:lnTo>
                      <a:pt x="1345" y="6424"/>
                    </a:lnTo>
                    <a:lnTo>
                      <a:pt x="1341" y="6428"/>
                    </a:lnTo>
                    <a:lnTo>
                      <a:pt x="1336" y="6431"/>
                    </a:lnTo>
                    <a:lnTo>
                      <a:pt x="1331" y="6433"/>
                    </a:lnTo>
                    <a:lnTo>
                      <a:pt x="1324" y="6434"/>
                    </a:lnTo>
                    <a:lnTo>
                      <a:pt x="1316" y="6434"/>
                    </a:lnTo>
                    <a:lnTo>
                      <a:pt x="1307" y="6433"/>
                    </a:lnTo>
                    <a:lnTo>
                      <a:pt x="1297" y="6432"/>
                    </a:lnTo>
                    <a:lnTo>
                      <a:pt x="1285" y="6431"/>
                    </a:lnTo>
                    <a:lnTo>
                      <a:pt x="1272" y="6432"/>
                    </a:lnTo>
                    <a:lnTo>
                      <a:pt x="1265" y="6433"/>
                    </a:lnTo>
                    <a:lnTo>
                      <a:pt x="1256" y="6433"/>
                    </a:lnTo>
                    <a:lnTo>
                      <a:pt x="1250" y="6430"/>
                    </a:lnTo>
                    <a:lnTo>
                      <a:pt x="1244" y="6425"/>
                    </a:lnTo>
                    <a:lnTo>
                      <a:pt x="1240" y="6420"/>
                    </a:lnTo>
                    <a:lnTo>
                      <a:pt x="1235" y="6414"/>
                    </a:lnTo>
                    <a:lnTo>
                      <a:pt x="1228" y="6408"/>
                    </a:lnTo>
                    <a:lnTo>
                      <a:pt x="1219" y="6402"/>
                    </a:lnTo>
                    <a:lnTo>
                      <a:pt x="1211" y="6396"/>
                    </a:lnTo>
                    <a:lnTo>
                      <a:pt x="1202" y="6392"/>
                    </a:lnTo>
                    <a:lnTo>
                      <a:pt x="1190" y="6386"/>
                    </a:lnTo>
                    <a:lnTo>
                      <a:pt x="1179" y="6382"/>
                    </a:lnTo>
                    <a:lnTo>
                      <a:pt x="1177" y="6381"/>
                    </a:lnTo>
                    <a:lnTo>
                      <a:pt x="1174" y="6380"/>
                    </a:lnTo>
                    <a:lnTo>
                      <a:pt x="1168" y="6377"/>
                    </a:lnTo>
                    <a:lnTo>
                      <a:pt x="1165" y="6375"/>
                    </a:lnTo>
                    <a:lnTo>
                      <a:pt x="1161" y="6371"/>
                    </a:lnTo>
                    <a:lnTo>
                      <a:pt x="1160" y="6367"/>
                    </a:lnTo>
                    <a:lnTo>
                      <a:pt x="1160" y="6364"/>
                    </a:lnTo>
                    <a:lnTo>
                      <a:pt x="1160" y="6362"/>
                    </a:lnTo>
                    <a:lnTo>
                      <a:pt x="1161" y="6356"/>
                    </a:lnTo>
                    <a:lnTo>
                      <a:pt x="1161" y="6349"/>
                    </a:lnTo>
                    <a:lnTo>
                      <a:pt x="1160" y="6346"/>
                    </a:lnTo>
                    <a:lnTo>
                      <a:pt x="1160" y="6343"/>
                    </a:lnTo>
                    <a:lnTo>
                      <a:pt x="1159" y="6342"/>
                    </a:lnTo>
                    <a:lnTo>
                      <a:pt x="1156" y="6339"/>
                    </a:lnTo>
                    <a:lnTo>
                      <a:pt x="1154" y="6337"/>
                    </a:lnTo>
                    <a:lnTo>
                      <a:pt x="1149" y="6336"/>
                    </a:lnTo>
                    <a:lnTo>
                      <a:pt x="1147" y="6334"/>
                    </a:lnTo>
                    <a:lnTo>
                      <a:pt x="1146" y="6333"/>
                    </a:lnTo>
                    <a:lnTo>
                      <a:pt x="1143" y="6331"/>
                    </a:lnTo>
                    <a:lnTo>
                      <a:pt x="1141" y="6327"/>
                    </a:lnTo>
                    <a:lnTo>
                      <a:pt x="1137" y="6319"/>
                    </a:lnTo>
                    <a:lnTo>
                      <a:pt x="1135" y="6311"/>
                    </a:lnTo>
                    <a:lnTo>
                      <a:pt x="1134" y="6306"/>
                    </a:lnTo>
                    <a:lnTo>
                      <a:pt x="1133" y="6301"/>
                    </a:lnTo>
                    <a:lnTo>
                      <a:pt x="1129" y="6295"/>
                    </a:lnTo>
                    <a:lnTo>
                      <a:pt x="1124" y="6289"/>
                    </a:lnTo>
                    <a:lnTo>
                      <a:pt x="1117" y="6286"/>
                    </a:lnTo>
                    <a:lnTo>
                      <a:pt x="1111" y="6285"/>
                    </a:lnTo>
                    <a:lnTo>
                      <a:pt x="1108" y="6283"/>
                    </a:lnTo>
                    <a:lnTo>
                      <a:pt x="1104" y="6283"/>
                    </a:lnTo>
                    <a:lnTo>
                      <a:pt x="1099" y="6285"/>
                    </a:lnTo>
                    <a:lnTo>
                      <a:pt x="1095" y="6286"/>
                    </a:lnTo>
                    <a:lnTo>
                      <a:pt x="1084" y="6289"/>
                    </a:lnTo>
                    <a:lnTo>
                      <a:pt x="1073" y="6292"/>
                    </a:lnTo>
                    <a:lnTo>
                      <a:pt x="1067" y="6293"/>
                    </a:lnTo>
                    <a:lnTo>
                      <a:pt x="1061" y="6293"/>
                    </a:lnTo>
                    <a:lnTo>
                      <a:pt x="1059" y="6292"/>
                    </a:lnTo>
                    <a:lnTo>
                      <a:pt x="1055" y="6290"/>
                    </a:lnTo>
                    <a:lnTo>
                      <a:pt x="1049" y="6283"/>
                    </a:lnTo>
                    <a:lnTo>
                      <a:pt x="1045" y="6275"/>
                    </a:lnTo>
                    <a:lnTo>
                      <a:pt x="1041" y="6268"/>
                    </a:lnTo>
                    <a:lnTo>
                      <a:pt x="1037" y="6260"/>
                    </a:lnTo>
                    <a:lnTo>
                      <a:pt x="1030" y="6243"/>
                    </a:lnTo>
                    <a:lnTo>
                      <a:pt x="1024" y="6225"/>
                    </a:lnTo>
                    <a:lnTo>
                      <a:pt x="1022" y="6206"/>
                    </a:lnTo>
                    <a:lnTo>
                      <a:pt x="1021" y="6191"/>
                    </a:lnTo>
                    <a:lnTo>
                      <a:pt x="1020" y="6167"/>
                    </a:lnTo>
                    <a:lnTo>
                      <a:pt x="1021" y="6142"/>
                    </a:lnTo>
                    <a:lnTo>
                      <a:pt x="1023" y="6119"/>
                    </a:lnTo>
                    <a:lnTo>
                      <a:pt x="1026" y="6100"/>
                    </a:lnTo>
                    <a:lnTo>
                      <a:pt x="1028" y="6093"/>
                    </a:lnTo>
                    <a:lnTo>
                      <a:pt x="1028" y="6087"/>
                    </a:lnTo>
                    <a:lnTo>
                      <a:pt x="1028" y="6085"/>
                    </a:lnTo>
                    <a:lnTo>
                      <a:pt x="1028" y="6084"/>
                    </a:lnTo>
                    <a:lnTo>
                      <a:pt x="1028" y="6082"/>
                    </a:lnTo>
                    <a:lnTo>
                      <a:pt x="1027" y="6082"/>
                    </a:lnTo>
                    <a:lnTo>
                      <a:pt x="1023" y="6082"/>
                    </a:lnTo>
                    <a:lnTo>
                      <a:pt x="1018" y="6082"/>
                    </a:lnTo>
                    <a:lnTo>
                      <a:pt x="1004" y="6081"/>
                    </a:lnTo>
                    <a:lnTo>
                      <a:pt x="986" y="6080"/>
                    </a:lnTo>
                    <a:lnTo>
                      <a:pt x="976" y="6079"/>
                    </a:lnTo>
                    <a:lnTo>
                      <a:pt x="964" y="6079"/>
                    </a:lnTo>
                    <a:lnTo>
                      <a:pt x="951" y="6078"/>
                    </a:lnTo>
                    <a:lnTo>
                      <a:pt x="938" y="6077"/>
                    </a:lnTo>
                    <a:lnTo>
                      <a:pt x="932" y="6077"/>
                    </a:lnTo>
                    <a:lnTo>
                      <a:pt x="926" y="6075"/>
                    </a:lnTo>
                    <a:lnTo>
                      <a:pt x="920" y="6074"/>
                    </a:lnTo>
                    <a:lnTo>
                      <a:pt x="915" y="6071"/>
                    </a:lnTo>
                    <a:lnTo>
                      <a:pt x="911" y="6066"/>
                    </a:lnTo>
                    <a:lnTo>
                      <a:pt x="909" y="6059"/>
                    </a:lnTo>
                    <a:lnTo>
                      <a:pt x="908" y="6052"/>
                    </a:lnTo>
                    <a:lnTo>
                      <a:pt x="906" y="6044"/>
                    </a:lnTo>
                    <a:lnTo>
                      <a:pt x="906" y="6042"/>
                    </a:lnTo>
                    <a:lnTo>
                      <a:pt x="904" y="6040"/>
                    </a:lnTo>
                    <a:lnTo>
                      <a:pt x="903" y="6038"/>
                    </a:lnTo>
                    <a:lnTo>
                      <a:pt x="902" y="6037"/>
                    </a:lnTo>
                    <a:lnTo>
                      <a:pt x="901" y="6036"/>
                    </a:lnTo>
                    <a:lnTo>
                      <a:pt x="898" y="6035"/>
                    </a:lnTo>
                    <a:lnTo>
                      <a:pt x="895" y="6035"/>
                    </a:lnTo>
                    <a:lnTo>
                      <a:pt x="891" y="6034"/>
                    </a:lnTo>
                    <a:lnTo>
                      <a:pt x="883" y="6034"/>
                    </a:lnTo>
                    <a:lnTo>
                      <a:pt x="875" y="6033"/>
                    </a:lnTo>
                    <a:lnTo>
                      <a:pt x="870" y="6031"/>
                    </a:lnTo>
                    <a:lnTo>
                      <a:pt x="866" y="6030"/>
                    </a:lnTo>
                    <a:lnTo>
                      <a:pt x="863" y="6028"/>
                    </a:lnTo>
                    <a:lnTo>
                      <a:pt x="862" y="6027"/>
                    </a:lnTo>
                    <a:lnTo>
                      <a:pt x="859" y="6022"/>
                    </a:lnTo>
                    <a:lnTo>
                      <a:pt x="858" y="6017"/>
                    </a:lnTo>
                    <a:lnTo>
                      <a:pt x="857" y="6008"/>
                    </a:lnTo>
                    <a:lnTo>
                      <a:pt x="857" y="5997"/>
                    </a:lnTo>
                    <a:lnTo>
                      <a:pt x="856" y="5986"/>
                    </a:lnTo>
                    <a:lnTo>
                      <a:pt x="854" y="5977"/>
                    </a:lnTo>
                    <a:lnTo>
                      <a:pt x="851" y="5965"/>
                    </a:lnTo>
                    <a:lnTo>
                      <a:pt x="845" y="5953"/>
                    </a:lnTo>
                    <a:lnTo>
                      <a:pt x="841" y="5947"/>
                    </a:lnTo>
                    <a:lnTo>
                      <a:pt x="837" y="5941"/>
                    </a:lnTo>
                    <a:lnTo>
                      <a:pt x="832" y="5936"/>
                    </a:lnTo>
                    <a:lnTo>
                      <a:pt x="826" y="5933"/>
                    </a:lnTo>
                    <a:lnTo>
                      <a:pt x="819" y="5929"/>
                    </a:lnTo>
                    <a:lnTo>
                      <a:pt x="812" y="5927"/>
                    </a:lnTo>
                    <a:lnTo>
                      <a:pt x="804" y="5926"/>
                    </a:lnTo>
                    <a:lnTo>
                      <a:pt x="797" y="5924"/>
                    </a:lnTo>
                    <a:lnTo>
                      <a:pt x="785" y="5921"/>
                    </a:lnTo>
                    <a:lnTo>
                      <a:pt x="775" y="5915"/>
                    </a:lnTo>
                    <a:lnTo>
                      <a:pt x="764" y="5910"/>
                    </a:lnTo>
                    <a:lnTo>
                      <a:pt x="755" y="5905"/>
                    </a:lnTo>
                    <a:lnTo>
                      <a:pt x="750" y="5903"/>
                    </a:lnTo>
                    <a:lnTo>
                      <a:pt x="746" y="5901"/>
                    </a:lnTo>
                    <a:lnTo>
                      <a:pt x="738" y="5895"/>
                    </a:lnTo>
                    <a:lnTo>
                      <a:pt x="731" y="5889"/>
                    </a:lnTo>
                    <a:lnTo>
                      <a:pt x="721" y="5878"/>
                    </a:lnTo>
                    <a:lnTo>
                      <a:pt x="715" y="5869"/>
                    </a:lnTo>
                    <a:lnTo>
                      <a:pt x="706" y="5855"/>
                    </a:lnTo>
                    <a:lnTo>
                      <a:pt x="697" y="5844"/>
                    </a:lnTo>
                    <a:lnTo>
                      <a:pt x="688" y="5834"/>
                    </a:lnTo>
                    <a:lnTo>
                      <a:pt x="681" y="5829"/>
                    </a:lnTo>
                    <a:lnTo>
                      <a:pt x="677" y="5828"/>
                    </a:lnTo>
                    <a:lnTo>
                      <a:pt x="673" y="5827"/>
                    </a:lnTo>
                    <a:lnTo>
                      <a:pt x="670" y="5827"/>
                    </a:lnTo>
                    <a:lnTo>
                      <a:pt x="668" y="5827"/>
                    </a:lnTo>
                    <a:lnTo>
                      <a:pt x="665" y="5827"/>
                    </a:lnTo>
                    <a:lnTo>
                      <a:pt x="663" y="5827"/>
                    </a:lnTo>
                    <a:lnTo>
                      <a:pt x="659" y="5827"/>
                    </a:lnTo>
                    <a:lnTo>
                      <a:pt x="655" y="5828"/>
                    </a:lnTo>
                    <a:lnTo>
                      <a:pt x="651" y="5828"/>
                    </a:lnTo>
                    <a:lnTo>
                      <a:pt x="648" y="5829"/>
                    </a:lnTo>
                    <a:lnTo>
                      <a:pt x="636" y="5830"/>
                    </a:lnTo>
                    <a:lnTo>
                      <a:pt x="625" y="5833"/>
                    </a:lnTo>
                    <a:lnTo>
                      <a:pt x="612" y="5835"/>
                    </a:lnTo>
                    <a:lnTo>
                      <a:pt x="600" y="5835"/>
                    </a:lnTo>
                    <a:lnTo>
                      <a:pt x="598" y="5834"/>
                    </a:lnTo>
                    <a:lnTo>
                      <a:pt x="596" y="5833"/>
                    </a:lnTo>
                    <a:lnTo>
                      <a:pt x="599" y="5829"/>
                    </a:lnTo>
                    <a:lnTo>
                      <a:pt x="605" y="5826"/>
                    </a:lnTo>
                    <a:lnTo>
                      <a:pt x="612" y="5822"/>
                    </a:lnTo>
                    <a:lnTo>
                      <a:pt x="620" y="5819"/>
                    </a:lnTo>
                    <a:lnTo>
                      <a:pt x="637" y="5814"/>
                    </a:lnTo>
                    <a:lnTo>
                      <a:pt x="655" y="5808"/>
                    </a:lnTo>
                    <a:lnTo>
                      <a:pt x="667" y="5803"/>
                    </a:lnTo>
                    <a:lnTo>
                      <a:pt x="680" y="5798"/>
                    </a:lnTo>
                    <a:lnTo>
                      <a:pt x="692" y="5792"/>
                    </a:lnTo>
                    <a:lnTo>
                      <a:pt x="703" y="5788"/>
                    </a:lnTo>
                    <a:lnTo>
                      <a:pt x="719" y="5781"/>
                    </a:lnTo>
                    <a:lnTo>
                      <a:pt x="732" y="5775"/>
                    </a:lnTo>
                    <a:lnTo>
                      <a:pt x="743" y="5769"/>
                    </a:lnTo>
                    <a:lnTo>
                      <a:pt x="749" y="5765"/>
                    </a:lnTo>
                    <a:lnTo>
                      <a:pt x="759" y="5754"/>
                    </a:lnTo>
                    <a:lnTo>
                      <a:pt x="772" y="5739"/>
                    </a:lnTo>
                    <a:lnTo>
                      <a:pt x="780" y="5728"/>
                    </a:lnTo>
                    <a:lnTo>
                      <a:pt x="788" y="5719"/>
                    </a:lnTo>
                    <a:lnTo>
                      <a:pt x="795" y="5707"/>
                    </a:lnTo>
                    <a:lnTo>
                      <a:pt x="801" y="5696"/>
                    </a:lnTo>
                    <a:lnTo>
                      <a:pt x="808" y="5680"/>
                    </a:lnTo>
                    <a:lnTo>
                      <a:pt x="814" y="5664"/>
                    </a:lnTo>
                    <a:lnTo>
                      <a:pt x="819" y="5651"/>
                    </a:lnTo>
                    <a:lnTo>
                      <a:pt x="820" y="5642"/>
                    </a:lnTo>
                    <a:lnTo>
                      <a:pt x="821" y="5633"/>
                    </a:lnTo>
                    <a:lnTo>
                      <a:pt x="822" y="5626"/>
                    </a:lnTo>
                    <a:lnTo>
                      <a:pt x="822" y="5621"/>
                    </a:lnTo>
                    <a:lnTo>
                      <a:pt x="822" y="5617"/>
                    </a:lnTo>
                    <a:lnTo>
                      <a:pt x="823" y="5609"/>
                    </a:lnTo>
                    <a:lnTo>
                      <a:pt x="825" y="5603"/>
                    </a:lnTo>
                    <a:lnTo>
                      <a:pt x="827" y="5598"/>
                    </a:lnTo>
                    <a:lnTo>
                      <a:pt x="829" y="5593"/>
                    </a:lnTo>
                    <a:lnTo>
                      <a:pt x="835" y="5586"/>
                    </a:lnTo>
                    <a:lnTo>
                      <a:pt x="841" y="5580"/>
                    </a:lnTo>
                    <a:lnTo>
                      <a:pt x="851" y="5570"/>
                    </a:lnTo>
                    <a:lnTo>
                      <a:pt x="859" y="5559"/>
                    </a:lnTo>
                    <a:lnTo>
                      <a:pt x="865" y="5550"/>
                    </a:lnTo>
                    <a:lnTo>
                      <a:pt x="871" y="5539"/>
                    </a:lnTo>
                    <a:lnTo>
                      <a:pt x="875" y="5529"/>
                    </a:lnTo>
                    <a:lnTo>
                      <a:pt x="877" y="5517"/>
                    </a:lnTo>
                    <a:lnTo>
                      <a:pt x="878" y="5505"/>
                    </a:lnTo>
                    <a:lnTo>
                      <a:pt x="877" y="5492"/>
                    </a:lnTo>
                    <a:lnTo>
                      <a:pt x="875" y="5479"/>
                    </a:lnTo>
                    <a:lnTo>
                      <a:pt x="870" y="5466"/>
                    </a:lnTo>
                    <a:lnTo>
                      <a:pt x="867" y="5455"/>
                    </a:lnTo>
                    <a:lnTo>
                      <a:pt x="864" y="5445"/>
                    </a:lnTo>
                    <a:lnTo>
                      <a:pt x="860" y="5436"/>
                    </a:lnTo>
                    <a:lnTo>
                      <a:pt x="856" y="5428"/>
                    </a:lnTo>
                    <a:lnTo>
                      <a:pt x="853" y="5426"/>
                    </a:lnTo>
                    <a:lnTo>
                      <a:pt x="851" y="5423"/>
                    </a:lnTo>
                    <a:lnTo>
                      <a:pt x="843" y="5417"/>
                    </a:lnTo>
                    <a:lnTo>
                      <a:pt x="829" y="5411"/>
                    </a:lnTo>
                    <a:lnTo>
                      <a:pt x="819" y="5407"/>
                    </a:lnTo>
                    <a:lnTo>
                      <a:pt x="806" y="5404"/>
                    </a:lnTo>
                    <a:lnTo>
                      <a:pt x="793" y="5400"/>
                    </a:lnTo>
                    <a:lnTo>
                      <a:pt x="780" y="5397"/>
                    </a:lnTo>
                    <a:lnTo>
                      <a:pt x="768" y="5394"/>
                    </a:lnTo>
                    <a:lnTo>
                      <a:pt x="756" y="5391"/>
                    </a:lnTo>
                    <a:lnTo>
                      <a:pt x="744" y="5387"/>
                    </a:lnTo>
                    <a:lnTo>
                      <a:pt x="733" y="5385"/>
                    </a:lnTo>
                    <a:lnTo>
                      <a:pt x="724" y="5382"/>
                    </a:lnTo>
                    <a:lnTo>
                      <a:pt x="714" y="5379"/>
                    </a:lnTo>
                    <a:lnTo>
                      <a:pt x="706" y="5376"/>
                    </a:lnTo>
                    <a:lnTo>
                      <a:pt x="697" y="5375"/>
                    </a:lnTo>
                    <a:lnTo>
                      <a:pt x="693" y="5376"/>
                    </a:lnTo>
                    <a:lnTo>
                      <a:pt x="688" y="5379"/>
                    </a:lnTo>
                    <a:lnTo>
                      <a:pt x="686" y="5384"/>
                    </a:lnTo>
                    <a:lnTo>
                      <a:pt x="682" y="5390"/>
                    </a:lnTo>
                    <a:lnTo>
                      <a:pt x="677" y="5398"/>
                    </a:lnTo>
                    <a:lnTo>
                      <a:pt x="673" y="5404"/>
                    </a:lnTo>
                    <a:lnTo>
                      <a:pt x="668" y="5407"/>
                    </a:lnTo>
                    <a:lnTo>
                      <a:pt x="662" y="5410"/>
                    </a:lnTo>
                    <a:lnTo>
                      <a:pt x="650" y="5412"/>
                    </a:lnTo>
                    <a:lnTo>
                      <a:pt x="637" y="5413"/>
                    </a:lnTo>
                    <a:lnTo>
                      <a:pt x="626" y="5413"/>
                    </a:lnTo>
                    <a:lnTo>
                      <a:pt x="614" y="5411"/>
                    </a:lnTo>
                    <a:lnTo>
                      <a:pt x="599" y="5407"/>
                    </a:lnTo>
                    <a:lnTo>
                      <a:pt x="582" y="5403"/>
                    </a:lnTo>
                    <a:lnTo>
                      <a:pt x="574" y="5399"/>
                    </a:lnTo>
                    <a:lnTo>
                      <a:pt x="564" y="5394"/>
                    </a:lnTo>
                    <a:lnTo>
                      <a:pt x="560" y="5393"/>
                    </a:lnTo>
                    <a:lnTo>
                      <a:pt x="555" y="5393"/>
                    </a:lnTo>
                    <a:lnTo>
                      <a:pt x="550" y="5392"/>
                    </a:lnTo>
                    <a:lnTo>
                      <a:pt x="545" y="5393"/>
                    </a:lnTo>
                    <a:lnTo>
                      <a:pt x="541" y="5394"/>
                    </a:lnTo>
                    <a:lnTo>
                      <a:pt x="535" y="5395"/>
                    </a:lnTo>
                    <a:lnTo>
                      <a:pt x="524" y="5398"/>
                    </a:lnTo>
                    <a:lnTo>
                      <a:pt x="514" y="5403"/>
                    </a:lnTo>
                    <a:lnTo>
                      <a:pt x="505" y="5406"/>
                    </a:lnTo>
                    <a:lnTo>
                      <a:pt x="495" y="5410"/>
                    </a:lnTo>
                    <a:lnTo>
                      <a:pt x="484" y="5414"/>
                    </a:lnTo>
                    <a:lnTo>
                      <a:pt x="473" y="5418"/>
                    </a:lnTo>
                    <a:lnTo>
                      <a:pt x="462" y="5423"/>
                    </a:lnTo>
                    <a:lnTo>
                      <a:pt x="453" y="5426"/>
                    </a:lnTo>
                    <a:lnTo>
                      <a:pt x="443" y="5430"/>
                    </a:lnTo>
                    <a:lnTo>
                      <a:pt x="435" y="5433"/>
                    </a:lnTo>
                    <a:lnTo>
                      <a:pt x="428" y="5438"/>
                    </a:lnTo>
                    <a:lnTo>
                      <a:pt x="421" y="5443"/>
                    </a:lnTo>
                    <a:lnTo>
                      <a:pt x="410" y="5453"/>
                    </a:lnTo>
                    <a:lnTo>
                      <a:pt x="403" y="5461"/>
                    </a:lnTo>
                    <a:lnTo>
                      <a:pt x="400" y="5463"/>
                    </a:lnTo>
                    <a:lnTo>
                      <a:pt x="398" y="5464"/>
                    </a:lnTo>
                    <a:lnTo>
                      <a:pt x="397" y="5464"/>
                    </a:lnTo>
                    <a:lnTo>
                      <a:pt x="397" y="5464"/>
                    </a:lnTo>
                    <a:lnTo>
                      <a:pt x="394" y="5462"/>
                    </a:lnTo>
                    <a:lnTo>
                      <a:pt x="392" y="5460"/>
                    </a:lnTo>
                    <a:lnTo>
                      <a:pt x="388" y="5453"/>
                    </a:lnTo>
                    <a:lnTo>
                      <a:pt x="385" y="5445"/>
                    </a:lnTo>
                    <a:lnTo>
                      <a:pt x="380" y="5433"/>
                    </a:lnTo>
                    <a:lnTo>
                      <a:pt x="377" y="5426"/>
                    </a:lnTo>
                    <a:lnTo>
                      <a:pt x="374" y="5419"/>
                    </a:lnTo>
                    <a:lnTo>
                      <a:pt x="372" y="5414"/>
                    </a:lnTo>
                    <a:lnTo>
                      <a:pt x="371" y="5412"/>
                    </a:lnTo>
                    <a:lnTo>
                      <a:pt x="368" y="5411"/>
                    </a:lnTo>
                    <a:lnTo>
                      <a:pt x="367" y="5410"/>
                    </a:lnTo>
                    <a:lnTo>
                      <a:pt x="365" y="5410"/>
                    </a:lnTo>
                    <a:lnTo>
                      <a:pt x="358" y="5410"/>
                    </a:lnTo>
                    <a:lnTo>
                      <a:pt x="350" y="5411"/>
                    </a:lnTo>
                    <a:lnTo>
                      <a:pt x="342" y="5413"/>
                    </a:lnTo>
                    <a:lnTo>
                      <a:pt x="337" y="5418"/>
                    </a:lnTo>
                    <a:lnTo>
                      <a:pt x="336" y="5419"/>
                    </a:lnTo>
                    <a:lnTo>
                      <a:pt x="335" y="5422"/>
                    </a:lnTo>
                    <a:lnTo>
                      <a:pt x="337" y="5429"/>
                    </a:lnTo>
                    <a:lnTo>
                      <a:pt x="343" y="5439"/>
                    </a:lnTo>
                    <a:lnTo>
                      <a:pt x="348" y="5449"/>
                    </a:lnTo>
                    <a:lnTo>
                      <a:pt x="350" y="5456"/>
                    </a:lnTo>
                    <a:lnTo>
                      <a:pt x="350" y="5461"/>
                    </a:lnTo>
                    <a:lnTo>
                      <a:pt x="348" y="5463"/>
                    </a:lnTo>
                    <a:lnTo>
                      <a:pt x="319" y="5477"/>
                    </a:lnTo>
                    <a:lnTo>
                      <a:pt x="296" y="5487"/>
                    </a:lnTo>
                    <a:lnTo>
                      <a:pt x="280" y="5492"/>
                    </a:lnTo>
                    <a:lnTo>
                      <a:pt x="272" y="5493"/>
                    </a:lnTo>
                    <a:lnTo>
                      <a:pt x="271" y="5492"/>
                    </a:lnTo>
                    <a:lnTo>
                      <a:pt x="270" y="5491"/>
                    </a:lnTo>
                    <a:lnTo>
                      <a:pt x="268" y="5489"/>
                    </a:lnTo>
                    <a:lnTo>
                      <a:pt x="268" y="5487"/>
                    </a:lnTo>
                    <a:lnTo>
                      <a:pt x="272" y="5476"/>
                    </a:lnTo>
                    <a:lnTo>
                      <a:pt x="274" y="5464"/>
                    </a:lnTo>
                    <a:lnTo>
                      <a:pt x="273" y="5449"/>
                    </a:lnTo>
                    <a:lnTo>
                      <a:pt x="272" y="5441"/>
                    </a:lnTo>
                    <a:lnTo>
                      <a:pt x="272" y="5432"/>
                    </a:lnTo>
                    <a:lnTo>
                      <a:pt x="272" y="5422"/>
                    </a:lnTo>
                    <a:lnTo>
                      <a:pt x="274" y="5411"/>
                    </a:lnTo>
                    <a:lnTo>
                      <a:pt x="277" y="5400"/>
                    </a:lnTo>
                    <a:lnTo>
                      <a:pt x="280" y="5387"/>
                    </a:lnTo>
                    <a:lnTo>
                      <a:pt x="281" y="5376"/>
                    </a:lnTo>
                    <a:lnTo>
                      <a:pt x="283" y="5367"/>
                    </a:lnTo>
                    <a:lnTo>
                      <a:pt x="284" y="5359"/>
                    </a:lnTo>
                    <a:lnTo>
                      <a:pt x="283" y="5348"/>
                    </a:lnTo>
                    <a:lnTo>
                      <a:pt x="280" y="5342"/>
                    </a:lnTo>
                    <a:lnTo>
                      <a:pt x="272" y="5330"/>
                    </a:lnTo>
                    <a:lnTo>
                      <a:pt x="262" y="5321"/>
                    </a:lnTo>
                    <a:lnTo>
                      <a:pt x="253" y="5312"/>
                    </a:lnTo>
                    <a:lnTo>
                      <a:pt x="242" y="5303"/>
                    </a:lnTo>
                    <a:lnTo>
                      <a:pt x="231" y="5291"/>
                    </a:lnTo>
                    <a:lnTo>
                      <a:pt x="221" y="5279"/>
                    </a:lnTo>
                    <a:lnTo>
                      <a:pt x="210" y="5267"/>
                    </a:lnTo>
                    <a:lnTo>
                      <a:pt x="199" y="5256"/>
                    </a:lnTo>
                    <a:lnTo>
                      <a:pt x="197" y="5253"/>
                    </a:lnTo>
                    <a:lnTo>
                      <a:pt x="193" y="5249"/>
                    </a:lnTo>
                    <a:lnTo>
                      <a:pt x="190" y="5247"/>
                    </a:lnTo>
                    <a:lnTo>
                      <a:pt x="186" y="5246"/>
                    </a:lnTo>
                    <a:lnTo>
                      <a:pt x="184" y="5245"/>
                    </a:lnTo>
                    <a:lnTo>
                      <a:pt x="180" y="5246"/>
                    </a:lnTo>
                    <a:lnTo>
                      <a:pt x="178" y="5247"/>
                    </a:lnTo>
                    <a:lnTo>
                      <a:pt x="174" y="5247"/>
                    </a:lnTo>
                    <a:lnTo>
                      <a:pt x="170" y="5245"/>
                    </a:lnTo>
                    <a:lnTo>
                      <a:pt x="167" y="5241"/>
                    </a:lnTo>
                    <a:lnTo>
                      <a:pt x="164" y="5236"/>
                    </a:lnTo>
                    <a:lnTo>
                      <a:pt x="161" y="5231"/>
                    </a:lnTo>
                    <a:lnTo>
                      <a:pt x="157" y="5223"/>
                    </a:lnTo>
                    <a:lnTo>
                      <a:pt x="151" y="5212"/>
                    </a:lnTo>
                    <a:lnTo>
                      <a:pt x="145" y="5201"/>
                    </a:lnTo>
                    <a:lnTo>
                      <a:pt x="138" y="5187"/>
                    </a:lnTo>
                    <a:lnTo>
                      <a:pt x="130" y="5173"/>
                    </a:lnTo>
                    <a:lnTo>
                      <a:pt x="123" y="5158"/>
                    </a:lnTo>
                    <a:lnTo>
                      <a:pt x="115" y="5142"/>
                    </a:lnTo>
                    <a:lnTo>
                      <a:pt x="107" y="5129"/>
                    </a:lnTo>
                    <a:lnTo>
                      <a:pt x="97" y="5113"/>
                    </a:lnTo>
                    <a:lnTo>
                      <a:pt x="88" y="5101"/>
                    </a:lnTo>
                    <a:lnTo>
                      <a:pt x="77" y="5089"/>
                    </a:lnTo>
                    <a:lnTo>
                      <a:pt x="69" y="5076"/>
                    </a:lnTo>
                    <a:lnTo>
                      <a:pt x="69" y="5072"/>
                    </a:lnTo>
                    <a:lnTo>
                      <a:pt x="70" y="5070"/>
                    </a:lnTo>
                    <a:lnTo>
                      <a:pt x="77" y="5063"/>
                    </a:lnTo>
                    <a:lnTo>
                      <a:pt x="85" y="5054"/>
                    </a:lnTo>
                    <a:lnTo>
                      <a:pt x="91" y="5048"/>
                    </a:lnTo>
                    <a:lnTo>
                      <a:pt x="97" y="5042"/>
                    </a:lnTo>
                    <a:lnTo>
                      <a:pt x="107" y="5034"/>
                    </a:lnTo>
                    <a:lnTo>
                      <a:pt x="116" y="5026"/>
                    </a:lnTo>
                    <a:lnTo>
                      <a:pt x="125" y="5017"/>
                    </a:lnTo>
                    <a:lnTo>
                      <a:pt x="134" y="5010"/>
                    </a:lnTo>
                    <a:lnTo>
                      <a:pt x="135" y="5010"/>
                    </a:lnTo>
                    <a:lnTo>
                      <a:pt x="136" y="5009"/>
                    </a:lnTo>
                    <a:lnTo>
                      <a:pt x="145" y="5004"/>
                    </a:lnTo>
                    <a:lnTo>
                      <a:pt x="152" y="5000"/>
                    </a:lnTo>
                    <a:lnTo>
                      <a:pt x="155" y="4996"/>
                    </a:lnTo>
                    <a:lnTo>
                      <a:pt x="157" y="4994"/>
                    </a:lnTo>
                    <a:lnTo>
                      <a:pt x="158" y="4990"/>
                    </a:lnTo>
                    <a:lnTo>
                      <a:pt x="158" y="4985"/>
                    </a:lnTo>
                    <a:lnTo>
                      <a:pt x="154" y="4970"/>
                    </a:lnTo>
                    <a:lnTo>
                      <a:pt x="149" y="4954"/>
                    </a:lnTo>
                    <a:lnTo>
                      <a:pt x="145" y="4938"/>
                    </a:lnTo>
                    <a:lnTo>
                      <a:pt x="139" y="4922"/>
                    </a:lnTo>
                    <a:lnTo>
                      <a:pt x="133" y="4907"/>
                    </a:lnTo>
                    <a:lnTo>
                      <a:pt x="127" y="4890"/>
                    </a:lnTo>
                    <a:lnTo>
                      <a:pt x="119" y="4862"/>
                    </a:lnTo>
                    <a:lnTo>
                      <a:pt x="109" y="4833"/>
                    </a:lnTo>
                    <a:lnTo>
                      <a:pt x="100" y="4805"/>
                    </a:lnTo>
                    <a:lnTo>
                      <a:pt x="91" y="4776"/>
                    </a:lnTo>
                    <a:lnTo>
                      <a:pt x="82" y="4748"/>
                    </a:lnTo>
                    <a:lnTo>
                      <a:pt x="73" y="4720"/>
                    </a:lnTo>
                    <a:lnTo>
                      <a:pt x="65" y="4694"/>
                    </a:lnTo>
                    <a:lnTo>
                      <a:pt x="58" y="4668"/>
                    </a:lnTo>
                    <a:lnTo>
                      <a:pt x="45" y="4624"/>
                    </a:lnTo>
                    <a:lnTo>
                      <a:pt x="33" y="4581"/>
                    </a:lnTo>
                    <a:lnTo>
                      <a:pt x="22" y="4543"/>
                    </a:lnTo>
                    <a:lnTo>
                      <a:pt x="14" y="4510"/>
                    </a:lnTo>
                    <a:lnTo>
                      <a:pt x="10" y="4492"/>
                    </a:lnTo>
                    <a:lnTo>
                      <a:pt x="7" y="4477"/>
                    </a:lnTo>
                    <a:lnTo>
                      <a:pt x="4" y="4464"/>
                    </a:lnTo>
                    <a:lnTo>
                      <a:pt x="1" y="4452"/>
                    </a:lnTo>
                    <a:lnTo>
                      <a:pt x="0" y="4448"/>
                    </a:lnTo>
                    <a:lnTo>
                      <a:pt x="1" y="4446"/>
                    </a:lnTo>
                    <a:lnTo>
                      <a:pt x="10" y="4451"/>
                    </a:lnTo>
                    <a:lnTo>
                      <a:pt x="35" y="4464"/>
                    </a:lnTo>
                    <a:lnTo>
                      <a:pt x="50" y="4470"/>
                    </a:lnTo>
                    <a:lnTo>
                      <a:pt x="66" y="4477"/>
                    </a:lnTo>
                    <a:lnTo>
                      <a:pt x="84" y="4483"/>
                    </a:lnTo>
                    <a:lnTo>
                      <a:pt x="104" y="4490"/>
                    </a:lnTo>
                    <a:lnTo>
                      <a:pt x="123" y="4497"/>
                    </a:lnTo>
                    <a:lnTo>
                      <a:pt x="144" y="4505"/>
                    </a:lnTo>
                    <a:lnTo>
                      <a:pt x="164" y="4514"/>
                    </a:lnTo>
                    <a:lnTo>
                      <a:pt x="186" y="4521"/>
                    </a:lnTo>
                    <a:lnTo>
                      <a:pt x="221" y="4535"/>
                    </a:lnTo>
                    <a:lnTo>
                      <a:pt x="258" y="4549"/>
                    </a:lnTo>
                    <a:lnTo>
                      <a:pt x="277" y="4556"/>
                    </a:lnTo>
                    <a:lnTo>
                      <a:pt x="297" y="4562"/>
                    </a:lnTo>
                    <a:lnTo>
                      <a:pt x="317" y="4568"/>
                    </a:lnTo>
                    <a:lnTo>
                      <a:pt x="340" y="4572"/>
                    </a:lnTo>
                    <a:lnTo>
                      <a:pt x="384" y="4579"/>
                    </a:lnTo>
                    <a:lnTo>
                      <a:pt x="430" y="4588"/>
                    </a:lnTo>
                    <a:lnTo>
                      <a:pt x="476" y="4598"/>
                    </a:lnTo>
                    <a:lnTo>
                      <a:pt x="523" y="4609"/>
                    </a:lnTo>
                    <a:lnTo>
                      <a:pt x="571" y="4619"/>
                    </a:lnTo>
                    <a:lnTo>
                      <a:pt x="619" y="4629"/>
                    </a:lnTo>
                    <a:lnTo>
                      <a:pt x="668" y="4638"/>
                    </a:lnTo>
                    <a:lnTo>
                      <a:pt x="718" y="4645"/>
                    </a:lnTo>
                    <a:lnTo>
                      <a:pt x="738" y="4647"/>
                    </a:lnTo>
                    <a:lnTo>
                      <a:pt x="758" y="4645"/>
                    </a:lnTo>
                    <a:lnTo>
                      <a:pt x="778" y="4644"/>
                    </a:lnTo>
                    <a:lnTo>
                      <a:pt x="797" y="4642"/>
                    </a:lnTo>
                    <a:lnTo>
                      <a:pt x="818" y="4638"/>
                    </a:lnTo>
                    <a:lnTo>
                      <a:pt x="838" y="4636"/>
                    </a:lnTo>
                    <a:lnTo>
                      <a:pt x="858" y="4634"/>
                    </a:lnTo>
                    <a:lnTo>
                      <a:pt x="878" y="4634"/>
                    </a:lnTo>
                    <a:lnTo>
                      <a:pt x="894" y="4635"/>
                    </a:lnTo>
                    <a:lnTo>
                      <a:pt x="908" y="4637"/>
                    </a:lnTo>
                    <a:lnTo>
                      <a:pt x="923" y="4640"/>
                    </a:lnTo>
                    <a:lnTo>
                      <a:pt x="938" y="4640"/>
                    </a:lnTo>
                    <a:lnTo>
                      <a:pt x="947" y="4640"/>
                    </a:lnTo>
                    <a:lnTo>
                      <a:pt x="955" y="4637"/>
                    </a:lnTo>
                    <a:lnTo>
                      <a:pt x="964" y="4636"/>
                    </a:lnTo>
                    <a:lnTo>
                      <a:pt x="972" y="4632"/>
                    </a:lnTo>
                    <a:lnTo>
                      <a:pt x="980" y="4630"/>
                    </a:lnTo>
                    <a:lnTo>
                      <a:pt x="989" y="4628"/>
                    </a:lnTo>
                    <a:lnTo>
                      <a:pt x="997" y="4626"/>
                    </a:lnTo>
                    <a:lnTo>
                      <a:pt x="1005" y="4626"/>
                    </a:lnTo>
                    <a:lnTo>
                      <a:pt x="1020" y="4626"/>
                    </a:lnTo>
                    <a:lnTo>
                      <a:pt x="1035" y="4628"/>
                    </a:lnTo>
                    <a:lnTo>
                      <a:pt x="1048" y="4629"/>
                    </a:lnTo>
                    <a:lnTo>
                      <a:pt x="1061" y="4631"/>
                    </a:lnTo>
                    <a:lnTo>
                      <a:pt x="1074" y="4632"/>
                    </a:lnTo>
                    <a:lnTo>
                      <a:pt x="1087" y="4635"/>
                    </a:lnTo>
                    <a:lnTo>
                      <a:pt x="1099" y="4636"/>
                    </a:lnTo>
                    <a:lnTo>
                      <a:pt x="1111" y="4638"/>
                    </a:lnTo>
                    <a:lnTo>
                      <a:pt x="1124" y="4641"/>
                    </a:lnTo>
                    <a:lnTo>
                      <a:pt x="1135" y="4644"/>
                    </a:lnTo>
                    <a:lnTo>
                      <a:pt x="1173" y="4656"/>
                    </a:lnTo>
                    <a:lnTo>
                      <a:pt x="1209" y="4669"/>
                    </a:lnTo>
                    <a:lnTo>
                      <a:pt x="1242" y="4682"/>
                    </a:lnTo>
                    <a:lnTo>
                      <a:pt x="1274" y="4694"/>
                    </a:lnTo>
                    <a:lnTo>
                      <a:pt x="1304" y="4706"/>
                    </a:lnTo>
                    <a:lnTo>
                      <a:pt x="1331" y="4717"/>
                    </a:lnTo>
                    <a:lnTo>
                      <a:pt x="1356" y="4726"/>
                    </a:lnTo>
                    <a:lnTo>
                      <a:pt x="1380" y="4735"/>
                    </a:lnTo>
                    <a:lnTo>
                      <a:pt x="1392" y="4737"/>
                    </a:lnTo>
                    <a:lnTo>
                      <a:pt x="1402" y="4739"/>
                    </a:lnTo>
                    <a:lnTo>
                      <a:pt x="1413" y="4741"/>
                    </a:lnTo>
                    <a:lnTo>
                      <a:pt x="1423" y="4742"/>
                    </a:lnTo>
                    <a:lnTo>
                      <a:pt x="1431" y="4743"/>
                    </a:lnTo>
                    <a:lnTo>
                      <a:pt x="1439" y="4744"/>
                    </a:lnTo>
                    <a:lnTo>
                      <a:pt x="1446" y="4745"/>
                    </a:lnTo>
                    <a:lnTo>
                      <a:pt x="1451" y="4748"/>
                    </a:lnTo>
                    <a:lnTo>
                      <a:pt x="1456" y="4751"/>
                    </a:lnTo>
                    <a:lnTo>
                      <a:pt x="1461" y="4757"/>
                    </a:lnTo>
                    <a:lnTo>
                      <a:pt x="1464" y="4763"/>
                    </a:lnTo>
                    <a:lnTo>
                      <a:pt x="1469" y="4770"/>
                    </a:lnTo>
                    <a:lnTo>
                      <a:pt x="1476" y="4787"/>
                    </a:lnTo>
                    <a:lnTo>
                      <a:pt x="1484" y="4804"/>
                    </a:lnTo>
                    <a:lnTo>
                      <a:pt x="1490" y="4815"/>
                    </a:lnTo>
                    <a:lnTo>
                      <a:pt x="1496" y="4827"/>
                    </a:lnTo>
                    <a:lnTo>
                      <a:pt x="1502" y="4839"/>
                    </a:lnTo>
                    <a:lnTo>
                      <a:pt x="1508" y="4850"/>
                    </a:lnTo>
                    <a:lnTo>
                      <a:pt x="1512" y="4861"/>
                    </a:lnTo>
                    <a:lnTo>
                      <a:pt x="1515" y="4870"/>
                    </a:lnTo>
                    <a:lnTo>
                      <a:pt x="1518" y="4875"/>
                    </a:lnTo>
                    <a:lnTo>
                      <a:pt x="1520" y="4878"/>
                    </a:lnTo>
                    <a:lnTo>
                      <a:pt x="1522" y="4881"/>
                    </a:lnTo>
                    <a:lnTo>
                      <a:pt x="1526" y="4883"/>
                    </a:lnTo>
                    <a:lnTo>
                      <a:pt x="1559" y="4897"/>
                    </a:lnTo>
                    <a:lnTo>
                      <a:pt x="1583" y="4908"/>
                    </a:lnTo>
                    <a:lnTo>
                      <a:pt x="1595" y="4911"/>
                    </a:lnTo>
                    <a:lnTo>
                      <a:pt x="1607" y="4913"/>
                    </a:lnTo>
                    <a:lnTo>
                      <a:pt x="1621" y="4913"/>
                    </a:lnTo>
                    <a:lnTo>
                      <a:pt x="1639" y="4913"/>
                    </a:lnTo>
                    <a:lnTo>
                      <a:pt x="1651" y="4912"/>
                    </a:lnTo>
                    <a:lnTo>
                      <a:pt x="1663" y="4913"/>
                    </a:lnTo>
                    <a:lnTo>
                      <a:pt x="1673" y="4914"/>
                    </a:lnTo>
                    <a:lnTo>
                      <a:pt x="1683" y="4915"/>
                    </a:lnTo>
                    <a:lnTo>
                      <a:pt x="1703" y="4920"/>
                    </a:lnTo>
                    <a:lnTo>
                      <a:pt x="1721" y="4927"/>
                    </a:lnTo>
                    <a:lnTo>
                      <a:pt x="1736" y="4935"/>
                    </a:lnTo>
                    <a:lnTo>
                      <a:pt x="1753" y="4945"/>
                    </a:lnTo>
                    <a:lnTo>
                      <a:pt x="1769" y="4954"/>
                    </a:lnTo>
                    <a:lnTo>
                      <a:pt x="1784" y="4965"/>
                    </a:lnTo>
                    <a:lnTo>
                      <a:pt x="1824" y="4990"/>
                    </a:lnTo>
                    <a:lnTo>
                      <a:pt x="1864" y="5014"/>
                    </a:lnTo>
                    <a:lnTo>
                      <a:pt x="1899" y="5037"/>
                    </a:lnTo>
                    <a:lnTo>
                      <a:pt x="1931" y="5057"/>
                    </a:lnTo>
                    <a:lnTo>
                      <a:pt x="1960" y="5073"/>
                    </a:lnTo>
                    <a:lnTo>
                      <a:pt x="1985" y="5086"/>
                    </a:lnTo>
                    <a:lnTo>
                      <a:pt x="2003" y="5096"/>
                    </a:lnTo>
                    <a:lnTo>
                      <a:pt x="2015" y="5101"/>
                    </a:lnTo>
                    <a:lnTo>
                      <a:pt x="2038" y="5105"/>
                    </a:lnTo>
                    <a:lnTo>
                      <a:pt x="2059" y="5109"/>
                    </a:lnTo>
                    <a:lnTo>
                      <a:pt x="2069" y="5110"/>
                    </a:lnTo>
                    <a:lnTo>
                      <a:pt x="2081" y="5110"/>
                    </a:lnTo>
                    <a:lnTo>
                      <a:pt x="2092" y="5110"/>
                    </a:lnTo>
                    <a:lnTo>
                      <a:pt x="2105" y="5110"/>
                    </a:lnTo>
                    <a:lnTo>
                      <a:pt x="2129" y="5107"/>
                    </a:lnTo>
                    <a:lnTo>
                      <a:pt x="2154" y="5104"/>
                    </a:lnTo>
                    <a:lnTo>
                      <a:pt x="2179" y="5101"/>
                    </a:lnTo>
                    <a:lnTo>
                      <a:pt x="2201" y="5096"/>
                    </a:lnTo>
                    <a:lnTo>
                      <a:pt x="2230" y="5091"/>
                    </a:lnTo>
                    <a:lnTo>
                      <a:pt x="2254" y="5089"/>
                    </a:lnTo>
                    <a:lnTo>
                      <a:pt x="2264" y="5089"/>
                    </a:lnTo>
                    <a:lnTo>
                      <a:pt x="2273" y="5089"/>
                    </a:lnTo>
                    <a:lnTo>
                      <a:pt x="2279" y="5090"/>
                    </a:lnTo>
                    <a:lnTo>
                      <a:pt x="2282" y="5091"/>
                    </a:lnTo>
                    <a:lnTo>
                      <a:pt x="2284" y="5094"/>
                    </a:lnTo>
                    <a:lnTo>
                      <a:pt x="2286" y="5096"/>
                    </a:lnTo>
                    <a:lnTo>
                      <a:pt x="2287" y="5100"/>
                    </a:lnTo>
                    <a:lnTo>
                      <a:pt x="2288" y="5103"/>
                    </a:lnTo>
                    <a:lnTo>
                      <a:pt x="2288" y="5114"/>
                    </a:lnTo>
                    <a:lnTo>
                      <a:pt x="2288" y="5124"/>
                    </a:lnTo>
                    <a:lnTo>
                      <a:pt x="2288" y="5138"/>
                    </a:lnTo>
                    <a:lnTo>
                      <a:pt x="2288" y="5151"/>
                    </a:lnTo>
                    <a:lnTo>
                      <a:pt x="2288" y="5164"/>
                    </a:lnTo>
                    <a:lnTo>
                      <a:pt x="2288" y="5173"/>
                    </a:lnTo>
                    <a:lnTo>
                      <a:pt x="2289" y="5178"/>
                    </a:lnTo>
                    <a:lnTo>
                      <a:pt x="2292" y="5182"/>
                    </a:lnTo>
                    <a:lnTo>
                      <a:pt x="2294" y="5185"/>
                    </a:lnTo>
                    <a:lnTo>
                      <a:pt x="2299" y="5186"/>
                    </a:lnTo>
                    <a:lnTo>
                      <a:pt x="2308" y="5187"/>
                    </a:lnTo>
                    <a:lnTo>
                      <a:pt x="2318" y="5189"/>
                    </a:lnTo>
                    <a:lnTo>
                      <a:pt x="2334" y="5189"/>
                    </a:lnTo>
                    <a:lnTo>
                      <a:pt x="2351" y="5186"/>
                    </a:lnTo>
                    <a:lnTo>
                      <a:pt x="2368" y="5185"/>
                    </a:lnTo>
                    <a:lnTo>
                      <a:pt x="2384" y="5185"/>
                    </a:lnTo>
                    <a:lnTo>
                      <a:pt x="2394" y="5187"/>
                    </a:lnTo>
                    <a:lnTo>
                      <a:pt x="2403" y="5191"/>
                    </a:lnTo>
                    <a:lnTo>
                      <a:pt x="2413" y="5197"/>
                    </a:lnTo>
                    <a:lnTo>
                      <a:pt x="2421" y="5205"/>
                    </a:lnTo>
                    <a:lnTo>
                      <a:pt x="2426" y="5211"/>
                    </a:lnTo>
                    <a:lnTo>
                      <a:pt x="2431" y="5216"/>
                    </a:lnTo>
                    <a:lnTo>
                      <a:pt x="2433" y="5217"/>
                    </a:lnTo>
                    <a:lnTo>
                      <a:pt x="2435" y="5218"/>
                    </a:lnTo>
                    <a:lnTo>
                      <a:pt x="2439" y="5218"/>
                    </a:lnTo>
                    <a:lnTo>
                      <a:pt x="2441" y="5217"/>
                    </a:lnTo>
                    <a:lnTo>
                      <a:pt x="2452" y="5210"/>
                    </a:lnTo>
                    <a:lnTo>
                      <a:pt x="2460" y="5203"/>
                    </a:lnTo>
                    <a:lnTo>
                      <a:pt x="2469" y="5196"/>
                    </a:lnTo>
                    <a:lnTo>
                      <a:pt x="2475" y="5189"/>
                    </a:lnTo>
                    <a:lnTo>
                      <a:pt x="2482" y="5183"/>
                    </a:lnTo>
                    <a:lnTo>
                      <a:pt x="2489" y="5176"/>
                    </a:lnTo>
                    <a:lnTo>
                      <a:pt x="2496" y="5170"/>
                    </a:lnTo>
                    <a:lnTo>
                      <a:pt x="2504" y="5164"/>
                    </a:lnTo>
                    <a:lnTo>
                      <a:pt x="2514" y="5159"/>
                    </a:lnTo>
                    <a:lnTo>
                      <a:pt x="2525" y="5154"/>
                    </a:lnTo>
                    <a:lnTo>
                      <a:pt x="2535" y="5149"/>
                    </a:lnTo>
                    <a:lnTo>
                      <a:pt x="2546" y="5145"/>
                    </a:lnTo>
                    <a:lnTo>
                      <a:pt x="2563" y="5134"/>
                    </a:lnTo>
                    <a:lnTo>
                      <a:pt x="2578" y="5124"/>
                    </a:lnTo>
                    <a:lnTo>
                      <a:pt x="2595" y="5114"/>
                    </a:lnTo>
                    <a:lnTo>
                      <a:pt x="2611" y="5103"/>
                    </a:lnTo>
                    <a:lnTo>
                      <a:pt x="2630" y="5094"/>
                    </a:lnTo>
                    <a:lnTo>
                      <a:pt x="2649" y="5085"/>
                    </a:lnTo>
                    <a:lnTo>
                      <a:pt x="2670" y="5077"/>
                    </a:lnTo>
                    <a:lnTo>
                      <a:pt x="2689" y="5069"/>
                    </a:lnTo>
                    <a:lnTo>
                      <a:pt x="2715" y="5057"/>
                    </a:lnTo>
                    <a:lnTo>
                      <a:pt x="2740" y="5046"/>
                    </a:lnTo>
                    <a:lnTo>
                      <a:pt x="2765" y="5037"/>
                    </a:lnTo>
                    <a:lnTo>
                      <a:pt x="2788" y="5027"/>
                    </a:lnTo>
                    <a:lnTo>
                      <a:pt x="2811" y="5019"/>
                    </a:lnTo>
                    <a:lnTo>
                      <a:pt x="2834" y="5010"/>
                    </a:lnTo>
                    <a:lnTo>
                      <a:pt x="2855" y="5002"/>
                    </a:lnTo>
                    <a:lnTo>
                      <a:pt x="2875" y="4994"/>
                    </a:lnTo>
                    <a:lnTo>
                      <a:pt x="2922" y="4976"/>
                    </a:lnTo>
                    <a:lnTo>
                      <a:pt x="2960" y="4960"/>
                    </a:lnTo>
                    <a:lnTo>
                      <a:pt x="2991" y="4947"/>
                    </a:lnTo>
                    <a:lnTo>
                      <a:pt x="3013" y="4940"/>
                    </a:lnTo>
                    <a:lnTo>
                      <a:pt x="3024" y="4938"/>
                    </a:lnTo>
                    <a:lnTo>
                      <a:pt x="3033" y="4937"/>
                    </a:lnTo>
                    <a:lnTo>
                      <a:pt x="3041" y="4935"/>
                    </a:lnTo>
                    <a:lnTo>
                      <a:pt x="3046" y="4935"/>
                    </a:lnTo>
                    <a:lnTo>
                      <a:pt x="3054" y="4935"/>
                    </a:lnTo>
                    <a:lnTo>
                      <a:pt x="3061" y="4935"/>
                    </a:lnTo>
                    <a:lnTo>
                      <a:pt x="3070" y="4934"/>
                    </a:lnTo>
                    <a:lnTo>
                      <a:pt x="3082" y="4931"/>
                    </a:lnTo>
                    <a:lnTo>
                      <a:pt x="3108" y="4925"/>
                    </a:lnTo>
                    <a:lnTo>
                      <a:pt x="3133" y="4916"/>
                    </a:lnTo>
                    <a:lnTo>
                      <a:pt x="3146" y="4913"/>
                    </a:lnTo>
                    <a:lnTo>
                      <a:pt x="3157" y="4907"/>
                    </a:lnTo>
                    <a:lnTo>
                      <a:pt x="3169" y="4901"/>
                    </a:lnTo>
                    <a:lnTo>
                      <a:pt x="3181" y="4894"/>
                    </a:lnTo>
                    <a:lnTo>
                      <a:pt x="3191" y="4887"/>
                    </a:lnTo>
                    <a:lnTo>
                      <a:pt x="3201" y="4881"/>
                    </a:lnTo>
                    <a:lnTo>
                      <a:pt x="3211" y="4876"/>
                    </a:lnTo>
                    <a:lnTo>
                      <a:pt x="3219" y="4872"/>
                    </a:lnTo>
                    <a:lnTo>
                      <a:pt x="3227" y="4870"/>
                    </a:lnTo>
                    <a:lnTo>
                      <a:pt x="3235" y="4870"/>
                    </a:lnTo>
                    <a:lnTo>
                      <a:pt x="3243" y="4870"/>
                    </a:lnTo>
                    <a:lnTo>
                      <a:pt x="3250" y="4874"/>
                    </a:lnTo>
                    <a:lnTo>
                      <a:pt x="3262" y="4881"/>
                    </a:lnTo>
                    <a:lnTo>
                      <a:pt x="3270" y="4886"/>
                    </a:lnTo>
                    <a:lnTo>
                      <a:pt x="3275" y="4888"/>
                    </a:lnTo>
                    <a:lnTo>
                      <a:pt x="3282" y="4890"/>
                    </a:lnTo>
                    <a:lnTo>
                      <a:pt x="3289" y="4892"/>
                    </a:lnTo>
                    <a:lnTo>
                      <a:pt x="3300" y="4892"/>
                    </a:lnTo>
                    <a:lnTo>
                      <a:pt x="3327" y="4890"/>
                    </a:lnTo>
                    <a:lnTo>
                      <a:pt x="3356" y="4890"/>
                    </a:lnTo>
                    <a:lnTo>
                      <a:pt x="3370" y="4890"/>
                    </a:lnTo>
                    <a:lnTo>
                      <a:pt x="3384" y="4889"/>
                    </a:lnTo>
                    <a:lnTo>
                      <a:pt x="3397" y="4887"/>
                    </a:lnTo>
                    <a:lnTo>
                      <a:pt x="3409" y="4883"/>
                    </a:lnTo>
                    <a:lnTo>
                      <a:pt x="3421" y="4880"/>
                    </a:lnTo>
                    <a:lnTo>
                      <a:pt x="3430" y="4877"/>
                    </a:lnTo>
                    <a:lnTo>
                      <a:pt x="3441" y="4876"/>
                    </a:lnTo>
                    <a:lnTo>
                      <a:pt x="3451" y="4875"/>
                    </a:lnTo>
                    <a:lnTo>
                      <a:pt x="3460" y="4874"/>
                    </a:lnTo>
                    <a:lnTo>
                      <a:pt x="3470" y="4874"/>
                    </a:lnTo>
                    <a:lnTo>
                      <a:pt x="3479" y="4875"/>
                    </a:lnTo>
                    <a:lnTo>
                      <a:pt x="3490" y="4876"/>
                    </a:lnTo>
                    <a:lnTo>
                      <a:pt x="3511" y="4880"/>
                    </a:lnTo>
                    <a:lnTo>
                      <a:pt x="3534" y="4883"/>
                    </a:lnTo>
                    <a:lnTo>
                      <a:pt x="3556" y="4886"/>
                    </a:lnTo>
                    <a:lnTo>
                      <a:pt x="3578" y="4890"/>
                    </a:lnTo>
                    <a:lnTo>
                      <a:pt x="3598" y="4894"/>
                    </a:lnTo>
                    <a:lnTo>
                      <a:pt x="3616" y="4897"/>
                    </a:lnTo>
                    <a:lnTo>
                      <a:pt x="3624" y="4899"/>
                    </a:lnTo>
                    <a:lnTo>
                      <a:pt x="3633" y="4899"/>
                    </a:lnTo>
                    <a:lnTo>
                      <a:pt x="3642" y="4899"/>
                    </a:lnTo>
                    <a:lnTo>
                      <a:pt x="3652" y="4897"/>
                    </a:lnTo>
                    <a:lnTo>
                      <a:pt x="3662" y="4896"/>
                    </a:lnTo>
                    <a:lnTo>
                      <a:pt x="3672" y="4893"/>
                    </a:lnTo>
                    <a:lnTo>
                      <a:pt x="3681" y="4889"/>
                    </a:lnTo>
                    <a:lnTo>
                      <a:pt x="3690" y="4886"/>
                    </a:lnTo>
                    <a:lnTo>
                      <a:pt x="3698" y="4881"/>
                    </a:lnTo>
                    <a:lnTo>
                      <a:pt x="3706" y="4877"/>
                    </a:lnTo>
                    <a:lnTo>
                      <a:pt x="3715" y="4875"/>
                    </a:lnTo>
                    <a:lnTo>
                      <a:pt x="3724" y="4874"/>
                    </a:lnTo>
                    <a:lnTo>
                      <a:pt x="3737" y="4875"/>
                    </a:lnTo>
                    <a:lnTo>
                      <a:pt x="3750" y="4877"/>
                    </a:lnTo>
                    <a:lnTo>
                      <a:pt x="3764" y="4878"/>
                    </a:lnTo>
                    <a:lnTo>
                      <a:pt x="3778" y="4880"/>
                    </a:lnTo>
                    <a:lnTo>
                      <a:pt x="3789" y="4881"/>
                    </a:lnTo>
                    <a:lnTo>
                      <a:pt x="3801" y="4883"/>
                    </a:lnTo>
                    <a:lnTo>
                      <a:pt x="3818" y="4887"/>
                    </a:lnTo>
                    <a:lnTo>
                      <a:pt x="3836" y="4888"/>
                    </a:lnTo>
                    <a:lnTo>
                      <a:pt x="3844" y="4888"/>
                    </a:lnTo>
                    <a:lnTo>
                      <a:pt x="3852" y="4886"/>
                    </a:lnTo>
                    <a:lnTo>
                      <a:pt x="3860" y="4883"/>
                    </a:lnTo>
                    <a:lnTo>
                      <a:pt x="3867" y="4880"/>
                    </a:lnTo>
                    <a:lnTo>
                      <a:pt x="3882" y="4868"/>
                    </a:lnTo>
                    <a:lnTo>
                      <a:pt x="3900" y="4852"/>
                    </a:lnTo>
                    <a:lnTo>
                      <a:pt x="3920" y="4836"/>
                    </a:lnTo>
                    <a:lnTo>
                      <a:pt x="3940" y="4821"/>
                    </a:lnTo>
                    <a:lnTo>
                      <a:pt x="3958" y="4811"/>
                    </a:lnTo>
                    <a:lnTo>
                      <a:pt x="3976" y="4802"/>
                    </a:lnTo>
                    <a:lnTo>
                      <a:pt x="3984" y="4800"/>
                    </a:lnTo>
                    <a:lnTo>
                      <a:pt x="3995" y="4798"/>
                    </a:lnTo>
                    <a:lnTo>
                      <a:pt x="4006" y="4798"/>
                    </a:lnTo>
                    <a:lnTo>
                      <a:pt x="4018" y="4798"/>
                    </a:lnTo>
                    <a:lnTo>
                      <a:pt x="4031" y="4796"/>
                    </a:lnTo>
                    <a:lnTo>
                      <a:pt x="4043" y="4795"/>
                    </a:lnTo>
                    <a:lnTo>
                      <a:pt x="4053" y="4792"/>
                    </a:lnTo>
                    <a:lnTo>
                      <a:pt x="4063" y="4788"/>
                    </a:lnTo>
                    <a:lnTo>
                      <a:pt x="4071" y="4783"/>
                    </a:lnTo>
                    <a:lnTo>
                      <a:pt x="4079" y="4777"/>
                    </a:lnTo>
                    <a:lnTo>
                      <a:pt x="4085" y="4773"/>
                    </a:lnTo>
                    <a:lnTo>
                      <a:pt x="4091" y="4767"/>
                    </a:lnTo>
                    <a:lnTo>
                      <a:pt x="4097" y="4763"/>
                    </a:lnTo>
                    <a:lnTo>
                      <a:pt x="4103" y="4760"/>
                    </a:lnTo>
                    <a:lnTo>
                      <a:pt x="4110" y="4756"/>
                    </a:lnTo>
                    <a:lnTo>
                      <a:pt x="4118" y="4754"/>
                    </a:lnTo>
                    <a:lnTo>
                      <a:pt x="4132" y="4748"/>
                    </a:lnTo>
                    <a:lnTo>
                      <a:pt x="4148" y="4739"/>
                    </a:lnTo>
                    <a:lnTo>
                      <a:pt x="4156" y="4735"/>
                    </a:lnTo>
                    <a:lnTo>
                      <a:pt x="4160" y="4729"/>
                    </a:lnTo>
                    <a:lnTo>
                      <a:pt x="4165" y="4722"/>
                    </a:lnTo>
                    <a:lnTo>
                      <a:pt x="4170" y="4716"/>
                    </a:lnTo>
                    <a:lnTo>
                      <a:pt x="4173" y="4708"/>
                    </a:lnTo>
                    <a:lnTo>
                      <a:pt x="4177" y="4703"/>
                    </a:lnTo>
                    <a:lnTo>
                      <a:pt x="4181" y="4695"/>
                    </a:lnTo>
                    <a:lnTo>
                      <a:pt x="4186" y="4689"/>
                    </a:lnTo>
                    <a:lnTo>
                      <a:pt x="4198" y="4679"/>
                    </a:lnTo>
                    <a:lnTo>
                      <a:pt x="4210" y="4667"/>
                    </a:lnTo>
                    <a:lnTo>
                      <a:pt x="4221" y="4654"/>
                    </a:lnTo>
                    <a:lnTo>
                      <a:pt x="4230" y="4641"/>
                    </a:lnTo>
                    <a:lnTo>
                      <a:pt x="4244" y="4622"/>
                    </a:lnTo>
                    <a:lnTo>
                      <a:pt x="4261" y="4599"/>
                    </a:lnTo>
                    <a:lnTo>
                      <a:pt x="4278" y="4578"/>
                    </a:lnTo>
                    <a:lnTo>
                      <a:pt x="4289" y="4562"/>
                    </a:lnTo>
                    <a:lnTo>
                      <a:pt x="4299" y="4548"/>
                    </a:lnTo>
                    <a:lnTo>
                      <a:pt x="4316" y="4527"/>
                    </a:lnTo>
                    <a:lnTo>
                      <a:pt x="4324" y="4515"/>
                    </a:lnTo>
                    <a:lnTo>
                      <a:pt x="4335" y="4505"/>
                    </a:lnTo>
                    <a:lnTo>
                      <a:pt x="4345" y="4497"/>
                    </a:lnTo>
                    <a:lnTo>
                      <a:pt x="4353" y="4491"/>
                    </a:lnTo>
                    <a:lnTo>
                      <a:pt x="4372" y="4484"/>
                    </a:lnTo>
                    <a:lnTo>
                      <a:pt x="4391" y="4477"/>
                    </a:lnTo>
                    <a:lnTo>
                      <a:pt x="4400" y="4473"/>
                    </a:lnTo>
                    <a:lnTo>
                      <a:pt x="4410" y="4468"/>
                    </a:lnTo>
                    <a:lnTo>
                      <a:pt x="4418" y="4464"/>
                    </a:lnTo>
                    <a:lnTo>
                      <a:pt x="4427" y="4458"/>
                    </a:lnTo>
                    <a:lnTo>
                      <a:pt x="4438" y="4447"/>
                    </a:lnTo>
                    <a:lnTo>
                      <a:pt x="4450" y="4437"/>
                    </a:lnTo>
                    <a:lnTo>
                      <a:pt x="4456" y="4434"/>
                    </a:lnTo>
                    <a:lnTo>
                      <a:pt x="4462" y="4430"/>
                    </a:lnTo>
                    <a:lnTo>
                      <a:pt x="4469" y="4429"/>
                    </a:lnTo>
                    <a:lnTo>
                      <a:pt x="4478" y="4428"/>
                    </a:lnTo>
                    <a:lnTo>
                      <a:pt x="4493" y="4427"/>
                    </a:lnTo>
                    <a:lnTo>
                      <a:pt x="4505" y="4426"/>
                    </a:lnTo>
                    <a:lnTo>
                      <a:pt x="4511" y="4424"/>
                    </a:lnTo>
                    <a:lnTo>
                      <a:pt x="4516" y="4421"/>
                    </a:lnTo>
                    <a:lnTo>
                      <a:pt x="4522" y="4417"/>
                    </a:lnTo>
                    <a:lnTo>
                      <a:pt x="4526" y="4410"/>
                    </a:lnTo>
                    <a:lnTo>
                      <a:pt x="4541" y="4396"/>
                    </a:lnTo>
                    <a:lnTo>
                      <a:pt x="4557" y="4379"/>
                    </a:lnTo>
                    <a:lnTo>
                      <a:pt x="4576" y="4363"/>
                    </a:lnTo>
                    <a:lnTo>
                      <a:pt x="4594" y="4347"/>
                    </a:lnTo>
                    <a:lnTo>
                      <a:pt x="4610" y="4335"/>
                    </a:lnTo>
                    <a:lnTo>
                      <a:pt x="4624" y="4327"/>
                    </a:lnTo>
                    <a:lnTo>
                      <a:pt x="4629" y="4322"/>
                    </a:lnTo>
                    <a:lnTo>
                      <a:pt x="4633" y="4316"/>
                    </a:lnTo>
                    <a:lnTo>
                      <a:pt x="4637" y="4309"/>
                    </a:lnTo>
                    <a:lnTo>
                      <a:pt x="4639" y="4300"/>
                    </a:lnTo>
                    <a:lnTo>
                      <a:pt x="4639" y="4289"/>
                    </a:lnTo>
                    <a:lnTo>
                      <a:pt x="4638" y="4279"/>
                    </a:lnTo>
                    <a:lnTo>
                      <a:pt x="4636" y="4271"/>
                    </a:lnTo>
                    <a:lnTo>
                      <a:pt x="4633" y="4264"/>
                    </a:lnTo>
                    <a:lnTo>
                      <a:pt x="4625" y="4251"/>
                    </a:lnTo>
                    <a:lnTo>
                      <a:pt x="4617" y="4240"/>
                    </a:lnTo>
                    <a:lnTo>
                      <a:pt x="4607" y="4228"/>
                    </a:lnTo>
                    <a:lnTo>
                      <a:pt x="4593" y="4214"/>
                    </a:lnTo>
                    <a:lnTo>
                      <a:pt x="4579" y="4200"/>
                    </a:lnTo>
                    <a:lnTo>
                      <a:pt x="4564" y="4189"/>
                    </a:lnTo>
                    <a:lnTo>
                      <a:pt x="4551" y="4180"/>
                    </a:lnTo>
                    <a:lnTo>
                      <a:pt x="4538" y="4168"/>
                    </a:lnTo>
                    <a:lnTo>
                      <a:pt x="4531" y="4161"/>
                    </a:lnTo>
                    <a:lnTo>
                      <a:pt x="4525" y="4152"/>
                    </a:lnTo>
                    <a:lnTo>
                      <a:pt x="4519" y="4144"/>
                    </a:lnTo>
                    <a:lnTo>
                      <a:pt x="4513" y="4133"/>
                    </a:lnTo>
                    <a:lnTo>
                      <a:pt x="4506" y="4114"/>
                    </a:lnTo>
                    <a:lnTo>
                      <a:pt x="4501" y="4099"/>
                    </a:lnTo>
                    <a:lnTo>
                      <a:pt x="4499" y="4093"/>
                    </a:lnTo>
                    <a:lnTo>
                      <a:pt x="4497" y="4087"/>
                    </a:lnTo>
                    <a:lnTo>
                      <a:pt x="4493" y="4081"/>
                    </a:lnTo>
                    <a:lnTo>
                      <a:pt x="4488" y="4076"/>
                    </a:lnTo>
                    <a:lnTo>
                      <a:pt x="4480" y="4070"/>
                    </a:lnTo>
                    <a:lnTo>
                      <a:pt x="4472" y="4062"/>
                    </a:lnTo>
                    <a:lnTo>
                      <a:pt x="4468" y="4052"/>
                    </a:lnTo>
                    <a:lnTo>
                      <a:pt x="4466" y="4042"/>
                    </a:lnTo>
                    <a:lnTo>
                      <a:pt x="4465" y="4031"/>
                    </a:lnTo>
                    <a:lnTo>
                      <a:pt x="4466" y="4020"/>
                    </a:lnTo>
                    <a:lnTo>
                      <a:pt x="4469" y="4010"/>
                    </a:lnTo>
                    <a:lnTo>
                      <a:pt x="4477" y="3995"/>
                    </a:lnTo>
                    <a:lnTo>
                      <a:pt x="4485" y="3979"/>
                    </a:lnTo>
                    <a:lnTo>
                      <a:pt x="4493" y="3960"/>
                    </a:lnTo>
                    <a:lnTo>
                      <a:pt x="4498" y="3947"/>
                    </a:lnTo>
                    <a:lnTo>
                      <a:pt x="4501" y="3932"/>
                    </a:lnTo>
                    <a:lnTo>
                      <a:pt x="4506" y="3918"/>
                    </a:lnTo>
                    <a:lnTo>
                      <a:pt x="4510" y="3904"/>
                    </a:lnTo>
                    <a:lnTo>
                      <a:pt x="4515" y="3888"/>
                    </a:lnTo>
                    <a:lnTo>
                      <a:pt x="4519" y="3872"/>
                    </a:lnTo>
                    <a:lnTo>
                      <a:pt x="4524" y="3856"/>
                    </a:lnTo>
                    <a:lnTo>
                      <a:pt x="4529" y="3840"/>
                    </a:lnTo>
                    <a:lnTo>
                      <a:pt x="4540" y="3815"/>
                    </a:lnTo>
                    <a:lnTo>
                      <a:pt x="4551" y="3792"/>
                    </a:lnTo>
                    <a:lnTo>
                      <a:pt x="4563" y="3771"/>
                    </a:lnTo>
                    <a:lnTo>
                      <a:pt x="4576" y="3754"/>
                    </a:lnTo>
                    <a:lnTo>
                      <a:pt x="4589" y="3746"/>
                    </a:lnTo>
                    <a:lnTo>
                      <a:pt x="4601" y="3739"/>
                    </a:lnTo>
                    <a:lnTo>
                      <a:pt x="4616" y="3727"/>
                    </a:lnTo>
                    <a:lnTo>
                      <a:pt x="4629" y="3720"/>
                    </a:lnTo>
                    <a:lnTo>
                      <a:pt x="4635" y="3717"/>
                    </a:lnTo>
                    <a:lnTo>
                      <a:pt x="4641" y="3716"/>
                    </a:lnTo>
                    <a:lnTo>
                      <a:pt x="4647" y="3716"/>
                    </a:lnTo>
                    <a:lnTo>
                      <a:pt x="4654" y="3716"/>
                    </a:lnTo>
                    <a:lnTo>
                      <a:pt x="4670" y="3718"/>
                    </a:lnTo>
                    <a:lnTo>
                      <a:pt x="4685" y="3721"/>
                    </a:lnTo>
                    <a:lnTo>
                      <a:pt x="4699" y="3722"/>
                    </a:lnTo>
                    <a:lnTo>
                      <a:pt x="4719" y="3723"/>
                    </a:lnTo>
                    <a:lnTo>
                      <a:pt x="4742" y="3722"/>
                    </a:lnTo>
                    <a:lnTo>
                      <a:pt x="4763" y="3723"/>
                    </a:lnTo>
                    <a:lnTo>
                      <a:pt x="4771" y="3724"/>
                    </a:lnTo>
                    <a:lnTo>
                      <a:pt x="4780" y="3725"/>
                    </a:lnTo>
                    <a:lnTo>
                      <a:pt x="4787" y="3729"/>
                    </a:lnTo>
                    <a:lnTo>
                      <a:pt x="4792" y="3734"/>
                    </a:lnTo>
                    <a:lnTo>
                      <a:pt x="4801" y="3748"/>
                    </a:lnTo>
                    <a:lnTo>
                      <a:pt x="4809" y="3764"/>
                    </a:lnTo>
                    <a:lnTo>
                      <a:pt x="4815" y="3772"/>
                    </a:lnTo>
                    <a:lnTo>
                      <a:pt x="4821" y="3780"/>
                    </a:lnTo>
                    <a:lnTo>
                      <a:pt x="4830" y="3787"/>
                    </a:lnTo>
                    <a:lnTo>
                      <a:pt x="4839" y="3793"/>
                    </a:lnTo>
                    <a:lnTo>
                      <a:pt x="4850" y="3798"/>
                    </a:lnTo>
                    <a:lnTo>
                      <a:pt x="4863" y="3804"/>
                    </a:lnTo>
                    <a:lnTo>
                      <a:pt x="4877" y="3809"/>
                    </a:lnTo>
                    <a:lnTo>
                      <a:pt x="4891" y="3815"/>
                    </a:lnTo>
                    <a:lnTo>
                      <a:pt x="4920" y="3823"/>
                    </a:lnTo>
                    <a:lnTo>
                      <a:pt x="4943" y="3827"/>
                    </a:lnTo>
                    <a:lnTo>
                      <a:pt x="4963" y="3830"/>
                    </a:lnTo>
                    <a:lnTo>
                      <a:pt x="4990" y="3835"/>
                    </a:lnTo>
                    <a:lnTo>
                      <a:pt x="5019" y="3838"/>
                    </a:lnTo>
                    <a:lnTo>
                      <a:pt x="5044" y="3841"/>
                    </a:lnTo>
                    <a:lnTo>
                      <a:pt x="5067" y="3842"/>
                    </a:lnTo>
                    <a:lnTo>
                      <a:pt x="5091" y="3846"/>
                    </a:lnTo>
                    <a:lnTo>
                      <a:pt x="5111" y="3848"/>
                    </a:lnTo>
                    <a:lnTo>
                      <a:pt x="5128" y="3849"/>
                    </a:lnTo>
                    <a:lnTo>
                      <a:pt x="5135" y="3849"/>
                    </a:lnTo>
                    <a:lnTo>
                      <a:pt x="5141" y="3849"/>
                    </a:lnTo>
                    <a:lnTo>
                      <a:pt x="5147" y="3847"/>
                    </a:lnTo>
                    <a:lnTo>
                      <a:pt x="5153" y="3844"/>
                    </a:lnTo>
                    <a:lnTo>
                      <a:pt x="5159" y="3841"/>
                    </a:lnTo>
                    <a:lnTo>
                      <a:pt x="5165" y="3837"/>
                    </a:lnTo>
                    <a:lnTo>
                      <a:pt x="5171" y="3831"/>
                    </a:lnTo>
                    <a:lnTo>
                      <a:pt x="5178" y="3824"/>
                    </a:lnTo>
                    <a:lnTo>
                      <a:pt x="5191" y="3809"/>
                    </a:lnTo>
                    <a:lnTo>
                      <a:pt x="5205" y="3794"/>
                    </a:lnTo>
                    <a:lnTo>
                      <a:pt x="5214" y="3788"/>
                    </a:lnTo>
                    <a:lnTo>
                      <a:pt x="5222" y="3783"/>
                    </a:lnTo>
                    <a:lnTo>
                      <a:pt x="5230" y="3778"/>
                    </a:lnTo>
                    <a:lnTo>
                      <a:pt x="5239" y="3773"/>
                    </a:lnTo>
                    <a:lnTo>
                      <a:pt x="5255" y="3767"/>
                    </a:lnTo>
                    <a:lnTo>
                      <a:pt x="5268" y="3760"/>
                    </a:lnTo>
                    <a:lnTo>
                      <a:pt x="5274" y="3756"/>
                    </a:lnTo>
                    <a:lnTo>
                      <a:pt x="5280" y="3752"/>
                    </a:lnTo>
                    <a:lnTo>
                      <a:pt x="5285" y="3746"/>
                    </a:lnTo>
                    <a:lnTo>
                      <a:pt x="5291" y="3739"/>
                    </a:lnTo>
                    <a:lnTo>
                      <a:pt x="5300" y="3725"/>
                    </a:lnTo>
                    <a:lnTo>
                      <a:pt x="5307" y="3716"/>
                    </a:lnTo>
                    <a:lnTo>
                      <a:pt x="5316" y="3708"/>
                    </a:lnTo>
                    <a:lnTo>
                      <a:pt x="5329" y="3696"/>
                    </a:lnTo>
                    <a:lnTo>
                      <a:pt x="5344" y="3682"/>
                    </a:lnTo>
                    <a:lnTo>
                      <a:pt x="5360" y="3666"/>
                    </a:lnTo>
                    <a:lnTo>
                      <a:pt x="5373" y="3651"/>
                    </a:lnTo>
                    <a:lnTo>
                      <a:pt x="5384" y="3636"/>
                    </a:lnTo>
                    <a:lnTo>
                      <a:pt x="5392" y="3623"/>
                    </a:lnTo>
                    <a:lnTo>
                      <a:pt x="5398" y="3609"/>
                    </a:lnTo>
                    <a:lnTo>
                      <a:pt x="5404" y="3595"/>
                    </a:lnTo>
                    <a:lnTo>
                      <a:pt x="5407" y="3580"/>
                    </a:lnTo>
                    <a:lnTo>
                      <a:pt x="5409" y="3573"/>
                    </a:lnTo>
                    <a:lnTo>
                      <a:pt x="5412" y="3567"/>
                    </a:lnTo>
                    <a:lnTo>
                      <a:pt x="5416" y="3561"/>
                    </a:lnTo>
                    <a:lnTo>
                      <a:pt x="5420" y="3557"/>
                    </a:lnTo>
                    <a:lnTo>
                      <a:pt x="5425" y="3552"/>
                    </a:lnTo>
                    <a:lnTo>
                      <a:pt x="5431" y="3548"/>
                    </a:lnTo>
                    <a:lnTo>
                      <a:pt x="5437" y="3545"/>
                    </a:lnTo>
                    <a:lnTo>
                      <a:pt x="5442" y="3542"/>
                    </a:lnTo>
                    <a:lnTo>
                      <a:pt x="5454" y="3539"/>
                    </a:lnTo>
                    <a:lnTo>
                      <a:pt x="5469" y="3538"/>
                    </a:lnTo>
                    <a:lnTo>
                      <a:pt x="5477" y="3538"/>
                    </a:lnTo>
                    <a:lnTo>
                      <a:pt x="5486" y="3539"/>
                    </a:lnTo>
                    <a:lnTo>
                      <a:pt x="5495" y="3540"/>
                    </a:lnTo>
                    <a:lnTo>
                      <a:pt x="5504" y="3544"/>
                    </a:lnTo>
                    <a:lnTo>
                      <a:pt x="5523" y="3548"/>
                    </a:lnTo>
                    <a:lnTo>
                      <a:pt x="5543" y="3552"/>
                    </a:lnTo>
                    <a:lnTo>
                      <a:pt x="5552" y="3553"/>
                    </a:lnTo>
                    <a:lnTo>
                      <a:pt x="5562" y="3554"/>
                    </a:lnTo>
                    <a:lnTo>
                      <a:pt x="5571" y="3554"/>
                    </a:lnTo>
                    <a:lnTo>
                      <a:pt x="5580" y="3553"/>
                    </a:lnTo>
                    <a:lnTo>
                      <a:pt x="5599" y="3548"/>
                    </a:lnTo>
                    <a:lnTo>
                      <a:pt x="5622" y="3544"/>
                    </a:lnTo>
                    <a:lnTo>
                      <a:pt x="5646" y="3538"/>
                    </a:lnTo>
                    <a:lnTo>
                      <a:pt x="5668" y="3534"/>
                    </a:lnTo>
                    <a:lnTo>
                      <a:pt x="5688" y="3532"/>
                    </a:lnTo>
                    <a:lnTo>
                      <a:pt x="5712" y="3526"/>
                    </a:lnTo>
                    <a:lnTo>
                      <a:pt x="5725" y="3521"/>
                    </a:lnTo>
                    <a:lnTo>
                      <a:pt x="5737" y="3514"/>
                    </a:lnTo>
                    <a:lnTo>
                      <a:pt x="5747" y="3507"/>
                    </a:lnTo>
                    <a:lnTo>
                      <a:pt x="5758" y="3496"/>
                    </a:lnTo>
                    <a:lnTo>
                      <a:pt x="5778" y="3475"/>
                    </a:lnTo>
                    <a:lnTo>
                      <a:pt x="5798" y="3452"/>
                    </a:lnTo>
                    <a:lnTo>
                      <a:pt x="5816" y="3433"/>
                    </a:lnTo>
                    <a:lnTo>
                      <a:pt x="5832" y="3418"/>
                    </a:lnTo>
                    <a:lnTo>
                      <a:pt x="5838" y="3413"/>
                    </a:lnTo>
                    <a:lnTo>
                      <a:pt x="5845" y="3408"/>
                    </a:lnTo>
                    <a:lnTo>
                      <a:pt x="5851" y="3405"/>
                    </a:lnTo>
                    <a:lnTo>
                      <a:pt x="5857" y="3402"/>
                    </a:lnTo>
                    <a:lnTo>
                      <a:pt x="5867" y="3401"/>
                    </a:lnTo>
                    <a:lnTo>
                      <a:pt x="5876" y="3401"/>
                    </a:lnTo>
                    <a:lnTo>
                      <a:pt x="5879" y="3400"/>
                    </a:lnTo>
                    <a:lnTo>
                      <a:pt x="5883" y="3399"/>
                    </a:lnTo>
                    <a:lnTo>
                      <a:pt x="5888" y="3395"/>
                    </a:lnTo>
                    <a:lnTo>
                      <a:pt x="5894" y="3392"/>
                    </a:lnTo>
                    <a:lnTo>
                      <a:pt x="5898" y="3386"/>
                    </a:lnTo>
                    <a:lnTo>
                      <a:pt x="5904" y="3380"/>
                    </a:lnTo>
                    <a:lnTo>
                      <a:pt x="5909" y="3371"/>
                    </a:lnTo>
                    <a:lnTo>
                      <a:pt x="5914" y="3364"/>
                    </a:lnTo>
                    <a:lnTo>
                      <a:pt x="5916" y="3356"/>
                    </a:lnTo>
                    <a:lnTo>
                      <a:pt x="5917" y="3349"/>
                    </a:lnTo>
                    <a:lnTo>
                      <a:pt x="5917" y="3343"/>
                    </a:lnTo>
                    <a:lnTo>
                      <a:pt x="5916" y="3337"/>
                    </a:lnTo>
                    <a:lnTo>
                      <a:pt x="5911" y="3324"/>
                    </a:lnTo>
                    <a:lnTo>
                      <a:pt x="5908" y="3308"/>
                    </a:lnTo>
                    <a:lnTo>
                      <a:pt x="5909" y="3299"/>
                    </a:lnTo>
                    <a:lnTo>
                      <a:pt x="5911" y="3286"/>
                    </a:lnTo>
                    <a:lnTo>
                      <a:pt x="5917" y="3273"/>
                    </a:lnTo>
                    <a:lnTo>
                      <a:pt x="5923" y="3257"/>
                    </a:lnTo>
                    <a:lnTo>
                      <a:pt x="5932" y="3242"/>
                    </a:lnTo>
                    <a:lnTo>
                      <a:pt x="5940" y="3227"/>
                    </a:lnTo>
                    <a:lnTo>
                      <a:pt x="5948" y="3213"/>
                    </a:lnTo>
                    <a:lnTo>
                      <a:pt x="5957" y="3201"/>
                    </a:lnTo>
                    <a:lnTo>
                      <a:pt x="5971" y="3179"/>
                    </a:lnTo>
                    <a:lnTo>
                      <a:pt x="5984" y="3157"/>
                    </a:lnTo>
                    <a:lnTo>
                      <a:pt x="5991" y="3148"/>
                    </a:lnTo>
                    <a:lnTo>
                      <a:pt x="5998" y="3138"/>
                    </a:lnTo>
                    <a:lnTo>
                      <a:pt x="6006" y="3130"/>
                    </a:lnTo>
                    <a:lnTo>
                      <a:pt x="6015" y="3123"/>
                    </a:lnTo>
                    <a:lnTo>
                      <a:pt x="6035" y="3112"/>
                    </a:lnTo>
                    <a:lnTo>
                      <a:pt x="6055" y="3103"/>
                    </a:lnTo>
                    <a:lnTo>
                      <a:pt x="6066" y="3099"/>
                    </a:lnTo>
                    <a:lnTo>
                      <a:pt x="6075" y="3097"/>
                    </a:lnTo>
                    <a:lnTo>
                      <a:pt x="6084" y="3094"/>
                    </a:lnTo>
                    <a:lnTo>
                      <a:pt x="6092" y="3093"/>
                    </a:lnTo>
                    <a:lnTo>
                      <a:pt x="6110" y="3093"/>
                    </a:lnTo>
                    <a:lnTo>
                      <a:pt x="6132" y="3092"/>
                    </a:lnTo>
                    <a:lnTo>
                      <a:pt x="6155" y="3092"/>
                    </a:lnTo>
                    <a:lnTo>
                      <a:pt x="6173" y="3091"/>
                    </a:lnTo>
                    <a:lnTo>
                      <a:pt x="6188" y="3091"/>
                    </a:lnTo>
                    <a:lnTo>
                      <a:pt x="6205" y="3088"/>
                    </a:lnTo>
                    <a:lnTo>
                      <a:pt x="6213" y="3086"/>
                    </a:lnTo>
                    <a:lnTo>
                      <a:pt x="6220" y="3082"/>
                    </a:lnTo>
                    <a:lnTo>
                      <a:pt x="6226" y="3078"/>
                    </a:lnTo>
                    <a:lnTo>
                      <a:pt x="6231" y="3071"/>
                    </a:lnTo>
                    <a:lnTo>
                      <a:pt x="6233" y="3063"/>
                    </a:lnTo>
                    <a:lnTo>
                      <a:pt x="6236" y="3054"/>
                    </a:lnTo>
                    <a:lnTo>
                      <a:pt x="6237" y="3043"/>
                    </a:lnTo>
                    <a:lnTo>
                      <a:pt x="6238" y="3034"/>
                    </a:lnTo>
                    <a:lnTo>
                      <a:pt x="6239" y="3023"/>
                    </a:lnTo>
                    <a:lnTo>
                      <a:pt x="6242" y="3014"/>
                    </a:lnTo>
                    <a:lnTo>
                      <a:pt x="6244" y="3004"/>
                    </a:lnTo>
                    <a:lnTo>
                      <a:pt x="6248" y="2997"/>
                    </a:lnTo>
                    <a:lnTo>
                      <a:pt x="6253" y="2991"/>
                    </a:lnTo>
                    <a:lnTo>
                      <a:pt x="6258" y="2986"/>
                    </a:lnTo>
                    <a:lnTo>
                      <a:pt x="6264" y="2984"/>
                    </a:lnTo>
                    <a:lnTo>
                      <a:pt x="6270" y="2981"/>
                    </a:lnTo>
                    <a:lnTo>
                      <a:pt x="6282" y="2979"/>
                    </a:lnTo>
                    <a:lnTo>
                      <a:pt x="6292" y="2977"/>
                    </a:lnTo>
                    <a:lnTo>
                      <a:pt x="6295" y="2975"/>
                    </a:lnTo>
                    <a:lnTo>
                      <a:pt x="6298" y="2977"/>
                    </a:lnTo>
                    <a:lnTo>
                      <a:pt x="6301" y="2979"/>
                    </a:lnTo>
                    <a:lnTo>
                      <a:pt x="6304" y="2983"/>
                    </a:lnTo>
                    <a:lnTo>
                      <a:pt x="6310" y="2990"/>
                    </a:lnTo>
                    <a:lnTo>
                      <a:pt x="6317" y="2998"/>
                    </a:lnTo>
                    <a:lnTo>
                      <a:pt x="6321" y="3000"/>
                    </a:lnTo>
                    <a:lnTo>
                      <a:pt x="6329" y="3003"/>
                    </a:lnTo>
                    <a:lnTo>
                      <a:pt x="6336" y="3005"/>
                    </a:lnTo>
                    <a:lnTo>
                      <a:pt x="6343" y="3006"/>
                    </a:lnTo>
                    <a:lnTo>
                      <a:pt x="6351" y="3008"/>
                    </a:lnTo>
                    <a:lnTo>
                      <a:pt x="6358" y="3005"/>
                    </a:lnTo>
                    <a:lnTo>
                      <a:pt x="6365" y="3003"/>
                    </a:lnTo>
                    <a:lnTo>
                      <a:pt x="6371" y="2997"/>
                    </a:lnTo>
                    <a:lnTo>
                      <a:pt x="6380" y="2986"/>
                    </a:lnTo>
                    <a:lnTo>
                      <a:pt x="6387" y="2977"/>
                    </a:lnTo>
                    <a:lnTo>
                      <a:pt x="6395" y="2967"/>
                    </a:lnTo>
                    <a:lnTo>
                      <a:pt x="6408" y="2956"/>
                    </a:lnTo>
                    <a:lnTo>
                      <a:pt x="6428" y="2943"/>
                    </a:lnTo>
                    <a:lnTo>
                      <a:pt x="6453" y="2930"/>
                    </a:lnTo>
                    <a:lnTo>
                      <a:pt x="6478" y="2917"/>
                    </a:lnTo>
                    <a:lnTo>
                      <a:pt x="6497" y="2910"/>
                    </a:lnTo>
                    <a:lnTo>
                      <a:pt x="6510" y="2907"/>
                    </a:lnTo>
                    <a:lnTo>
                      <a:pt x="6522" y="2904"/>
                    </a:lnTo>
                    <a:lnTo>
                      <a:pt x="6535" y="2904"/>
                    </a:lnTo>
                    <a:lnTo>
                      <a:pt x="6550" y="2907"/>
                    </a:lnTo>
                    <a:lnTo>
                      <a:pt x="6565" y="2909"/>
                    </a:lnTo>
                    <a:lnTo>
                      <a:pt x="6577" y="2909"/>
                    </a:lnTo>
                    <a:lnTo>
                      <a:pt x="6588" y="2909"/>
                    </a:lnTo>
                    <a:lnTo>
                      <a:pt x="6597" y="2908"/>
                    </a:lnTo>
                    <a:lnTo>
                      <a:pt x="6604" y="2908"/>
                    </a:lnTo>
                    <a:lnTo>
                      <a:pt x="6610" y="2907"/>
                    </a:lnTo>
                    <a:lnTo>
                      <a:pt x="6616" y="2905"/>
                    </a:lnTo>
                    <a:lnTo>
                      <a:pt x="6623" y="2902"/>
                    </a:lnTo>
                    <a:lnTo>
                      <a:pt x="6629" y="2893"/>
                    </a:lnTo>
                    <a:lnTo>
                      <a:pt x="6635" y="2883"/>
                    </a:lnTo>
                    <a:lnTo>
                      <a:pt x="6639" y="2877"/>
                    </a:lnTo>
                    <a:lnTo>
                      <a:pt x="6644" y="2872"/>
                    </a:lnTo>
                    <a:lnTo>
                      <a:pt x="6650" y="2869"/>
                    </a:lnTo>
                    <a:lnTo>
                      <a:pt x="6657" y="2865"/>
                    </a:lnTo>
                    <a:lnTo>
                      <a:pt x="6664" y="2864"/>
                    </a:lnTo>
                    <a:lnTo>
                      <a:pt x="6671" y="2864"/>
                    </a:lnTo>
                    <a:lnTo>
                      <a:pt x="6678" y="2865"/>
                    </a:lnTo>
                    <a:lnTo>
                      <a:pt x="6684" y="2866"/>
                    </a:lnTo>
                    <a:lnTo>
                      <a:pt x="6694" y="2870"/>
                    </a:lnTo>
                    <a:lnTo>
                      <a:pt x="6699" y="2874"/>
                    </a:lnTo>
                    <a:lnTo>
                      <a:pt x="6714" y="2884"/>
                    </a:lnTo>
                    <a:lnTo>
                      <a:pt x="6734" y="2899"/>
                    </a:lnTo>
                    <a:lnTo>
                      <a:pt x="6743" y="2910"/>
                    </a:lnTo>
                    <a:lnTo>
                      <a:pt x="6753" y="2917"/>
                    </a:lnTo>
                    <a:lnTo>
                      <a:pt x="6757" y="2920"/>
                    </a:lnTo>
                    <a:lnTo>
                      <a:pt x="6761" y="2921"/>
                    </a:lnTo>
                    <a:lnTo>
                      <a:pt x="6766" y="2921"/>
                    </a:lnTo>
                    <a:lnTo>
                      <a:pt x="6770" y="2918"/>
                    </a:lnTo>
                    <a:lnTo>
                      <a:pt x="6778" y="2913"/>
                    </a:lnTo>
                    <a:lnTo>
                      <a:pt x="6785" y="2908"/>
                    </a:lnTo>
                    <a:lnTo>
                      <a:pt x="6795" y="2903"/>
                    </a:lnTo>
                    <a:lnTo>
                      <a:pt x="6808" y="2898"/>
                    </a:lnTo>
                    <a:lnTo>
                      <a:pt x="6811" y="2898"/>
                    </a:lnTo>
                    <a:lnTo>
                      <a:pt x="6815" y="2898"/>
                    </a:lnTo>
                    <a:lnTo>
                      <a:pt x="6817" y="2899"/>
                    </a:lnTo>
                    <a:lnTo>
                      <a:pt x="6821" y="2901"/>
                    </a:lnTo>
                    <a:lnTo>
                      <a:pt x="6827" y="2904"/>
                    </a:lnTo>
                    <a:lnTo>
                      <a:pt x="6833" y="2909"/>
                    </a:lnTo>
                    <a:lnTo>
                      <a:pt x="6837" y="2914"/>
                    </a:lnTo>
                    <a:lnTo>
                      <a:pt x="6845" y="2917"/>
                    </a:lnTo>
                    <a:lnTo>
                      <a:pt x="6848" y="2917"/>
                    </a:lnTo>
                    <a:lnTo>
                      <a:pt x="6852" y="2918"/>
                    </a:lnTo>
                    <a:lnTo>
                      <a:pt x="6855" y="2918"/>
                    </a:lnTo>
                    <a:lnTo>
                      <a:pt x="6860" y="2917"/>
                    </a:lnTo>
                    <a:lnTo>
                      <a:pt x="6866" y="2916"/>
                    </a:lnTo>
                    <a:lnTo>
                      <a:pt x="6871" y="2917"/>
                    </a:lnTo>
                    <a:lnTo>
                      <a:pt x="6874" y="2918"/>
                    </a:lnTo>
                    <a:lnTo>
                      <a:pt x="6878" y="2921"/>
                    </a:lnTo>
                    <a:lnTo>
                      <a:pt x="6884" y="2927"/>
                    </a:lnTo>
                    <a:lnTo>
                      <a:pt x="6888" y="2930"/>
                    </a:lnTo>
                    <a:lnTo>
                      <a:pt x="6896" y="2932"/>
                    </a:lnTo>
                    <a:lnTo>
                      <a:pt x="6900" y="2930"/>
                    </a:lnTo>
                    <a:lnTo>
                      <a:pt x="6903" y="2927"/>
                    </a:lnTo>
                    <a:lnTo>
                      <a:pt x="6905" y="2923"/>
                    </a:lnTo>
                    <a:lnTo>
                      <a:pt x="6908" y="2918"/>
                    </a:lnTo>
                    <a:lnTo>
                      <a:pt x="6911" y="2915"/>
                    </a:lnTo>
                    <a:lnTo>
                      <a:pt x="6916" y="2911"/>
                    </a:lnTo>
                    <a:lnTo>
                      <a:pt x="6924" y="2910"/>
                    </a:lnTo>
                    <a:lnTo>
                      <a:pt x="6928" y="2909"/>
                    </a:lnTo>
                    <a:lnTo>
                      <a:pt x="6931" y="2908"/>
                    </a:lnTo>
                    <a:lnTo>
                      <a:pt x="6934" y="2907"/>
                    </a:lnTo>
                    <a:lnTo>
                      <a:pt x="6935" y="2904"/>
                    </a:lnTo>
                    <a:lnTo>
                      <a:pt x="6937" y="2901"/>
                    </a:lnTo>
                    <a:lnTo>
                      <a:pt x="6938" y="2895"/>
                    </a:lnTo>
                    <a:lnTo>
                      <a:pt x="6940" y="2890"/>
                    </a:lnTo>
                    <a:lnTo>
                      <a:pt x="6942" y="2885"/>
                    </a:lnTo>
                    <a:lnTo>
                      <a:pt x="6943" y="2884"/>
                    </a:lnTo>
                    <a:lnTo>
                      <a:pt x="6947" y="2883"/>
                    </a:lnTo>
                    <a:lnTo>
                      <a:pt x="6950" y="2882"/>
                    </a:lnTo>
                    <a:lnTo>
                      <a:pt x="6955" y="2882"/>
                    </a:lnTo>
                    <a:lnTo>
                      <a:pt x="6960" y="2882"/>
                    </a:lnTo>
                    <a:lnTo>
                      <a:pt x="6963" y="2880"/>
                    </a:lnTo>
                    <a:lnTo>
                      <a:pt x="6967" y="2878"/>
                    </a:lnTo>
                    <a:lnTo>
                      <a:pt x="6971" y="2876"/>
                    </a:lnTo>
                    <a:lnTo>
                      <a:pt x="6975" y="2871"/>
                    </a:lnTo>
                    <a:lnTo>
                      <a:pt x="6978" y="2863"/>
                    </a:lnTo>
                    <a:lnTo>
                      <a:pt x="6979" y="2854"/>
                    </a:lnTo>
                    <a:lnTo>
                      <a:pt x="6980" y="2845"/>
                    </a:lnTo>
                    <a:lnTo>
                      <a:pt x="6980" y="2835"/>
                    </a:lnTo>
                    <a:lnTo>
                      <a:pt x="6979" y="2826"/>
                    </a:lnTo>
                    <a:lnTo>
                      <a:pt x="6979" y="2816"/>
                    </a:lnTo>
                    <a:lnTo>
                      <a:pt x="6978" y="2808"/>
                    </a:lnTo>
                    <a:lnTo>
                      <a:pt x="6975" y="2800"/>
                    </a:lnTo>
                    <a:lnTo>
                      <a:pt x="6973" y="2792"/>
                    </a:lnTo>
                    <a:lnTo>
                      <a:pt x="6971" y="2787"/>
                    </a:lnTo>
                    <a:lnTo>
                      <a:pt x="6967" y="2781"/>
                    </a:lnTo>
                    <a:lnTo>
                      <a:pt x="6962" y="2775"/>
                    </a:lnTo>
                    <a:lnTo>
                      <a:pt x="6957" y="2770"/>
                    </a:lnTo>
                    <a:lnTo>
                      <a:pt x="6949" y="2759"/>
                    </a:lnTo>
                    <a:lnTo>
                      <a:pt x="6942" y="2747"/>
                    </a:lnTo>
                    <a:lnTo>
                      <a:pt x="6936" y="2735"/>
                    </a:lnTo>
                    <a:lnTo>
                      <a:pt x="6931" y="2722"/>
                    </a:lnTo>
                    <a:lnTo>
                      <a:pt x="6928" y="2710"/>
                    </a:lnTo>
                    <a:lnTo>
                      <a:pt x="6924" y="2699"/>
                    </a:lnTo>
                    <a:lnTo>
                      <a:pt x="6921" y="2693"/>
                    </a:lnTo>
                    <a:lnTo>
                      <a:pt x="6917" y="2685"/>
                    </a:lnTo>
                    <a:lnTo>
                      <a:pt x="6911" y="2680"/>
                    </a:lnTo>
                    <a:lnTo>
                      <a:pt x="6905" y="2672"/>
                    </a:lnTo>
                    <a:lnTo>
                      <a:pt x="6897" y="2665"/>
                    </a:lnTo>
                    <a:lnTo>
                      <a:pt x="6890" y="2661"/>
                    </a:lnTo>
                    <a:lnTo>
                      <a:pt x="6881" y="2656"/>
                    </a:lnTo>
                    <a:lnTo>
                      <a:pt x="6874" y="2652"/>
                    </a:lnTo>
                    <a:lnTo>
                      <a:pt x="6867" y="2650"/>
                    </a:lnTo>
                    <a:lnTo>
                      <a:pt x="6861" y="2646"/>
                    </a:lnTo>
                    <a:lnTo>
                      <a:pt x="6856" y="2643"/>
                    </a:lnTo>
                    <a:lnTo>
                      <a:pt x="6852" y="2638"/>
                    </a:lnTo>
                    <a:lnTo>
                      <a:pt x="6843" y="2627"/>
                    </a:lnTo>
                    <a:lnTo>
                      <a:pt x="6831" y="2615"/>
                    </a:lnTo>
                    <a:lnTo>
                      <a:pt x="6818" y="2603"/>
                    </a:lnTo>
                    <a:lnTo>
                      <a:pt x="6806" y="2594"/>
                    </a:lnTo>
                    <a:lnTo>
                      <a:pt x="6796" y="2588"/>
                    </a:lnTo>
                    <a:lnTo>
                      <a:pt x="6786" y="2583"/>
                    </a:lnTo>
                    <a:lnTo>
                      <a:pt x="6784" y="2580"/>
                    </a:lnTo>
                    <a:lnTo>
                      <a:pt x="6780" y="2577"/>
                    </a:lnTo>
                    <a:lnTo>
                      <a:pt x="6779" y="2573"/>
                    </a:lnTo>
                    <a:lnTo>
                      <a:pt x="6778" y="2568"/>
                    </a:lnTo>
                    <a:lnTo>
                      <a:pt x="6777" y="2564"/>
                    </a:lnTo>
                    <a:lnTo>
                      <a:pt x="6776" y="2561"/>
                    </a:lnTo>
                    <a:lnTo>
                      <a:pt x="6773" y="2557"/>
                    </a:lnTo>
                    <a:lnTo>
                      <a:pt x="6770" y="2555"/>
                    </a:lnTo>
                    <a:lnTo>
                      <a:pt x="6764" y="2552"/>
                    </a:lnTo>
                    <a:lnTo>
                      <a:pt x="6755" y="2548"/>
                    </a:lnTo>
                    <a:lnTo>
                      <a:pt x="6746" y="2544"/>
                    </a:lnTo>
                    <a:lnTo>
                      <a:pt x="6736" y="2539"/>
                    </a:lnTo>
                    <a:lnTo>
                      <a:pt x="6732" y="2535"/>
                    </a:lnTo>
                    <a:lnTo>
                      <a:pt x="6727" y="2529"/>
                    </a:lnTo>
                    <a:lnTo>
                      <a:pt x="6722" y="2521"/>
                    </a:lnTo>
                    <a:lnTo>
                      <a:pt x="6719" y="2512"/>
                    </a:lnTo>
                    <a:lnTo>
                      <a:pt x="6715" y="2502"/>
                    </a:lnTo>
                    <a:lnTo>
                      <a:pt x="6710" y="2494"/>
                    </a:lnTo>
                    <a:lnTo>
                      <a:pt x="6705" y="2488"/>
                    </a:lnTo>
                    <a:lnTo>
                      <a:pt x="6701" y="2483"/>
                    </a:lnTo>
                    <a:lnTo>
                      <a:pt x="6695" y="2479"/>
                    </a:lnTo>
                    <a:lnTo>
                      <a:pt x="6689" y="2476"/>
                    </a:lnTo>
                    <a:lnTo>
                      <a:pt x="6683" y="2473"/>
                    </a:lnTo>
                    <a:lnTo>
                      <a:pt x="6676" y="2470"/>
                    </a:lnTo>
                    <a:lnTo>
                      <a:pt x="6660" y="2464"/>
                    </a:lnTo>
                    <a:lnTo>
                      <a:pt x="6645" y="2460"/>
                    </a:lnTo>
                    <a:lnTo>
                      <a:pt x="6632" y="2455"/>
                    </a:lnTo>
                    <a:lnTo>
                      <a:pt x="6621" y="2451"/>
                    </a:lnTo>
                    <a:lnTo>
                      <a:pt x="6612" y="2450"/>
                    </a:lnTo>
                    <a:lnTo>
                      <a:pt x="6602" y="2448"/>
                    </a:lnTo>
                    <a:lnTo>
                      <a:pt x="6597" y="2445"/>
                    </a:lnTo>
                    <a:lnTo>
                      <a:pt x="6591" y="2442"/>
                    </a:lnTo>
                    <a:lnTo>
                      <a:pt x="6588" y="2437"/>
                    </a:lnTo>
                    <a:lnTo>
                      <a:pt x="6583" y="2431"/>
                    </a:lnTo>
                    <a:lnTo>
                      <a:pt x="6572" y="2414"/>
                    </a:lnTo>
                    <a:lnTo>
                      <a:pt x="6558" y="2395"/>
                    </a:lnTo>
                    <a:lnTo>
                      <a:pt x="6544" y="2376"/>
                    </a:lnTo>
                    <a:lnTo>
                      <a:pt x="6534" y="2365"/>
                    </a:lnTo>
                    <a:lnTo>
                      <a:pt x="6529" y="2361"/>
                    </a:lnTo>
                    <a:lnTo>
                      <a:pt x="6525" y="2357"/>
                    </a:lnTo>
                    <a:lnTo>
                      <a:pt x="6520" y="2356"/>
                    </a:lnTo>
                    <a:lnTo>
                      <a:pt x="6514" y="2354"/>
                    </a:lnTo>
                    <a:lnTo>
                      <a:pt x="6501" y="2351"/>
                    </a:lnTo>
                    <a:lnTo>
                      <a:pt x="6484" y="2351"/>
                    </a:lnTo>
                    <a:lnTo>
                      <a:pt x="6477" y="2350"/>
                    </a:lnTo>
                    <a:lnTo>
                      <a:pt x="6468" y="2349"/>
                    </a:lnTo>
                    <a:lnTo>
                      <a:pt x="6458" y="2350"/>
                    </a:lnTo>
                    <a:lnTo>
                      <a:pt x="6447" y="2350"/>
                    </a:lnTo>
                    <a:lnTo>
                      <a:pt x="6436" y="2348"/>
                    </a:lnTo>
                    <a:lnTo>
                      <a:pt x="6423" y="2347"/>
                    </a:lnTo>
                    <a:lnTo>
                      <a:pt x="6412" y="2349"/>
                    </a:lnTo>
                    <a:lnTo>
                      <a:pt x="6402" y="2351"/>
                    </a:lnTo>
                    <a:lnTo>
                      <a:pt x="6387" y="2353"/>
                    </a:lnTo>
                    <a:lnTo>
                      <a:pt x="6370" y="2354"/>
                    </a:lnTo>
                    <a:lnTo>
                      <a:pt x="6355" y="2355"/>
                    </a:lnTo>
                    <a:lnTo>
                      <a:pt x="6344" y="2356"/>
                    </a:lnTo>
                    <a:lnTo>
                      <a:pt x="6336" y="2359"/>
                    </a:lnTo>
                    <a:lnTo>
                      <a:pt x="6327" y="2361"/>
                    </a:lnTo>
                    <a:lnTo>
                      <a:pt x="6321" y="2363"/>
                    </a:lnTo>
                    <a:lnTo>
                      <a:pt x="6316" y="2367"/>
                    </a:lnTo>
                    <a:lnTo>
                      <a:pt x="6305" y="2376"/>
                    </a:lnTo>
                    <a:lnTo>
                      <a:pt x="6295" y="2387"/>
                    </a:lnTo>
                    <a:lnTo>
                      <a:pt x="6283" y="2404"/>
                    </a:lnTo>
                    <a:lnTo>
                      <a:pt x="6268" y="2426"/>
                    </a:lnTo>
                    <a:lnTo>
                      <a:pt x="6254" y="2449"/>
                    </a:lnTo>
                    <a:lnTo>
                      <a:pt x="6241" y="2467"/>
                    </a:lnTo>
                    <a:lnTo>
                      <a:pt x="6229" y="2482"/>
                    </a:lnTo>
                    <a:lnTo>
                      <a:pt x="6217" y="2499"/>
                    </a:lnTo>
                    <a:lnTo>
                      <a:pt x="6205" y="2513"/>
                    </a:lnTo>
                    <a:lnTo>
                      <a:pt x="6197" y="2523"/>
                    </a:lnTo>
                    <a:lnTo>
                      <a:pt x="6193" y="2525"/>
                    </a:lnTo>
                    <a:lnTo>
                      <a:pt x="6190" y="2525"/>
                    </a:lnTo>
                    <a:lnTo>
                      <a:pt x="6185" y="2525"/>
                    </a:lnTo>
                    <a:lnTo>
                      <a:pt x="6180" y="2524"/>
                    </a:lnTo>
                    <a:lnTo>
                      <a:pt x="6170" y="2518"/>
                    </a:lnTo>
                    <a:lnTo>
                      <a:pt x="6162" y="2510"/>
                    </a:lnTo>
                    <a:lnTo>
                      <a:pt x="6148" y="2498"/>
                    </a:lnTo>
                    <a:lnTo>
                      <a:pt x="6125" y="2480"/>
                    </a:lnTo>
                    <a:lnTo>
                      <a:pt x="6100" y="2461"/>
                    </a:lnTo>
                    <a:lnTo>
                      <a:pt x="6078" y="2447"/>
                    </a:lnTo>
                    <a:lnTo>
                      <a:pt x="6067" y="2441"/>
                    </a:lnTo>
                    <a:lnTo>
                      <a:pt x="6055" y="2437"/>
                    </a:lnTo>
                    <a:lnTo>
                      <a:pt x="6042" y="2434"/>
                    </a:lnTo>
                    <a:lnTo>
                      <a:pt x="6028" y="2432"/>
                    </a:lnTo>
                    <a:lnTo>
                      <a:pt x="6014" y="2432"/>
                    </a:lnTo>
                    <a:lnTo>
                      <a:pt x="6001" y="2434"/>
                    </a:lnTo>
                    <a:lnTo>
                      <a:pt x="5986" y="2436"/>
                    </a:lnTo>
                    <a:lnTo>
                      <a:pt x="5973" y="2441"/>
                    </a:lnTo>
                    <a:lnTo>
                      <a:pt x="5952" y="2450"/>
                    </a:lnTo>
                    <a:lnTo>
                      <a:pt x="5936" y="2457"/>
                    </a:lnTo>
                    <a:lnTo>
                      <a:pt x="5929" y="2460"/>
                    </a:lnTo>
                    <a:lnTo>
                      <a:pt x="5922" y="2461"/>
                    </a:lnTo>
                    <a:lnTo>
                      <a:pt x="5915" y="2461"/>
                    </a:lnTo>
                    <a:lnTo>
                      <a:pt x="5905" y="2460"/>
                    </a:lnTo>
                    <a:lnTo>
                      <a:pt x="5888" y="2456"/>
                    </a:lnTo>
                    <a:lnTo>
                      <a:pt x="5872" y="2454"/>
                    </a:lnTo>
                    <a:lnTo>
                      <a:pt x="5864" y="2454"/>
                    </a:lnTo>
                    <a:lnTo>
                      <a:pt x="5857" y="2455"/>
                    </a:lnTo>
                    <a:lnTo>
                      <a:pt x="5850" y="2458"/>
                    </a:lnTo>
                    <a:lnTo>
                      <a:pt x="5844" y="2462"/>
                    </a:lnTo>
                    <a:lnTo>
                      <a:pt x="5836" y="2469"/>
                    </a:lnTo>
                    <a:lnTo>
                      <a:pt x="5828" y="2477"/>
                    </a:lnTo>
                    <a:lnTo>
                      <a:pt x="5820" y="2488"/>
                    </a:lnTo>
                    <a:lnTo>
                      <a:pt x="5813" y="2499"/>
                    </a:lnTo>
                    <a:lnTo>
                      <a:pt x="5798" y="2519"/>
                    </a:lnTo>
                    <a:lnTo>
                      <a:pt x="5789" y="2531"/>
                    </a:lnTo>
                    <a:lnTo>
                      <a:pt x="5787" y="2533"/>
                    </a:lnTo>
                    <a:lnTo>
                      <a:pt x="5783" y="2535"/>
                    </a:lnTo>
                    <a:lnTo>
                      <a:pt x="5779" y="2535"/>
                    </a:lnTo>
                    <a:lnTo>
                      <a:pt x="5776" y="2533"/>
                    </a:lnTo>
                    <a:lnTo>
                      <a:pt x="5764" y="2527"/>
                    </a:lnTo>
                    <a:lnTo>
                      <a:pt x="5748" y="2517"/>
                    </a:lnTo>
                    <a:lnTo>
                      <a:pt x="5731" y="2502"/>
                    </a:lnTo>
                    <a:lnTo>
                      <a:pt x="5710" y="2487"/>
                    </a:lnTo>
                    <a:lnTo>
                      <a:pt x="5690" y="2470"/>
                    </a:lnTo>
                    <a:lnTo>
                      <a:pt x="5674" y="2453"/>
                    </a:lnTo>
                    <a:lnTo>
                      <a:pt x="5666" y="2443"/>
                    </a:lnTo>
                    <a:lnTo>
                      <a:pt x="5661" y="2431"/>
                    </a:lnTo>
                    <a:lnTo>
                      <a:pt x="5656" y="2419"/>
                    </a:lnTo>
                    <a:lnTo>
                      <a:pt x="5653" y="2406"/>
                    </a:lnTo>
                    <a:lnTo>
                      <a:pt x="5651" y="2394"/>
                    </a:lnTo>
                    <a:lnTo>
                      <a:pt x="5650" y="2382"/>
                    </a:lnTo>
                    <a:lnTo>
                      <a:pt x="5650" y="2371"/>
                    </a:lnTo>
                    <a:lnTo>
                      <a:pt x="5651" y="2362"/>
                    </a:lnTo>
                    <a:lnTo>
                      <a:pt x="5652" y="2354"/>
                    </a:lnTo>
                    <a:lnTo>
                      <a:pt x="5656" y="2347"/>
                    </a:lnTo>
                    <a:lnTo>
                      <a:pt x="5662" y="2341"/>
                    </a:lnTo>
                    <a:lnTo>
                      <a:pt x="5669" y="2335"/>
                    </a:lnTo>
                    <a:lnTo>
                      <a:pt x="5684" y="2323"/>
                    </a:lnTo>
                    <a:lnTo>
                      <a:pt x="5699" y="2313"/>
                    </a:lnTo>
                    <a:lnTo>
                      <a:pt x="5710" y="2305"/>
                    </a:lnTo>
                    <a:lnTo>
                      <a:pt x="5719" y="2297"/>
                    </a:lnTo>
                    <a:lnTo>
                      <a:pt x="5722" y="2292"/>
                    </a:lnTo>
                    <a:lnTo>
                      <a:pt x="5725" y="2287"/>
                    </a:lnTo>
                    <a:lnTo>
                      <a:pt x="5726" y="2283"/>
                    </a:lnTo>
                    <a:lnTo>
                      <a:pt x="5727" y="2278"/>
                    </a:lnTo>
                    <a:lnTo>
                      <a:pt x="5726" y="2261"/>
                    </a:lnTo>
                    <a:lnTo>
                      <a:pt x="5722" y="2240"/>
                    </a:lnTo>
                    <a:lnTo>
                      <a:pt x="5720" y="2216"/>
                    </a:lnTo>
                    <a:lnTo>
                      <a:pt x="5718" y="2196"/>
                    </a:lnTo>
                    <a:lnTo>
                      <a:pt x="5718" y="2186"/>
                    </a:lnTo>
                    <a:lnTo>
                      <a:pt x="5720" y="2177"/>
                    </a:lnTo>
                    <a:lnTo>
                      <a:pt x="5724" y="2167"/>
                    </a:lnTo>
                    <a:lnTo>
                      <a:pt x="5728" y="2158"/>
                    </a:lnTo>
                    <a:lnTo>
                      <a:pt x="5739" y="2139"/>
                    </a:lnTo>
                    <a:lnTo>
                      <a:pt x="5750" y="2123"/>
                    </a:lnTo>
                    <a:lnTo>
                      <a:pt x="5759" y="2107"/>
                    </a:lnTo>
                    <a:lnTo>
                      <a:pt x="5771" y="2090"/>
                    </a:lnTo>
                    <a:lnTo>
                      <a:pt x="5776" y="2082"/>
                    </a:lnTo>
                    <a:lnTo>
                      <a:pt x="5779" y="2075"/>
                    </a:lnTo>
                    <a:lnTo>
                      <a:pt x="5783" y="2067"/>
                    </a:lnTo>
                    <a:lnTo>
                      <a:pt x="5784" y="2061"/>
                    </a:lnTo>
                    <a:lnTo>
                      <a:pt x="5783" y="2051"/>
                    </a:lnTo>
                    <a:lnTo>
                      <a:pt x="5781" y="2038"/>
                    </a:lnTo>
                    <a:lnTo>
                      <a:pt x="5781" y="2029"/>
                    </a:lnTo>
                    <a:lnTo>
                      <a:pt x="5781" y="2020"/>
                    </a:lnTo>
                    <a:lnTo>
                      <a:pt x="5782" y="2010"/>
                    </a:lnTo>
                    <a:lnTo>
                      <a:pt x="5785" y="1998"/>
                    </a:lnTo>
                    <a:lnTo>
                      <a:pt x="5797" y="1963"/>
                    </a:lnTo>
                    <a:lnTo>
                      <a:pt x="5815" y="1918"/>
                    </a:lnTo>
                    <a:lnTo>
                      <a:pt x="5833" y="1872"/>
                    </a:lnTo>
                    <a:lnTo>
                      <a:pt x="5847" y="1839"/>
                    </a:lnTo>
                    <a:lnTo>
                      <a:pt x="5860" y="1809"/>
                    </a:lnTo>
                    <a:lnTo>
                      <a:pt x="5876" y="1771"/>
                    </a:lnTo>
                    <a:lnTo>
                      <a:pt x="5891" y="1735"/>
                    </a:lnTo>
                    <a:lnTo>
                      <a:pt x="5902" y="1710"/>
                    </a:lnTo>
                    <a:lnTo>
                      <a:pt x="5911" y="1685"/>
                    </a:lnTo>
                    <a:lnTo>
                      <a:pt x="5923" y="1649"/>
                    </a:lnTo>
                    <a:lnTo>
                      <a:pt x="5936" y="1613"/>
                    </a:lnTo>
                    <a:lnTo>
                      <a:pt x="5943" y="1592"/>
                    </a:lnTo>
                    <a:lnTo>
                      <a:pt x="5946" y="1587"/>
                    </a:lnTo>
                    <a:lnTo>
                      <a:pt x="5948" y="1584"/>
                    </a:lnTo>
                    <a:lnTo>
                      <a:pt x="5952" y="1582"/>
                    </a:lnTo>
                    <a:lnTo>
                      <a:pt x="5955" y="1582"/>
                    </a:lnTo>
                    <a:lnTo>
                      <a:pt x="5960" y="1584"/>
                    </a:lnTo>
                    <a:lnTo>
                      <a:pt x="5965" y="1587"/>
                    </a:lnTo>
                    <a:lnTo>
                      <a:pt x="5971" y="1591"/>
                    </a:lnTo>
                    <a:lnTo>
                      <a:pt x="5977" y="1597"/>
                    </a:lnTo>
                    <a:lnTo>
                      <a:pt x="5985" y="1604"/>
                    </a:lnTo>
                    <a:lnTo>
                      <a:pt x="5995" y="1611"/>
                    </a:lnTo>
                    <a:lnTo>
                      <a:pt x="6006" y="1619"/>
                    </a:lnTo>
                    <a:lnTo>
                      <a:pt x="6020" y="1626"/>
                    </a:lnTo>
                    <a:lnTo>
                      <a:pt x="6046" y="1641"/>
                    </a:lnTo>
                    <a:lnTo>
                      <a:pt x="6068" y="1653"/>
                    </a:lnTo>
                    <a:lnTo>
                      <a:pt x="6079" y="1659"/>
                    </a:lnTo>
                    <a:lnTo>
                      <a:pt x="6088" y="1662"/>
                    </a:lnTo>
                    <a:lnTo>
                      <a:pt x="6098" y="1664"/>
                    </a:lnTo>
                    <a:lnTo>
                      <a:pt x="6107" y="1667"/>
                    </a:lnTo>
                    <a:lnTo>
                      <a:pt x="6129" y="1669"/>
                    </a:lnTo>
                    <a:lnTo>
                      <a:pt x="6151" y="1669"/>
                    </a:lnTo>
                    <a:lnTo>
                      <a:pt x="6162" y="1670"/>
                    </a:lnTo>
                    <a:lnTo>
                      <a:pt x="6173" y="1670"/>
                    </a:lnTo>
                    <a:lnTo>
                      <a:pt x="6181" y="1673"/>
                    </a:lnTo>
                    <a:lnTo>
                      <a:pt x="6190" y="1675"/>
                    </a:lnTo>
                    <a:lnTo>
                      <a:pt x="6204" y="1682"/>
                    </a:lnTo>
                    <a:lnTo>
                      <a:pt x="6217" y="1691"/>
                    </a:lnTo>
                    <a:lnTo>
                      <a:pt x="6225" y="1698"/>
                    </a:lnTo>
                    <a:lnTo>
                      <a:pt x="6231" y="1703"/>
                    </a:lnTo>
                    <a:lnTo>
                      <a:pt x="6235" y="1704"/>
                    </a:lnTo>
                    <a:lnTo>
                      <a:pt x="6237" y="1703"/>
                    </a:lnTo>
                    <a:lnTo>
                      <a:pt x="6242" y="1700"/>
                    </a:lnTo>
                    <a:lnTo>
                      <a:pt x="6245" y="1695"/>
                    </a:lnTo>
                    <a:lnTo>
                      <a:pt x="6254" y="1697"/>
                    </a:lnTo>
                    <a:lnTo>
                      <a:pt x="6261" y="1699"/>
                    </a:lnTo>
                    <a:lnTo>
                      <a:pt x="6268" y="1686"/>
                    </a:lnTo>
                    <a:lnTo>
                      <a:pt x="6275" y="1674"/>
                    </a:lnTo>
                    <a:lnTo>
                      <a:pt x="6283" y="1669"/>
                    </a:lnTo>
                    <a:lnTo>
                      <a:pt x="6294" y="1664"/>
                    </a:lnTo>
                    <a:lnTo>
                      <a:pt x="6301" y="1663"/>
                    </a:lnTo>
                    <a:lnTo>
                      <a:pt x="6307" y="1664"/>
                    </a:lnTo>
                    <a:lnTo>
                      <a:pt x="6312" y="1664"/>
                    </a:lnTo>
                    <a:lnTo>
                      <a:pt x="6317" y="1664"/>
                    </a:lnTo>
                    <a:lnTo>
                      <a:pt x="6323" y="1664"/>
                    </a:lnTo>
                    <a:lnTo>
                      <a:pt x="6327" y="1663"/>
                    </a:lnTo>
                    <a:lnTo>
                      <a:pt x="6332" y="1661"/>
                    </a:lnTo>
                    <a:lnTo>
                      <a:pt x="6338" y="1659"/>
                    </a:lnTo>
                    <a:lnTo>
                      <a:pt x="6343" y="1655"/>
                    </a:lnTo>
                    <a:lnTo>
                      <a:pt x="6348" y="1650"/>
                    </a:lnTo>
                    <a:lnTo>
                      <a:pt x="6360" y="1638"/>
                    </a:lnTo>
                    <a:lnTo>
                      <a:pt x="6374" y="1624"/>
                    </a:lnTo>
                    <a:lnTo>
                      <a:pt x="6387" y="1609"/>
                    </a:lnTo>
                    <a:lnTo>
                      <a:pt x="6399" y="1597"/>
                    </a:lnTo>
                    <a:lnTo>
                      <a:pt x="6407" y="1586"/>
                    </a:lnTo>
                    <a:lnTo>
                      <a:pt x="6414" y="1575"/>
                    </a:lnTo>
                    <a:lnTo>
                      <a:pt x="6417" y="1572"/>
                    </a:lnTo>
                    <a:lnTo>
                      <a:pt x="6420" y="1568"/>
                    </a:lnTo>
                    <a:lnTo>
                      <a:pt x="6423" y="1566"/>
                    </a:lnTo>
                    <a:lnTo>
                      <a:pt x="6426" y="1565"/>
                    </a:lnTo>
                    <a:lnTo>
                      <a:pt x="6431" y="1565"/>
                    </a:lnTo>
                    <a:lnTo>
                      <a:pt x="6436" y="1562"/>
                    </a:lnTo>
                    <a:lnTo>
                      <a:pt x="6439" y="1559"/>
                    </a:lnTo>
                    <a:lnTo>
                      <a:pt x="6442" y="1553"/>
                    </a:lnTo>
                    <a:lnTo>
                      <a:pt x="6447" y="1543"/>
                    </a:lnTo>
                    <a:lnTo>
                      <a:pt x="6457" y="1531"/>
                    </a:lnTo>
                    <a:lnTo>
                      <a:pt x="6463" y="1524"/>
                    </a:lnTo>
                    <a:lnTo>
                      <a:pt x="6469" y="1519"/>
                    </a:lnTo>
                    <a:lnTo>
                      <a:pt x="6475" y="1515"/>
                    </a:lnTo>
                    <a:lnTo>
                      <a:pt x="6480" y="1514"/>
                    </a:lnTo>
                    <a:lnTo>
                      <a:pt x="6491" y="1511"/>
                    </a:lnTo>
                    <a:lnTo>
                      <a:pt x="6507" y="1508"/>
                    </a:lnTo>
                    <a:lnTo>
                      <a:pt x="6526" y="1504"/>
                    </a:lnTo>
                    <a:lnTo>
                      <a:pt x="6544" y="1500"/>
                    </a:lnTo>
                    <a:lnTo>
                      <a:pt x="6552" y="1497"/>
                    </a:lnTo>
                    <a:lnTo>
                      <a:pt x="6560" y="1493"/>
                    </a:lnTo>
                    <a:lnTo>
                      <a:pt x="6566" y="1490"/>
                    </a:lnTo>
                    <a:lnTo>
                      <a:pt x="6572" y="1486"/>
                    </a:lnTo>
                    <a:lnTo>
                      <a:pt x="6577" y="1483"/>
                    </a:lnTo>
                    <a:lnTo>
                      <a:pt x="6582" y="1479"/>
                    </a:lnTo>
                    <a:lnTo>
                      <a:pt x="6588" y="1477"/>
                    </a:lnTo>
                    <a:lnTo>
                      <a:pt x="6594" y="1475"/>
                    </a:lnTo>
                    <a:lnTo>
                      <a:pt x="6604" y="1473"/>
                    </a:lnTo>
                    <a:lnTo>
                      <a:pt x="6615" y="1470"/>
                    </a:lnTo>
                    <a:lnTo>
                      <a:pt x="6620" y="1467"/>
                    </a:lnTo>
                    <a:lnTo>
                      <a:pt x="6625" y="1464"/>
                    </a:lnTo>
                    <a:lnTo>
                      <a:pt x="6628" y="1459"/>
                    </a:lnTo>
                    <a:lnTo>
                      <a:pt x="6633" y="1454"/>
                    </a:lnTo>
                    <a:lnTo>
                      <a:pt x="6644" y="1441"/>
                    </a:lnTo>
                    <a:lnTo>
                      <a:pt x="6657" y="1424"/>
                    </a:lnTo>
                    <a:lnTo>
                      <a:pt x="6664" y="1417"/>
                    </a:lnTo>
                    <a:lnTo>
                      <a:pt x="6669" y="1410"/>
                    </a:lnTo>
                    <a:lnTo>
                      <a:pt x="6672" y="1404"/>
                    </a:lnTo>
                    <a:lnTo>
                      <a:pt x="6675" y="1399"/>
                    </a:lnTo>
                    <a:lnTo>
                      <a:pt x="6675" y="1390"/>
                    </a:lnTo>
                    <a:lnTo>
                      <a:pt x="6673" y="1378"/>
                    </a:lnTo>
                    <a:lnTo>
                      <a:pt x="6672" y="1365"/>
                    </a:lnTo>
                    <a:lnTo>
                      <a:pt x="6673" y="1352"/>
                    </a:lnTo>
                    <a:lnTo>
                      <a:pt x="6675" y="1340"/>
                    </a:lnTo>
                    <a:lnTo>
                      <a:pt x="6675" y="1332"/>
                    </a:lnTo>
                    <a:lnTo>
                      <a:pt x="6672" y="1328"/>
                    </a:lnTo>
                    <a:lnTo>
                      <a:pt x="6670" y="1326"/>
                    </a:lnTo>
                    <a:lnTo>
                      <a:pt x="6666" y="1325"/>
                    </a:lnTo>
                    <a:lnTo>
                      <a:pt x="6661" y="1325"/>
                    </a:lnTo>
                    <a:lnTo>
                      <a:pt x="6648" y="1325"/>
                    </a:lnTo>
                    <a:lnTo>
                      <a:pt x="6635" y="1325"/>
                    </a:lnTo>
                    <a:lnTo>
                      <a:pt x="6621" y="1322"/>
                    </a:lnTo>
                    <a:lnTo>
                      <a:pt x="6612" y="1320"/>
                    </a:lnTo>
                    <a:lnTo>
                      <a:pt x="6608" y="1316"/>
                    </a:lnTo>
                    <a:lnTo>
                      <a:pt x="6607" y="1313"/>
                    </a:lnTo>
                    <a:lnTo>
                      <a:pt x="6607" y="1308"/>
                    </a:lnTo>
                    <a:lnTo>
                      <a:pt x="6609" y="1302"/>
                    </a:lnTo>
                    <a:lnTo>
                      <a:pt x="6612" y="1296"/>
                    </a:lnTo>
                    <a:lnTo>
                      <a:pt x="6615" y="1291"/>
                    </a:lnTo>
                    <a:lnTo>
                      <a:pt x="6619" y="1287"/>
                    </a:lnTo>
                    <a:lnTo>
                      <a:pt x="6623" y="1283"/>
                    </a:lnTo>
                    <a:lnTo>
                      <a:pt x="6628" y="1279"/>
                    </a:lnTo>
                    <a:lnTo>
                      <a:pt x="6632" y="1276"/>
                    </a:lnTo>
                    <a:lnTo>
                      <a:pt x="6635" y="1272"/>
                    </a:lnTo>
                    <a:lnTo>
                      <a:pt x="6638" y="1267"/>
                    </a:lnTo>
                    <a:lnTo>
                      <a:pt x="6639" y="1263"/>
                    </a:lnTo>
                    <a:lnTo>
                      <a:pt x="6640" y="1257"/>
                    </a:lnTo>
                    <a:lnTo>
                      <a:pt x="6640" y="1251"/>
                    </a:lnTo>
                    <a:lnTo>
                      <a:pt x="6640" y="1244"/>
                    </a:lnTo>
                    <a:lnTo>
                      <a:pt x="6639" y="1232"/>
                    </a:lnTo>
                    <a:lnTo>
                      <a:pt x="6641" y="1220"/>
                    </a:lnTo>
                    <a:lnTo>
                      <a:pt x="6642" y="1215"/>
                    </a:lnTo>
                    <a:lnTo>
                      <a:pt x="6645" y="1210"/>
                    </a:lnTo>
                    <a:lnTo>
                      <a:pt x="6647" y="1207"/>
                    </a:lnTo>
                    <a:lnTo>
                      <a:pt x="6651" y="1203"/>
                    </a:lnTo>
                    <a:lnTo>
                      <a:pt x="6660" y="1194"/>
                    </a:lnTo>
                    <a:lnTo>
                      <a:pt x="6672" y="1181"/>
                    </a:lnTo>
                    <a:lnTo>
                      <a:pt x="6678" y="1174"/>
                    </a:lnTo>
                    <a:lnTo>
                      <a:pt x="6683" y="1166"/>
                    </a:lnTo>
                    <a:lnTo>
                      <a:pt x="6686" y="1159"/>
                    </a:lnTo>
                    <a:lnTo>
                      <a:pt x="6689" y="1152"/>
                    </a:lnTo>
                    <a:lnTo>
                      <a:pt x="6691" y="1134"/>
                    </a:lnTo>
                    <a:lnTo>
                      <a:pt x="6694" y="1111"/>
                    </a:lnTo>
                    <a:lnTo>
                      <a:pt x="6696" y="1087"/>
                    </a:lnTo>
                    <a:lnTo>
                      <a:pt x="6701" y="1070"/>
                    </a:lnTo>
                    <a:lnTo>
                      <a:pt x="6703" y="1064"/>
                    </a:lnTo>
                    <a:lnTo>
                      <a:pt x="6707" y="1059"/>
                    </a:lnTo>
                    <a:lnTo>
                      <a:pt x="6711" y="1054"/>
                    </a:lnTo>
                    <a:lnTo>
                      <a:pt x="6716" y="1049"/>
                    </a:lnTo>
                    <a:lnTo>
                      <a:pt x="6726" y="1040"/>
                    </a:lnTo>
                    <a:lnTo>
                      <a:pt x="6734" y="1033"/>
                    </a:lnTo>
                    <a:lnTo>
                      <a:pt x="6740" y="1026"/>
                    </a:lnTo>
                    <a:lnTo>
                      <a:pt x="6746" y="1014"/>
                    </a:lnTo>
                    <a:lnTo>
                      <a:pt x="6749" y="1008"/>
                    </a:lnTo>
                    <a:lnTo>
                      <a:pt x="6752" y="1001"/>
                    </a:lnTo>
                    <a:lnTo>
                      <a:pt x="6754" y="994"/>
                    </a:lnTo>
                    <a:lnTo>
                      <a:pt x="6755" y="988"/>
                    </a:lnTo>
                    <a:lnTo>
                      <a:pt x="6755" y="976"/>
                    </a:lnTo>
                    <a:lnTo>
                      <a:pt x="6755" y="967"/>
                    </a:lnTo>
                    <a:lnTo>
                      <a:pt x="6754" y="958"/>
                    </a:lnTo>
                    <a:lnTo>
                      <a:pt x="6754" y="951"/>
                    </a:lnTo>
                    <a:lnTo>
                      <a:pt x="6754" y="945"/>
                    </a:lnTo>
                    <a:lnTo>
                      <a:pt x="6755" y="938"/>
                    </a:lnTo>
                    <a:lnTo>
                      <a:pt x="6760" y="929"/>
                    </a:lnTo>
                    <a:lnTo>
                      <a:pt x="6768" y="918"/>
                    </a:lnTo>
                    <a:lnTo>
                      <a:pt x="6778" y="907"/>
                    </a:lnTo>
                    <a:lnTo>
                      <a:pt x="6785" y="899"/>
                    </a:lnTo>
                    <a:lnTo>
                      <a:pt x="6789" y="894"/>
                    </a:lnTo>
                    <a:lnTo>
                      <a:pt x="6791" y="891"/>
                    </a:lnTo>
                    <a:lnTo>
                      <a:pt x="6792" y="887"/>
                    </a:lnTo>
                    <a:lnTo>
                      <a:pt x="6792" y="884"/>
                    </a:lnTo>
                    <a:lnTo>
                      <a:pt x="6792" y="876"/>
                    </a:lnTo>
                    <a:lnTo>
                      <a:pt x="6793" y="867"/>
                    </a:lnTo>
                    <a:lnTo>
                      <a:pt x="6797" y="857"/>
                    </a:lnTo>
                    <a:lnTo>
                      <a:pt x="6802" y="847"/>
                    </a:lnTo>
                    <a:lnTo>
                      <a:pt x="6806" y="836"/>
                    </a:lnTo>
                    <a:lnTo>
                      <a:pt x="6810" y="825"/>
                    </a:lnTo>
                    <a:lnTo>
                      <a:pt x="6814" y="813"/>
                    </a:lnTo>
                    <a:lnTo>
                      <a:pt x="6816" y="800"/>
                    </a:lnTo>
                    <a:lnTo>
                      <a:pt x="6818" y="786"/>
                    </a:lnTo>
                    <a:lnTo>
                      <a:pt x="6821" y="769"/>
                    </a:lnTo>
                    <a:lnTo>
                      <a:pt x="6823" y="755"/>
                    </a:lnTo>
                    <a:lnTo>
                      <a:pt x="6824" y="745"/>
                    </a:lnTo>
                    <a:lnTo>
                      <a:pt x="6824" y="741"/>
                    </a:lnTo>
                    <a:lnTo>
                      <a:pt x="6825" y="736"/>
                    </a:lnTo>
                    <a:lnTo>
                      <a:pt x="6828" y="733"/>
                    </a:lnTo>
                    <a:lnTo>
                      <a:pt x="6830" y="729"/>
                    </a:lnTo>
                    <a:lnTo>
                      <a:pt x="6839" y="723"/>
                    </a:lnTo>
                    <a:lnTo>
                      <a:pt x="6847" y="717"/>
                    </a:lnTo>
                    <a:lnTo>
                      <a:pt x="6856" y="709"/>
                    </a:lnTo>
                    <a:lnTo>
                      <a:pt x="6865" y="699"/>
                    </a:lnTo>
                    <a:lnTo>
                      <a:pt x="6872" y="690"/>
                    </a:lnTo>
                    <a:lnTo>
                      <a:pt x="6878" y="682"/>
                    </a:lnTo>
                    <a:lnTo>
                      <a:pt x="6885" y="673"/>
                    </a:lnTo>
                    <a:lnTo>
                      <a:pt x="6892" y="666"/>
                    </a:lnTo>
                    <a:lnTo>
                      <a:pt x="6899" y="660"/>
                    </a:lnTo>
                    <a:lnTo>
                      <a:pt x="6905" y="657"/>
                    </a:lnTo>
                    <a:lnTo>
                      <a:pt x="6910" y="654"/>
                    </a:lnTo>
                    <a:lnTo>
                      <a:pt x="6915" y="651"/>
                    </a:lnTo>
                    <a:lnTo>
                      <a:pt x="6921" y="645"/>
                    </a:lnTo>
                    <a:lnTo>
                      <a:pt x="6925" y="638"/>
                    </a:lnTo>
                    <a:lnTo>
                      <a:pt x="6929" y="632"/>
                    </a:lnTo>
                    <a:lnTo>
                      <a:pt x="6934" y="626"/>
                    </a:lnTo>
                    <a:lnTo>
                      <a:pt x="6940" y="622"/>
                    </a:lnTo>
                    <a:lnTo>
                      <a:pt x="6944" y="621"/>
                    </a:lnTo>
                    <a:lnTo>
                      <a:pt x="6953" y="617"/>
                    </a:lnTo>
                    <a:lnTo>
                      <a:pt x="6961" y="611"/>
                    </a:lnTo>
                    <a:lnTo>
                      <a:pt x="6971" y="603"/>
                    </a:lnTo>
                    <a:lnTo>
                      <a:pt x="6976" y="596"/>
                    </a:lnTo>
                    <a:lnTo>
                      <a:pt x="6978" y="591"/>
                    </a:lnTo>
                    <a:lnTo>
                      <a:pt x="6979" y="588"/>
                    </a:lnTo>
                    <a:lnTo>
                      <a:pt x="6979" y="583"/>
                    </a:lnTo>
                    <a:lnTo>
                      <a:pt x="6979" y="579"/>
                    </a:lnTo>
                    <a:lnTo>
                      <a:pt x="6978" y="572"/>
                    </a:lnTo>
                    <a:lnTo>
                      <a:pt x="6975" y="565"/>
                    </a:lnTo>
                    <a:lnTo>
                      <a:pt x="6974" y="560"/>
                    </a:lnTo>
                    <a:lnTo>
                      <a:pt x="6974" y="556"/>
                    </a:lnTo>
                    <a:lnTo>
                      <a:pt x="6976" y="550"/>
                    </a:lnTo>
                    <a:lnTo>
                      <a:pt x="6981" y="542"/>
                    </a:lnTo>
                    <a:lnTo>
                      <a:pt x="6986" y="534"/>
                    </a:lnTo>
                    <a:lnTo>
                      <a:pt x="6990" y="526"/>
                    </a:lnTo>
                    <a:lnTo>
                      <a:pt x="6991" y="516"/>
                    </a:lnTo>
                    <a:lnTo>
                      <a:pt x="6991" y="504"/>
                    </a:lnTo>
                    <a:lnTo>
                      <a:pt x="6991" y="497"/>
                    </a:lnTo>
                    <a:lnTo>
                      <a:pt x="6990" y="491"/>
                    </a:lnTo>
                    <a:lnTo>
                      <a:pt x="6987" y="487"/>
                    </a:lnTo>
                    <a:lnTo>
                      <a:pt x="6985" y="482"/>
                    </a:lnTo>
                    <a:lnTo>
                      <a:pt x="6982" y="477"/>
                    </a:lnTo>
                    <a:lnTo>
                      <a:pt x="6979" y="474"/>
                    </a:lnTo>
                    <a:lnTo>
                      <a:pt x="6975" y="471"/>
                    </a:lnTo>
                    <a:lnTo>
                      <a:pt x="6972" y="469"/>
                    </a:lnTo>
                    <a:lnTo>
                      <a:pt x="6962" y="464"/>
                    </a:lnTo>
                    <a:lnTo>
                      <a:pt x="6953" y="457"/>
                    </a:lnTo>
                    <a:lnTo>
                      <a:pt x="6949" y="453"/>
                    </a:lnTo>
                    <a:lnTo>
                      <a:pt x="6946" y="449"/>
                    </a:lnTo>
                    <a:lnTo>
                      <a:pt x="6943" y="444"/>
                    </a:lnTo>
                    <a:lnTo>
                      <a:pt x="6942" y="439"/>
                    </a:lnTo>
                    <a:lnTo>
                      <a:pt x="6943" y="428"/>
                    </a:lnTo>
                    <a:lnTo>
                      <a:pt x="6948" y="419"/>
                    </a:lnTo>
                    <a:lnTo>
                      <a:pt x="6952" y="409"/>
                    </a:lnTo>
                    <a:lnTo>
                      <a:pt x="6954" y="402"/>
                    </a:lnTo>
                    <a:lnTo>
                      <a:pt x="6954" y="393"/>
                    </a:lnTo>
                    <a:lnTo>
                      <a:pt x="6955" y="381"/>
                    </a:lnTo>
                    <a:lnTo>
                      <a:pt x="6955" y="370"/>
                    </a:lnTo>
                    <a:lnTo>
                      <a:pt x="6954" y="363"/>
                    </a:lnTo>
                    <a:lnTo>
                      <a:pt x="6952" y="358"/>
                    </a:lnTo>
                    <a:lnTo>
                      <a:pt x="6946" y="353"/>
                    </a:lnTo>
                    <a:lnTo>
                      <a:pt x="6937" y="349"/>
                    </a:lnTo>
                    <a:lnTo>
                      <a:pt x="6929" y="344"/>
                    </a:lnTo>
                    <a:lnTo>
                      <a:pt x="6919" y="339"/>
                    </a:lnTo>
                    <a:lnTo>
                      <a:pt x="6910" y="334"/>
                    </a:lnTo>
                    <a:lnTo>
                      <a:pt x="6899" y="331"/>
                    </a:lnTo>
                    <a:lnTo>
                      <a:pt x="6888" y="327"/>
                    </a:lnTo>
                    <a:lnTo>
                      <a:pt x="6883" y="327"/>
                    </a:lnTo>
                    <a:lnTo>
                      <a:pt x="6877" y="326"/>
                    </a:lnTo>
                    <a:lnTo>
                      <a:pt x="6871" y="327"/>
                    </a:lnTo>
                    <a:lnTo>
                      <a:pt x="6865" y="329"/>
                    </a:lnTo>
                    <a:lnTo>
                      <a:pt x="6854" y="332"/>
                    </a:lnTo>
                    <a:lnTo>
                      <a:pt x="6842" y="337"/>
                    </a:lnTo>
                    <a:lnTo>
                      <a:pt x="6833" y="344"/>
                    </a:lnTo>
                    <a:lnTo>
                      <a:pt x="6822" y="351"/>
                    </a:lnTo>
                    <a:lnTo>
                      <a:pt x="6812" y="357"/>
                    </a:lnTo>
                    <a:lnTo>
                      <a:pt x="6801" y="362"/>
                    </a:lnTo>
                    <a:lnTo>
                      <a:pt x="6795" y="363"/>
                    </a:lnTo>
                    <a:lnTo>
                      <a:pt x="6789" y="363"/>
                    </a:lnTo>
                    <a:lnTo>
                      <a:pt x="6783" y="363"/>
                    </a:lnTo>
                    <a:lnTo>
                      <a:pt x="6777" y="362"/>
                    </a:lnTo>
                    <a:lnTo>
                      <a:pt x="6772" y="359"/>
                    </a:lnTo>
                    <a:lnTo>
                      <a:pt x="6768" y="357"/>
                    </a:lnTo>
                    <a:lnTo>
                      <a:pt x="6766" y="353"/>
                    </a:lnTo>
                    <a:lnTo>
                      <a:pt x="6766" y="349"/>
                    </a:lnTo>
                    <a:lnTo>
                      <a:pt x="6767" y="337"/>
                    </a:lnTo>
                    <a:lnTo>
                      <a:pt x="6770" y="324"/>
                    </a:lnTo>
                    <a:lnTo>
                      <a:pt x="6770" y="318"/>
                    </a:lnTo>
                    <a:lnTo>
                      <a:pt x="6770" y="312"/>
                    </a:lnTo>
                    <a:lnTo>
                      <a:pt x="6768" y="307"/>
                    </a:lnTo>
                    <a:lnTo>
                      <a:pt x="6766" y="304"/>
                    </a:lnTo>
                    <a:lnTo>
                      <a:pt x="6762" y="301"/>
                    </a:lnTo>
                    <a:lnTo>
                      <a:pt x="6760" y="298"/>
                    </a:lnTo>
                    <a:lnTo>
                      <a:pt x="6758" y="294"/>
                    </a:lnTo>
                    <a:lnTo>
                      <a:pt x="6758" y="289"/>
                    </a:lnTo>
                    <a:lnTo>
                      <a:pt x="6758" y="286"/>
                    </a:lnTo>
                    <a:lnTo>
                      <a:pt x="6760" y="281"/>
                    </a:lnTo>
                    <a:lnTo>
                      <a:pt x="6762" y="277"/>
                    </a:lnTo>
                    <a:lnTo>
                      <a:pt x="6766" y="274"/>
                    </a:lnTo>
                    <a:lnTo>
                      <a:pt x="6779" y="268"/>
                    </a:lnTo>
                    <a:lnTo>
                      <a:pt x="6793" y="262"/>
                    </a:lnTo>
                    <a:lnTo>
                      <a:pt x="6802" y="258"/>
                    </a:lnTo>
                    <a:lnTo>
                      <a:pt x="6809" y="255"/>
                    </a:lnTo>
                    <a:lnTo>
                      <a:pt x="6816" y="250"/>
                    </a:lnTo>
                    <a:lnTo>
                      <a:pt x="6822" y="245"/>
                    </a:lnTo>
                    <a:lnTo>
                      <a:pt x="6831" y="233"/>
                    </a:lnTo>
                    <a:lnTo>
                      <a:pt x="6841" y="222"/>
                    </a:lnTo>
                    <a:lnTo>
                      <a:pt x="6847" y="211"/>
                    </a:lnTo>
                    <a:lnTo>
                      <a:pt x="6852" y="201"/>
                    </a:lnTo>
                    <a:lnTo>
                      <a:pt x="6855" y="192"/>
                    </a:lnTo>
                    <a:lnTo>
                      <a:pt x="6861" y="180"/>
                    </a:lnTo>
                    <a:lnTo>
                      <a:pt x="6868" y="168"/>
                    </a:lnTo>
                    <a:lnTo>
                      <a:pt x="6878" y="156"/>
                    </a:lnTo>
                    <a:lnTo>
                      <a:pt x="6890" y="145"/>
                    </a:lnTo>
                    <a:lnTo>
                      <a:pt x="6899" y="138"/>
                    </a:lnTo>
                    <a:lnTo>
                      <a:pt x="6903" y="135"/>
                    </a:lnTo>
                    <a:lnTo>
                      <a:pt x="6906" y="131"/>
                    </a:lnTo>
                    <a:lnTo>
                      <a:pt x="6909" y="128"/>
                    </a:lnTo>
                    <a:lnTo>
                      <a:pt x="6911" y="123"/>
                    </a:lnTo>
                    <a:lnTo>
                      <a:pt x="6916" y="113"/>
                    </a:lnTo>
                    <a:lnTo>
                      <a:pt x="6922" y="101"/>
                    </a:lnTo>
                    <a:lnTo>
                      <a:pt x="6930" y="90"/>
                    </a:lnTo>
                    <a:lnTo>
                      <a:pt x="6938" y="78"/>
                    </a:lnTo>
                    <a:lnTo>
                      <a:pt x="6946" y="65"/>
                    </a:lnTo>
                    <a:lnTo>
                      <a:pt x="6953" y="52"/>
                    </a:lnTo>
                    <a:lnTo>
                      <a:pt x="6957" y="46"/>
                    </a:lnTo>
                    <a:lnTo>
                      <a:pt x="6962" y="41"/>
                    </a:lnTo>
                    <a:lnTo>
                      <a:pt x="6969" y="37"/>
                    </a:lnTo>
                    <a:lnTo>
                      <a:pt x="6976" y="36"/>
                    </a:lnTo>
                    <a:lnTo>
                      <a:pt x="6993" y="35"/>
                    </a:lnTo>
                    <a:lnTo>
                      <a:pt x="7006" y="35"/>
                    </a:lnTo>
                    <a:lnTo>
                      <a:pt x="7019" y="35"/>
                    </a:lnTo>
                    <a:lnTo>
                      <a:pt x="7032" y="35"/>
                    </a:lnTo>
                    <a:lnTo>
                      <a:pt x="7048" y="34"/>
                    </a:lnTo>
                    <a:lnTo>
                      <a:pt x="7062" y="31"/>
                    </a:lnTo>
                    <a:lnTo>
                      <a:pt x="7076" y="29"/>
                    </a:lnTo>
                    <a:lnTo>
                      <a:pt x="7086" y="25"/>
                    </a:lnTo>
                    <a:lnTo>
                      <a:pt x="7097" y="18"/>
                    </a:lnTo>
                    <a:lnTo>
                      <a:pt x="7110" y="8"/>
                    </a:lnTo>
                    <a:lnTo>
                      <a:pt x="7116" y="4"/>
                    </a:lnTo>
                    <a:lnTo>
                      <a:pt x="7119" y="2"/>
                    </a:lnTo>
                    <a:lnTo>
                      <a:pt x="7123" y="0"/>
                    </a:lnTo>
                    <a:lnTo>
                      <a:pt x="7125" y="2"/>
                    </a:lnTo>
                    <a:lnTo>
                      <a:pt x="7129" y="6"/>
                    </a:lnTo>
                    <a:lnTo>
                      <a:pt x="7135" y="14"/>
                    </a:lnTo>
                    <a:lnTo>
                      <a:pt x="7144" y="19"/>
                    </a:lnTo>
                    <a:lnTo>
                      <a:pt x="7154" y="24"/>
                    </a:lnTo>
                    <a:lnTo>
                      <a:pt x="7162" y="29"/>
                    </a:lnTo>
                    <a:lnTo>
                      <a:pt x="7170" y="36"/>
                    </a:lnTo>
                    <a:lnTo>
                      <a:pt x="7174" y="41"/>
                    </a:lnTo>
                    <a:lnTo>
                      <a:pt x="7177" y="46"/>
                    </a:lnTo>
                    <a:lnTo>
                      <a:pt x="7180" y="50"/>
                    </a:lnTo>
                    <a:lnTo>
                      <a:pt x="7181" y="56"/>
                    </a:lnTo>
                    <a:lnTo>
                      <a:pt x="7181" y="62"/>
                    </a:lnTo>
                    <a:lnTo>
                      <a:pt x="7182" y="66"/>
                    </a:lnTo>
                    <a:lnTo>
                      <a:pt x="7184" y="69"/>
                    </a:lnTo>
                    <a:lnTo>
                      <a:pt x="7187" y="72"/>
                    </a:lnTo>
                    <a:lnTo>
                      <a:pt x="7192" y="75"/>
                    </a:lnTo>
                    <a:lnTo>
                      <a:pt x="7199" y="77"/>
                    </a:lnTo>
                    <a:lnTo>
                      <a:pt x="7206" y="78"/>
                    </a:lnTo>
                    <a:lnTo>
                      <a:pt x="7214" y="81"/>
                    </a:lnTo>
                    <a:lnTo>
                      <a:pt x="7218" y="84"/>
                    </a:lnTo>
                    <a:lnTo>
                      <a:pt x="7221" y="87"/>
                    </a:lnTo>
                    <a:lnTo>
                      <a:pt x="7224" y="92"/>
                    </a:lnTo>
                    <a:lnTo>
                      <a:pt x="7226" y="98"/>
                    </a:lnTo>
                    <a:lnTo>
                      <a:pt x="7227" y="109"/>
                    </a:lnTo>
                    <a:lnTo>
                      <a:pt x="7226" y="116"/>
                    </a:lnTo>
                    <a:lnTo>
                      <a:pt x="7225" y="119"/>
                    </a:lnTo>
                    <a:lnTo>
                      <a:pt x="7223" y="122"/>
                    </a:lnTo>
                    <a:lnTo>
                      <a:pt x="7220" y="124"/>
                    </a:lnTo>
                    <a:lnTo>
                      <a:pt x="7215" y="125"/>
                    </a:lnTo>
                    <a:lnTo>
                      <a:pt x="7212" y="129"/>
                    </a:lnTo>
                    <a:lnTo>
                      <a:pt x="7208" y="132"/>
                    </a:lnTo>
                    <a:lnTo>
                      <a:pt x="7205" y="137"/>
                    </a:lnTo>
                    <a:lnTo>
                      <a:pt x="7202" y="143"/>
                    </a:lnTo>
                    <a:lnTo>
                      <a:pt x="7200" y="156"/>
                    </a:lnTo>
                    <a:lnTo>
                      <a:pt x="7200" y="168"/>
                    </a:lnTo>
                    <a:lnTo>
                      <a:pt x="7199" y="180"/>
                    </a:lnTo>
                    <a:lnTo>
                      <a:pt x="7196" y="193"/>
                    </a:lnTo>
                    <a:lnTo>
                      <a:pt x="7192" y="207"/>
                    </a:lnTo>
                    <a:lnTo>
                      <a:pt x="7182" y="226"/>
                    </a:lnTo>
                    <a:lnTo>
                      <a:pt x="7176" y="237"/>
                    </a:lnTo>
                    <a:lnTo>
                      <a:pt x="7170" y="246"/>
                    </a:lnTo>
                    <a:lnTo>
                      <a:pt x="7163" y="256"/>
                    </a:lnTo>
                    <a:lnTo>
                      <a:pt x="7155" y="266"/>
                    </a:lnTo>
                    <a:lnTo>
                      <a:pt x="7139" y="283"/>
                    </a:lnTo>
                    <a:lnTo>
                      <a:pt x="7125" y="300"/>
                    </a:lnTo>
                    <a:lnTo>
                      <a:pt x="7112" y="313"/>
                    </a:lnTo>
                    <a:lnTo>
                      <a:pt x="7102" y="324"/>
                    </a:lnTo>
                    <a:lnTo>
                      <a:pt x="7099" y="327"/>
                    </a:lnTo>
                    <a:lnTo>
                      <a:pt x="7097" y="332"/>
                    </a:lnTo>
                    <a:lnTo>
                      <a:pt x="7094" y="336"/>
                    </a:lnTo>
                    <a:lnTo>
                      <a:pt x="7094" y="339"/>
                    </a:lnTo>
                    <a:lnTo>
                      <a:pt x="7095" y="343"/>
                    </a:lnTo>
                    <a:lnTo>
                      <a:pt x="7097" y="345"/>
                    </a:lnTo>
                    <a:lnTo>
                      <a:pt x="7098" y="346"/>
                    </a:lnTo>
                    <a:lnTo>
                      <a:pt x="7100" y="346"/>
                    </a:lnTo>
                    <a:lnTo>
                      <a:pt x="7108" y="346"/>
                    </a:lnTo>
                    <a:lnTo>
                      <a:pt x="7123" y="345"/>
                    </a:lnTo>
                    <a:lnTo>
                      <a:pt x="7131" y="344"/>
                    </a:lnTo>
                    <a:lnTo>
                      <a:pt x="7137" y="345"/>
                    </a:lnTo>
                    <a:lnTo>
                      <a:pt x="7143" y="346"/>
                    </a:lnTo>
                    <a:lnTo>
                      <a:pt x="7146" y="349"/>
                    </a:lnTo>
                    <a:lnTo>
                      <a:pt x="7155" y="355"/>
                    </a:lnTo>
                    <a:lnTo>
                      <a:pt x="7163" y="362"/>
                    </a:lnTo>
                    <a:lnTo>
                      <a:pt x="7173" y="368"/>
                    </a:lnTo>
                    <a:lnTo>
                      <a:pt x="7184" y="371"/>
                    </a:lnTo>
                    <a:lnTo>
                      <a:pt x="7199" y="375"/>
                    </a:lnTo>
                    <a:lnTo>
                      <a:pt x="7218" y="378"/>
                    </a:lnTo>
                    <a:lnTo>
                      <a:pt x="7227" y="381"/>
                    </a:lnTo>
                    <a:lnTo>
                      <a:pt x="7233" y="384"/>
                    </a:lnTo>
                    <a:lnTo>
                      <a:pt x="7238" y="388"/>
                    </a:lnTo>
                    <a:lnTo>
                      <a:pt x="7243" y="392"/>
                    </a:lnTo>
                    <a:lnTo>
                      <a:pt x="7247" y="402"/>
                    </a:lnTo>
                    <a:lnTo>
                      <a:pt x="7253" y="413"/>
                    </a:lnTo>
                    <a:lnTo>
                      <a:pt x="7262" y="422"/>
                    </a:lnTo>
                    <a:lnTo>
                      <a:pt x="7271" y="431"/>
                    </a:lnTo>
                    <a:lnTo>
                      <a:pt x="7276" y="433"/>
                    </a:lnTo>
                    <a:lnTo>
                      <a:pt x="7280" y="435"/>
                    </a:lnTo>
                    <a:lnTo>
                      <a:pt x="7284" y="437"/>
                    </a:lnTo>
                    <a:lnTo>
                      <a:pt x="7288" y="438"/>
                    </a:lnTo>
                    <a:lnTo>
                      <a:pt x="7296" y="437"/>
                    </a:lnTo>
                    <a:lnTo>
                      <a:pt x="7306" y="435"/>
                    </a:lnTo>
                    <a:lnTo>
                      <a:pt x="7311" y="433"/>
                    </a:lnTo>
                    <a:lnTo>
                      <a:pt x="7314" y="431"/>
                    </a:lnTo>
                    <a:lnTo>
                      <a:pt x="7318" y="428"/>
                    </a:lnTo>
                    <a:lnTo>
                      <a:pt x="7321" y="424"/>
                    </a:lnTo>
                    <a:lnTo>
                      <a:pt x="7328" y="411"/>
                    </a:lnTo>
                    <a:lnTo>
                      <a:pt x="7337" y="394"/>
                    </a:lnTo>
                    <a:lnTo>
                      <a:pt x="7346" y="376"/>
                    </a:lnTo>
                    <a:lnTo>
                      <a:pt x="7352" y="362"/>
                    </a:lnTo>
                    <a:lnTo>
                      <a:pt x="7358" y="348"/>
                    </a:lnTo>
                    <a:lnTo>
                      <a:pt x="7366" y="329"/>
                    </a:lnTo>
                    <a:lnTo>
                      <a:pt x="7370" y="320"/>
                    </a:lnTo>
                    <a:lnTo>
                      <a:pt x="7374" y="313"/>
                    </a:lnTo>
                    <a:lnTo>
                      <a:pt x="7377" y="308"/>
                    </a:lnTo>
                    <a:lnTo>
                      <a:pt x="7379" y="307"/>
                    </a:lnTo>
                    <a:lnTo>
                      <a:pt x="7387" y="313"/>
                    </a:lnTo>
                    <a:lnTo>
                      <a:pt x="7395" y="324"/>
                    </a:lnTo>
                    <a:lnTo>
                      <a:pt x="7402" y="336"/>
                    </a:lnTo>
                    <a:lnTo>
                      <a:pt x="7407" y="349"/>
                    </a:lnTo>
                    <a:lnTo>
                      <a:pt x="7409" y="358"/>
                    </a:lnTo>
                    <a:lnTo>
                      <a:pt x="7413" y="364"/>
                    </a:lnTo>
                    <a:lnTo>
                      <a:pt x="7416" y="368"/>
                    </a:lnTo>
                    <a:lnTo>
                      <a:pt x="7423" y="370"/>
                    </a:lnTo>
                    <a:lnTo>
                      <a:pt x="7427" y="371"/>
                    </a:lnTo>
                    <a:lnTo>
                      <a:pt x="7429" y="374"/>
                    </a:lnTo>
                    <a:lnTo>
                      <a:pt x="7432" y="376"/>
                    </a:lnTo>
                    <a:lnTo>
                      <a:pt x="7434" y="378"/>
                    </a:lnTo>
                    <a:lnTo>
                      <a:pt x="7437" y="386"/>
                    </a:lnTo>
                    <a:lnTo>
                      <a:pt x="7438" y="394"/>
                    </a:lnTo>
                    <a:lnTo>
                      <a:pt x="7439" y="397"/>
                    </a:lnTo>
                    <a:lnTo>
                      <a:pt x="7441" y="401"/>
                    </a:lnTo>
                    <a:lnTo>
                      <a:pt x="7445" y="403"/>
                    </a:lnTo>
                    <a:lnTo>
                      <a:pt x="7450" y="405"/>
                    </a:lnTo>
                    <a:lnTo>
                      <a:pt x="7460" y="406"/>
                    </a:lnTo>
                    <a:lnTo>
                      <a:pt x="7471" y="406"/>
                    </a:lnTo>
                    <a:lnTo>
                      <a:pt x="7484" y="405"/>
                    </a:lnTo>
                    <a:lnTo>
                      <a:pt x="7502" y="401"/>
                    </a:lnTo>
                    <a:lnTo>
                      <a:pt x="7519" y="397"/>
                    </a:lnTo>
                    <a:lnTo>
                      <a:pt x="7529" y="396"/>
                    </a:lnTo>
                    <a:lnTo>
                      <a:pt x="7532" y="396"/>
                    </a:lnTo>
                    <a:lnTo>
                      <a:pt x="7533" y="399"/>
                    </a:lnTo>
                    <a:lnTo>
                      <a:pt x="7533" y="403"/>
                    </a:lnTo>
                    <a:lnTo>
                      <a:pt x="7533" y="408"/>
                    </a:lnTo>
                    <a:lnTo>
                      <a:pt x="7530" y="419"/>
                    </a:lnTo>
                    <a:lnTo>
                      <a:pt x="7526" y="430"/>
                    </a:lnTo>
                    <a:lnTo>
                      <a:pt x="7515" y="446"/>
                    </a:lnTo>
                    <a:lnTo>
                      <a:pt x="7505" y="462"/>
                    </a:lnTo>
                    <a:lnTo>
                      <a:pt x="7504" y="466"/>
                    </a:lnTo>
                    <a:lnTo>
                      <a:pt x="7504" y="471"/>
                    </a:lnTo>
                    <a:lnTo>
                      <a:pt x="7505" y="475"/>
                    </a:lnTo>
                    <a:lnTo>
                      <a:pt x="7507" y="479"/>
                    </a:lnTo>
                    <a:lnTo>
                      <a:pt x="7509" y="484"/>
                    </a:lnTo>
                    <a:lnTo>
                      <a:pt x="7513" y="489"/>
                    </a:lnTo>
                    <a:lnTo>
                      <a:pt x="7516" y="494"/>
                    </a:lnTo>
                    <a:lnTo>
                      <a:pt x="7521" y="498"/>
                    </a:lnTo>
                    <a:lnTo>
                      <a:pt x="7526" y="503"/>
                    </a:lnTo>
                    <a:lnTo>
                      <a:pt x="7529" y="508"/>
                    </a:lnTo>
                    <a:lnTo>
                      <a:pt x="7532" y="514"/>
                    </a:lnTo>
                    <a:lnTo>
                      <a:pt x="7534" y="520"/>
                    </a:lnTo>
                    <a:lnTo>
                      <a:pt x="7536" y="532"/>
                    </a:lnTo>
                    <a:lnTo>
                      <a:pt x="7536" y="545"/>
                    </a:lnTo>
                    <a:lnTo>
                      <a:pt x="7536" y="551"/>
                    </a:lnTo>
                    <a:lnTo>
                      <a:pt x="7536" y="556"/>
                    </a:lnTo>
                    <a:lnTo>
                      <a:pt x="7538" y="559"/>
                    </a:lnTo>
                    <a:lnTo>
                      <a:pt x="7540" y="563"/>
                    </a:lnTo>
                    <a:lnTo>
                      <a:pt x="7545" y="570"/>
                    </a:lnTo>
                    <a:lnTo>
                      <a:pt x="7552" y="576"/>
                    </a:lnTo>
                    <a:lnTo>
                      <a:pt x="7555" y="580"/>
                    </a:lnTo>
                    <a:lnTo>
                      <a:pt x="7558" y="585"/>
                    </a:lnTo>
                    <a:lnTo>
                      <a:pt x="7560" y="591"/>
                    </a:lnTo>
                    <a:lnTo>
                      <a:pt x="7561" y="598"/>
                    </a:lnTo>
                    <a:lnTo>
                      <a:pt x="7564" y="610"/>
                    </a:lnTo>
                    <a:lnTo>
                      <a:pt x="7568" y="621"/>
                    </a:lnTo>
                    <a:lnTo>
                      <a:pt x="7573" y="632"/>
                    </a:lnTo>
                    <a:lnTo>
                      <a:pt x="7582" y="645"/>
                    </a:lnTo>
                    <a:lnTo>
                      <a:pt x="7589" y="658"/>
                    </a:lnTo>
                    <a:lnTo>
                      <a:pt x="7595" y="671"/>
                    </a:lnTo>
                    <a:lnTo>
                      <a:pt x="7597" y="676"/>
                    </a:lnTo>
                    <a:lnTo>
                      <a:pt x="7599" y="680"/>
                    </a:lnTo>
                    <a:lnTo>
                      <a:pt x="7602" y="683"/>
                    </a:lnTo>
                    <a:lnTo>
                      <a:pt x="7604" y="686"/>
                    </a:lnTo>
                    <a:lnTo>
                      <a:pt x="7611" y="690"/>
                    </a:lnTo>
                    <a:lnTo>
                      <a:pt x="7617" y="692"/>
                    </a:lnTo>
                    <a:lnTo>
                      <a:pt x="7620" y="695"/>
                    </a:lnTo>
                    <a:lnTo>
                      <a:pt x="7621" y="698"/>
                    </a:lnTo>
                    <a:lnTo>
                      <a:pt x="7621" y="703"/>
                    </a:lnTo>
                    <a:lnTo>
                      <a:pt x="7620" y="709"/>
                    </a:lnTo>
                    <a:lnTo>
                      <a:pt x="7617" y="722"/>
                    </a:lnTo>
                    <a:lnTo>
                      <a:pt x="7614" y="736"/>
                    </a:lnTo>
                    <a:lnTo>
                      <a:pt x="7614" y="742"/>
                    </a:lnTo>
                    <a:lnTo>
                      <a:pt x="7615" y="747"/>
                    </a:lnTo>
                    <a:lnTo>
                      <a:pt x="7616" y="750"/>
                    </a:lnTo>
                    <a:lnTo>
                      <a:pt x="7617" y="754"/>
                    </a:lnTo>
                    <a:lnTo>
                      <a:pt x="7623" y="759"/>
                    </a:lnTo>
                    <a:lnTo>
                      <a:pt x="7630" y="762"/>
                    </a:lnTo>
                    <a:lnTo>
                      <a:pt x="7637" y="766"/>
                    </a:lnTo>
                    <a:lnTo>
                      <a:pt x="7643" y="771"/>
                    </a:lnTo>
                    <a:lnTo>
                      <a:pt x="7648" y="777"/>
                    </a:lnTo>
                    <a:lnTo>
                      <a:pt x="7652" y="783"/>
                    </a:lnTo>
                    <a:lnTo>
                      <a:pt x="7655" y="790"/>
                    </a:lnTo>
                    <a:lnTo>
                      <a:pt x="7660" y="796"/>
                    </a:lnTo>
                    <a:lnTo>
                      <a:pt x="7662" y="797"/>
                    </a:lnTo>
                    <a:lnTo>
                      <a:pt x="7666" y="799"/>
                    </a:lnTo>
                    <a:lnTo>
                      <a:pt x="7671" y="799"/>
                    </a:lnTo>
                    <a:lnTo>
                      <a:pt x="7678" y="799"/>
                    </a:lnTo>
                    <a:lnTo>
                      <a:pt x="7684" y="798"/>
                    </a:lnTo>
                    <a:lnTo>
                      <a:pt x="7690" y="798"/>
                    </a:lnTo>
                    <a:lnTo>
                      <a:pt x="7694" y="799"/>
                    </a:lnTo>
                    <a:lnTo>
                      <a:pt x="7700" y="800"/>
                    </a:lnTo>
                    <a:lnTo>
                      <a:pt x="7710" y="805"/>
                    </a:lnTo>
                    <a:lnTo>
                      <a:pt x="7721" y="811"/>
                    </a:lnTo>
                    <a:lnTo>
                      <a:pt x="7725" y="815"/>
                    </a:lnTo>
                    <a:lnTo>
                      <a:pt x="7730" y="816"/>
                    </a:lnTo>
                    <a:lnTo>
                      <a:pt x="7735" y="816"/>
                    </a:lnTo>
                    <a:lnTo>
                      <a:pt x="7740" y="816"/>
                    </a:lnTo>
                    <a:lnTo>
                      <a:pt x="7748" y="812"/>
                    </a:lnTo>
                    <a:lnTo>
                      <a:pt x="7755" y="806"/>
                    </a:lnTo>
                    <a:lnTo>
                      <a:pt x="7763" y="799"/>
                    </a:lnTo>
                    <a:lnTo>
                      <a:pt x="7775" y="790"/>
                    </a:lnTo>
                    <a:lnTo>
                      <a:pt x="7787" y="781"/>
                    </a:lnTo>
                    <a:lnTo>
                      <a:pt x="7799" y="773"/>
                    </a:lnTo>
                    <a:lnTo>
                      <a:pt x="7804" y="771"/>
                    </a:lnTo>
                    <a:lnTo>
                      <a:pt x="7806" y="767"/>
                    </a:lnTo>
                    <a:lnTo>
                      <a:pt x="7810" y="765"/>
                    </a:lnTo>
                    <a:lnTo>
                      <a:pt x="7811" y="761"/>
                    </a:lnTo>
                    <a:lnTo>
                      <a:pt x="7813" y="753"/>
                    </a:lnTo>
                    <a:lnTo>
                      <a:pt x="7816" y="743"/>
                    </a:lnTo>
                    <a:lnTo>
                      <a:pt x="7817" y="739"/>
                    </a:lnTo>
                    <a:lnTo>
                      <a:pt x="7818" y="735"/>
                    </a:lnTo>
                    <a:lnTo>
                      <a:pt x="7822" y="731"/>
                    </a:lnTo>
                    <a:lnTo>
                      <a:pt x="7824" y="729"/>
                    </a:lnTo>
                    <a:lnTo>
                      <a:pt x="7828" y="728"/>
                    </a:lnTo>
                    <a:lnTo>
                      <a:pt x="7831" y="728"/>
                    </a:lnTo>
                    <a:lnTo>
                      <a:pt x="7834" y="729"/>
                    </a:lnTo>
                    <a:lnTo>
                      <a:pt x="7837" y="731"/>
                    </a:lnTo>
                    <a:lnTo>
                      <a:pt x="7844" y="736"/>
                    </a:lnTo>
                    <a:lnTo>
                      <a:pt x="7854" y="741"/>
                    </a:lnTo>
                    <a:lnTo>
                      <a:pt x="7866" y="747"/>
                    </a:lnTo>
                    <a:lnTo>
                      <a:pt x="7880" y="753"/>
                    </a:lnTo>
                    <a:lnTo>
                      <a:pt x="7887" y="755"/>
                    </a:lnTo>
                    <a:lnTo>
                      <a:pt x="7894" y="756"/>
                    </a:lnTo>
                    <a:lnTo>
                      <a:pt x="7901" y="758"/>
                    </a:lnTo>
                    <a:lnTo>
                      <a:pt x="7908" y="758"/>
                    </a:lnTo>
                    <a:lnTo>
                      <a:pt x="7914" y="758"/>
                    </a:lnTo>
                    <a:lnTo>
                      <a:pt x="7922" y="756"/>
                    </a:lnTo>
                    <a:lnTo>
                      <a:pt x="7926" y="755"/>
                    </a:lnTo>
                    <a:lnTo>
                      <a:pt x="7931" y="753"/>
                    </a:lnTo>
                    <a:lnTo>
                      <a:pt x="7942" y="747"/>
                    </a:lnTo>
                    <a:lnTo>
                      <a:pt x="7956" y="743"/>
                    </a:lnTo>
                    <a:lnTo>
                      <a:pt x="7963" y="742"/>
                    </a:lnTo>
                    <a:lnTo>
                      <a:pt x="7970" y="742"/>
                    </a:lnTo>
                    <a:lnTo>
                      <a:pt x="7977" y="745"/>
                    </a:lnTo>
                    <a:lnTo>
                      <a:pt x="7983" y="748"/>
                    </a:lnTo>
                    <a:lnTo>
                      <a:pt x="7989" y="752"/>
                    </a:lnTo>
                    <a:lnTo>
                      <a:pt x="7995" y="754"/>
                    </a:lnTo>
                    <a:lnTo>
                      <a:pt x="8000" y="755"/>
                    </a:lnTo>
                    <a:lnTo>
                      <a:pt x="8006" y="756"/>
                    </a:lnTo>
                    <a:lnTo>
                      <a:pt x="8011" y="756"/>
                    </a:lnTo>
                    <a:lnTo>
                      <a:pt x="8014" y="755"/>
                    </a:lnTo>
                    <a:lnTo>
                      <a:pt x="8019" y="754"/>
                    </a:lnTo>
                    <a:lnTo>
                      <a:pt x="8023" y="752"/>
                    </a:lnTo>
                    <a:lnTo>
                      <a:pt x="8026" y="749"/>
                    </a:lnTo>
                    <a:lnTo>
                      <a:pt x="8029" y="746"/>
                    </a:lnTo>
                    <a:lnTo>
                      <a:pt x="8030" y="741"/>
                    </a:lnTo>
                    <a:lnTo>
                      <a:pt x="8031" y="736"/>
                    </a:lnTo>
                    <a:lnTo>
                      <a:pt x="8032" y="725"/>
                    </a:lnTo>
                    <a:lnTo>
                      <a:pt x="8033" y="716"/>
                    </a:lnTo>
                    <a:lnTo>
                      <a:pt x="8034" y="712"/>
                    </a:lnTo>
                    <a:lnTo>
                      <a:pt x="8037" y="709"/>
                    </a:lnTo>
                    <a:lnTo>
                      <a:pt x="8040" y="708"/>
                    </a:lnTo>
                    <a:lnTo>
                      <a:pt x="8043" y="706"/>
                    </a:lnTo>
                    <a:lnTo>
                      <a:pt x="8050" y="708"/>
                    </a:lnTo>
                    <a:lnTo>
                      <a:pt x="8056" y="710"/>
                    </a:lnTo>
                    <a:lnTo>
                      <a:pt x="8064" y="714"/>
                    </a:lnTo>
                    <a:lnTo>
                      <a:pt x="8072" y="717"/>
                    </a:lnTo>
                    <a:lnTo>
                      <a:pt x="8078" y="718"/>
                    </a:lnTo>
                    <a:lnTo>
                      <a:pt x="8083" y="718"/>
                    </a:lnTo>
                    <a:lnTo>
                      <a:pt x="8088" y="717"/>
                    </a:lnTo>
                    <a:lnTo>
                      <a:pt x="8093" y="716"/>
                    </a:lnTo>
                    <a:lnTo>
                      <a:pt x="8106" y="709"/>
                    </a:lnTo>
                    <a:lnTo>
                      <a:pt x="8122" y="698"/>
                    </a:lnTo>
                    <a:lnTo>
                      <a:pt x="8139" y="687"/>
                    </a:lnTo>
                    <a:lnTo>
                      <a:pt x="8150" y="678"/>
                    </a:lnTo>
                    <a:lnTo>
                      <a:pt x="8153" y="676"/>
                    </a:lnTo>
                    <a:lnTo>
                      <a:pt x="8156" y="671"/>
                    </a:lnTo>
                    <a:lnTo>
                      <a:pt x="8158" y="667"/>
                    </a:lnTo>
                    <a:lnTo>
                      <a:pt x="8158" y="663"/>
                    </a:lnTo>
                    <a:lnTo>
                      <a:pt x="8158" y="653"/>
                    </a:lnTo>
                    <a:lnTo>
                      <a:pt x="8156" y="643"/>
                    </a:lnTo>
                    <a:lnTo>
                      <a:pt x="8155" y="639"/>
                    </a:lnTo>
                    <a:lnTo>
                      <a:pt x="8156" y="635"/>
                    </a:lnTo>
                    <a:lnTo>
                      <a:pt x="8158" y="632"/>
                    </a:lnTo>
                    <a:lnTo>
                      <a:pt x="8162" y="628"/>
                    </a:lnTo>
                    <a:lnTo>
                      <a:pt x="8170" y="622"/>
                    </a:lnTo>
                    <a:lnTo>
                      <a:pt x="8179" y="617"/>
                    </a:lnTo>
                    <a:lnTo>
                      <a:pt x="8183" y="614"/>
                    </a:lnTo>
                    <a:lnTo>
                      <a:pt x="8184" y="610"/>
                    </a:lnTo>
                    <a:lnTo>
                      <a:pt x="8185" y="605"/>
                    </a:lnTo>
                    <a:lnTo>
                      <a:pt x="8187" y="600"/>
                    </a:lnTo>
                    <a:lnTo>
                      <a:pt x="8185" y="589"/>
                    </a:lnTo>
                    <a:lnTo>
                      <a:pt x="8184" y="578"/>
                    </a:lnTo>
                    <a:lnTo>
                      <a:pt x="8184" y="573"/>
                    </a:lnTo>
                    <a:lnTo>
                      <a:pt x="8185" y="570"/>
                    </a:lnTo>
                    <a:lnTo>
                      <a:pt x="8187" y="569"/>
                    </a:lnTo>
                    <a:lnTo>
                      <a:pt x="8189" y="567"/>
                    </a:lnTo>
                    <a:lnTo>
                      <a:pt x="8195" y="566"/>
                    </a:lnTo>
                    <a:lnTo>
                      <a:pt x="8202" y="567"/>
                    </a:lnTo>
                    <a:lnTo>
                      <a:pt x="8206" y="567"/>
                    </a:lnTo>
                    <a:lnTo>
                      <a:pt x="8210" y="566"/>
                    </a:lnTo>
                    <a:lnTo>
                      <a:pt x="8215" y="564"/>
                    </a:lnTo>
                    <a:lnTo>
                      <a:pt x="8219" y="561"/>
                    </a:lnTo>
                    <a:lnTo>
                      <a:pt x="8225" y="559"/>
                    </a:lnTo>
                    <a:lnTo>
                      <a:pt x="8229" y="557"/>
                    </a:lnTo>
                    <a:lnTo>
                      <a:pt x="8235" y="556"/>
                    </a:lnTo>
                    <a:lnTo>
                      <a:pt x="8241" y="556"/>
                    </a:lnTo>
                    <a:lnTo>
                      <a:pt x="8250" y="563"/>
                    </a:lnTo>
                    <a:lnTo>
                      <a:pt x="8269" y="578"/>
                    </a:lnTo>
                    <a:lnTo>
                      <a:pt x="8284" y="588"/>
                    </a:lnTo>
                    <a:lnTo>
                      <a:pt x="8298" y="600"/>
                    </a:lnTo>
                    <a:lnTo>
                      <a:pt x="8310" y="611"/>
                    </a:lnTo>
                    <a:lnTo>
                      <a:pt x="8321" y="624"/>
                    </a:lnTo>
                    <a:lnTo>
                      <a:pt x="8332" y="639"/>
                    </a:lnTo>
                    <a:lnTo>
                      <a:pt x="8346" y="658"/>
                    </a:lnTo>
                    <a:lnTo>
                      <a:pt x="8354" y="667"/>
                    </a:lnTo>
                    <a:lnTo>
                      <a:pt x="8363" y="676"/>
                    </a:lnTo>
                    <a:lnTo>
                      <a:pt x="8371" y="685"/>
                    </a:lnTo>
                    <a:lnTo>
                      <a:pt x="8379" y="692"/>
                    </a:lnTo>
                    <a:lnTo>
                      <a:pt x="8396" y="706"/>
                    </a:lnTo>
                    <a:lnTo>
                      <a:pt x="8409" y="721"/>
                    </a:lnTo>
                    <a:lnTo>
                      <a:pt x="8418" y="733"/>
                    </a:lnTo>
                    <a:lnTo>
                      <a:pt x="8429" y="743"/>
                    </a:lnTo>
                    <a:lnTo>
                      <a:pt x="8436" y="750"/>
                    </a:lnTo>
                    <a:lnTo>
                      <a:pt x="8442" y="756"/>
                    </a:lnTo>
                    <a:lnTo>
                      <a:pt x="8448" y="762"/>
                    </a:lnTo>
                    <a:lnTo>
                      <a:pt x="8455" y="766"/>
                    </a:lnTo>
                    <a:lnTo>
                      <a:pt x="8464" y="768"/>
                    </a:lnTo>
                    <a:lnTo>
                      <a:pt x="8471" y="772"/>
                    </a:lnTo>
                    <a:lnTo>
                      <a:pt x="8477" y="778"/>
                    </a:lnTo>
                    <a:lnTo>
                      <a:pt x="8484" y="786"/>
                    </a:lnTo>
                    <a:lnTo>
                      <a:pt x="8487" y="791"/>
                    </a:lnTo>
                    <a:lnTo>
                      <a:pt x="8491" y="797"/>
                    </a:lnTo>
                    <a:lnTo>
                      <a:pt x="8493" y="804"/>
                    </a:lnTo>
                    <a:lnTo>
                      <a:pt x="8494" y="811"/>
                    </a:lnTo>
                    <a:lnTo>
                      <a:pt x="8496" y="817"/>
                    </a:lnTo>
                    <a:lnTo>
                      <a:pt x="8497" y="823"/>
                    </a:lnTo>
                    <a:lnTo>
                      <a:pt x="8497" y="829"/>
                    </a:lnTo>
                    <a:lnTo>
                      <a:pt x="8496" y="834"/>
                    </a:lnTo>
                    <a:lnTo>
                      <a:pt x="8491" y="842"/>
                    </a:lnTo>
                    <a:lnTo>
                      <a:pt x="8484" y="854"/>
                    </a:lnTo>
                    <a:lnTo>
                      <a:pt x="8475" y="866"/>
                    </a:lnTo>
                    <a:lnTo>
                      <a:pt x="8471" y="875"/>
                    </a:lnTo>
                    <a:lnTo>
                      <a:pt x="8466" y="885"/>
                    </a:lnTo>
                    <a:lnTo>
                      <a:pt x="8460" y="893"/>
                    </a:lnTo>
                    <a:lnTo>
                      <a:pt x="8454" y="900"/>
                    </a:lnTo>
                    <a:lnTo>
                      <a:pt x="8448" y="905"/>
                    </a:lnTo>
                    <a:lnTo>
                      <a:pt x="8445" y="911"/>
                    </a:lnTo>
                    <a:lnTo>
                      <a:pt x="8442" y="919"/>
                    </a:lnTo>
                    <a:lnTo>
                      <a:pt x="8441" y="923"/>
                    </a:lnTo>
                    <a:lnTo>
                      <a:pt x="8441" y="929"/>
                    </a:lnTo>
                    <a:lnTo>
                      <a:pt x="8441" y="934"/>
                    </a:lnTo>
                    <a:lnTo>
                      <a:pt x="8442" y="939"/>
                    </a:lnTo>
                    <a:lnTo>
                      <a:pt x="8446" y="951"/>
                    </a:lnTo>
                    <a:lnTo>
                      <a:pt x="8449" y="966"/>
                    </a:lnTo>
                    <a:lnTo>
                      <a:pt x="8452" y="980"/>
                    </a:lnTo>
                    <a:lnTo>
                      <a:pt x="8453" y="992"/>
                    </a:lnTo>
                    <a:lnTo>
                      <a:pt x="8452" y="1002"/>
                    </a:lnTo>
                    <a:lnTo>
                      <a:pt x="8448" y="1012"/>
                    </a:lnTo>
                    <a:lnTo>
                      <a:pt x="8442" y="1023"/>
                    </a:lnTo>
                    <a:lnTo>
                      <a:pt x="8434" y="1033"/>
                    </a:lnTo>
                    <a:lnTo>
                      <a:pt x="8424" y="1042"/>
                    </a:lnTo>
                    <a:lnTo>
                      <a:pt x="8416" y="1049"/>
                    </a:lnTo>
                    <a:lnTo>
                      <a:pt x="8408" y="1052"/>
                    </a:lnTo>
                    <a:lnTo>
                      <a:pt x="8402" y="1056"/>
                    </a:lnTo>
                    <a:lnTo>
                      <a:pt x="8396" y="1061"/>
                    </a:lnTo>
                    <a:lnTo>
                      <a:pt x="8391" y="1065"/>
                    </a:lnTo>
                    <a:lnTo>
                      <a:pt x="8390" y="1069"/>
                    </a:lnTo>
                    <a:lnTo>
                      <a:pt x="8389" y="1073"/>
                    </a:lnTo>
                    <a:lnTo>
                      <a:pt x="8389" y="1077"/>
                    </a:lnTo>
                    <a:lnTo>
                      <a:pt x="8389" y="1082"/>
                    </a:lnTo>
                    <a:lnTo>
                      <a:pt x="8390" y="1095"/>
                    </a:lnTo>
                    <a:lnTo>
                      <a:pt x="8389" y="1111"/>
                    </a:lnTo>
                    <a:lnTo>
                      <a:pt x="8386" y="1126"/>
                    </a:lnTo>
                    <a:lnTo>
                      <a:pt x="8383" y="1139"/>
                    </a:lnTo>
                    <a:lnTo>
                      <a:pt x="8378" y="1151"/>
                    </a:lnTo>
                    <a:lnTo>
                      <a:pt x="8372" y="1161"/>
                    </a:lnTo>
                    <a:lnTo>
                      <a:pt x="8366" y="1171"/>
                    </a:lnTo>
                    <a:lnTo>
                      <a:pt x="8361" y="1183"/>
                    </a:lnTo>
                    <a:lnTo>
                      <a:pt x="8358" y="1196"/>
                    </a:lnTo>
                    <a:lnTo>
                      <a:pt x="8352" y="1209"/>
                    </a:lnTo>
                    <a:lnTo>
                      <a:pt x="8347" y="1221"/>
                    </a:lnTo>
                    <a:lnTo>
                      <a:pt x="8342" y="1232"/>
                    </a:lnTo>
                    <a:lnTo>
                      <a:pt x="8340" y="1245"/>
                    </a:lnTo>
                    <a:lnTo>
                      <a:pt x="8336" y="1259"/>
                    </a:lnTo>
                    <a:lnTo>
                      <a:pt x="8335" y="1275"/>
                    </a:lnTo>
                    <a:lnTo>
                      <a:pt x="8335" y="1291"/>
                    </a:lnTo>
                    <a:lnTo>
                      <a:pt x="8336" y="1307"/>
                    </a:lnTo>
                    <a:lnTo>
                      <a:pt x="8338" y="1319"/>
                    </a:lnTo>
                    <a:lnTo>
                      <a:pt x="8338" y="1328"/>
                    </a:lnTo>
                    <a:lnTo>
                      <a:pt x="8338" y="1336"/>
                    </a:lnTo>
                    <a:lnTo>
                      <a:pt x="8339" y="1344"/>
                    </a:lnTo>
                    <a:lnTo>
                      <a:pt x="8340" y="1351"/>
                    </a:lnTo>
                    <a:lnTo>
                      <a:pt x="8341" y="1357"/>
                    </a:lnTo>
                    <a:lnTo>
                      <a:pt x="8344" y="1364"/>
                    </a:lnTo>
                    <a:lnTo>
                      <a:pt x="8346" y="1371"/>
                    </a:lnTo>
                    <a:lnTo>
                      <a:pt x="8347" y="1378"/>
                    </a:lnTo>
                    <a:lnTo>
                      <a:pt x="8348" y="1386"/>
                    </a:lnTo>
                    <a:lnTo>
                      <a:pt x="8348" y="1397"/>
                    </a:lnTo>
                    <a:lnTo>
                      <a:pt x="8348" y="1401"/>
                    </a:lnTo>
                    <a:lnTo>
                      <a:pt x="8347" y="1404"/>
                    </a:lnTo>
                    <a:lnTo>
                      <a:pt x="8346" y="1407"/>
                    </a:lnTo>
                    <a:lnTo>
                      <a:pt x="8345" y="1408"/>
                    </a:lnTo>
                    <a:lnTo>
                      <a:pt x="8341" y="1409"/>
                    </a:lnTo>
                    <a:lnTo>
                      <a:pt x="8336" y="1410"/>
                    </a:lnTo>
                    <a:lnTo>
                      <a:pt x="8334" y="1411"/>
                    </a:lnTo>
                    <a:lnTo>
                      <a:pt x="8332" y="1413"/>
                    </a:lnTo>
                    <a:lnTo>
                      <a:pt x="8330" y="1414"/>
                    </a:lnTo>
                    <a:lnTo>
                      <a:pt x="8330" y="1416"/>
                    </a:lnTo>
                    <a:lnTo>
                      <a:pt x="8332" y="1422"/>
                    </a:lnTo>
                    <a:lnTo>
                      <a:pt x="8338" y="1430"/>
                    </a:lnTo>
                    <a:lnTo>
                      <a:pt x="8346" y="1441"/>
                    </a:lnTo>
                    <a:lnTo>
                      <a:pt x="8357" y="1455"/>
                    </a:lnTo>
                    <a:lnTo>
                      <a:pt x="8367" y="1472"/>
                    </a:lnTo>
                    <a:lnTo>
                      <a:pt x="8376" y="1487"/>
                    </a:lnTo>
                    <a:lnTo>
                      <a:pt x="8379" y="1495"/>
                    </a:lnTo>
                    <a:lnTo>
                      <a:pt x="8382" y="1503"/>
                    </a:lnTo>
                    <a:lnTo>
                      <a:pt x="8383" y="1511"/>
                    </a:lnTo>
                    <a:lnTo>
                      <a:pt x="8384" y="1519"/>
                    </a:lnTo>
                    <a:lnTo>
                      <a:pt x="8384" y="1536"/>
                    </a:lnTo>
                    <a:lnTo>
                      <a:pt x="8384" y="1553"/>
                    </a:lnTo>
                    <a:lnTo>
                      <a:pt x="8382" y="1572"/>
                    </a:lnTo>
                    <a:lnTo>
                      <a:pt x="8377" y="1592"/>
                    </a:lnTo>
                    <a:lnTo>
                      <a:pt x="8374" y="1601"/>
                    </a:lnTo>
                    <a:lnTo>
                      <a:pt x="8371" y="1611"/>
                    </a:lnTo>
                    <a:lnTo>
                      <a:pt x="8368" y="1618"/>
                    </a:lnTo>
                    <a:lnTo>
                      <a:pt x="8365" y="1623"/>
                    </a:lnTo>
                    <a:lnTo>
                      <a:pt x="8361" y="1626"/>
                    </a:lnTo>
                    <a:lnTo>
                      <a:pt x="8358" y="1629"/>
                    </a:lnTo>
                    <a:lnTo>
                      <a:pt x="8353" y="1631"/>
                    </a:lnTo>
                    <a:lnTo>
                      <a:pt x="8349" y="1632"/>
                    </a:lnTo>
                    <a:lnTo>
                      <a:pt x="8339" y="1632"/>
                    </a:lnTo>
                    <a:lnTo>
                      <a:pt x="8327" y="1632"/>
                    </a:lnTo>
                    <a:lnTo>
                      <a:pt x="8313" y="1631"/>
                    </a:lnTo>
                    <a:lnTo>
                      <a:pt x="8300" y="1632"/>
                    </a:lnTo>
                    <a:lnTo>
                      <a:pt x="8292" y="1635"/>
                    </a:lnTo>
                    <a:lnTo>
                      <a:pt x="8286" y="1638"/>
                    </a:lnTo>
                    <a:lnTo>
                      <a:pt x="8283" y="1643"/>
                    </a:lnTo>
                    <a:lnTo>
                      <a:pt x="8279" y="1649"/>
                    </a:lnTo>
                    <a:lnTo>
                      <a:pt x="8275" y="1664"/>
                    </a:lnTo>
                    <a:lnTo>
                      <a:pt x="8272" y="1684"/>
                    </a:lnTo>
                    <a:lnTo>
                      <a:pt x="8269" y="1704"/>
                    </a:lnTo>
                    <a:lnTo>
                      <a:pt x="8264" y="1725"/>
                    </a:lnTo>
                    <a:lnTo>
                      <a:pt x="8257" y="1749"/>
                    </a:lnTo>
                    <a:lnTo>
                      <a:pt x="8251" y="1774"/>
                    </a:lnTo>
                    <a:lnTo>
                      <a:pt x="8245" y="1798"/>
                    </a:lnTo>
                    <a:lnTo>
                      <a:pt x="8241" y="1819"/>
                    </a:lnTo>
                    <a:lnTo>
                      <a:pt x="8239" y="1844"/>
                    </a:lnTo>
                    <a:lnTo>
                      <a:pt x="8237" y="1875"/>
                    </a:lnTo>
                    <a:lnTo>
                      <a:pt x="8234" y="1905"/>
                    </a:lnTo>
                    <a:lnTo>
                      <a:pt x="8234" y="1927"/>
                    </a:lnTo>
                    <a:lnTo>
                      <a:pt x="8235" y="1945"/>
                    </a:lnTo>
                    <a:lnTo>
                      <a:pt x="8239" y="1962"/>
                    </a:lnTo>
                    <a:lnTo>
                      <a:pt x="8244" y="1978"/>
                    </a:lnTo>
                    <a:lnTo>
                      <a:pt x="8247" y="1991"/>
                    </a:lnTo>
                    <a:lnTo>
                      <a:pt x="8252" y="2002"/>
                    </a:lnTo>
                    <a:lnTo>
                      <a:pt x="8257" y="2010"/>
                    </a:lnTo>
                    <a:lnTo>
                      <a:pt x="8258" y="2015"/>
                    </a:lnTo>
                    <a:lnTo>
                      <a:pt x="8259" y="2020"/>
                    </a:lnTo>
                    <a:lnTo>
                      <a:pt x="8259" y="2025"/>
                    </a:lnTo>
                    <a:lnTo>
                      <a:pt x="8259" y="2032"/>
                    </a:lnTo>
                    <a:lnTo>
                      <a:pt x="8256" y="2042"/>
                    </a:lnTo>
                    <a:lnTo>
                      <a:pt x="8253" y="2051"/>
                    </a:lnTo>
                    <a:lnTo>
                      <a:pt x="8251" y="2058"/>
                    </a:lnTo>
                    <a:lnTo>
                      <a:pt x="8248" y="2067"/>
                    </a:lnTo>
                    <a:lnTo>
                      <a:pt x="8247" y="2077"/>
                    </a:lnTo>
                    <a:lnTo>
                      <a:pt x="8246" y="2086"/>
                    </a:lnTo>
                    <a:lnTo>
                      <a:pt x="8242" y="2094"/>
                    </a:lnTo>
                    <a:lnTo>
                      <a:pt x="8238" y="2102"/>
                    </a:lnTo>
                    <a:lnTo>
                      <a:pt x="8232" y="2109"/>
                    </a:lnTo>
                    <a:lnTo>
                      <a:pt x="8229" y="2111"/>
                    </a:lnTo>
                    <a:lnTo>
                      <a:pt x="8229" y="2108"/>
                    </a:lnTo>
                    <a:lnTo>
                      <a:pt x="8229" y="2100"/>
                    </a:lnTo>
                    <a:lnTo>
                      <a:pt x="8228" y="2091"/>
                    </a:lnTo>
                    <a:lnTo>
                      <a:pt x="8226" y="2084"/>
                    </a:lnTo>
                    <a:lnTo>
                      <a:pt x="8223" y="2079"/>
                    </a:lnTo>
                    <a:lnTo>
                      <a:pt x="8220" y="2075"/>
                    </a:lnTo>
                    <a:lnTo>
                      <a:pt x="8214" y="2069"/>
                    </a:lnTo>
                    <a:lnTo>
                      <a:pt x="8208" y="2061"/>
                    </a:lnTo>
                    <a:lnTo>
                      <a:pt x="8203" y="2053"/>
                    </a:lnTo>
                    <a:lnTo>
                      <a:pt x="8198" y="2044"/>
                    </a:lnTo>
                    <a:lnTo>
                      <a:pt x="8194" y="2032"/>
                    </a:lnTo>
                    <a:lnTo>
                      <a:pt x="8188" y="2016"/>
                    </a:lnTo>
                    <a:lnTo>
                      <a:pt x="8182" y="2001"/>
                    </a:lnTo>
                    <a:lnTo>
                      <a:pt x="8177" y="1988"/>
                    </a:lnTo>
                    <a:lnTo>
                      <a:pt x="8174" y="1977"/>
                    </a:lnTo>
                    <a:lnTo>
                      <a:pt x="8169" y="1964"/>
                    </a:lnTo>
                    <a:lnTo>
                      <a:pt x="8164" y="1951"/>
                    </a:lnTo>
                    <a:lnTo>
                      <a:pt x="8159" y="1940"/>
                    </a:lnTo>
                    <a:lnTo>
                      <a:pt x="8157" y="1935"/>
                    </a:lnTo>
                    <a:lnTo>
                      <a:pt x="8155" y="1933"/>
                    </a:lnTo>
                    <a:lnTo>
                      <a:pt x="8153" y="1933"/>
                    </a:lnTo>
                    <a:lnTo>
                      <a:pt x="8151" y="1933"/>
                    </a:lnTo>
                    <a:lnTo>
                      <a:pt x="8146" y="1935"/>
                    </a:lnTo>
                    <a:lnTo>
                      <a:pt x="8140" y="1941"/>
                    </a:lnTo>
                    <a:lnTo>
                      <a:pt x="8125" y="1957"/>
                    </a:lnTo>
                    <a:lnTo>
                      <a:pt x="8109" y="1975"/>
                    </a:lnTo>
                    <a:lnTo>
                      <a:pt x="8094" y="1994"/>
                    </a:lnTo>
                    <a:lnTo>
                      <a:pt x="8081" y="2010"/>
                    </a:lnTo>
                    <a:lnTo>
                      <a:pt x="8065" y="2032"/>
                    </a:lnTo>
                    <a:lnTo>
                      <a:pt x="8049" y="2054"/>
                    </a:lnTo>
                    <a:lnTo>
                      <a:pt x="8032" y="2076"/>
                    </a:lnTo>
                    <a:lnTo>
                      <a:pt x="8019" y="2097"/>
                    </a:lnTo>
                    <a:lnTo>
                      <a:pt x="8008" y="2116"/>
                    </a:lnTo>
                    <a:lnTo>
                      <a:pt x="8001" y="2135"/>
                    </a:lnTo>
                    <a:lnTo>
                      <a:pt x="7995" y="2152"/>
                    </a:lnTo>
                    <a:lnTo>
                      <a:pt x="7988" y="2164"/>
                    </a:lnTo>
                    <a:lnTo>
                      <a:pt x="7977" y="2176"/>
                    </a:lnTo>
                    <a:lnTo>
                      <a:pt x="7963" y="2187"/>
                    </a:lnTo>
                    <a:lnTo>
                      <a:pt x="7955" y="2193"/>
                    </a:lnTo>
                    <a:lnTo>
                      <a:pt x="7946" y="2198"/>
                    </a:lnTo>
                    <a:lnTo>
                      <a:pt x="7939" y="2202"/>
                    </a:lnTo>
                    <a:lnTo>
                      <a:pt x="7933" y="2204"/>
                    </a:lnTo>
                    <a:lnTo>
                      <a:pt x="7927" y="2206"/>
                    </a:lnTo>
                    <a:lnTo>
                      <a:pt x="7922" y="2209"/>
                    </a:lnTo>
                    <a:lnTo>
                      <a:pt x="7917" y="2211"/>
                    </a:lnTo>
                    <a:lnTo>
                      <a:pt x="7912" y="2215"/>
                    </a:lnTo>
                    <a:lnTo>
                      <a:pt x="7908" y="2220"/>
                    </a:lnTo>
                    <a:lnTo>
                      <a:pt x="7905" y="2224"/>
                    </a:lnTo>
                    <a:lnTo>
                      <a:pt x="7903" y="2230"/>
                    </a:lnTo>
                    <a:lnTo>
                      <a:pt x="7900" y="2236"/>
                    </a:lnTo>
                    <a:lnTo>
                      <a:pt x="7897" y="2250"/>
                    </a:lnTo>
                    <a:lnTo>
                      <a:pt x="7893" y="2266"/>
                    </a:lnTo>
                    <a:lnTo>
                      <a:pt x="7891" y="2273"/>
                    </a:lnTo>
                    <a:lnTo>
                      <a:pt x="7887" y="2280"/>
                    </a:lnTo>
                    <a:lnTo>
                      <a:pt x="7883" y="2286"/>
                    </a:lnTo>
                    <a:lnTo>
                      <a:pt x="7879" y="2291"/>
                    </a:lnTo>
                    <a:lnTo>
                      <a:pt x="7867" y="2300"/>
                    </a:lnTo>
                    <a:lnTo>
                      <a:pt x="7851" y="2310"/>
                    </a:lnTo>
                    <a:lnTo>
                      <a:pt x="7832" y="2322"/>
                    </a:lnTo>
                    <a:lnTo>
                      <a:pt x="7815" y="2335"/>
                    </a:lnTo>
                    <a:lnTo>
                      <a:pt x="7794" y="2353"/>
                    </a:lnTo>
                    <a:lnTo>
                      <a:pt x="7771" y="2372"/>
                    </a:lnTo>
                    <a:lnTo>
                      <a:pt x="7748" y="2391"/>
                    </a:lnTo>
                    <a:lnTo>
                      <a:pt x="7730" y="2407"/>
                    </a:lnTo>
                    <a:lnTo>
                      <a:pt x="7724" y="2414"/>
                    </a:lnTo>
                    <a:lnTo>
                      <a:pt x="7718" y="2422"/>
                    </a:lnTo>
                    <a:lnTo>
                      <a:pt x="7715" y="2430"/>
                    </a:lnTo>
                    <a:lnTo>
                      <a:pt x="7712" y="2439"/>
                    </a:lnTo>
                    <a:lnTo>
                      <a:pt x="7708" y="2455"/>
                    </a:lnTo>
                    <a:lnTo>
                      <a:pt x="7704" y="2469"/>
                    </a:lnTo>
                    <a:lnTo>
                      <a:pt x="7699" y="2482"/>
                    </a:lnTo>
                    <a:lnTo>
                      <a:pt x="7693" y="2494"/>
                    </a:lnTo>
                    <a:lnTo>
                      <a:pt x="7691" y="2500"/>
                    </a:lnTo>
                    <a:lnTo>
                      <a:pt x="7691" y="2505"/>
                    </a:lnTo>
                    <a:lnTo>
                      <a:pt x="7691" y="2507"/>
                    </a:lnTo>
                    <a:lnTo>
                      <a:pt x="7692" y="2510"/>
                    </a:lnTo>
                    <a:lnTo>
                      <a:pt x="7693" y="2511"/>
                    </a:lnTo>
                    <a:lnTo>
                      <a:pt x="7694" y="2513"/>
                    </a:lnTo>
                    <a:lnTo>
                      <a:pt x="7699" y="2516"/>
                    </a:lnTo>
                    <a:lnTo>
                      <a:pt x="7702" y="2519"/>
                    </a:lnTo>
                    <a:lnTo>
                      <a:pt x="7704" y="2523"/>
                    </a:lnTo>
                    <a:lnTo>
                      <a:pt x="7705" y="2526"/>
                    </a:lnTo>
                    <a:lnTo>
                      <a:pt x="7708" y="2535"/>
                    </a:lnTo>
                    <a:lnTo>
                      <a:pt x="7710" y="2544"/>
                    </a:lnTo>
                    <a:lnTo>
                      <a:pt x="7715" y="2554"/>
                    </a:lnTo>
                    <a:lnTo>
                      <a:pt x="7721" y="2563"/>
                    </a:lnTo>
                    <a:lnTo>
                      <a:pt x="7729" y="2570"/>
                    </a:lnTo>
                    <a:lnTo>
                      <a:pt x="7740" y="2577"/>
                    </a:lnTo>
                    <a:lnTo>
                      <a:pt x="7753" y="2586"/>
                    </a:lnTo>
                    <a:lnTo>
                      <a:pt x="7769" y="2593"/>
                    </a:lnTo>
                    <a:lnTo>
                      <a:pt x="7785" y="2601"/>
                    </a:lnTo>
                    <a:lnTo>
                      <a:pt x="7799" y="2607"/>
                    </a:lnTo>
                    <a:lnTo>
                      <a:pt x="7804" y="2611"/>
                    </a:lnTo>
                    <a:lnTo>
                      <a:pt x="7807" y="2614"/>
                    </a:lnTo>
                    <a:lnTo>
                      <a:pt x="7809" y="2618"/>
                    </a:lnTo>
                    <a:lnTo>
                      <a:pt x="7810" y="2622"/>
                    </a:lnTo>
                    <a:lnTo>
                      <a:pt x="7811" y="2636"/>
                    </a:lnTo>
                    <a:lnTo>
                      <a:pt x="7810" y="2651"/>
                    </a:lnTo>
                    <a:lnTo>
                      <a:pt x="7810" y="2659"/>
                    </a:lnTo>
                    <a:lnTo>
                      <a:pt x="7811" y="2665"/>
                    </a:lnTo>
                    <a:lnTo>
                      <a:pt x="7812" y="2670"/>
                    </a:lnTo>
                    <a:lnTo>
                      <a:pt x="7815" y="2672"/>
                    </a:lnTo>
                    <a:lnTo>
                      <a:pt x="7818" y="2675"/>
                    </a:lnTo>
                    <a:lnTo>
                      <a:pt x="7822" y="2675"/>
                    </a:lnTo>
                    <a:lnTo>
                      <a:pt x="7826" y="2675"/>
                    </a:lnTo>
                    <a:lnTo>
                      <a:pt x="7832" y="2675"/>
                    </a:lnTo>
                    <a:lnTo>
                      <a:pt x="7837" y="2676"/>
                    </a:lnTo>
                    <a:lnTo>
                      <a:pt x="7841" y="2678"/>
                    </a:lnTo>
                    <a:lnTo>
                      <a:pt x="7843" y="2681"/>
                    </a:lnTo>
                    <a:lnTo>
                      <a:pt x="7844" y="2685"/>
                    </a:lnTo>
                    <a:lnTo>
                      <a:pt x="7845" y="2696"/>
                    </a:lnTo>
                    <a:lnTo>
                      <a:pt x="7847" y="2710"/>
                    </a:lnTo>
                    <a:lnTo>
                      <a:pt x="7849" y="2719"/>
                    </a:lnTo>
                    <a:lnTo>
                      <a:pt x="7851" y="2727"/>
                    </a:lnTo>
                    <a:lnTo>
                      <a:pt x="7855" y="2733"/>
                    </a:lnTo>
                    <a:lnTo>
                      <a:pt x="7857" y="2738"/>
                    </a:lnTo>
                    <a:lnTo>
                      <a:pt x="7859" y="2739"/>
                    </a:lnTo>
                    <a:lnTo>
                      <a:pt x="7862" y="2740"/>
                    </a:lnTo>
                    <a:lnTo>
                      <a:pt x="7867" y="2741"/>
                    </a:lnTo>
                    <a:lnTo>
                      <a:pt x="7870" y="2743"/>
                    </a:lnTo>
                    <a:lnTo>
                      <a:pt x="7881" y="2743"/>
                    </a:lnTo>
                    <a:lnTo>
                      <a:pt x="7888" y="2743"/>
                    </a:lnTo>
                    <a:lnTo>
                      <a:pt x="7897" y="2741"/>
                    </a:lnTo>
                    <a:lnTo>
                      <a:pt x="7910" y="2739"/>
                    </a:lnTo>
                    <a:lnTo>
                      <a:pt x="7922" y="2734"/>
                    </a:lnTo>
                    <a:lnTo>
                      <a:pt x="7931" y="2729"/>
                    </a:lnTo>
                    <a:lnTo>
                      <a:pt x="7938" y="2725"/>
                    </a:lnTo>
                    <a:lnTo>
                      <a:pt x="7943" y="2719"/>
                    </a:lnTo>
                    <a:lnTo>
                      <a:pt x="7945" y="2712"/>
                    </a:lnTo>
                    <a:lnTo>
                      <a:pt x="7948" y="2706"/>
                    </a:lnTo>
                    <a:lnTo>
                      <a:pt x="7949" y="2700"/>
                    </a:lnTo>
                    <a:lnTo>
                      <a:pt x="7952" y="2695"/>
                    </a:lnTo>
                    <a:lnTo>
                      <a:pt x="7956" y="2691"/>
                    </a:lnTo>
                    <a:lnTo>
                      <a:pt x="7961" y="2689"/>
                    </a:lnTo>
                    <a:lnTo>
                      <a:pt x="7970" y="2688"/>
                    </a:lnTo>
                    <a:lnTo>
                      <a:pt x="7976" y="2689"/>
                    </a:lnTo>
                    <a:lnTo>
                      <a:pt x="7977" y="2689"/>
                    </a:lnTo>
                    <a:lnTo>
                      <a:pt x="7980" y="2687"/>
                    </a:lnTo>
                    <a:lnTo>
                      <a:pt x="7981" y="2684"/>
                    </a:lnTo>
                    <a:lnTo>
                      <a:pt x="7982" y="2680"/>
                    </a:lnTo>
                    <a:lnTo>
                      <a:pt x="7983" y="2670"/>
                    </a:lnTo>
                    <a:lnTo>
                      <a:pt x="7983" y="2661"/>
                    </a:lnTo>
                    <a:lnTo>
                      <a:pt x="7982" y="2652"/>
                    </a:lnTo>
                    <a:lnTo>
                      <a:pt x="7979" y="2644"/>
                    </a:lnTo>
                    <a:lnTo>
                      <a:pt x="7974" y="2632"/>
                    </a:lnTo>
                    <a:lnTo>
                      <a:pt x="7970" y="2622"/>
                    </a:lnTo>
                    <a:lnTo>
                      <a:pt x="7970" y="2620"/>
                    </a:lnTo>
                    <a:lnTo>
                      <a:pt x="7970" y="2620"/>
                    </a:lnTo>
                    <a:lnTo>
                      <a:pt x="7971" y="2619"/>
                    </a:lnTo>
                    <a:lnTo>
                      <a:pt x="7973" y="2619"/>
                    </a:lnTo>
                    <a:lnTo>
                      <a:pt x="7975" y="2620"/>
                    </a:lnTo>
                    <a:lnTo>
                      <a:pt x="7979" y="2622"/>
                    </a:lnTo>
                    <a:lnTo>
                      <a:pt x="7994" y="2628"/>
                    </a:lnTo>
                    <a:lnTo>
                      <a:pt x="8012" y="2634"/>
                    </a:lnTo>
                    <a:lnTo>
                      <a:pt x="8021" y="2640"/>
                    </a:lnTo>
                    <a:lnTo>
                      <a:pt x="8030" y="2644"/>
                    </a:lnTo>
                    <a:lnTo>
                      <a:pt x="8032" y="2646"/>
                    </a:lnTo>
                    <a:lnTo>
                      <a:pt x="8034" y="2649"/>
                    </a:lnTo>
                    <a:lnTo>
                      <a:pt x="8036" y="2651"/>
                    </a:lnTo>
                    <a:lnTo>
                      <a:pt x="8036" y="2655"/>
                    </a:lnTo>
                    <a:lnTo>
                      <a:pt x="8034" y="2663"/>
                    </a:lnTo>
                    <a:lnTo>
                      <a:pt x="8034" y="2674"/>
                    </a:lnTo>
                    <a:lnTo>
                      <a:pt x="8036" y="2677"/>
                    </a:lnTo>
                    <a:lnTo>
                      <a:pt x="8038" y="2681"/>
                    </a:lnTo>
                    <a:lnTo>
                      <a:pt x="8040" y="2683"/>
                    </a:lnTo>
                    <a:lnTo>
                      <a:pt x="8043" y="2684"/>
                    </a:lnTo>
                    <a:lnTo>
                      <a:pt x="8045" y="2683"/>
                    </a:lnTo>
                    <a:lnTo>
                      <a:pt x="8049" y="2682"/>
                    </a:lnTo>
                    <a:lnTo>
                      <a:pt x="8051" y="2680"/>
                    </a:lnTo>
                    <a:lnTo>
                      <a:pt x="8055" y="2677"/>
                    </a:lnTo>
                    <a:lnTo>
                      <a:pt x="8057" y="2675"/>
                    </a:lnTo>
                    <a:lnTo>
                      <a:pt x="8059" y="2674"/>
                    </a:lnTo>
                    <a:lnTo>
                      <a:pt x="8062" y="2674"/>
                    </a:lnTo>
                    <a:lnTo>
                      <a:pt x="8064" y="2674"/>
                    </a:lnTo>
                    <a:lnTo>
                      <a:pt x="8067" y="2676"/>
                    </a:lnTo>
                    <a:lnTo>
                      <a:pt x="8068" y="2678"/>
                    </a:lnTo>
                    <a:lnTo>
                      <a:pt x="8069" y="2682"/>
                    </a:lnTo>
                    <a:lnTo>
                      <a:pt x="8069" y="2685"/>
                    </a:lnTo>
                    <a:lnTo>
                      <a:pt x="8071" y="2691"/>
                    </a:lnTo>
                    <a:lnTo>
                      <a:pt x="8075" y="2697"/>
                    </a:lnTo>
                    <a:lnTo>
                      <a:pt x="8076" y="2699"/>
                    </a:lnTo>
                    <a:lnTo>
                      <a:pt x="8075" y="2700"/>
                    </a:lnTo>
                    <a:lnTo>
                      <a:pt x="8072" y="2701"/>
                    </a:lnTo>
                    <a:lnTo>
                      <a:pt x="8070" y="2702"/>
                    </a:lnTo>
                    <a:lnTo>
                      <a:pt x="8063" y="2704"/>
                    </a:lnTo>
                    <a:lnTo>
                      <a:pt x="8059" y="2707"/>
                    </a:lnTo>
                    <a:lnTo>
                      <a:pt x="8058" y="2712"/>
                    </a:lnTo>
                    <a:lnTo>
                      <a:pt x="8058" y="2719"/>
                    </a:lnTo>
                    <a:lnTo>
                      <a:pt x="8059" y="2733"/>
                    </a:lnTo>
                    <a:lnTo>
                      <a:pt x="8061" y="2748"/>
                    </a:lnTo>
                    <a:lnTo>
                      <a:pt x="8059" y="2750"/>
                    </a:lnTo>
                    <a:lnTo>
                      <a:pt x="8059" y="2752"/>
                    </a:lnTo>
                    <a:lnTo>
                      <a:pt x="8057" y="2754"/>
                    </a:lnTo>
                    <a:lnTo>
                      <a:pt x="8056" y="2756"/>
                    </a:lnTo>
                    <a:lnTo>
                      <a:pt x="8050" y="2758"/>
                    </a:lnTo>
                    <a:lnTo>
                      <a:pt x="8043" y="2759"/>
                    </a:lnTo>
                    <a:lnTo>
                      <a:pt x="8026" y="2760"/>
                    </a:lnTo>
                    <a:lnTo>
                      <a:pt x="8011" y="2762"/>
                    </a:lnTo>
                    <a:lnTo>
                      <a:pt x="8002" y="2762"/>
                    </a:lnTo>
                    <a:lnTo>
                      <a:pt x="7996" y="2764"/>
                    </a:lnTo>
                    <a:lnTo>
                      <a:pt x="7990" y="2766"/>
                    </a:lnTo>
                    <a:lnTo>
                      <a:pt x="7985" y="2769"/>
                    </a:lnTo>
                    <a:lnTo>
                      <a:pt x="7981" y="2772"/>
                    </a:lnTo>
                    <a:lnTo>
                      <a:pt x="7977" y="2777"/>
                    </a:lnTo>
                    <a:lnTo>
                      <a:pt x="7974" y="2782"/>
                    </a:lnTo>
                    <a:lnTo>
                      <a:pt x="7973" y="2788"/>
                    </a:lnTo>
                    <a:lnTo>
                      <a:pt x="7971" y="2794"/>
                    </a:lnTo>
                    <a:lnTo>
                      <a:pt x="7969" y="2797"/>
                    </a:lnTo>
                    <a:lnTo>
                      <a:pt x="7968" y="2801"/>
                    </a:lnTo>
                    <a:lnTo>
                      <a:pt x="7966" y="2803"/>
                    </a:lnTo>
                    <a:lnTo>
                      <a:pt x="7962" y="2806"/>
                    </a:lnTo>
                    <a:lnTo>
                      <a:pt x="7958" y="2807"/>
                    </a:lnTo>
                    <a:lnTo>
                      <a:pt x="7955" y="2808"/>
                    </a:lnTo>
                    <a:lnTo>
                      <a:pt x="7949" y="2808"/>
                    </a:lnTo>
                    <a:lnTo>
                      <a:pt x="7933" y="2808"/>
                    </a:lnTo>
                    <a:lnTo>
                      <a:pt x="7917" y="2808"/>
                    </a:lnTo>
                    <a:lnTo>
                      <a:pt x="7912" y="2809"/>
                    </a:lnTo>
                    <a:lnTo>
                      <a:pt x="7907" y="2810"/>
                    </a:lnTo>
                    <a:lnTo>
                      <a:pt x="7905" y="2814"/>
                    </a:lnTo>
                    <a:lnTo>
                      <a:pt x="7901" y="2817"/>
                    </a:lnTo>
                    <a:lnTo>
                      <a:pt x="7900" y="2821"/>
                    </a:lnTo>
                    <a:lnTo>
                      <a:pt x="7899" y="2826"/>
                    </a:lnTo>
                    <a:lnTo>
                      <a:pt x="7899" y="2832"/>
                    </a:lnTo>
                    <a:lnTo>
                      <a:pt x="7899" y="2839"/>
                    </a:lnTo>
                    <a:lnTo>
                      <a:pt x="7901" y="2853"/>
                    </a:lnTo>
                    <a:lnTo>
                      <a:pt x="7905" y="2870"/>
                    </a:lnTo>
                    <a:lnTo>
                      <a:pt x="7908" y="2878"/>
                    </a:lnTo>
                    <a:lnTo>
                      <a:pt x="7911" y="2885"/>
                    </a:lnTo>
                    <a:lnTo>
                      <a:pt x="7916" y="2891"/>
                    </a:lnTo>
                    <a:lnTo>
                      <a:pt x="7920" y="2897"/>
                    </a:lnTo>
                    <a:lnTo>
                      <a:pt x="7930" y="2909"/>
                    </a:lnTo>
                    <a:lnTo>
                      <a:pt x="7941" y="2922"/>
                    </a:lnTo>
                    <a:lnTo>
                      <a:pt x="7949" y="2932"/>
                    </a:lnTo>
                    <a:lnTo>
                      <a:pt x="7952" y="2936"/>
                    </a:lnTo>
                    <a:lnTo>
                      <a:pt x="7952" y="2943"/>
                    </a:lnTo>
                    <a:lnTo>
                      <a:pt x="7952" y="2955"/>
                    </a:lnTo>
                    <a:lnTo>
                      <a:pt x="7952" y="2965"/>
                    </a:lnTo>
                    <a:lnTo>
                      <a:pt x="7952" y="2975"/>
                    </a:lnTo>
                    <a:lnTo>
                      <a:pt x="7952" y="2985"/>
                    </a:lnTo>
                    <a:lnTo>
                      <a:pt x="7952" y="2995"/>
                    </a:lnTo>
                    <a:lnTo>
                      <a:pt x="7952" y="3002"/>
                    </a:lnTo>
                    <a:lnTo>
                      <a:pt x="7950" y="3006"/>
                    </a:lnTo>
                    <a:lnTo>
                      <a:pt x="7946" y="3011"/>
                    </a:lnTo>
                    <a:lnTo>
                      <a:pt x="7943" y="3015"/>
                    </a:lnTo>
                    <a:lnTo>
                      <a:pt x="7932" y="3018"/>
                    </a:lnTo>
                    <a:lnTo>
                      <a:pt x="7923" y="3021"/>
                    </a:lnTo>
                    <a:lnTo>
                      <a:pt x="7908" y="3023"/>
                    </a:lnTo>
                    <a:lnTo>
                      <a:pt x="7892" y="3027"/>
                    </a:lnTo>
                    <a:lnTo>
                      <a:pt x="7883" y="3029"/>
                    </a:lnTo>
                    <a:lnTo>
                      <a:pt x="7876" y="3031"/>
                    </a:lnTo>
                    <a:lnTo>
                      <a:pt x="7870" y="3034"/>
                    </a:lnTo>
                    <a:lnTo>
                      <a:pt x="7867" y="3037"/>
                    </a:lnTo>
                    <a:lnTo>
                      <a:pt x="7866" y="3042"/>
                    </a:lnTo>
                    <a:lnTo>
                      <a:pt x="7864" y="3048"/>
                    </a:lnTo>
                    <a:lnTo>
                      <a:pt x="7864" y="3055"/>
                    </a:lnTo>
                    <a:lnTo>
                      <a:pt x="7864" y="3062"/>
                    </a:lnTo>
                    <a:lnTo>
                      <a:pt x="7868" y="3080"/>
                    </a:lnTo>
                    <a:lnTo>
                      <a:pt x="7873" y="3097"/>
                    </a:lnTo>
                    <a:lnTo>
                      <a:pt x="7878" y="3115"/>
                    </a:lnTo>
                    <a:lnTo>
                      <a:pt x="7881" y="3135"/>
                    </a:lnTo>
                    <a:lnTo>
                      <a:pt x="7882" y="3155"/>
                    </a:lnTo>
                    <a:lnTo>
                      <a:pt x="7882" y="3173"/>
                    </a:lnTo>
                    <a:lnTo>
                      <a:pt x="7881" y="3180"/>
                    </a:lnTo>
                    <a:lnTo>
                      <a:pt x="7879" y="3186"/>
                    </a:lnTo>
                    <a:lnTo>
                      <a:pt x="7875" y="3189"/>
                    </a:lnTo>
                    <a:lnTo>
                      <a:pt x="7872" y="3192"/>
                    </a:lnTo>
                    <a:lnTo>
                      <a:pt x="7868" y="3194"/>
                    </a:lnTo>
                    <a:lnTo>
                      <a:pt x="7863" y="3194"/>
                    </a:lnTo>
                    <a:lnTo>
                      <a:pt x="7859" y="3194"/>
                    </a:lnTo>
                    <a:lnTo>
                      <a:pt x="7853" y="3193"/>
                    </a:lnTo>
                    <a:lnTo>
                      <a:pt x="7843" y="3191"/>
                    </a:lnTo>
                    <a:lnTo>
                      <a:pt x="7832" y="3189"/>
                    </a:lnTo>
                    <a:lnTo>
                      <a:pt x="7822" y="3187"/>
                    </a:lnTo>
                    <a:lnTo>
                      <a:pt x="7811" y="3184"/>
                    </a:lnTo>
                    <a:lnTo>
                      <a:pt x="7807" y="3181"/>
                    </a:lnTo>
                    <a:lnTo>
                      <a:pt x="7803" y="3176"/>
                    </a:lnTo>
                    <a:lnTo>
                      <a:pt x="7799" y="3172"/>
                    </a:lnTo>
                    <a:lnTo>
                      <a:pt x="7796" y="3166"/>
                    </a:lnTo>
                    <a:lnTo>
                      <a:pt x="7791" y="3154"/>
                    </a:lnTo>
                    <a:lnTo>
                      <a:pt x="7786" y="3141"/>
                    </a:lnTo>
                    <a:lnTo>
                      <a:pt x="7784" y="3135"/>
                    </a:lnTo>
                    <a:lnTo>
                      <a:pt x="7781" y="3130"/>
                    </a:lnTo>
                    <a:lnTo>
                      <a:pt x="7776" y="3125"/>
                    </a:lnTo>
                    <a:lnTo>
                      <a:pt x="7772" y="3123"/>
                    </a:lnTo>
                    <a:lnTo>
                      <a:pt x="7767" y="3121"/>
                    </a:lnTo>
                    <a:lnTo>
                      <a:pt x="7761" y="3121"/>
                    </a:lnTo>
                    <a:lnTo>
                      <a:pt x="7756" y="3122"/>
                    </a:lnTo>
                    <a:lnTo>
                      <a:pt x="7752" y="3124"/>
                    </a:lnTo>
                    <a:lnTo>
                      <a:pt x="7748" y="3128"/>
                    </a:lnTo>
                    <a:lnTo>
                      <a:pt x="7744" y="3132"/>
                    </a:lnTo>
                    <a:lnTo>
                      <a:pt x="7742" y="3137"/>
                    </a:lnTo>
                    <a:lnTo>
                      <a:pt x="7741" y="3142"/>
                    </a:lnTo>
                    <a:lnTo>
                      <a:pt x="7738" y="3154"/>
                    </a:lnTo>
                    <a:lnTo>
                      <a:pt x="7737" y="3164"/>
                    </a:lnTo>
                    <a:lnTo>
                      <a:pt x="7736" y="3169"/>
                    </a:lnTo>
                    <a:lnTo>
                      <a:pt x="7734" y="3173"/>
                    </a:lnTo>
                    <a:lnTo>
                      <a:pt x="7731" y="3174"/>
                    </a:lnTo>
                    <a:lnTo>
                      <a:pt x="7729" y="3175"/>
                    </a:lnTo>
                    <a:lnTo>
                      <a:pt x="7722" y="3173"/>
                    </a:lnTo>
                    <a:lnTo>
                      <a:pt x="7713" y="3168"/>
                    </a:lnTo>
                    <a:lnTo>
                      <a:pt x="7705" y="3162"/>
                    </a:lnTo>
                    <a:lnTo>
                      <a:pt x="7696" y="3157"/>
                    </a:lnTo>
                    <a:lnTo>
                      <a:pt x="7685" y="3153"/>
                    </a:lnTo>
                    <a:lnTo>
                      <a:pt x="7673" y="3147"/>
                    </a:lnTo>
                    <a:lnTo>
                      <a:pt x="7666" y="3143"/>
                    </a:lnTo>
                    <a:lnTo>
                      <a:pt x="7660" y="3138"/>
                    </a:lnTo>
                    <a:lnTo>
                      <a:pt x="7654" y="3132"/>
                    </a:lnTo>
                    <a:lnTo>
                      <a:pt x="7649" y="3126"/>
                    </a:lnTo>
                    <a:lnTo>
                      <a:pt x="7640" y="3115"/>
                    </a:lnTo>
                    <a:lnTo>
                      <a:pt x="7633" y="3104"/>
                    </a:lnTo>
                    <a:lnTo>
                      <a:pt x="7629" y="3099"/>
                    </a:lnTo>
                    <a:lnTo>
                      <a:pt x="7627" y="3097"/>
                    </a:lnTo>
                    <a:lnTo>
                      <a:pt x="7626" y="3096"/>
                    </a:lnTo>
                    <a:lnTo>
                      <a:pt x="7623" y="3094"/>
                    </a:lnTo>
                    <a:lnTo>
                      <a:pt x="7617" y="3096"/>
                    </a:lnTo>
                    <a:lnTo>
                      <a:pt x="7608" y="3098"/>
                    </a:lnTo>
                    <a:lnTo>
                      <a:pt x="7598" y="3099"/>
                    </a:lnTo>
                    <a:lnTo>
                      <a:pt x="7589" y="3098"/>
                    </a:lnTo>
                    <a:lnTo>
                      <a:pt x="7580" y="3097"/>
                    </a:lnTo>
                    <a:lnTo>
                      <a:pt x="7572" y="3098"/>
                    </a:lnTo>
                    <a:lnTo>
                      <a:pt x="7568" y="3099"/>
                    </a:lnTo>
                    <a:lnTo>
                      <a:pt x="7567" y="3101"/>
                    </a:lnTo>
                    <a:lnTo>
                      <a:pt x="7567" y="3105"/>
                    </a:lnTo>
                    <a:lnTo>
                      <a:pt x="7568" y="3109"/>
                    </a:lnTo>
                    <a:lnTo>
                      <a:pt x="7573" y="3116"/>
                    </a:lnTo>
                    <a:lnTo>
                      <a:pt x="7580" y="3123"/>
                    </a:lnTo>
                    <a:lnTo>
                      <a:pt x="7583" y="3128"/>
                    </a:lnTo>
                    <a:lnTo>
                      <a:pt x="7584" y="3132"/>
                    </a:lnTo>
                    <a:lnTo>
                      <a:pt x="7585" y="3138"/>
                    </a:lnTo>
                    <a:lnTo>
                      <a:pt x="7585" y="3144"/>
                    </a:lnTo>
                    <a:lnTo>
                      <a:pt x="7585" y="3157"/>
                    </a:lnTo>
                    <a:lnTo>
                      <a:pt x="7584" y="3168"/>
                    </a:lnTo>
                    <a:lnTo>
                      <a:pt x="7584" y="3173"/>
                    </a:lnTo>
                    <a:lnTo>
                      <a:pt x="7582" y="3178"/>
                    </a:lnTo>
                    <a:lnTo>
                      <a:pt x="7579" y="3182"/>
                    </a:lnTo>
                    <a:lnTo>
                      <a:pt x="7576" y="3187"/>
                    </a:lnTo>
                    <a:lnTo>
                      <a:pt x="7567" y="3197"/>
                    </a:lnTo>
                    <a:lnTo>
                      <a:pt x="7559" y="3203"/>
                    </a:lnTo>
                    <a:lnTo>
                      <a:pt x="7552" y="3208"/>
                    </a:lnTo>
                    <a:lnTo>
                      <a:pt x="7546" y="3214"/>
                    </a:lnTo>
                    <a:lnTo>
                      <a:pt x="7545" y="3218"/>
                    </a:lnTo>
                    <a:lnTo>
                      <a:pt x="7545" y="3222"/>
                    </a:lnTo>
                    <a:lnTo>
                      <a:pt x="7547" y="3225"/>
                    </a:lnTo>
                    <a:lnTo>
                      <a:pt x="7549" y="3230"/>
                    </a:lnTo>
                    <a:lnTo>
                      <a:pt x="7559" y="3236"/>
                    </a:lnTo>
                    <a:lnTo>
                      <a:pt x="7567" y="3239"/>
                    </a:lnTo>
                    <a:lnTo>
                      <a:pt x="7576" y="3242"/>
                    </a:lnTo>
                    <a:lnTo>
                      <a:pt x="7582" y="3243"/>
                    </a:lnTo>
                    <a:lnTo>
                      <a:pt x="7589" y="3241"/>
                    </a:lnTo>
                    <a:lnTo>
                      <a:pt x="7598" y="3236"/>
                    </a:lnTo>
                    <a:lnTo>
                      <a:pt x="7608" y="3231"/>
                    </a:lnTo>
                    <a:lnTo>
                      <a:pt x="7615" y="3226"/>
                    </a:lnTo>
                    <a:lnTo>
                      <a:pt x="7618" y="3225"/>
                    </a:lnTo>
                    <a:lnTo>
                      <a:pt x="7622" y="3224"/>
                    </a:lnTo>
                    <a:lnTo>
                      <a:pt x="7626" y="3224"/>
                    </a:lnTo>
                    <a:lnTo>
                      <a:pt x="7629" y="3225"/>
                    </a:lnTo>
                    <a:lnTo>
                      <a:pt x="7633" y="3227"/>
                    </a:lnTo>
                    <a:lnTo>
                      <a:pt x="7636" y="3231"/>
                    </a:lnTo>
                    <a:lnTo>
                      <a:pt x="7640" y="3237"/>
                    </a:lnTo>
                    <a:lnTo>
                      <a:pt x="7643" y="3244"/>
                    </a:lnTo>
                    <a:lnTo>
                      <a:pt x="7646" y="3252"/>
                    </a:lnTo>
                    <a:lnTo>
                      <a:pt x="7647" y="3260"/>
                    </a:lnTo>
                    <a:lnTo>
                      <a:pt x="7647" y="3267"/>
                    </a:lnTo>
                    <a:lnTo>
                      <a:pt x="7647" y="3273"/>
                    </a:lnTo>
                    <a:lnTo>
                      <a:pt x="7647" y="3282"/>
                    </a:lnTo>
                    <a:lnTo>
                      <a:pt x="7649" y="3290"/>
                    </a:lnTo>
                    <a:lnTo>
                      <a:pt x="7654" y="3299"/>
                    </a:lnTo>
                    <a:lnTo>
                      <a:pt x="7661" y="3306"/>
                    </a:lnTo>
                    <a:lnTo>
                      <a:pt x="7672" y="3315"/>
                    </a:lnTo>
                    <a:lnTo>
                      <a:pt x="7685" y="3326"/>
                    </a:lnTo>
                    <a:lnTo>
                      <a:pt x="7691" y="3331"/>
                    </a:lnTo>
                    <a:lnTo>
                      <a:pt x="7697" y="3336"/>
                    </a:lnTo>
                    <a:lnTo>
                      <a:pt x="7700" y="3340"/>
                    </a:lnTo>
                    <a:lnTo>
                      <a:pt x="7704" y="3346"/>
                    </a:lnTo>
                    <a:lnTo>
                      <a:pt x="7706" y="3351"/>
                    </a:lnTo>
                    <a:lnTo>
                      <a:pt x="7708" y="3357"/>
                    </a:lnTo>
                    <a:lnTo>
                      <a:pt x="7709" y="3363"/>
                    </a:lnTo>
                    <a:lnTo>
                      <a:pt x="7709" y="3369"/>
                    </a:lnTo>
                    <a:lnTo>
                      <a:pt x="7709" y="3375"/>
                    </a:lnTo>
                    <a:lnTo>
                      <a:pt x="7710" y="3381"/>
                    </a:lnTo>
                    <a:lnTo>
                      <a:pt x="7711" y="3386"/>
                    </a:lnTo>
                    <a:lnTo>
                      <a:pt x="7713" y="3390"/>
                    </a:lnTo>
                    <a:lnTo>
                      <a:pt x="7718" y="3396"/>
                    </a:lnTo>
                    <a:lnTo>
                      <a:pt x="7725" y="3402"/>
                    </a:lnTo>
                    <a:lnTo>
                      <a:pt x="7729" y="3406"/>
                    </a:lnTo>
                    <a:lnTo>
                      <a:pt x="7733" y="3408"/>
                    </a:lnTo>
                    <a:lnTo>
                      <a:pt x="7734" y="3412"/>
                    </a:lnTo>
                    <a:lnTo>
                      <a:pt x="7736" y="3416"/>
                    </a:lnTo>
                    <a:lnTo>
                      <a:pt x="7737" y="3425"/>
                    </a:lnTo>
                    <a:lnTo>
                      <a:pt x="7736" y="3435"/>
                    </a:lnTo>
                    <a:lnTo>
                      <a:pt x="7735" y="3441"/>
                    </a:lnTo>
                    <a:lnTo>
                      <a:pt x="7733" y="3446"/>
                    </a:lnTo>
                    <a:lnTo>
                      <a:pt x="7730" y="3450"/>
                    </a:lnTo>
                    <a:lnTo>
                      <a:pt x="7727" y="3454"/>
                    </a:lnTo>
                    <a:lnTo>
                      <a:pt x="7719" y="3462"/>
                    </a:lnTo>
                    <a:lnTo>
                      <a:pt x="7712" y="3469"/>
                    </a:lnTo>
                    <a:lnTo>
                      <a:pt x="7710" y="3474"/>
                    </a:lnTo>
                    <a:lnTo>
                      <a:pt x="7709" y="3478"/>
                    </a:lnTo>
                    <a:lnTo>
                      <a:pt x="7708" y="3483"/>
                    </a:lnTo>
                    <a:lnTo>
                      <a:pt x="7706" y="3489"/>
                    </a:lnTo>
                    <a:lnTo>
                      <a:pt x="7705" y="3502"/>
                    </a:lnTo>
                    <a:lnTo>
                      <a:pt x="7705" y="3513"/>
                    </a:lnTo>
                    <a:lnTo>
                      <a:pt x="7708" y="3527"/>
                    </a:lnTo>
                    <a:lnTo>
                      <a:pt x="7709" y="3544"/>
                    </a:lnTo>
                    <a:lnTo>
                      <a:pt x="7710" y="3560"/>
                    </a:lnTo>
                    <a:lnTo>
                      <a:pt x="7709" y="3573"/>
                    </a:lnTo>
                    <a:lnTo>
                      <a:pt x="7706" y="3586"/>
                    </a:lnTo>
                    <a:lnTo>
                      <a:pt x="7706" y="3601"/>
                    </a:lnTo>
                    <a:lnTo>
                      <a:pt x="7706" y="3608"/>
                    </a:lnTo>
                    <a:lnTo>
                      <a:pt x="7708" y="3614"/>
                    </a:lnTo>
                    <a:lnTo>
                      <a:pt x="7710" y="3619"/>
                    </a:lnTo>
                    <a:lnTo>
                      <a:pt x="7712" y="3622"/>
                    </a:lnTo>
                    <a:lnTo>
                      <a:pt x="7718" y="3627"/>
                    </a:lnTo>
                    <a:lnTo>
                      <a:pt x="7723" y="3632"/>
                    </a:lnTo>
                    <a:lnTo>
                      <a:pt x="7725" y="3635"/>
                    </a:lnTo>
                    <a:lnTo>
                      <a:pt x="7727" y="3638"/>
                    </a:lnTo>
                    <a:lnTo>
                      <a:pt x="7727" y="3641"/>
                    </a:lnTo>
                    <a:lnTo>
                      <a:pt x="7727" y="3643"/>
                    </a:lnTo>
                    <a:lnTo>
                      <a:pt x="7723" y="3648"/>
                    </a:lnTo>
                    <a:lnTo>
                      <a:pt x="7722" y="3652"/>
                    </a:lnTo>
                    <a:lnTo>
                      <a:pt x="7722" y="3654"/>
                    </a:lnTo>
                    <a:lnTo>
                      <a:pt x="7723" y="3655"/>
                    </a:lnTo>
                    <a:lnTo>
                      <a:pt x="7724" y="3655"/>
                    </a:lnTo>
                    <a:lnTo>
                      <a:pt x="7727" y="3657"/>
                    </a:lnTo>
                    <a:lnTo>
                      <a:pt x="7729" y="3657"/>
                    </a:lnTo>
                    <a:lnTo>
                      <a:pt x="7731" y="3658"/>
                    </a:lnTo>
                    <a:lnTo>
                      <a:pt x="7731" y="3659"/>
                    </a:lnTo>
                    <a:lnTo>
                      <a:pt x="7733" y="3661"/>
                    </a:lnTo>
                    <a:lnTo>
                      <a:pt x="7731" y="3666"/>
                    </a:lnTo>
                    <a:lnTo>
                      <a:pt x="7730" y="3674"/>
                    </a:lnTo>
                    <a:lnTo>
                      <a:pt x="7729" y="3678"/>
                    </a:lnTo>
                    <a:lnTo>
                      <a:pt x="7729" y="3683"/>
                    </a:lnTo>
                    <a:lnTo>
                      <a:pt x="7729" y="3689"/>
                    </a:lnTo>
                    <a:lnTo>
                      <a:pt x="7730" y="3693"/>
                    </a:lnTo>
                    <a:lnTo>
                      <a:pt x="7733" y="3699"/>
                    </a:lnTo>
                    <a:lnTo>
                      <a:pt x="7735" y="3705"/>
                    </a:lnTo>
                    <a:lnTo>
                      <a:pt x="7738" y="3711"/>
                    </a:lnTo>
                    <a:lnTo>
                      <a:pt x="7743" y="3718"/>
                    </a:lnTo>
                    <a:lnTo>
                      <a:pt x="7754" y="3731"/>
                    </a:lnTo>
                    <a:lnTo>
                      <a:pt x="7766" y="3742"/>
                    </a:lnTo>
                    <a:lnTo>
                      <a:pt x="7778" y="3752"/>
                    </a:lnTo>
                    <a:lnTo>
                      <a:pt x="7790" y="3758"/>
                    </a:lnTo>
                    <a:lnTo>
                      <a:pt x="7794" y="3761"/>
                    </a:lnTo>
                    <a:lnTo>
                      <a:pt x="7798" y="3766"/>
                    </a:lnTo>
                    <a:lnTo>
                      <a:pt x="7800" y="3769"/>
                    </a:lnTo>
                    <a:lnTo>
                      <a:pt x="7801" y="3774"/>
                    </a:lnTo>
                    <a:lnTo>
                      <a:pt x="7801" y="3786"/>
                    </a:lnTo>
                    <a:lnTo>
                      <a:pt x="7801" y="3798"/>
                    </a:lnTo>
                    <a:lnTo>
                      <a:pt x="7800" y="3811"/>
                    </a:lnTo>
                    <a:lnTo>
                      <a:pt x="7801" y="3827"/>
                    </a:lnTo>
                    <a:lnTo>
                      <a:pt x="7803" y="3835"/>
                    </a:lnTo>
                    <a:lnTo>
                      <a:pt x="7804" y="3842"/>
                    </a:lnTo>
                    <a:lnTo>
                      <a:pt x="7806" y="3849"/>
                    </a:lnTo>
                    <a:lnTo>
                      <a:pt x="7810" y="3855"/>
                    </a:lnTo>
                    <a:lnTo>
                      <a:pt x="7815" y="3860"/>
                    </a:lnTo>
                    <a:lnTo>
                      <a:pt x="7820" y="3863"/>
                    </a:lnTo>
                    <a:lnTo>
                      <a:pt x="7826" y="3866"/>
                    </a:lnTo>
                    <a:lnTo>
                      <a:pt x="7831" y="3868"/>
                    </a:lnTo>
                    <a:lnTo>
                      <a:pt x="7837" y="3868"/>
                    </a:lnTo>
                    <a:lnTo>
                      <a:pt x="7843" y="3868"/>
                    </a:lnTo>
                    <a:lnTo>
                      <a:pt x="7848" y="3867"/>
                    </a:lnTo>
                    <a:lnTo>
                      <a:pt x="7851" y="3866"/>
                    </a:lnTo>
                    <a:lnTo>
                      <a:pt x="7862" y="3857"/>
                    </a:lnTo>
                    <a:lnTo>
                      <a:pt x="7880" y="3846"/>
                    </a:lnTo>
                    <a:lnTo>
                      <a:pt x="7900" y="3830"/>
                    </a:lnTo>
                    <a:lnTo>
                      <a:pt x="7920" y="3815"/>
                    </a:lnTo>
                    <a:lnTo>
                      <a:pt x="7939" y="3797"/>
                    </a:lnTo>
                    <a:lnTo>
                      <a:pt x="7961" y="3775"/>
                    </a:lnTo>
                    <a:lnTo>
                      <a:pt x="7981" y="3754"/>
                    </a:lnTo>
                    <a:lnTo>
                      <a:pt x="7996" y="3739"/>
                    </a:lnTo>
                    <a:lnTo>
                      <a:pt x="8009" y="3728"/>
                    </a:lnTo>
                    <a:lnTo>
                      <a:pt x="8023" y="3717"/>
                    </a:lnTo>
                    <a:lnTo>
                      <a:pt x="8034" y="3709"/>
                    </a:lnTo>
                    <a:lnTo>
                      <a:pt x="8046" y="3703"/>
                    </a:lnTo>
                    <a:lnTo>
                      <a:pt x="8057" y="3698"/>
                    </a:lnTo>
                    <a:lnTo>
                      <a:pt x="8065" y="3697"/>
                    </a:lnTo>
                    <a:lnTo>
                      <a:pt x="8069" y="3698"/>
                    </a:lnTo>
                    <a:lnTo>
                      <a:pt x="8070" y="3701"/>
                    </a:lnTo>
                    <a:lnTo>
                      <a:pt x="8071" y="3704"/>
                    </a:lnTo>
                    <a:lnTo>
                      <a:pt x="8071" y="3709"/>
                    </a:lnTo>
                    <a:lnTo>
                      <a:pt x="8068" y="3722"/>
                    </a:lnTo>
                    <a:lnTo>
                      <a:pt x="8064" y="3736"/>
                    </a:lnTo>
                    <a:lnTo>
                      <a:pt x="8063" y="3745"/>
                    </a:lnTo>
                    <a:lnTo>
                      <a:pt x="8064" y="3750"/>
                    </a:lnTo>
                    <a:lnTo>
                      <a:pt x="8065" y="3758"/>
                    </a:lnTo>
                    <a:lnTo>
                      <a:pt x="8068" y="3764"/>
                    </a:lnTo>
                    <a:lnTo>
                      <a:pt x="8075" y="3773"/>
                    </a:lnTo>
                    <a:lnTo>
                      <a:pt x="8082" y="3784"/>
                    </a:lnTo>
                    <a:lnTo>
                      <a:pt x="8090" y="3793"/>
                    </a:lnTo>
                    <a:lnTo>
                      <a:pt x="8099" y="3804"/>
                    </a:lnTo>
                    <a:lnTo>
                      <a:pt x="8108" y="3817"/>
                    </a:lnTo>
                    <a:lnTo>
                      <a:pt x="8119" y="3829"/>
                    </a:lnTo>
                    <a:lnTo>
                      <a:pt x="8128" y="3841"/>
                    </a:lnTo>
                    <a:lnTo>
                      <a:pt x="8138" y="3850"/>
                    </a:lnTo>
                    <a:lnTo>
                      <a:pt x="8141" y="3855"/>
                    </a:lnTo>
                    <a:lnTo>
                      <a:pt x="8144" y="3861"/>
                    </a:lnTo>
                    <a:lnTo>
                      <a:pt x="8144" y="3867"/>
                    </a:lnTo>
                    <a:lnTo>
                      <a:pt x="8144" y="3873"/>
                    </a:lnTo>
                    <a:lnTo>
                      <a:pt x="8141" y="3885"/>
                    </a:lnTo>
                    <a:lnTo>
                      <a:pt x="8140" y="3897"/>
                    </a:lnTo>
                    <a:lnTo>
                      <a:pt x="8140" y="3901"/>
                    </a:lnTo>
                    <a:lnTo>
                      <a:pt x="8140" y="3906"/>
                    </a:lnTo>
                    <a:lnTo>
                      <a:pt x="8141" y="3911"/>
                    </a:lnTo>
                    <a:lnTo>
                      <a:pt x="8144" y="3914"/>
                    </a:lnTo>
                    <a:lnTo>
                      <a:pt x="8151" y="3923"/>
                    </a:lnTo>
                    <a:lnTo>
                      <a:pt x="8160" y="3931"/>
                    </a:lnTo>
                    <a:lnTo>
                      <a:pt x="8165" y="3936"/>
                    </a:lnTo>
                    <a:lnTo>
                      <a:pt x="8170" y="3941"/>
                    </a:lnTo>
                    <a:lnTo>
                      <a:pt x="8174" y="3947"/>
                    </a:lnTo>
                    <a:lnTo>
                      <a:pt x="8177" y="3953"/>
                    </a:lnTo>
                    <a:lnTo>
                      <a:pt x="8182" y="3967"/>
                    </a:lnTo>
                    <a:lnTo>
                      <a:pt x="8184" y="3981"/>
                    </a:lnTo>
                    <a:lnTo>
                      <a:pt x="8185" y="3989"/>
                    </a:lnTo>
                    <a:lnTo>
                      <a:pt x="8188" y="3998"/>
                    </a:lnTo>
                    <a:lnTo>
                      <a:pt x="8191" y="4006"/>
                    </a:lnTo>
                    <a:lnTo>
                      <a:pt x="8195" y="4013"/>
                    </a:lnTo>
                    <a:lnTo>
                      <a:pt x="8198" y="4021"/>
                    </a:lnTo>
                    <a:lnTo>
                      <a:pt x="8202" y="4029"/>
                    </a:lnTo>
                    <a:lnTo>
                      <a:pt x="8207" y="4036"/>
                    </a:lnTo>
                    <a:lnTo>
                      <a:pt x="8212" y="4042"/>
                    </a:lnTo>
                    <a:lnTo>
                      <a:pt x="8216" y="4048"/>
                    </a:lnTo>
                    <a:lnTo>
                      <a:pt x="8219" y="4055"/>
                    </a:lnTo>
                    <a:lnTo>
                      <a:pt x="8221" y="4063"/>
                    </a:lnTo>
                    <a:lnTo>
                      <a:pt x="8221" y="4070"/>
                    </a:lnTo>
                    <a:lnTo>
                      <a:pt x="8222" y="4081"/>
                    </a:lnTo>
                    <a:lnTo>
                      <a:pt x="8222" y="4093"/>
                    </a:lnTo>
                    <a:lnTo>
                      <a:pt x="8222" y="4095"/>
                    </a:lnTo>
                    <a:lnTo>
                      <a:pt x="8221" y="4095"/>
                    </a:lnTo>
                    <a:lnTo>
                      <a:pt x="8219" y="4094"/>
                    </a:lnTo>
                    <a:lnTo>
                      <a:pt x="8216" y="4093"/>
                    </a:lnTo>
                    <a:lnTo>
                      <a:pt x="8212" y="4090"/>
                    </a:lnTo>
                    <a:lnTo>
                      <a:pt x="8209" y="4090"/>
                    </a:lnTo>
                    <a:lnTo>
                      <a:pt x="8206" y="4093"/>
                    </a:lnTo>
                    <a:lnTo>
                      <a:pt x="8201" y="4096"/>
                    </a:lnTo>
                    <a:lnTo>
                      <a:pt x="8191" y="4102"/>
                    </a:lnTo>
                    <a:lnTo>
                      <a:pt x="8182" y="4109"/>
                    </a:lnTo>
                    <a:lnTo>
                      <a:pt x="8178" y="4113"/>
                    </a:lnTo>
                    <a:lnTo>
                      <a:pt x="8174" y="4117"/>
                    </a:lnTo>
                    <a:lnTo>
                      <a:pt x="8171" y="4120"/>
                    </a:lnTo>
                    <a:lnTo>
                      <a:pt x="8169" y="4125"/>
                    </a:lnTo>
                    <a:lnTo>
                      <a:pt x="8168" y="4130"/>
                    </a:lnTo>
                    <a:lnTo>
                      <a:pt x="8168" y="4136"/>
                    </a:lnTo>
                    <a:lnTo>
                      <a:pt x="8169" y="4142"/>
                    </a:lnTo>
                    <a:lnTo>
                      <a:pt x="8171" y="4147"/>
                    </a:lnTo>
                    <a:lnTo>
                      <a:pt x="8176" y="4152"/>
                    </a:lnTo>
                    <a:lnTo>
                      <a:pt x="8181" y="4157"/>
                    </a:lnTo>
                    <a:lnTo>
                      <a:pt x="8187" y="4159"/>
                    </a:lnTo>
                    <a:lnTo>
                      <a:pt x="8193" y="4162"/>
                    </a:lnTo>
                    <a:lnTo>
                      <a:pt x="8207" y="4165"/>
                    </a:lnTo>
                    <a:lnTo>
                      <a:pt x="8221" y="4169"/>
                    </a:lnTo>
                    <a:lnTo>
                      <a:pt x="8239" y="4172"/>
                    </a:lnTo>
                    <a:lnTo>
                      <a:pt x="8258" y="4177"/>
                    </a:lnTo>
                    <a:lnTo>
                      <a:pt x="8277" y="4181"/>
                    </a:lnTo>
                    <a:lnTo>
                      <a:pt x="8289" y="4185"/>
                    </a:lnTo>
                    <a:lnTo>
                      <a:pt x="8292" y="4189"/>
                    </a:lnTo>
                    <a:lnTo>
                      <a:pt x="8295" y="4193"/>
                    </a:lnTo>
                    <a:lnTo>
                      <a:pt x="8296" y="4199"/>
                    </a:lnTo>
                    <a:lnTo>
                      <a:pt x="8296" y="4206"/>
                    </a:lnTo>
                    <a:lnTo>
                      <a:pt x="8294" y="4220"/>
                    </a:lnTo>
                    <a:lnTo>
                      <a:pt x="8291" y="4232"/>
                    </a:lnTo>
                    <a:lnTo>
                      <a:pt x="8290" y="4254"/>
                    </a:lnTo>
                    <a:lnTo>
                      <a:pt x="8288" y="4282"/>
                    </a:lnTo>
                    <a:lnTo>
                      <a:pt x="8286" y="4295"/>
                    </a:lnTo>
                    <a:lnTo>
                      <a:pt x="8285" y="4308"/>
                    </a:lnTo>
                    <a:lnTo>
                      <a:pt x="8283" y="4319"/>
                    </a:lnTo>
                    <a:lnTo>
                      <a:pt x="8281" y="4327"/>
                    </a:lnTo>
                    <a:lnTo>
                      <a:pt x="8277" y="4332"/>
                    </a:lnTo>
                    <a:lnTo>
                      <a:pt x="8273" y="4335"/>
                    </a:lnTo>
                    <a:lnTo>
                      <a:pt x="8270" y="4338"/>
                    </a:lnTo>
                    <a:lnTo>
                      <a:pt x="8266" y="4338"/>
                    </a:lnTo>
                    <a:lnTo>
                      <a:pt x="8263" y="4338"/>
                    </a:lnTo>
                    <a:lnTo>
                      <a:pt x="8260" y="4336"/>
                    </a:lnTo>
                    <a:lnTo>
                      <a:pt x="8258" y="4335"/>
                    </a:lnTo>
                    <a:lnTo>
                      <a:pt x="8257" y="4332"/>
                    </a:lnTo>
                    <a:lnTo>
                      <a:pt x="8257" y="4330"/>
                    </a:lnTo>
                    <a:lnTo>
                      <a:pt x="8256" y="4329"/>
                    </a:lnTo>
                    <a:lnTo>
                      <a:pt x="8252" y="4329"/>
                    </a:lnTo>
                    <a:lnTo>
                      <a:pt x="8250" y="4329"/>
                    </a:lnTo>
                    <a:lnTo>
                      <a:pt x="8241" y="4332"/>
                    </a:lnTo>
                    <a:lnTo>
                      <a:pt x="8232" y="4334"/>
                    </a:lnTo>
                    <a:lnTo>
                      <a:pt x="8213" y="4342"/>
                    </a:lnTo>
                    <a:lnTo>
                      <a:pt x="8197" y="4350"/>
                    </a:lnTo>
                    <a:lnTo>
                      <a:pt x="8191" y="4353"/>
                    </a:lnTo>
                    <a:lnTo>
                      <a:pt x="8185" y="4358"/>
                    </a:lnTo>
                    <a:lnTo>
                      <a:pt x="8179" y="4363"/>
                    </a:lnTo>
                    <a:lnTo>
                      <a:pt x="8174" y="4369"/>
                    </a:lnTo>
                    <a:lnTo>
                      <a:pt x="8169" y="4374"/>
                    </a:lnTo>
                    <a:lnTo>
                      <a:pt x="8164" y="4382"/>
                    </a:lnTo>
                    <a:lnTo>
                      <a:pt x="8160" y="4388"/>
                    </a:lnTo>
                    <a:lnTo>
                      <a:pt x="8158" y="4393"/>
                    </a:lnTo>
                    <a:lnTo>
                      <a:pt x="8156" y="4399"/>
                    </a:lnTo>
                    <a:lnTo>
                      <a:pt x="8157" y="4405"/>
                    </a:lnTo>
                    <a:lnTo>
                      <a:pt x="8158" y="4410"/>
                    </a:lnTo>
                    <a:lnTo>
                      <a:pt x="8162" y="4415"/>
                    </a:lnTo>
                    <a:lnTo>
                      <a:pt x="8169" y="4422"/>
                    </a:lnTo>
                    <a:lnTo>
                      <a:pt x="8177" y="4427"/>
                    </a:lnTo>
                    <a:lnTo>
                      <a:pt x="8179" y="4429"/>
                    </a:lnTo>
                    <a:lnTo>
                      <a:pt x="8181" y="4430"/>
                    </a:lnTo>
                    <a:lnTo>
                      <a:pt x="8179" y="4433"/>
                    </a:lnTo>
                    <a:lnTo>
                      <a:pt x="8178" y="4435"/>
                    </a:lnTo>
                    <a:lnTo>
                      <a:pt x="8171" y="4441"/>
                    </a:lnTo>
                    <a:lnTo>
                      <a:pt x="8159" y="4446"/>
                    </a:lnTo>
                    <a:lnTo>
                      <a:pt x="8141" y="4453"/>
                    </a:lnTo>
                    <a:lnTo>
                      <a:pt x="8125" y="4460"/>
                    </a:lnTo>
                    <a:lnTo>
                      <a:pt x="8119" y="4462"/>
                    </a:lnTo>
                    <a:lnTo>
                      <a:pt x="8113" y="4464"/>
                    </a:lnTo>
                    <a:lnTo>
                      <a:pt x="8103" y="4462"/>
                    </a:lnTo>
                    <a:lnTo>
                      <a:pt x="8092" y="4460"/>
                    </a:lnTo>
                    <a:lnTo>
                      <a:pt x="8089" y="4461"/>
                    </a:lnTo>
                    <a:lnTo>
                      <a:pt x="8084" y="4464"/>
                    </a:lnTo>
                    <a:lnTo>
                      <a:pt x="8080" y="4467"/>
                    </a:lnTo>
                    <a:lnTo>
                      <a:pt x="8076" y="4473"/>
                    </a:lnTo>
                    <a:lnTo>
                      <a:pt x="8068" y="4484"/>
                    </a:lnTo>
                    <a:lnTo>
                      <a:pt x="8064" y="4491"/>
                    </a:lnTo>
                    <a:lnTo>
                      <a:pt x="8063" y="4493"/>
                    </a:lnTo>
                    <a:lnTo>
                      <a:pt x="8062" y="4495"/>
                    </a:lnTo>
                    <a:lnTo>
                      <a:pt x="8061" y="4497"/>
                    </a:lnTo>
                    <a:lnTo>
                      <a:pt x="8058" y="4497"/>
                    </a:lnTo>
                    <a:lnTo>
                      <a:pt x="8055" y="4497"/>
                    </a:lnTo>
                    <a:lnTo>
                      <a:pt x="8051" y="4496"/>
                    </a:lnTo>
                    <a:lnTo>
                      <a:pt x="8048" y="4495"/>
                    </a:lnTo>
                    <a:lnTo>
                      <a:pt x="8044" y="4492"/>
                    </a:lnTo>
                    <a:lnTo>
                      <a:pt x="8034" y="4487"/>
                    </a:lnTo>
                    <a:lnTo>
                      <a:pt x="8026" y="4485"/>
                    </a:lnTo>
                    <a:lnTo>
                      <a:pt x="8018" y="4484"/>
                    </a:lnTo>
                    <a:lnTo>
                      <a:pt x="8012" y="4484"/>
                    </a:lnTo>
                    <a:lnTo>
                      <a:pt x="8005" y="4484"/>
                    </a:lnTo>
                    <a:lnTo>
                      <a:pt x="7995" y="4484"/>
                    </a:lnTo>
                    <a:lnTo>
                      <a:pt x="7986" y="4481"/>
                    </a:lnTo>
                    <a:lnTo>
                      <a:pt x="7977" y="4478"/>
                    </a:lnTo>
                    <a:lnTo>
                      <a:pt x="7969" y="4473"/>
                    </a:lnTo>
                    <a:lnTo>
                      <a:pt x="7963" y="4470"/>
                    </a:lnTo>
                    <a:lnTo>
                      <a:pt x="7954" y="4466"/>
                    </a:lnTo>
                    <a:lnTo>
                      <a:pt x="7941" y="4462"/>
                    </a:lnTo>
                    <a:lnTo>
                      <a:pt x="7932" y="4462"/>
                    </a:lnTo>
                    <a:lnTo>
                      <a:pt x="7924" y="4462"/>
                    </a:lnTo>
                    <a:lnTo>
                      <a:pt x="7918" y="4465"/>
                    </a:lnTo>
                    <a:lnTo>
                      <a:pt x="7912" y="4467"/>
                    </a:lnTo>
                    <a:lnTo>
                      <a:pt x="7907" y="4470"/>
                    </a:lnTo>
                    <a:lnTo>
                      <a:pt x="7905" y="4473"/>
                    </a:lnTo>
                    <a:lnTo>
                      <a:pt x="7903" y="4477"/>
                    </a:lnTo>
                    <a:lnTo>
                      <a:pt x="7903" y="4480"/>
                    </a:lnTo>
                    <a:lnTo>
                      <a:pt x="7904" y="4484"/>
                    </a:lnTo>
                    <a:lnTo>
                      <a:pt x="7906" y="4486"/>
                    </a:lnTo>
                    <a:lnTo>
                      <a:pt x="7910" y="4490"/>
                    </a:lnTo>
                    <a:lnTo>
                      <a:pt x="7913" y="4491"/>
                    </a:lnTo>
                    <a:lnTo>
                      <a:pt x="7923" y="4496"/>
                    </a:lnTo>
                    <a:lnTo>
                      <a:pt x="7932" y="4499"/>
                    </a:lnTo>
                    <a:lnTo>
                      <a:pt x="7936" y="4503"/>
                    </a:lnTo>
                    <a:lnTo>
                      <a:pt x="7937" y="4508"/>
                    </a:lnTo>
                    <a:lnTo>
                      <a:pt x="7936" y="4514"/>
                    </a:lnTo>
                    <a:lnTo>
                      <a:pt x="7935" y="4519"/>
                    </a:lnTo>
                    <a:lnTo>
                      <a:pt x="7932" y="4525"/>
                    </a:lnTo>
                    <a:lnTo>
                      <a:pt x="7929" y="4530"/>
                    </a:lnTo>
                    <a:lnTo>
                      <a:pt x="7924" y="4535"/>
                    </a:lnTo>
                    <a:lnTo>
                      <a:pt x="7918" y="4537"/>
                    </a:lnTo>
                    <a:lnTo>
                      <a:pt x="7913" y="4540"/>
                    </a:lnTo>
                    <a:lnTo>
                      <a:pt x="7907" y="4541"/>
                    </a:lnTo>
                    <a:lnTo>
                      <a:pt x="7901" y="4541"/>
                    </a:lnTo>
                    <a:lnTo>
                      <a:pt x="7895" y="4540"/>
                    </a:lnTo>
                    <a:lnTo>
                      <a:pt x="7889" y="4538"/>
                    </a:lnTo>
                    <a:lnTo>
                      <a:pt x="7885" y="4537"/>
                    </a:lnTo>
                    <a:lnTo>
                      <a:pt x="7879" y="4534"/>
                    </a:lnTo>
                    <a:lnTo>
                      <a:pt x="7874" y="4530"/>
                    </a:lnTo>
                    <a:lnTo>
                      <a:pt x="7869" y="4528"/>
                    </a:lnTo>
                    <a:lnTo>
                      <a:pt x="7866" y="4527"/>
                    </a:lnTo>
                    <a:lnTo>
                      <a:pt x="7863" y="4529"/>
                    </a:lnTo>
                    <a:lnTo>
                      <a:pt x="7861" y="4531"/>
                    </a:lnTo>
                    <a:lnTo>
                      <a:pt x="7859" y="4534"/>
                    </a:lnTo>
                    <a:lnTo>
                      <a:pt x="7855" y="4537"/>
                    </a:lnTo>
                    <a:lnTo>
                      <a:pt x="7851" y="4538"/>
                    </a:lnTo>
                    <a:lnTo>
                      <a:pt x="7844" y="4540"/>
                    </a:lnTo>
                    <a:lnTo>
                      <a:pt x="7836" y="4538"/>
                    </a:lnTo>
                    <a:lnTo>
                      <a:pt x="7826" y="4537"/>
                    </a:lnTo>
                    <a:lnTo>
                      <a:pt x="7816" y="4537"/>
                    </a:lnTo>
                    <a:lnTo>
                      <a:pt x="7807" y="4540"/>
                    </a:lnTo>
                    <a:lnTo>
                      <a:pt x="7804" y="4541"/>
                    </a:lnTo>
                    <a:lnTo>
                      <a:pt x="7800" y="4543"/>
                    </a:lnTo>
                    <a:lnTo>
                      <a:pt x="7798" y="4546"/>
                    </a:lnTo>
                    <a:lnTo>
                      <a:pt x="7797" y="4548"/>
                    </a:lnTo>
                    <a:lnTo>
                      <a:pt x="7792" y="4558"/>
                    </a:lnTo>
                    <a:lnTo>
                      <a:pt x="7788" y="4571"/>
                    </a:lnTo>
                    <a:lnTo>
                      <a:pt x="7785" y="4584"/>
                    </a:lnTo>
                    <a:lnTo>
                      <a:pt x="7781" y="4596"/>
                    </a:lnTo>
                    <a:lnTo>
                      <a:pt x="7779" y="4600"/>
                    </a:lnTo>
                    <a:lnTo>
                      <a:pt x="7774" y="4606"/>
                    </a:lnTo>
                    <a:lnTo>
                      <a:pt x="7769" y="4612"/>
                    </a:lnTo>
                    <a:lnTo>
                      <a:pt x="7765" y="4619"/>
                    </a:lnTo>
                    <a:lnTo>
                      <a:pt x="7754" y="4630"/>
                    </a:lnTo>
                    <a:lnTo>
                      <a:pt x="7747" y="4638"/>
                    </a:lnTo>
                    <a:lnTo>
                      <a:pt x="7740" y="4653"/>
                    </a:lnTo>
                    <a:lnTo>
                      <a:pt x="7733" y="4664"/>
                    </a:lnTo>
                    <a:lnTo>
                      <a:pt x="7730" y="4670"/>
                    </a:lnTo>
                    <a:lnTo>
                      <a:pt x="7727" y="4674"/>
                    </a:lnTo>
                    <a:lnTo>
                      <a:pt x="7724" y="4675"/>
                    </a:lnTo>
                    <a:lnTo>
                      <a:pt x="7722" y="4674"/>
                    </a:lnTo>
                    <a:lnTo>
                      <a:pt x="7718" y="4673"/>
                    </a:lnTo>
                    <a:lnTo>
                      <a:pt x="7716" y="4670"/>
                    </a:lnTo>
                    <a:lnTo>
                      <a:pt x="7705" y="4660"/>
                    </a:lnTo>
                    <a:lnTo>
                      <a:pt x="7696" y="4650"/>
                    </a:lnTo>
                    <a:lnTo>
                      <a:pt x="7692" y="4647"/>
                    </a:lnTo>
                    <a:lnTo>
                      <a:pt x="7690" y="4644"/>
                    </a:lnTo>
                    <a:lnTo>
                      <a:pt x="7685" y="4644"/>
                    </a:lnTo>
                    <a:lnTo>
                      <a:pt x="7680" y="4645"/>
                    </a:lnTo>
                    <a:lnTo>
                      <a:pt x="7672" y="4648"/>
                    </a:lnTo>
                    <a:lnTo>
                      <a:pt x="7664" y="4650"/>
                    </a:lnTo>
                    <a:lnTo>
                      <a:pt x="7654" y="4653"/>
                    </a:lnTo>
                    <a:lnTo>
                      <a:pt x="7643" y="4654"/>
                    </a:lnTo>
                    <a:lnTo>
                      <a:pt x="7639" y="4655"/>
                    </a:lnTo>
                    <a:lnTo>
                      <a:pt x="7633" y="4657"/>
                    </a:lnTo>
                    <a:lnTo>
                      <a:pt x="7627" y="4661"/>
                    </a:lnTo>
                    <a:lnTo>
                      <a:pt x="7620" y="4667"/>
                    </a:lnTo>
                    <a:lnTo>
                      <a:pt x="7605" y="4683"/>
                    </a:lnTo>
                    <a:lnTo>
                      <a:pt x="7590" y="4703"/>
                    </a:lnTo>
                    <a:lnTo>
                      <a:pt x="7574" y="4722"/>
                    </a:lnTo>
                    <a:lnTo>
                      <a:pt x="7563" y="4735"/>
                    </a:lnTo>
                    <a:lnTo>
                      <a:pt x="7548" y="4750"/>
                    </a:lnTo>
                    <a:lnTo>
                      <a:pt x="7533" y="4764"/>
                    </a:lnTo>
                    <a:lnTo>
                      <a:pt x="7524" y="4773"/>
                    </a:lnTo>
                    <a:lnTo>
                      <a:pt x="7517" y="4777"/>
                    </a:lnTo>
                    <a:lnTo>
                      <a:pt x="7515" y="4777"/>
                    </a:lnTo>
                    <a:lnTo>
                      <a:pt x="7511" y="4776"/>
                    </a:lnTo>
                    <a:lnTo>
                      <a:pt x="7508" y="4774"/>
                    </a:lnTo>
                    <a:lnTo>
                      <a:pt x="7503" y="4769"/>
                    </a:lnTo>
                    <a:lnTo>
                      <a:pt x="7501" y="4767"/>
                    </a:lnTo>
                    <a:lnTo>
                      <a:pt x="7500" y="4766"/>
                    </a:lnTo>
                    <a:lnTo>
                      <a:pt x="7496" y="4764"/>
                    </a:lnTo>
                    <a:lnTo>
                      <a:pt x="7494" y="4764"/>
                    </a:lnTo>
                    <a:lnTo>
                      <a:pt x="7491" y="4764"/>
                    </a:lnTo>
                    <a:lnTo>
                      <a:pt x="7488" y="4767"/>
                    </a:lnTo>
                    <a:lnTo>
                      <a:pt x="7483" y="4769"/>
                    </a:lnTo>
                    <a:lnTo>
                      <a:pt x="7478" y="4773"/>
                    </a:lnTo>
                    <a:lnTo>
                      <a:pt x="7467" y="4781"/>
                    </a:lnTo>
                    <a:lnTo>
                      <a:pt x="7456" y="4790"/>
                    </a:lnTo>
                    <a:lnTo>
                      <a:pt x="7445" y="4798"/>
                    </a:lnTo>
                    <a:lnTo>
                      <a:pt x="7437" y="4802"/>
                    </a:lnTo>
                    <a:lnTo>
                      <a:pt x="7421" y="4811"/>
                    </a:lnTo>
                    <a:lnTo>
                      <a:pt x="7398" y="4821"/>
                    </a:lnTo>
                    <a:lnTo>
                      <a:pt x="7377" y="4833"/>
                    </a:lnTo>
                    <a:lnTo>
                      <a:pt x="7362" y="4843"/>
                    </a:lnTo>
                    <a:lnTo>
                      <a:pt x="7357" y="4846"/>
                    </a:lnTo>
                    <a:lnTo>
                      <a:pt x="7356" y="4852"/>
                    </a:lnTo>
                    <a:lnTo>
                      <a:pt x="7354" y="4857"/>
                    </a:lnTo>
                    <a:lnTo>
                      <a:pt x="7354" y="4863"/>
                    </a:lnTo>
                    <a:lnTo>
                      <a:pt x="7356" y="4875"/>
                    </a:lnTo>
                    <a:lnTo>
                      <a:pt x="7357" y="4886"/>
                    </a:lnTo>
                    <a:lnTo>
                      <a:pt x="7356" y="4890"/>
                    </a:lnTo>
                    <a:lnTo>
                      <a:pt x="7353" y="4895"/>
                    </a:lnTo>
                    <a:lnTo>
                      <a:pt x="7349" y="4899"/>
                    </a:lnTo>
                    <a:lnTo>
                      <a:pt x="7344" y="4903"/>
                    </a:lnTo>
                    <a:lnTo>
                      <a:pt x="7334" y="4909"/>
                    </a:lnTo>
                    <a:lnTo>
                      <a:pt x="7325" y="4913"/>
                    </a:lnTo>
                    <a:lnTo>
                      <a:pt x="7318" y="4915"/>
                    </a:lnTo>
                    <a:lnTo>
                      <a:pt x="7311" y="4919"/>
                    </a:lnTo>
                    <a:lnTo>
                      <a:pt x="7305" y="4925"/>
                    </a:lnTo>
                    <a:lnTo>
                      <a:pt x="7300" y="4933"/>
                    </a:lnTo>
                    <a:lnTo>
                      <a:pt x="7295" y="4943"/>
                    </a:lnTo>
                    <a:lnTo>
                      <a:pt x="7289" y="4954"/>
                    </a:lnTo>
                    <a:lnTo>
                      <a:pt x="7282" y="4968"/>
                    </a:lnTo>
                    <a:lnTo>
                      <a:pt x="7271" y="4981"/>
                    </a:lnTo>
                    <a:lnTo>
                      <a:pt x="7267" y="4988"/>
                    </a:lnTo>
                    <a:lnTo>
                      <a:pt x="7263" y="4995"/>
                    </a:lnTo>
                    <a:lnTo>
                      <a:pt x="7261" y="5002"/>
                    </a:lnTo>
                    <a:lnTo>
                      <a:pt x="7259" y="5009"/>
                    </a:lnTo>
                    <a:lnTo>
                      <a:pt x="7259" y="5021"/>
                    </a:lnTo>
                    <a:lnTo>
                      <a:pt x="7261" y="5033"/>
                    </a:lnTo>
                    <a:lnTo>
                      <a:pt x="7259" y="5037"/>
                    </a:lnTo>
                    <a:lnTo>
                      <a:pt x="7257" y="5040"/>
                    </a:lnTo>
                    <a:lnTo>
                      <a:pt x="7253" y="5041"/>
                    </a:lnTo>
                    <a:lnTo>
                      <a:pt x="7250" y="5042"/>
                    </a:lnTo>
                    <a:lnTo>
                      <a:pt x="7240" y="5041"/>
                    </a:lnTo>
                    <a:lnTo>
                      <a:pt x="7232" y="5039"/>
                    </a:lnTo>
                    <a:lnTo>
                      <a:pt x="7228" y="5037"/>
                    </a:lnTo>
                    <a:lnTo>
                      <a:pt x="7226" y="5034"/>
                    </a:lnTo>
                    <a:lnTo>
                      <a:pt x="7225" y="5032"/>
                    </a:lnTo>
                    <a:lnTo>
                      <a:pt x="7224" y="5027"/>
                    </a:lnTo>
                    <a:lnTo>
                      <a:pt x="7224" y="5017"/>
                    </a:lnTo>
                    <a:lnTo>
                      <a:pt x="7224" y="5004"/>
                    </a:lnTo>
                    <a:lnTo>
                      <a:pt x="7223" y="4997"/>
                    </a:lnTo>
                    <a:lnTo>
                      <a:pt x="7221" y="4991"/>
                    </a:lnTo>
                    <a:lnTo>
                      <a:pt x="7219" y="4984"/>
                    </a:lnTo>
                    <a:lnTo>
                      <a:pt x="7217" y="4978"/>
                    </a:lnTo>
                    <a:lnTo>
                      <a:pt x="7209" y="4965"/>
                    </a:lnTo>
                    <a:lnTo>
                      <a:pt x="7200" y="4950"/>
                    </a:lnTo>
                    <a:lnTo>
                      <a:pt x="7190" y="4933"/>
                    </a:lnTo>
                    <a:lnTo>
                      <a:pt x="7181" y="4916"/>
                    </a:lnTo>
                    <a:lnTo>
                      <a:pt x="7171" y="4902"/>
                    </a:lnTo>
                    <a:lnTo>
                      <a:pt x="7163" y="4888"/>
                    </a:lnTo>
                    <a:lnTo>
                      <a:pt x="7157" y="4876"/>
                    </a:lnTo>
                    <a:lnTo>
                      <a:pt x="7155" y="4864"/>
                    </a:lnTo>
                    <a:lnTo>
                      <a:pt x="7152" y="4852"/>
                    </a:lnTo>
                    <a:lnTo>
                      <a:pt x="7150" y="4840"/>
                    </a:lnTo>
                    <a:lnTo>
                      <a:pt x="7148" y="4836"/>
                    </a:lnTo>
                    <a:lnTo>
                      <a:pt x="7145" y="4832"/>
                    </a:lnTo>
                    <a:lnTo>
                      <a:pt x="7141" y="4830"/>
                    </a:lnTo>
                    <a:lnTo>
                      <a:pt x="7136" y="4827"/>
                    </a:lnTo>
                    <a:lnTo>
                      <a:pt x="7124" y="4826"/>
                    </a:lnTo>
                    <a:lnTo>
                      <a:pt x="7111" y="4826"/>
                    </a:lnTo>
                    <a:lnTo>
                      <a:pt x="7104" y="4826"/>
                    </a:lnTo>
                    <a:lnTo>
                      <a:pt x="7097" y="4825"/>
                    </a:lnTo>
                    <a:lnTo>
                      <a:pt x="7091" y="4824"/>
                    </a:lnTo>
                    <a:lnTo>
                      <a:pt x="7085" y="4821"/>
                    </a:lnTo>
                    <a:lnTo>
                      <a:pt x="7079" y="4819"/>
                    </a:lnTo>
                    <a:lnTo>
                      <a:pt x="7073" y="4815"/>
                    </a:lnTo>
                    <a:lnTo>
                      <a:pt x="7068" y="4809"/>
                    </a:lnTo>
                    <a:lnTo>
                      <a:pt x="7064" y="4804"/>
                    </a:lnTo>
                    <a:lnTo>
                      <a:pt x="7057" y="4789"/>
                    </a:lnTo>
                    <a:lnTo>
                      <a:pt x="7051" y="4774"/>
                    </a:lnTo>
                    <a:lnTo>
                      <a:pt x="7048" y="4767"/>
                    </a:lnTo>
                    <a:lnTo>
                      <a:pt x="7045" y="4762"/>
                    </a:lnTo>
                    <a:lnTo>
                      <a:pt x="7044" y="4761"/>
                    </a:lnTo>
                    <a:lnTo>
                      <a:pt x="7042" y="4761"/>
                    </a:lnTo>
                    <a:lnTo>
                      <a:pt x="7038" y="4768"/>
                    </a:lnTo>
                    <a:lnTo>
                      <a:pt x="7031" y="4779"/>
                    </a:lnTo>
                    <a:lnTo>
                      <a:pt x="7019" y="4792"/>
                    </a:lnTo>
                    <a:lnTo>
                      <a:pt x="7006" y="4804"/>
                    </a:lnTo>
                    <a:lnTo>
                      <a:pt x="6993" y="4815"/>
                    </a:lnTo>
                    <a:lnTo>
                      <a:pt x="6982" y="4825"/>
                    </a:lnTo>
                    <a:lnTo>
                      <a:pt x="6978" y="4831"/>
                    </a:lnTo>
                    <a:lnTo>
                      <a:pt x="6973" y="4836"/>
                    </a:lnTo>
                    <a:lnTo>
                      <a:pt x="6971" y="4840"/>
                    </a:lnTo>
                    <a:lnTo>
                      <a:pt x="6969" y="4844"/>
                    </a:lnTo>
                    <a:lnTo>
                      <a:pt x="6969" y="4849"/>
                    </a:lnTo>
                    <a:lnTo>
                      <a:pt x="6971" y="4852"/>
                    </a:lnTo>
                    <a:lnTo>
                      <a:pt x="6972" y="4855"/>
                    </a:lnTo>
                    <a:lnTo>
                      <a:pt x="6974" y="4857"/>
                    </a:lnTo>
                    <a:lnTo>
                      <a:pt x="6979" y="4863"/>
                    </a:lnTo>
                    <a:lnTo>
                      <a:pt x="6986" y="4870"/>
                    </a:lnTo>
                    <a:lnTo>
                      <a:pt x="6993" y="4877"/>
                    </a:lnTo>
                    <a:lnTo>
                      <a:pt x="6999" y="4887"/>
                    </a:lnTo>
                    <a:lnTo>
                      <a:pt x="7004" y="4897"/>
                    </a:lnTo>
                    <a:lnTo>
                      <a:pt x="7007" y="4908"/>
                    </a:lnTo>
                    <a:lnTo>
                      <a:pt x="7009" y="4914"/>
                    </a:lnTo>
                    <a:lnTo>
                      <a:pt x="7009" y="4920"/>
                    </a:lnTo>
                    <a:lnTo>
                      <a:pt x="7007" y="4927"/>
                    </a:lnTo>
                    <a:lnTo>
                      <a:pt x="7006" y="4933"/>
                    </a:lnTo>
                    <a:lnTo>
                      <a:pt x="7004" y="4947"/>
                    </a:lnTo>
                    <a:lnTo>
                      <a:pt x="7003" y="4960"/>
                    </a:lnTo>
                    <a:lnTo>
                      <a:pt x="7003" y="4974"/>
                    </a:lnTo>
                    <a:lnTo>
                      <a:pt x="7004" y="4985"/>
                    </a:lnTo>
                    <a:lnTo>
                      <a:pt x="7005" y="4991"/>
                    </a:lnTo>
                    <a:lnTo>
                      <a:pt x="7005" y="4997"/>
                    </a:lnTo>
                    <a:lnTo>
                      <a:pt x="7005" y="5003"/>
                    </a:lnTo>
                    <a:lnTo>
                      <a:pt x="7004" y="5008"/>
                    </a:lnTo>
                    <a:lnTo>
                      <a:pt x="7000" y="5019"/>
                    </a:lnTo>
                    <a:lnTo>
                      <a:pt x="6999" y="5029"/>
                    </a:lnTo>
                    <a:lnTo>
                      <a:pt x="7000" y="5040"/>
                    </a:lnTo>
                    <a:lnTo>
                      <a:pt x="6999" y="5056"/>
                    </a:lnTo>
                    <a:lnTo>
                      <a:pt x="6999" y="5064"/>
                    </a:lnTo>
                    <a:lnTo>
                      <a:pt x="6999" y="5069"/>
                    </a:lnTo>
                    <a:lnTo>
                      <a:pt x="6999" y="5071"/>
                    </a:lnTo>
                    <a:lnTo>
                      <a:pt x="7000" y="5073"/>
                    </a:lnTo>
                    <a:lnTo>
                      <a:pt x="7005" y="5075"/>
                    </a:lnTo>
                    <a:lnTo>
                      <a:pt x="7016" y="5079"/>
                    </a:lnTo>
                    <a:lnTo>
                      <a:pt x="7022" y="5083"/>
                    </a:lnTo>
                    <a:lnTo>
                      <a:pt x="7028" y="5088"/>
                    </a:lnTo>
                    <a:lnTo>
                      <a:pt x="7031" y="5092"/>
                    </a:lnTo>
                    <a:lnTo>
                      <a:pt x="7034" y="5097"/>
                    </a:lnTo>
                    <a:lnTo>
                      <a:pt x="7035" y="5102"/>
                    </a:lnTo>
                    <a:lnTo>
                      <a:pt x="7036" y="5107"/>
                    </a:lnTo>
                    <a:lnTo>
                      <a:pt x="7035" y="5111"/>
                    </a:lnTo>
                    <a:lnTo>
                      <a:pt x="7034" y="5115"/>
                    </a:lnTo>
                    <a:lnTo>
                      <a:pt x="7031" y="5119"/>
                    </a:lnTo>
                    <a:lnTo>
                      <a:pt x="7031" y="5122"/>
                    </a:lnTo>
                    <a:lnTo>
                      <a:pt x="7031" y="5126"/>
                    </a:lnTo>
                    <a:lnTo>
                      <a:pt x="7032" y="5129"/>
                    </a:lnTo>
                    <a:lnTo>
                      <a:pt x="7035" y="5138"/>
                    </a:lnTo>
                    <a:lnTo>
                      <a:pt x="7039" y="5147"/>
                    </a:lnTo>
                    <a:lnTo>
                      <a:pt x="7041" y="5153"/>
                    </a:lnTo>
                    <a:lnTo>
                      <a:pt x="7042" y="5158"/>
                    </a:lnTo>
                    <a:lnTo>
                      <a:pt x="7041" y="5164"/>
                    </a:lnTo>
                    <a:lnTo>
                      <a:pt x="7039" y="5168"/>
                    </a:lnTo>
                    <a:lnTo>
                      <a:pt x="7038" y="5172"/>
                    </a:lnTo>
                    <a:lnTo>
                      <a:pt x="7036" y="5177"/>
                    </a:lnTo>
                    <a:lnTo>
                      <a:pt x="7034" y="5179"/>
                    </a:lnTo>
                    <a:lnTo>
                      <a:pt x="7030" y="5182"/>
                    </a:lnTo>
                    <a:lnTo>
                      <a:pt x="7025" y="5186"/>
                    </a:lnTo>
                    <a:lnTo>
                      <a:pt x="7020" y="5191"/>
                    </a:lnTo>
                    <a:lnTo>
                      <a:pt x="7019" y="5195"/>
                    </a:lnTo>
                    <a:lnTo>
                      <a:pt x="7019" y="5198"/>
                    </a:lnTo>
                    <a:lnTo>
                      <a:pt x="7019" y="5202"/>
                    </a:lnTo>
                    <a:lnTo>
                      <a:pt x="7022" y="5205"/>
                    </a:lnTo>
                    <a:lnTo>
                      <a:pt x="7023" y="5209"/>
                    </a:lnTo>
                    <a:lnTo>
                      <a:pt x="7025" y="5212"/>
                    </a:lnTo>
                    <a:lnTo>
                      <a:pt x="7025" y="5216"/>
                    </a:lnTo>
                    <a:lnTo>
                      <a:pt x="7025" y="5220"/>
                    </a:lnTo>
                    <a:lnTo>
                      <a:pt x="7024" y="5222"/>
                    </a:lnTo>
                    <a:lnTo>
                      <a:pt x="7020" y="5225"/>
                    </a:lnTo>
                    <a:lnTo>
                      <a:pt x="7017" y="5229"/>
                    </a:lnTo>
                    <a:lnTo>
                      <a:pt x="7012" y="5233"/>
                    </a:lnTo>
                    <a:lnTo>
                      <a:pt x="6999" y="5240"/>
                    </a:lnTo>
                    <a:lnTo>
                      <a:pt x="6982" y="5246"/>
                    </a:lnTo>
                    <a:lnTo>
                      <a:pt x="6962" y="5250"/>
                    </a:lnTo>
                    <a:lnTo>
                      <a:pt x="6942" y="5255"/>
                    </a:lnTo>
                    <a:lnTo>
                      <a:pt x="6931" y="5256"/>
                    </a:lnTo>
                    <a:lnTo>
                      <a:pt x="6922" y="5258"/>
                    </a:lnTo>
                    <a:lnTo>
                      <a:pt x="6912" y="5258"/>
                    </a:lnTo>
                    <a:lnTo>
                      <a:pt x="6904" y="5256"/>
                    </a:lnTo>
                    <a:lnTo>
                      <a:pt x="6897" y="5254"/>
                    </a:lnTo>
                    <a:lnTo>
                      <a:pt x="6890" y="5252"/>
                    </a:lnTo>
                    <a:lnTo>
                      <a:pt x="6883" y="5248"/>
                    </a:lnTo>
                    <a:lnTo>
                      <a:pt x="6877" y="5245"/>
                    </a:lnTo>
                    <a:lnTo>
                      <a:pt x="6871" y="5241"/>
                    </a:lnTo>
                    <a:lnTo>
                      <a:pt x="6865" y="5240"/>
                    </a:lnTo>
                    <a:lnTo>
                      <a:pt x="6858" y="5240"/>
                    </a:lnTo>
                    <a:lnTo>
                      <a:pt x="6849" y="5240"/>
                    </a:lnTo>
                    <a:lnTo>
                      <a:pt x="6833" y="5243"/>
                    </a:lnTo>
                    <a:lnTo>
                      <a:pt x="6814" y="5246"/>
                    </a:lnTo>
                    <a:lnTo>
                      <a:pt x="6796" y="5246"/>
                    </a:lnTo>
                    <a:lnTo>
                      <a:pt x="6782" y="5246"/>
                    </a:lnTo>
                    <a:lnTo>
                      <a:pt x="6768" y="5246"/>
                    </a:lnTo>
                    <a:lnTo>
                      <a:pt x="6755" y="5247"/>
                    </a:lnTo>
                    <a:lnTo>
                      <a:pt x="6749" y="5248"/>
                    </a:lnTo>
                    <a:lnTo>
                      <a:pt x="6743" y="5250"/>
                    </a:lnTo>
                    <a:lnTo>
                      <a:pt x="6739" y="5254"/>
                    </a:lnTo>
                    <a:lnTo>
                      <a:pt x="6734" y="5258"/>
                    </a:lnTo>
                    <a:lnTo>
                      <a:pt x="6729" y="5261"/>
                    </a:lnTo>
                    <a:lnTo>
                      <a:pt x="6726" y="5264"/>
                    </a:lnTo>
                    <a:lnTo>
                      <a:pt x="6722" y="5265"/>
                    </a:lnTo>
                    <a:lnTo>
                      <a:pt x="6719" y="5266"/>
                    </a:lnTo>
                    <a:lnTo>
                      <a:pt x="6716" y="5265"/>
                    </a:lnTo>
                    <a:lnTo>
                      <a:pt x="6714" y="5264"/>
                    </a:lnTo>
                    <a:lnTo>
                      <a:pt x="6711" y="5260"/>
                    </a:lnTo>
                    <a:lnTo>
                      <a:pt x="6710" y="5258"/>
                    </a:lnTo>
                    <a:lnTo>
                      <a:pt x="6709" y="5249"/>
                    </a:lnTo>
                    <a:lnTo>
                      <a:pt x="6708" y="5239"/>
                    </a:lnTo>
                    <a:lnTo>
                      <a:pt x="6708" y="5230"/>
                    </a:lnTo>
                    <a:lnTo>
                      <a:pt x="6707" y="5223"/>
                    </a:lnTo>
                    <a:lnTo>
                      <a:pt x="6703" y="5220"/>
                    </a:lnTo>
                    <a:lnTo>
                      <a:pt x="6696" y="5215"/>
                    </a:lnTo>
                    <a:lnTo>
                      <a:pt x="6692" y="5212"/>
                    </a:lnTo>
                    <a:lnTo>
                      <a:pt x="6690" y="5210"/>
                    </a:lnTo>
                    <a:lnTo>
                      <a:pt x="6688" y="5208"/>
                    </a:lnTo>
                    <a:lnTo>
                      <a:pt x="6686" y="5204"/>
                    </a:lnTo>
                    <a:lnTo>
                      <a:pt x="6686" y="5198"/>
                    </a:lnTo>
                    <a:lnTo>
                      <a:pt x="6688" y="5190"/>
                    </a:lnTo>
                    <a:lnTo>
                      <a:pt x="6690" y="5180"/>
                    </a:lnTo>
                    <a:lnTo>
                      <a:pt x="6689" y="5172"/>
                    </a:lnTo>
                    <a:lnTo>
                      <a:pt x="6688" y="5167"/>
                    </a:lnTo>
                    <a:lnTo>
                      <a:pt x="6686" y="5161"/>
                    </a:lnTo>
                    <a:lnTo>
                      <a:pt x="6684" y="5157"/>
                    </a:lnTo>
                    <a:lnTo>
                      <a:pt x="6679" y="5151"/>
                    </a:lnTo>
                    <a:lnTo>
                      <a:pt x="6669" y="5138"/>
                    </a:lnTo>
                    <a:lnTo>
                      <a:pt x="6657" y="5126"/>
                    </a:lnTo>
                    <a:lnTo>
                      <a:pt x="6645" y="5114"/>
                    </a:lnTo>
                    <a:lnTo>
                      <a:pt x="6635" y="5103"/>
                    </a:lnTo>
                    <a:lnTo>
                      <a:pt x="6631" y="5098"/>
                    </a:lnTo>
                    <a:lnTo>
                      <a:pt x="6627" y="5094"/>
                    </a:lnTo>
                    <a:lnTo>
                      <a:pt x="6625" y="5088"/>
                    </a:lnTo>
                    <a:lnTo>
                      <a:pt x="6622" y="5082"/>
                    </a:lnTo>
                    <a:lnTo>
                      <a:pt x="6621" y="5076"/>
                    </a:lnTo>
                    <a:lnTo>
                      <a:pt x="6621" y="5070"/>
                    </a:lnTo>
                    <a:lnTo>
                      <a:pt x="6621" y="5064"/>
                    </a:lnTo>
                    <a:lnTo>
                      <a:pt x="6623" y="5059"/>
                    </a:lnTo>
                    <a:lnTo>
                      <a:pt x="6626" y="5056"/>
                    </a:lnTo>
                    <a:lnTo>
                      <a:pt x="6629" y="5052"/>
                    </a:lnTo>
                    <a:lnTo>
                      <a:pt x="6632" y="5051"/>
                    </a:lnTo>
                    <a:lnTo>
                      <a:pt x="6635" y="5051"/>
                    </a:lnTo>
                    <a:lnTo>
                      <a:pt x="6644" y="5054"/>
                    </a:lnTo>
                    <a:lnTo>
                      <a:pt x="6651" y="5059"/>
                    </a:lnTo>
                    <a:lnTo>
                      <a:pt x="6659" y="5064"/>
                    </a:lnTo>
                    <a:lnTo>
                      <a:pt x="6667" y="5066"/>
                    </a:lnTo>
                    <a:lnTo>
                      <a:pt x="6671" y="5066"/>
                    </a:lnTo>
                    <a:lnTo>
                      <a:pt x="6673" y="5066"/>
                    </a:lnTo>
                    <a:lnTo>
                      <a:pt x="6677" y="5064"/>
                    </a:lnTo>
                    <a:lnTo>
                      <a:pt x="6679" y="5060"/>
                    </a:lnTo>
                    <a:lnTo>
                      <a:pt x="6683" y="5052"/>
                    </a:lnTo>
                    <a:lnTo>
                      <a:pt x="6684" y="5041"/>
                    </a:lnTo>
                    <a:lnTo>
                      <a:pt x="6685" y="5035"/>
                    </a:lnTo>
                    <a:lnTo>
                      <a:pt x="6684" y="5031"/>
                    </a:lnTo>
                    <a:lnTo>
                      <a:pt x="6684" y="5026"/>
                    </a:lnTo>
                    <a:lnTo>
                      <a:pt x="6682" y="5022"/>
                    </a:lnTo>
                    <a:lnTo>
                      <a:pt x="6678" y="5016"/>
                    </a:lnTo>
                    <a:lnTo>
                      <a:pt x="6676" y="5012"/>
                    </a:lnTo>
                    <a:lnTo>
                      <a:pt x="6673" y="5004"/>
                    </a:lnTo>
                    <a:lnTo>
                      <a:pt x="6673" y="4996"/>
                    </a:lnTo>
                    <a:lnTo>
                      <a:pt x="6675" y="4988"/>
                    </a:lnTo>
                    <a:lnTo>
                      <a:pt x="6675" y="4979"/>
                    </a:lnTo>
                    <a:lnTo>
                      <a:pt x="6673" y="4970"/>
                    </a:lnTo>
                    <a:lnTo>
                      <a:pt x="6672" y="4957"/>
                    </a:lnTo>
                    <a:lnTo>
                      <a:pt x="6671" y="4950"/>
                    </a:lnTo>
                    <a:lnTo>
                      <a:pt x="6669" y="4944"/>
                    </a:lnTo>
                    <a:lnTo>
                      <a:pt x="6665" y="4939"/>
                    </a:lnTo>
                    <a:lnTo>
                      <a:pt x="6660" y="4935"/>
                    </a:lnTo>
                    <a:lnTo>
                      <a:pt x="6656" y="4934"/>
                    </a:lnTo>
                    <a:lnTo>
                      <a:pt x="6651" y="4934"/>
                    </a:lnTo>
                    <a:lnTo>
                      <a:pt x="6646" y="4935"/>
                    </a:lnTo>
                    <a:lnTo>
                      <a:pt x="6640" y="4938"/>
                    </a:lnTo>
                    <a:lnTo>
                      <a:pt x="6635" y="4940"/>
                    </a:lnTo>
                    <a:lnTo>
                      <a:pt x="6631" y="4941"/>
                    </a:lnTo>
                    <a:lnTo>
                      <a:pt x="6626" y="4940"/>
                    </a:lnTo>
                    <a:lnTo>
                      <a:pt x="6621" y="4939"/>
                    </a:lnTo>
                    <a:lnTo>
                      <a:pt x="6617" y="4935"/>
                    </a:lnTo>
                    <a:lnTo>
                      <a:pt x="6614" y="4931"/>
                    </a:lnTo>
                    <a:lnTo>
                      <a:pt x="6610" y="4926"/>
                    </a:lnTo>
                    <a:lnTo>
                      <a:pt x="6608" y="4919"/>
                    </a:lnTo>
                    <a:lnTo>
                      <a:pt x="6606" y="4912"/>
                    </a:lnTo>
                    <a:lnTo>
                      <a:pt x="6603" y="4906"/>
                    </a:lnTo>
                    <a:lnTo>
                      <a:pt x="6600" y="4900"/>
                    </a:lnTo>
                    <a:lnTo>
                      <a:pt x="6595" y="4896"/>
                    </a:lnTo>
                    <a:lnTo>
                      <a:pt x="6587" y="4889"/>
                    </a:lnTo>
                    <a:lnTo>
                      <a:pt x="6578" y="4884"/>
                    </a:lnTo>
                    <a:lnTo>
                      <a:pt x="6571" y="4882"/>
                    </a:lnTo>
                    <a:lnTo>
                      <a:pt x="6565" y="4878"/>
                    </a:lnTo>
                    <a:lnTo>
                      <a:pt x="6563" y="4876"/>
                    </a:lnTo>
                    <a:lnTo>
                      <a:pt x="6562" y="4875"/>
                    </a:lnTo>
                    <a:lnTo>
                      <a:pt x="6563" y="4872"/>
                    </a:lnTo>
                    <a:lnTo>
                      <a:pt x="6564" y="4869"/>
                    </a:lnTo>
                    <a:lnTo>
                      <a:pt x="6569" y="4864"/>
                    </a:lnTo>
                    <a:lnTo>
                      <a:pt x="6573" y="4858"/>
                    </a:lnTo>
                    <a:lnTo>
                      <a:pt x="6575" y="4856"/>
                    </a:lnTo>
                    <a:lnTo>
                      <a:pt x="6577" y="4852"/>
                    </a:lnTo>
                    <a:lnTo>
                      <a:pt x="6578" y="4848"/>
                    </a:lnTo>
                    <a:lnTo>
                      <a:pt x="6579" y="4843"/>
                    </a:lnTo>
                    <a:lnTo>
                      <a:pt x="6579" y="4838"/>
                    </a:lnTo>
                    <a:lnTo>
                      <a:pt x="6579" y="4833"/>
                    </a:lnTo>
                    <a:lnTo>
                      <a:pt x="6578" y="4829"/>
                    </a:lnTo>
                    <a:lnTo>
                      <a:pt x="6576" y="4823"/>
                    </a:lnTo>
                    <a:lnTo>
                      <a:pt x="6572" y="4818"/>
                    </a:lnTo>
                    <a:lnTo>
                      <a:pt x="6569" y="4812"/>
                    </a:lnTo>
                    <a:lnTo>
                      <a:pt x="6565" y="4806"/>
                    </a:lnTo>
                    <a:lnTo>
                      <a:pt x="6559" y="4800"/>
                    </a:lnTo>
                    <a:lnTo>
                      <a:pt x="6547" y="4787"/>
                    </a:lnTo>
                    <a:lnTo>
                      <a:pt x="6537" y="4771"/>
                    </a:lnTo>
                    <a:lnTo>
                      <a:pt x="6525" y="4756"/>
                    </a:lnTo>
                    <a:lnTo>
                      <a:pt x="6516" y="4741"/>
                    </a:lnTo>
                    <a:lnTo>
                      <a:pt x="6512" y="4735"/>
                    </a:lnTo>
                    <a:lnTo>
                      <a:pt x="6507" y="4730"/>
                    </a:lnTo>
                    <a:lnTo>
                      <a:pt x="6502" y="4725"/>
                    </a:lnTo>
                    <a:lnTo>
                      <a:pt x="6496" y="4723"/>
                    </a:lnTo>
                    <a:lnTo>
                      <a:pt x="6489" y="4722"/>
                    </a:lnTo>
                    <a:lnTo>
                      <a:pt x="6481" y="4722"/>
                    </a:lnTo>
                    <a:lnTo>
                      <a:pt x="6471" y="4724"/>
                    </a:lnTo>
                    <a:lnTo>
                      <a:pt x="6461" y="4727"/>
                    </a:lnTo>
                    <a:lnTo>
                      <a:pt x="6449" y="4731"/>
                    </a:lnTo>
                    <a:lnTo>
                      <a:pt x="6440" y="4733"/>
                    </a:lnTo>
                    <a:lnTo>
                      <a:pt x="6432" y="4735"/>
                    </a:lnTo>
                    <a:lnTo>
                      <a:pt x="6425" y="4736"/>
                    </a:lnTo>
                    <a:lnTo>
                      <a:pt x="6412" y="4736"/>
                    </a:lnTo>
                    <a:lnTo>
                      <a:pt x="6399" y="4738"/>
                    </a:lnTo>
                    <a:lnTo>
                      <a:pt x="6393" y="4739"/>
                    </a:lnTo>
                    <a:lnTo>
                      <a:pt x="6389" y="4742"/>
                    </a:lnTo>
                    <a:lnTo>
                      <a:pt x="6387" y="4746"/>
                    </a:lnTo>
                    <a:lnTo>
                      <a:pt x="6386" y="4751"/>
                    </a:lnTo>
                    <a:lnTo>
                      <a:pt x="6384" y="4761"/>
                    </a:lnTo>
                    <a:lnTo>
                      <a:pt x="6382" y="4773"/>
                    </a:lnTo>
                    <a:lnTo>
                      <a:pt x="6381" y="4775"/>
                    </a:lnTo>
                    <a:lnTo>
                      <a:pt x="6379" y="4777"/>
                    </a:lnTo>
                    <a:lnTo>
                      <a:pt x="6375" y="4780"/>
                    </a:lnTo>
                    <a:lnTo>
                      <a:pt x="6371" y="4781"/>
                    </a:lnTo>
                    <a:lnTo>
                      <a:pt x="6362" y="4785"/>
                    </a:lnTo>
                    <a:lnTo>
                      <a:pt x="6351" y="4788"/>
                    </a:lnTo>
                    <a:lnTo>
                      <a:pt x="6339" y="4790"/>
                    </a:lnTo>
                    <a:lnTo>
                      <a:pt x="6327" y="4792"/>
                    </a:lnTo>
                    <a:lnTo>
                      <a:pt x="6314" y="4792"/>
                    </a:lnTo>
                    <a:lnTo>
                      <a:pt x="6304" y="4792"/>
                    </a:lnTo>
                    <a:lnTo>
                      <a:pt x="6285" y="4790"/>
                    </a:lnTo>
                    <a:lnTo>
                      <a:pt x="6269" y="4792"/>
                    </a:lnTo>
                    <a:lnTo>
                      <a:pt x="6262" y="4794"/>
                    </a:lnTo>
                    <a:lnTo>
                      <a:pt x="6256" y="4796"/>
                    </a:lnTo>
                    <a:lnTo>
                      <a:pt x="6250" y="4799"/>
                    </a:lnTo>
                    <a:lnTo>
                      <a:pt x="6243" y="4802"/>
                    </a:lnTo>
                    <a:lnTo>
                      <a:pt x="6231" y="4809"/>
                    </a:lnTo>
                    <a:lnTo>
                      <a:pt x="6220" y="4818"/>
                    </a:lnTo>
                    <a:lnTo>
                      <a:pt x="6216" y="4824"/>
                    </a:lnTo>
                    <a:lnTo>
                      <a:pt x="6213" y="4830"/>
                    </a:lnTo>
                    <a:lnTo>
                      <a:pt x="6211" y="4837"/>
                    </a:lnTo>
                    <a:lnTo>
                      <a:pt x="6210" y="4845"/>
                    </a:lnTo>
                    <a:lnTo>
                      <a:pt x="6212" y="4862"/>
                    </a:lnTo>
                    <a:lnTo>
                      <a:pt x="6214" y="4875"/>
                    </a:lnTo>
                    <a:lnTo>
                      <a:pt x="6218" y="4886"/>
                    </a:lnTo>
                    <a:lnTo>
                      <a:pt x="6222" y="4896"/>
                    </a:lnTo>
                    <a:lnTo>
                      <a:pt x="6223" y="4901"/>
                    </a:lnTo>
                    <a:lnTo>
                      <a:pt x="6222" y="4906"/>
                    </a:lnTo>
                    <a:lnTo>
                      <a:pt x="6220" y="4908"/>
                    </a:lnTo>
                    <a:lnTo>
                      <a:pt x="6218" y="4909"/>
                    </a:lnTo>
                    <a:lnTo>
                      <a:pt x="6216" y="4911"/>
                    </a:lnTo>
                    <a:lnTo>
                      <a:pt x="6212" y="4909"/>
                    </a:lnTo>
                    <a:lnTo>
                      <a:pt x="6209" y="4908"/>
                    </a:lnTo>
                    <a:lnTo>
                      <a:pt x="6204" y="4907"/>
                    </a:lnTo>
                    <a:lnTo>
                      <a:pt x="6199" y="4905"/>
                    </a:lnTo>
                    <a:lnTo>
                      <a:pt x="6195" y="4905"/>
                    </a:lnTo>
                    <a:lnTo>
                      <a:pt x="6193" y="4905"/>
                    </a:lnTo>
                    <a:lnTo>
                      <a:pt x="6191" y="4907"/>
                    </a:lnTo>
                    <a:lnTo>
                      <a:pt x="6190" y="4909"/>
                    </a:lnTo>
                    <a:lnTo>
                      <a:pt x="6190" y="4913"/>
                    </a:lnTo>
                    <a:lnTo>
                      <a:pt x="6191" y="4918"/>
                    </a:lnTo>
                    <a:lnTo>
                      <a:pt x="6192" y="4924"/>
                    </a:lnTo>
                    <a:lnTo>
                      <a:pt x="6197" y="4937"/>
                    </a:lnTo>
                    <a:lnTo>
                      <a:pt x="6203" y="4949"/>
                    </a:lnTo>
                    <a:lnTo>
                      <a:pt x="6210" y="4962"/>
                    </a:lnTo>
                    <a:lnTo>
                      <a:pt x="6216" y="4974"/>
                    </a:lnTo>
                    <a:lnTo>
                      <a:pt x="6218" y="4978"/>
                    </a:lnTo>
                    <a:lnTo>
                      <a:pt x="6218" y="4983"/>
                    </a:lnTo>
                    <a:lnTo>
                      <a:pt x="6217" y="4988"/>
                    </a:lnTo>
                    <a:lnTo>
                      <a:pt x="6214" y="4991"/>
                    </a:lnTo>
                    <a:lnTo>
                      <a:pt x="6206" y="4997"/>
                    </a:lnTo>
                    <a:lnTo>
                      <a:pt x="6197" y="5002"/>
                    </a:lnTo>
                    <a:lnTo>
                      <a:pt x="6187" y="5008"/>
                    </a:lnTo>
                    <a:lnTo>
                      <a:pt x="6178" y="5014"/>
                    </a:lnTo>
                    <a:lnTo>
                      <a:pt x="6167" y="5020"/>
                    </a:lnTo>
                    <a:lnTo>
                      <a:pt x="6155" y="5025"/>
                    </a:lnTo>
                    <a:lnTo>
                      <a:pt x="6142" y="5027"/>
                    </a:lnTo>
                    <a:lnTo>
                      <a:pt x="6129" y="5028"/>
                    </a:lnTo>
                    <a:lnTo>
                      <a:pt x="6123" y="5029"/>
                    </a:lnTo>
                    <a:lnTo>
                      <a:pt x="6117" y="5028"/>
                    </a:lnTo>
                    <a:lnTo>
                      <a:pt x="6111" y="5027"/>
                    </a:lnTo>
                    <a:lnTo>
                      <a:pt x="6106" y="5026"/>
                    </a:lnTo>
                    <a:lnTo>
                      <a:pt x="6100" y="5023"/>
                    </a:lnTo>
                    <a:lnTo>
                      <a:pt x="6097" y="5022"/>
                    </a:lnTo>
                    <a:lnTo>
                      <a:pt x="6093" y="5022"/>
                    </a:lnTo>
                    <a:lnTo>
                      <a:pt x="6090" y="5022"/>
                    </a:lnTo>
                    <a:lnTo>
                      <a:pt x="6086" y="5023"/>
                    </a:lnTo>
                    <a:lnTo>
                      <a:pt x="6084" y="5025"/>
                    </a:lnTo>
                    <a:lnTo>
                      <a:pt x="6081" y="5028"/>
                    </a:lnTo>
                    <a:lnTo>
                      <a:pt x="6078" y="5031"/>
                    </a:lnTo>
                    <a:lnTo>
                      <a:pt x="6075" y="5034"/>
                    </a:lnTo>
                    <a:lnTo>
                      <a:pt x="6073" y="5035"/>
                    </a:lnTo>
                    <a:lnTo>
                      <a:pt x="6071" y="5035"/>
                    </a:lnTo>
                    <a:lnTo>
                      <a:pt x="6069" y="5033"/>
                    </a:lnTo>
                    <a:lnTo>
                      <a:pt x="6066" y="5026"/>
                    </a:lnTo>
                    <a:lnTo>
                      <a:pt x="6065" y="5015"/>
                    </a:lnTo>
                    <a:lnTo>
                      <a:pt x="6064" y="5009"/>
                    </a:lnTo>
                    <a:lnTo>
                      <a:pt x="6061" y="5004"/>
                    </a:lnTo>
                    <a:lnTo>
                      <a:pt x="6058" y="5002"/>
                    </a:lnTo>
                    <a:lnTo>
                      <a:pt x="6054" y="5000"/>
                    </a:lnTo>
                    <a:lnTo>
                      <a:pt x="6049" y="5000"/>
                    </a:lnTo>
                    <a:lnTo>
                      <a:pt x="6043" y="5001"/>
                    </a:lnTo>
                    <a:lnTo>
                      <a:pt x="6037" y="5004"/>
                    </a:lnTo>
                    <a:lnTo>
                      <a:pt x="6033" y="5009"/>
                    </a:lnTo>
                    <a:lnTo>
                      <a:pt x="6027" y="5016"/>
                    </a:lnTo>
                    <a:lnTo>
                      <a:pt x="6022" y="5023"/>
                    </a:lnTo>
                    <a:lnTo>
                      <a:pt x="6018" y="5032"/>
                    </a:lnTo>
                    <a:lnTo>
                      <a:pt x="6015" y="5040"/>
                    </a:lnTo>
                    <a:lnTo>
                      <a:pt x="6011" y="5047"/>
                    </a:lnTo>
                    <a:lnTo>
                      <a:pt x="6008" y="5054"/>
                    </a:lnTo>
                    <a:lnTo>
                      <a:pt x="6004" y="5060"/>
                    </a:lnTo>
                    <a:lnTo>
                      <a:pt x="6001" y="5065"/>
                    </a:lnTo>
                    <a:lnTo>
                      <a:pt x="5993" y="5072"/>
                    </a:lnTo>
                    <a:lnTo>
                      <a:pt x="5985" y="5080"/>
                    </a:lnTo>
                    <a:lnTo>
                      <a:pt x="5978" y="5090"/>
                    </a:lnTo>
                    <a:lnTo>
                      <a:pt x="5971" y="5100"/>
                    </a:lnTo>
                    <a:lnTo>
                      <a:pt x="5966" y="5105"/>
                    </a:lnTo>
                    <a:lnTo>
                      <a:pt x="5961" y="5109"/>
                    </a:lnTo>
                    <a:lnTo>
                      <a:pt x="5955" y="5111"/>
                    </a:lnTo>
                    <a:lnTo>
                      <a:pt x="5951" y="5114"/>
                    </a:lnTo>
                    <a:lnTo>
                      <a:pt x="5945" y="5114"/>
                    </a:lnTo>
                    <a:lnTo>
                      <a:pt x="5940" y="5113"/>
                    </a:lnTo>
                    <a:lnTo>
                      <a:pt x="5936" y="5110"/>
                    </a:lnTo>
                    <a:lnTo>
                      <a:pt x="5933" y="5105"/>
                    </a:lnTo>
                    <a:lnTo>
                      <a:pt x="5929" y="5097"/>
                    </a:lnTo>
                    <a:lnTo>
                      <a:pt x="5926" y="5089"/>
                    </a:lnTo>
                    <a:lnTo>
                      <a:pt x="5922" y="5078"/>
                    </a:lnTo>
                    <a:lnTo>
                      <a:pt x="5917" y="5065"/>
                    </a:lnTo>
                    <a:lnTo>
                      <a:pt x="5913" y="5059"/>
                    </a:lnTo>
                    <a:lnTo>
                      <a:pt x="5909" y="5056"/>
                    </a:lnTo>
                    <a:lnTo>
                      <a:pt x="5904" y="5052"/>
                    </a:lnTo>
                    <a:lnTo>
                      <a:pt x="5899" y="5051"/>
                    </a:lnTo>
                    <a:lnTo>
                      <a:pt x="5894" y="5052"/>
                    </a:lnTo>
                    <a:lnTo>
                      <a:pt x="5889" y="5053"/>
                    </a:lnTo>
                    <a:lnTo>
                      <a:pt x="5883" y="5056"/>
                    </a:lnTo>
                    <a:lnTo>
                      <a:pt x="5876" y="5058"/>
                    </a:lnTo>
                    <a:lnTo>
                      <a:pt x="5863" y="5067"/>
                    </a:lnTo>
                    <a:lnTo>
                      <a:pt x="5848" y="5079"/>
                    </a:lnTo>
                    <a:lnTo>
                      <a:pt x="5833" y="5092"/>
                    </a:lnTo>
                    <a:lnTo>
                      <a:pt x="5817" y="5105"/>
                    </a:lnTo>
                    <a:lnTo>
                      <a:pt x="5800" y="5119"/>
                    </a:lnTo>
                    <a:lnTo>
                      <a:pt x="5781" y="5130"/>
                    </a:lnTo>
                    <a:lnTo>
                      <a:pt x="5770" y="5136"/>
                    </a:lnTo>
                    <a:lnTo>
                      <a:pt x="5762" y="5141"/>
                    </a:lnTo>
                    <a:lnTo>
                      <a:pt x="5753" y="5143"/>
                    </a:lnTo>
                    <a:lnTo>
                      <a:pt x="5746" y="5146"/>
                    </a:lnTo>
                    <a:lnTo>
                      <a:pt x="5741" y="5147"/>
                    </a:lnTo>
                    <a:lnTo>
                      <a:pt x="5738" y="5149"/>
                    </a:lnTo>
                    <a:lnTo>
                      <a:pt x="5735" y="5152"/>
                    </a:lnTo>
                    <a:lnTo>
                      <a:pt x="5735" y="5154"/>
                    </a:lnTo>
                    <a:lnTo>
                      <a:pt x="5735" y="5157"/>
                    </a:lnTo>
                    <a:lnTo>
                      <a:pt x="5735" y="5160"/>
                    </a:lnTo>
                    <a:lnTo>
                      <a:pt x="5738" y="5163"/>
                    </a:lnTo>
                    <a:lnTo>
                      <a:pt x="5740" y="5166"/>
                    </a:lnTo>
                    <a:lnTo>
                      <a:pt x="5741" y="5168"/>
                    </a:lnTo>
                    <a:lnTo>
                      <a:pt x="5743" y="5172"/>
                    </a:lnTo>
                    <a:lnTo>
                      <a:pt x="5743" y="5176"/>
                    </a:lnTo>
                    <a:lnTo>
                      <a:pt x="5743" y="5178"/>
                    </a:lnTo>
                    <a:lnTo>
                      <a:pt x="5740" y="5180"/>
                    </a:lnTo>
                    <a:lnTo>
                      <a:pt x="5738" y="5183"/>
                    </a:lnTo>
                    <a:lnTo>
                      <a:pt x="5734" y="5184"/>
                    </a:lnTo>
                    <a:lnTo>
                      <a:pt x="5731" y="5184"/>
                    </a:lnTo>
                    <a:lnTo>
                      <a:pt x="5726" y="5184"/>
                    </a:lnTo>
                    <a:lnTo>
                      <a:pt x="5722" y="5185"/>
                    </a:lnTo>
                    <a:lnTo>
                      <a:pt x="5720" y="5186"/>
                    </a:lnTo>
                    <a:lnTo>
                      <a:pt x="5718" y="5189"/>
                    </a:lnTo>
                    <a:lnTo>
                      <a:pt x="5715" y="5195"/>
                    </a:lnTo>
                    <a:lnTo>
                      <a:pt x="5713" y="5203"/>
                    </a:lnTo>
                    <a:lnTo>
                      <a:pt x="5712" y="5208"/>
                    </a:lnTo>
                    <a:lnTo>
                      <a:pt x="5709" y="5211"/>
                    </a:lnTo>
                    <a:lnTo>
                      <a:pt x="5707" y="5212"/>
                    </a:lnTo>
                    <a:lnTo>
                      <a:pt x="5705" y="5214"/>
                    </a:lnTo>
                    <a:lnTo>
                      <a:pt x="5701" y="5214"/>
                    </a:lnTo>
                    <a:lnTo>
                      <a:pt x="5697" y="5214"/>
                    </a:lnTo>
                    <a:lnTo>
                      <a:pt x="5694" y="5211"/>
                    </a:lnTo>
                    <a:lnTo>
                      <a:pt x="5688" y="5209"/>
                    </a:lnTo>
                    <a:lnTo>
                      <a:pt x="5682" y="5206"/>
                    </a:lnTo>
                    <a:lnTo>
                      <a:pt x="5672" y="5205"/>
                    </a:lnTo>
                    <a:lnTo>
                      <a:pt x="5662" y="5205"/>
                    </a:lnTo>
                    <a:lnTo>
                      <a:pt x="5651" y="5206"/>
                    </a:lnTo>
                    <a:lnTo>
                      <a:pt x="5630" y="5209"/>
                    </a:lnTo>
                    <a:lnTo>
                      <a:pt x="5613" y="5211"/>
                    </a:lnTo>
                    <a:lnTo>
                      <a:pt x="5603" y="5212"/>
                    </a:lnTo>
                    <a:lnTo>
                      <a:pt x="5598" y="5211"/>
                    </a:lnTo>
                    <a:lnTo>
                      <a:pt x="5595" y="5210"/>
                    </a:lnTo>
                    <a:lnTo>
                      <a:pt x="5594" y="5208"/>
                    </a:lnTo>
                    <a:lnTo>
                      <a:pt x="5593" y="5205"/>
                    </a:lnTo>
                    <a:lnTo>
                      <a:pt x="5593" y="5202"/>
                    </a:lnTo>
                    <a:lnTo>
                      <a:pt x="5593" y="5184"/>
                    </a:lnTo>
                    <a:lnTo>
                      <a:pt x="5593" y="5167"/>
                    </a:lnTo>
                    <a:lnTo>
                      <a:pt x="5593" y="5157"/>
                    </a:lnTo>
                    <a:lnTo>
                      <a:pt x="5593" y="5145"/>
                    </a:lnTo>
                    <a:lnTo>
                      <a:pt x="5593" y="5130"/>
                    </a:lnTo>
                    <a:lnTo>
                      <a:pt x="5594" y="5120"/>
                    </a:lnTo>
                    <a:lnTo>
                      <a:pt x="5595" y="5111"/>
                    </a:lnTo>
                    <a:lnTo>
                      <a:pt x="5596" y="5103"/>
                    </a:lnTo>
                    <a:lnTo>
                      <a:pt x="5598" y="5092"/>
                    </a:lnTo>
                    <a:lnTo>
                      <a:pt x="5596" y="5079"/>
                    </a:lnTo>
                    <a:lnTo>
                      <a:pt x="5593" y="5065"/>
                    </a:lnTo>
                    <a:lnTo>
                      <a:pt x="5589" y="5053"/>
                    </a:lnTo>
                    <a:lnTo>
                      <a:pt x="5583" y="5042"/>
                    </a:lnTo>
                    <a:lnTo>
                      <a:pt x="5578" y="5033"/>
                    </a:lnTo>
                    <a:lnTo>
                      <a:pt x="5575" y="5022"/>
                    </a:lnTo>
                    <a:lnTo>
                      <a:pt x="5574" y="5012"/>
                    </a:lnTo>
                    <a:lnTo>
                      <a:pt x="5574" y="5006"/>
                    </a:lnTo>
                    <a:lnTo>
                      <a:pt x="5574" y="5001"/>
                    </a:lnTo>
                    <a:lnTo>
                      <a:pt x="5575" y="4996"/>
                    </a:lnTo>
                    <a:lnTo>
                      <a:pt x="5576" y="4993"/>
                    </a:lnTo>
                    <a:lnTo>
                      <a:pt x="5580" y="4987"/>
                    </a:lnTo>
                    <a:lnTo>
                      <a:pt x="5582" y="4981"/>
                    </a:lnTo>
                    <a:lnTo>
                      <a:pt x="5583" y="4977"/>
                    </a:lnTo>
                    <a:lnTo>
                      <a:pt x="5583" y="4975"/>
                    </a:lnTo>
                    <a:lnTo>
                      <a:pt x="5581" y="4972"/>
                    </a:lnTo>
                    <a:lnTo>
                      <a:pt x="5578" y="4970"/>
                    </a:lnTo>
                    <a:lnTo>
                      <a:pt x="5576" y="4968"/>
                    </a:lnTo>
                    <a:lnTo>
                      <a:pt x="5574" y="4968"/>
                    </a:lnTo>
                    <a:lnTo>
                      <a:pt x="5570" y="4969"/>
                    </a:lnTo>
                    <a:lnTo>
                      <a:pt x="5568" y="4970"/>
                    </a:lnTo>
                    <a:lnTo>
                      <a:pt x="5562" y="4975"/>
                    </a:lnTo>
                    <a:lnTo>
                      <a:pt x="5555" y="4981"/>
                    </a:lnTo>
                    <a:lnTo>
                      <a:pt x="5550" y="4984"/>
                    </a:lnTo>
                    <a:lnTo>
                      <a:pt x="5546" y="4987"/>
                    </a:lnTo>
                    <a:lnTo>
                      <a:pt x="5542" y="4988"/>
                    </a:lnTo>
                    <a:lnTo>
                      <a:pt x="5537" y="4989"/>
                    </a:lnTo>
                    <a:lnTo>
                      <a:pt x="5526" y="4988"/>
                    </a:lnTo>
                    <a:lnTo>
                      <a:pt x="5514" y="4987"/>
                    </a:lnTo>
                    <a:lnTo>
                      <a:pt x="5502" y="4985"/>
                    </a:lnTo>
                    <a:lnTo>
                      <a:pt x="5491" y="4985"/>
                    </a:lnTo>
                    <a:lnTo>
                      <a:pt x="5485" y="4988"/>
                    </a:lnTo>
                    <a:lnTo>
                      <a:pt x="5479" y="4989"/>
                    </a:lnTo>
                    <a:lnTo>
                      <a:pt x="5474" y="4991"/>
                    </a:lnTo>
                    <a:lnTo>
                      <a:pt x="5470" y="4995"/>
                    </a:lnTo>
                    <a:lnTo>
                      <a:pt x="5467" y="5000"/>
                    </a:lnTo>
                    <a:lnTo>
                      <a:pt x="5464" y="5004"/>
                    </a:lnTo>
                    <a:lnTo>
                      <a:pt x="5463" y="5012"/>
                    </a:lnTo>
                    <a:lnTo>
                      <a:pt x="5463" y="5019"/>
                    </a:lnTo>
                    <a:lnTo>
                      <a:pt x="5463" y="5033"/>
                    </a:lnTo>
                    <a:lnTo>
                      <a:pt x="5463" y="5045"/>
                    </a:lnTo>
                    <a:lnTo>
                      <a:pt x="5463" y="5050"/>
                    </a:lnTo>
                    <a:lnTo>
                      <a:pt x="5461" y="5053"/>
                    </a:lnTo>
                    <a:lnTo>
                      <a:pt x="5458" y="5056"/>
                    </a:lnTo>
                    <a:lnTo>
                      <a:pt x="5456" y="5058"/>
                    </a:lnTo>
                    <a:lnTo>
                      <a:pt x="5447" y="5063"/>
                    </a:lnTo>
                    <a:lnTo>
                      <a:pt x="5435" y="5064"/>
                    </a:lnTo>
                    <a:lnTo>
                      <a:pt x="5429" y="5065"/>
                    </a:lnTo>
                    <a:lnTo>
                      <a:pt x="5422" y="5067"/>
                    </a:lnTo>
                    <a:lnTo>
                      <a:pt x="5416" y="5070"/>
                    </a:lnTo>
                    <a:lnTo>
                      <a:pt x="5410" y="5073"/>
                    </a:lnTo>
                    <a:lnTo>
                      <a:pt x="5405" y="5077"/>
                    </a:lnTo>
                    <a:lnTo>
                      <a:pt x="5399" y="5082"/>
                    </a:lnTo>
                    <a:lnTo>
                      <a:pt x="5395" y="5088"/>
                    </a:lnTo>
                    <a:lnTo>
                      <a:pt x="5391" y="5095"/>
                    </a:lnTo>
                    <a:lnTo>
                      <a:pt x="5385" y="5113"/>
                    </a:lnTo>
                    <a:lnTo>
                      <a:pt x="5381" y="5130"/>
                    </a:lnTo>
                    <a:lnTo>
                      <a:pt x="5379" y="5147"/>
                    </a:lnTo>
                    <a:lnTo>
                      <a:pt x="5378" y="5161"/>
                    </a:lnTo>
                    <a:lnTo>
                      <a:pt x="5379" y="5179"/>
                    </a:lnTo>
                    <a:lnTo>
                      <a:pt x="5382" y="5204"/>
                    </a:lnTo>
                    <a:lnTo>
                      <a:pt x="5386" y="5229"/>
                    </a:lnTo>
                    <a:lnTo>
                      <a:pt x="5388" y="5247"/>
                    </a:lnTo>
                    <a:lnTo>
                      <a:pt x="5388" y="5253"/>
                    </a:lnTo>
                    <a:lnTo>
                      <a:pt x="5388" y="5258"/>
                    </a:lnTo>
                    <a:lnTo>
                      <a:pt x="5387" y="5260"/>
                    </a:lnTo>
                    <a:lnTo>
                      <a:pt x="5385" y="5261"/>
                    </a:lnTo>
                    <a:lnTo>
                      <a:pt x="5375" y="5262"/>
                    </a:lnTo>
                    <a:lnTo>
                      <a:pt x="5359" y="5260"/>
                    </a:lnTo>
                    <a:lnTo>
                      <a:pt x="5341" y="5258"/>
                    </a:lnTo>
                    <a:lnTo>
                      <a:pt x="5326" y="5258"/>
                    </a:lnTo>
                    <a:lnTo>
                      <a:pt x="5321" y="5259"/>
                    </a:lnTo>
                    <a:lnTo>
                      <a:pt x="5316" y="5260"/>
                    </a:lnTo>
                    <a:lnTo>
                      <a:pt x="5310" y="5262"/>
                    </a:lnTo>
                    <a:lnTo>
                      <a:pt x="5304" y="5266"/>
                    </a:lnTo>
                    <a:lnTo>
                      <a:pt x="5298" y="5271"/>
                    </a:lnTo>
                    <a:lnTo>
                      <a:pt x="5293" y="5275"/>
                    </a:lnTo>
                    <a:lnTo>
                      <a:pt x="5290" y="5281"/>
                    </a:lnTo>
                    <a:lnTo>
                      <a:pt x="5286" y="5287"/>
                    </a:lnTo>
                    <a:lnTo>
                      <a:pt x="5284" y="5293"/>
                    </a:lnTo>
                    <a:lnTo>
                      <a:pt x="5284" y="5299"/>
                    </a:lnTo>
                    <a:lnTo>
                      <a:pt x="5284" y="5304"/>
                    </a:lnTo>
                    <a:lnTo>
                      <a:pt x="5285" y="5309"/>
                    </a:lnTo>
                    <a:lnTo>
                      <a:pt x="5290" y="5316"/>
                    </a:lnTo>
                    <a:lnTo>
                      <a:pt x="5296" y="5324"/>
                    </a:lnTo>
                    <a:lnTo>
                      <a:pt x="5297" y="5329"/>
                    </a:lnTo>
                    <a:lnTo>
                      <a:pt x="5298" y="5332"/>
                    </a:lnTo>
                    <a:lnTo>
                      <a:pt x="5298" y="5338"/>
                    </a:lnTo>
                    <a:lnTo>
                      <a:pt x="5297" y="5343"/>
                    </a:lnTo>
                    <a:lnTo>
                      <a:pt x="5294" y="5349"/>
                    </a:lnTo>
                    <a:lnTo>
                      <a:pt x="5294" y="5354"/>
                    </a:lnTo>
                    <a:lnTo>
                      <a:pt x="5296" y="5359"/>
                    </a:lnTo>
                    <a:lnTo>
                      <a:pt x="5298" y="5363"/>
                    </a:lnTo>
                    <a:lnTo>
                      <a:pt x="5305" y="5372"/>
                    </a:lnTo>
                    <a:lnTo>
                      <a:pt x="5313" y="5379"/>
                    </a:lnTo>
                    <a:lnTo>
                      <a:pt x="5318" y="5382"/>
                    </a:lnTo>
                    <a:lnTo>
                      <a:pt x="5321" y="5386"/>
                    </a:lnTo>
                    <a:lnTo>
                      <a:pt x="5322" y="5391"/>
                    </a:lnTo>
                    <a:lnTo>
                      <a:pt x="5322" y="5395"/>
                    </a:lnTo>
                    <a:lnTo>
                      <a:pt x="5321" y="5400"/>
                    </a:lnTo>
                    <a:lnTo>
                      <a:pt x="5318" y="5404"/>
                    </a:lnTo>
                    <a:lnTo>
                      <a:pt x="5315" y="5407"/>
                    </a:lnTo>
                    <a:lnTo>
                      <a:pt x="5311" y="5409"/>
                    </a:lnTo>
                    <a:lnTo>
                      <a:pt x="5303" y="5411"/>
                    </a:lnTo>
                    <a:lnTo>
                      <a:pt x="5294" y="5413"/>
                    </a:lnTo>
                    <a:lnTo>
                      <a:pt x="5291" y="5416"/>
                    </a:lnTo>
                    <a:lnTo>
                      <a:pt x="5287" y="5419"/>
                    </a:lnTo>
                    <a:lnTo>
                      <a:pt x="5284" y="5423"/>
                    </a:lnTo>
                    <a:lnTo>
                      <a:pt x="5279" y="5428"/>
                    </a:lnTo>
                    <a:lnTo>
                      <a:pt x="5277" y="5433"/>
                    </a:lnTo>
                    <a:lnTo>
                      <a:pt x="5274" y="5439"/>
                    </a:lnTo>
                    <a:lnTo>
                      <a:pt x="5274" y="5447"/>
                    </a:lnTo>
                    <a:lnTo>
                      <a:pt x="5275" y="5453"/>
                    </a:lnTo>
                    <a:lnTo>
                      <a:pt x="5278" y="5457"/>
                    </a:lnTo>
                    <a:lnTo>
                      <a:pt x="5280" y="5463"/>
                    </a:lnTo>
                    <a:lnTo>
                      <a:pt x="5284" y="5468"/>
                    </a:lnTo>
                    <a:lnTo>
                      <a:pt x="5288" y="5472"/>
                    </a:lnTo>
                    <a:lnTo>
                      <a:pt x="5298" y="5481"/>
                    </a:lnTo>
                    <a:lnTo>
                      <a:pt x="5307" y="5493"/>
                    </a:lnTo>
                    <a:lnTo>
                      <a:pt x="5317" y="5506"/>
                    </a:lnTo>
                    <a:lnTo>
                      <a:pt x="5328" y="5520"/>
                    </a:lnTo>
                    <a:lnTo>
                      <a:pt x="5338" y="5538"/>
                    </a:lnTo>
                    <a:lnTo>
                      <a:pt x="5350" y="5559"/>
                    </a:lnTo>
                    <a:lnTo>
                      <a:pt x="5356" y="5570"/>
                    </a:lnTo>
                    <a:lnTo>
                      <a:pt x="5361" y="5581"/>
                    </a:lnTo>
                    <a:lnTo>
                      <a:pt x="5365" y="5590"/>
                    </a:lnTo>
                    <a:lnTo>
                      <a:pt x="5367" y="5599"/>
                    </a:lnTo>
                    <a:lnTo>
                      <a:pt x="5363" y="5612"/>
                    </a:lnTo>
                    <a:lnTo>
                      <a:pt x="5356" y="5630"/>
                    </a:lnTo>
                    <a:lnTo>
                      <a:pt x="5351" y="5646"/>
                    </a:lnTo>
                    <a:lnTo>
                      <a:pt x="5345" y="5665"/>
                    </a:lnTo>
                    <a:lnTo>
                      <a:pt x="5341" y="5675"/>
                    </a:lnTo>
                    <a:lnTo>
                      <a:pt x="5336" y="5684"/>
                    </a:lnTo>
                    <a:lnTo>
                      <a:pt x="5330" y="5694"/>
                    </a:lnTo>
                    <a:lnTo>
                      <a:pt x="5323" y="5703"/>
                    </a:lnTo>
                    <a:lnTo>
                      <a:pt x="5316" y="5710"/>
                    </a:lnTo>
                    <a:lnTo>
                      <a:pt x="5307" y="5715"/>
                    </a:lnTo>
                    <a:lnTo>
                      <a:pt x="5299" y="5720"/>
                    </a:lnTo>
                    <a:lnTo>
                      <a:pt x="5291" y="5722"/>
                    </a:lnTo>
                    <a:lnTo>
                      <a:pt x="5277" y="5722"/>
                    </a:lnTo>
                    <a:lnTo>
                      <a:pt x="5263" y="5720"/>
                    </a:lnTo>
                    <a:lnTo>
                      <a:pt x="5258" y="5721"/>
                    </a:lnTo>
                    <a:lnTo>
                      <a:pt x="5253" y="5725"/>
                    </a:lnTo>
                    <a:lnTo>
                      <a:pt x="5248" y="5729"/>
                    </a:lnTo>
                    <a:lnTo>
                      <a:pt x="5244" y="5735"/>
                    </a:lnTo>
                    <a:lnTo>
                      <a:pt x="5237" y="5750"/>
                    </a:lnTo>
                    <a:lnTo>
                      <a:pt x="5228" y="5764"/>
                    </a:lnTo>
                    <a:lnTo>
                      <a:pt x="5222" y="5771"/>
                    </a:lnTo>
                    <a:lnTo>
                      <a:pt x="5215" y="5777"/>
                    </a:lnTo>
                    <a:lnTo>
                      <a:pt x="5206" y="5783"/>
                    </a:lnTo>
                    <a:lnTo>
                      <a:pt x="5198" y="5788"/>
                    </a:lnTo>
                    <a:lnTo>
                      <a:pt x="5190" y="5789"/>
                    </a:lnTo>
                    <a:lnTo>
                      <a:pt x="5181" y="5790"/>
                    </a:lnTo>
                    <a:lnTo>
                      <a:pt x="5173" y="5790"/>
                    </a:lnTo>
                    <a:lnTo>
                      <a:pt x="5165" y="5790"/>
                    </a:lnTo>
                    <a:lnTo>
                      <a:pt x="5146" y="5789"/>
                    </a:lnTo>
                    <a:lnTo>
                      <a:pt x="5127" y="5788"/>
                    </a:lnTo>
                    <a:lnTo>
                      <a:pt x="5099" y="5785"/>
                    </a:lnTo>
                    <a:lnTo>
                      <a:pt x="5078" y="5783"/>
                    </a:lnTo>
                    <a:lnTo>
                      <a:pt x="5067" y="5782"/>
                    </a:lnTo>
                    <a:lnTo>
                      <a:pt x="5055" y="5782"/>
                    </a:lnTo>
                    <a:lnTo>
                      <a:pt x="5041" y="5784"/>
                    </a:lnTo>
                    <a:lnTo>
                      <a:pt x="5023" y="5787"/>
                    </a:lnTo>
                    <a:lnTo>
                      <a:pt x="5015" y="5789"/>
                    </a:lnTo>
                    <a:lnTo>
                      <a:pt x="5007" y="5791"/>
                    </a:lnTo>
                    <a:lnTo>
                      <a:pt x="5000" y="5795"/>
                    </a:lnTo>
                    <a:lnTo>
                      <a:pt x="4994" y="5800"/>
                    </a:lnTo>
                    <a:lnTo>
                      <a:pt x="4989" y="5803"/>
                    </a:lnTo>
                    <a:lnTo>
                      <a:pt x="4985" y="5808"/>
                    </a:lnTo>
                    <a:lnTo>
                      <a:pt x="4982" y="5813"/>
                    </a:lnTo>
                    <a:lnTo>
                      <a:pt x="4978" y="5817"/>
                    </a:lnTo>
                    <a:lnTo>
                      <a:pt x="4970" y="5839"/>
                    </a:lnTo>
                    <a:lnTo>
                      <a:pt x="4964" y="5859"/>
                    </a:lnTo>
                    <a:lnTo>
                      <a:pt x="4962" y="5863"/>
                    </a:lnTo>
                    <a:lnTo>
                      <a:pt x="4958" y="5866"/>
                    </a:lnTo>
                    <a:lnTo>
                      <a:pt x="4956" y="5870"/>
                    </a:lnTo>
                    <a:lnTo>
                      <a:pt x="4951" y="5872"/>
                    </a:lnTo>
                    <a:lnTo>
                      <a:pt x="4943" y="5877"/>
                    </a:lnTo>
                    <a:lnTo>
                      <a:pt x="4933" y="5879"/>
                    </a:lnTo>
                    <a:lnTo>
                      <a:pt x="4923" y="5879"/>
                    </a:lnTo>
                    <a:lnTo>
                      <a:pt x="4913" y="5879"/>
                    </a:lnTo>
                    <a:lnTo>
                      <a:pt x="4904" y="5876"/>
                    </a:lnTo>
                    <a:lnTo>
                      <a:pt x="4897" y="5871"/>
                    </a:lnTo>
                    <a:lnTo>
                      <a:pt x="4881" y="5858"/>
                    </a:lnTo>
                    <a:lnTo>
                      <a:pt x="4860" y="5841"/>
                    </a:lnTo>
                    <a:lnTo>
                      <a:pt x="4849" y="5835"/>
                    </a:lnTo>
                    <a:lnTo>
                      <a:pt x="4837" y="5829"/>
                    </a:lnTo>
                    <a:lnTo>
                      <a:pt x="4831" y="5827"/>
                    </a:lnTo>
                    <a:lnTo>
                      <a:pt x="4825" y="5826"/>
                    </a:lnTo>
                    <a:lnTo>
                      <a:pt x="4819" y="5825"/>
                    </a:lnTo>
                    <a:lnTo>
                      <a:pt x="4813" y="5826"/>
                    </a:lnTo>
                    <a:lnTo>
                      <a:pt x="4807" y="5826"/>
                    </a:lnTo>
                    <a:lnTo>
                      <a:pt x="4802" y="5828"/>
                    </a:lnTo>
                    <a:lnTo>
                      <a:pt x="4797" y="5830"/>
                    </a:lnTo>
                    <a:lnTo>
                      <a:pt x="4793" y="5834"/>
                    </a:lnTo>
                    <a:lnTo>
                      <a:pt x="4787" y="5842"/>
                    </a:lnTo>
                    <a:lnTo>
                      <a:pt x="4781" y="5853"/>
                    </a:lnTo>
                    <a:lnTo>
                      <a:pt x="4773" y="5878"/>
                    </a:lnTo>
                    <a:lnTo>
                      <a:pt x="4764" y="5902"/>
                    </a:lnTo>
                    <a:lnTo>
                      <a:pt x="4750" y="5936"/>
                    </a:lnTo>
                    <a:lnTo>
                      <a:pt x="4730" y="5983"/>
                    </a:lnTo>
                    <a:lnTo>
                      <a:pt x="4711" y="6028"/>
                    </a:lnTo>
                    <a:lnTo>
                      <a:pt x="4699" y="6060"/>
                    </a:lnTo>
                    <a:lnTo>
                      <a:pt x="4695" y="6067"/>
                    </a:lnTo>
                    <a:lnTo>
                      <a:pt x="4692" y="6077"/>
                    </a:lnTo>
                    <a:lnTo>
                      <a:pt x="4688" y="6088"/>
                    </a:lnTo>
                    <a:lnTo>
                      <a:pt x="4687" y="6101"/>
                    </a:lnTo>
                    <a:lnTo>
                      <a:pt x="4686" y="6105"/>
                    </a:lnTo>
                    <a:lnTo>
                      <a:pt x="4686" y="6109"/>
                    </a:lnTo>
                    <a:lnTo>
                      <a:pt x="4683" y="6112"/>
                    </a:lnTo>
                    <a:lnTo>
                      <a:pt x="4682" y="6113"/>
                    </a:lnTo>
                    <a:lnTo>
                      <a:pt x="4679" y="6117"/>
                    </a:lnTo>
                    <a:lnTo>
                      <a:pt x="4675" y="6121"/>
                    </a:lnTo>
                    <a:lnTo>
                      <a:pt x="4670" y="6126"/>
                    </a:lnTo>
                    <a:lnTo>
                      <a:pt x="4667" y="6130"/>
                    </a:lnTo>
                    <a:lnTo>
                      <a:pt x="4662" y="6132"/>
                    </a:lnTo>
                    <a:lnTo>
                      <a:pt x="4658" y="6134"/>
                    </a:lnTo>
                    <a:lnTo>
                      <a:pt x="4651" y="6134"/>
                    </a:lnTo>
                    <a:lnTo>
                      <a:pt x="4644" y="6134"/>
                    </a:lnTo>
                    <a:lnTo>
                      <a:pt x="4632" y="6132"/>
                    </a:lnTo>
                    <a:lnTo>
                      <a:pt x="4620" y="6131"/>
                    </a:lnTo>
                    <a:lnTo>
                      <a:pt x="4607" y="6130"/>
                    </a:lnTo>
                    <a:lnTo>
                      <a:pt x="4594" y="6130"/>
                    </a:lnTo>
                    <a:lnTo>
                      <a:pt x="4581" y="6130"/>
                    </a:lnTo>
                    <a:lnTo>
                      <a:pt x="4570" y="6129"/>
                    </a:lnTo>
                    <a:lnTo>
                      <a:pt x="4555" y="6125"/>
                    </a:lnTo>
                    <a:lnTo>
                      <a:pt x="4544" y="6123"/>
                    </a:lnTo>
                    <a:lnTo>
                      <a:pt x="4540" y="6122"/>
                    </a:lnTo>
                    <a:lnTo>
                      <a:pt x="4536" y="6121"/>
                    </a:lnTo>
                    <a:lnTo>
                      <a:pt x="4534" y="6122"/>
                    </a:lnTo>
                    <a:lnTo>
                      <a:pt x="4530" y="6122"/>
                    </a:lnTo>
                    <a:lnTo>
                      <a:pt x="4519" y="6121"/>
                    </a:lnTo>
                    <a:lnTo>
                      <a:pt x="4506" y="6121"/>
                    </a:lnTo>
                    <a:lnTo>
                      <a:pt x="4505" y="6123"/>
                    </a:lnTo>
                    <a:lnTo>
                      <a:pt x="4504" y="6125"/>
                    </a:lnTo>
                    <a:lnTo>
                      <a:pt x="4504" y="6128"/>
                    </a:lnTo>
                    <a:lnTo>
                      <a:pt x="4504" y="6131"/>
                    </a:lnTo>
                    <a:lnTo>
                      <a:pt x="4505" y="6136"/>
                    </a:lnTo>
                    <a:lnTo>
                      <a:pt x="4506" y="6140"/>
                    </a:lnTo>
                    <a:lnTo>
                      <a:pt x="4507" y="6147"/>
                    </a:lnTo>
                    <a:lnTo>
                      <a:pt x="4510" y="6159"/>
                    </a:lnTo>
                    <a:lnTo>
                      <a:pt x="4510" y="6166"/>
                    </a:lnTo>
                    <a:lnTo>
                      <a:pt x="4509" y="6172"/>
                    </a:lnTo>
                    <a:lnTo>
                      <a:pt x="4507" y="6175"/>
                    </a:lnTo>
                    <a:lnTo>
                      <a:pt x="4505" y="6178"/>
                    </a:lnTo>
                    <a:lnTo>
                      <a:pt x="4503" y="6180"/>
                    </a:lnTo>
                    <a:lnTo>
                      <a:pt x="4500" y="6182"/>
                    </a:lnTo>
                    <a:lnTo>
                      <a:pt x="4494" y="6186"/>
                    </a:lnTo>
                    <a:lnTo>
                      <a:pt x="4490" y="6189"/>
                    </a:lnTo>
                    <a:lnTo>
                      <a:pt x="4487" y="6194"/>
                    </a:lnTo>
                    <a:lnTo>
                      <a:pt x="4485" y="6201"/>
                    </a:lnTo>
                    <a:lnTo>
                      <a:pt x="4482" y="6210"/>
                    </a:lnTo>
                    <a:lnTo>
                      <a:pt x="4480" y="6214"/>
                    </a:lnTo>
                    <a:lnTo>
                      <a:pt x="4478" y="6216"/>
                    </a:lnTo>
                    <a:lnTo>
                      <a:pt x="4474" y="6217"/>
                    </a:lnTo>
                    <a:lnTo>
                      <a:pt x="4469" y="6217"/>
                    </a:lnTo>
                    <a:lnTo>
                      <a:pt x="4463" y="6217"/>
                    </a:lnTo>
                    <a:lnTo>
                      <a:pt x="4449" y="6217"/>
                    </a:lnTo>
                    <a:lnTo>
                      <a:pt x="4434" y="6217"/>
                    </a:lnTo>
                    <a:lnTo>
                      <a:pt x="4419" y="6218"/>
                    </a:lnTo>
                    <a:lnTo>
                      <a:pt x="4406" y="6220"/>
                    </a:lnTo>
                    <a:lnTo>
                      <a:pt x="4399" y="6225"/>
                    </a:lnTo>
                    <a:lnTo>
                      <a:pt x="4393" y="6231"/>
                    </a:lnTo>
                    <a:lnTo>
                      <a:pt x="4391" y="6232"/>
                    </a:lnTo>
                    <a:lnTo>
                      <a:pt x="4389" y="6232"/>
                    </a:lnTo>
                    <a:lnTo>
                      <a:pt x="4386" y="6231"/>
                    </a:lnTo>
                    <a:lnTo>
                      <a:pt x="4383" y="6226"/>
                    </a:lnTo>
                    <a:lnTo>
                      <a:pt x="4381" y="6222"/>
                    </a:lnTo>
                    <a:lnTo>
                      <a:pt x="4381" y="6216"/>
                    </a:lnTo>
                    <a:lnTo>
                      <a:pt x="4384" y="6210"/>
                    </a:lnTo>
                    <a:lnTo>
                      <a:pt x="4387" y="6204"/>
                    </a:lnTo>
                    <a:lnTo>
                      <a:pt x="4394" y="6193"/>
                    </a:lnTo>
                    <a:lnTo>
                      <a:pt x="4402" y="6185"/>
                    </a:lnTo>
                    <a:lnTo>
                      <a:pt x="4406" y="6176"/>
                    </a:lnTo>
                    <a:lnTo>
                      <a:pt x="4410" y="6168"/>
                    </a:lnTo>
                    <a:lnTo>
                      <a:pt x="4411" y="6164"/>
                    </a:lnTo>
                    <a:lnTo>
                      <a:pt x="4411" y="6161"/>
                    </a:lnTo>
                    <a:lnTo>
                      <a:pt x="4410" y="6157"/>
                    </a:lnTo>
                    <a:lnTo>
                      <a:pt x="4409" y="6155"/>
                    </a:lnTo>
                    <a:lnTo>
                      <a:pt x="4405" y="6154"/>
                    </a:lnTo>
                    <a:lnTo>
                      <a:pt x="4402" y="6153"/>
                    </a:lnTo>
                    <a:lnTo>
                      <a:pt x="4397" y="6153"/>
                    </a:lnTo>
                    <a:lnTo>
                      <a:pt x="4391" y="6154"/>
                    </a:lnTo>
                    <a:lnTo>
                      <a:pt x="4378" y="6156"/>
                    </a:lnTo>
                    <a:lnTo>
                      <a:pt x="4364" y="6162"/>
                    </a:lnTo>
                    <a:lnTo>
                      <a:pt x="4347" y="6169"/>
                    </a:lnTo>
                    <a:lnTo>
                      <a:pt x="4330" y="6176"/>
                    </a:lnTo>
                    <a:lnTo>
                      <a:pt x="4322" y="6182"/>
                    </a:lnTo>
                    <a:lnTo>
                      <a:pt x="4315" y="6188"/>
                    </a:lnTo>
                    <a:lnTo>
                      <a:pt x="4307" y="6195"/>
                    </a:lnTo>
                    <a:lnTo>
                      <a:pt x="4301" y="6203"/>
                    </a:lnTo>
                    <a:lnTo>
                      <a:pt x="4290" y="6220"/>
                    </a:lnTo>
                    <a:lnTo>
                      <a:pt x="4280" y="6236"/>
                    </a:lnTo>
                    <a:lnTo>
                      <a:pt x="4273" y="6252"/>
                    </a:lnTo>
                    <a:lnTo>
                      <a:pt x="4266" y="6268"/>
                    </a:lnTo>
                    <a:lnTo>
                      <a:pt x="4264" y="6275"/>
                    </a:lnTo>
                    <a:lnTo>
                      <a:pt x="4260" y="6281"/>
                    </a:lnTo>
                    <a:lnTo>
                      <a:pt x="4255" y="6286"/>
                    </a:lnTo>
                    <a:lnTo>
                      <a:pt x="4252" y="6289"/>
                    </a:lnTo>
                    <a:lnTo>
                      <a:pt x="4248" y="6290"/>
                    </a:lnTo>
                    <a:lnTo>
                      <a:pt x="4244" y="6292"/>
                    </a:lnTo>
                    <a:lnTo>
                      <a:pt x="4240" y="6292"/>
                    </a:lnTo>
                    <a:lnTo>
                      <a:pt x="4236" y="6290"/>
                    </a:lnTo>
                    <a:lnTo>
                      <a:pt x="4233" y="6288"/>
                    </a:lnTo>
                    <a:lnTo>
                      <a:pt x="4229" y="6285"/>
                    </a:lnTo>
                    <a:lnTo>
                      <a:pt x="4226" y="6280"/>
                    </a:lnTo>
                    <a:lnTo>
                      <a:pt x="4222" y="6274"/>
                    </a:lnTo>
                    <a:lnTo>
                      <a:pt x="4215" y="6262"/>
                    </a:lnTo>
                    <a:lnTo>
                      <a:pt x="4209" y="6251"/>
                    </a:lnTo>
                    <a:lnTo>
                      <a:pt x="4207" y="6248"/>
                    </a:lnTo>
                    <a:lnTo>
                      <a:pt x="4202" y="6245"/>
                    </a:lnTo>
                    <a:lnTo>
                      <a:pt x="4196" y="6243"/>
                    </a:lnTo>
                    <a:lnTo>
                      <a:pt x="4191" y="6243"/>
                    </a:lnTo>
                    <a:lnTo>
                      <a:pt x="4185" y="6243"/>
                    </a:lnTo>
                    <a:lnTo>
                      <a:pt x="4181" y="6245"/>
                    </a:lnTo>
                    <a:lnTo>
                      <a:pt x="4176" y="6249"/>
                    </a:lnTo>
                    <a:lnTo>
                      <a:pt x="4172" y="6255"/>
                    </a:lnTo>
                    <a:lnTo>
                      <a:pt x="4170" y="6260"/>
                    </a:lnTo>
                    <a:lnTo>
                      <a:pt x="4166" y="6263"/>
                    </a:lnTo>
                    <a:lnTo>
                      <a:pt x="4164" y="6267"/>
                    </a:lnTo>
                    <a:lnTo>
                      <a:pt x="4162" y="6268"/>
                    </a:lnTo>
                    <a:lnTo>
                      <a:pt x="4158" y="6269"/>
                    </a:lnTo>
                    <a:lnTo>
                      <a:pt x="4156" y="6269"/>
                    </a:lnTo>
                    <a:lnTo>
                      <a:pt x="4152" y="6268"/>
                    </a:lnTo>
                    <a:lnTo>
                      <a:pt x="4148" y="6266"/>
                    </a:lnTo>
                    <a:lnTo>
                      <a:pt x="4140" y="6257"/>
                    </a:lnTo>
                    <a:lnTo>
                      <a:pt x="4132" y="6246"/>
                    </a:lnTo>
                    <a:lnTo>
                      <a:pt x="4122" y="6232"/>
                    </a:lnTo>
                    <a:lnTo>
                      <a:pt x="4114" y="6218"/>
                    </a:lnTo>
                    <a:lnTo>
                      <a:pt x="4108" y="6212"/>
                    </a:lnTo>
                    <a:lnTo>
                      <a:pt x="4103" y="6208"/>
                    </a:lnTo>
                    <a:lnTo>
                      <a:pt x="4097" y="6206"/>
                    </a:lnTo>
                    <a:lnTo>
                      <a:pt x="4089" y="6206"/>
                    </a:lnTo>
                    <a:lnTo>
                      <a:pt x="4077" y="6206"/>
                    </a:lnTo>
                    <a:lnTo>
                      <a:pt x="4070" y="6207"/>
                    </a:lnTo>
                    <a:lnTo>
                      <a:pt x="4069" y="6208"/>
                    </a:lnTo>
                    <a:lnTo>
                      <a:pt x="4068" y="6211"/>
                    </a:lnTo>
                    <a:lnTo>
                      <a:pt x="4069" y="6213"/>
                    </a:lnTo>
                    <a:lnTo>
                      <a:pt x="4071" y="6218"/>
                    </a:lnTo>
                    <a:lnTo>
                      <a:pt x="4076" y="6226"/>
                    </a:lnTo>
                    <a:lnTo>
                      <a:pt x="4081" y="6235"/>
                    </a:lnTo>
                    <a:lnTo>
                      <a:pt x="4085" y="6244"/>
                    </a:lnTo>
                    <a:lnTo>
                      <a:pt x="4091" y="6255"/>
                    </a:lnTo>
                    <a:lnTo>
                      <a:pt x="4097" y="6267"/>
                    </a:lnTo>
                    <a:lnTo>
                      <a:pt x="4101" y="6275"/>
                    </a:lnTo>
                    <a:lnTo>
                      <a:pt x="4101" y="6279"/>
                    </a:lnTo>
                    <a:lnTo>
                      <a:pt x="4099" y="6282"/>
                    </a:lnTo>
                    <a:lnTo>
                      <a:pt x="4095" y="6286"/>
                    </a:lnTo>
                    <a:lnTo>
                      <a:pt x="4090" y="6290"/>
                    </a:lnTo>
                    <a:lnTo>
                      <a:pt x="4081" y="6295"/>
                    </a:lnTo>
                    <a:lnTo>
                      <a:pt x="4072" y="6300"/>
                    </a:lnTo>
                    <a:lnTo>
                      <a:pt x="4064" y="6304"/>
                    </a:lnTo>
                    <a:lnTo>
                      <a:pt x="4058" y="6305"/>
                    </a:lnTo>
                    <a:lnTo>
                      <a:pt x="4052" y="6305"/>
                    </a:lnTo>
                    <a:lnTo>
                      <a:pt x="4045" y="6305"/>
                    </a:lnTo>
                    <a:lnTo>
                      <a:pt x="4038" y="6306"/>
                    </a:lnTo>
                    <a:lnTo>
                      <a:pt x="4027" y="6311"/>
                    </a:lnTo>
                    <a:lnTo>
                      <a:pt x="4021" y="6313"/>
                    </a:lnTo>
                    <a:lnTo>
                      <a:pt x="4015" y="6318"/>
                    </a:lnTo>
                    <a:lnTo>
                      <a:pt x="4009" y="6324"/>
                    </a:lnTo>
                    <a:lnTo>
                      <a:pt x="4003" y="6330"/>
                    </a:lnTo>
                    <a:lnTo>
                      <a:pt x="3994" y="6343"/>
                    </a:lnTo>
                    <a:lnTo>
                      <a:pt x="3986" y="6353"/>
                    </a:lnTo>
                    <a:lnTo>
                      <a:pt x="3981" y="6357"/>
                    </a:lnTo>
                    <a:lnTo>
                      <a:pt x="3977" y="6361"/>
                    </a:lnTo>
                    <a:lnTo>
                      <a:pt x="3971" y="6363"/>
                    </a:lnTo>
                    <a:lnTo>
                      <a:pt x="3967" y="6365"/>
                    </a:lnTo>
                    <a:lnTo>
                      <a:pt x="3956" y="6368"/>
                    </a:lnTo>
                    <a:lnTo>
                      <a:pt x="3945" y="6370"/>
                    </a:lnTo>
                    <a:lnTo>
                      <a:pt x="3940" y="6372"/>
                    </a:lnTo>
                    <a:lnTo>
                      <a:pt x="3938" y="6376"/>
                    </a:lnTo>
                    <a:lnTo>
                      <a:pt x="3936" y="6382"/>
                    </a:lnTo>
                    <a:lnTo>
                      <a:pt x="3934" y="6388"/>
                    </a:lnTo>
                    <a:lnTo>
                      <a:pt x="3934" y="6402"/>
                    </a:lnTo>
                    <a:lnTo>
                      <a:pt x="3934" y="6416"/>
                    </a:lnTo>
                    <a:lnTo>
                      <a:pt x="3934" y="6427"/>
                    </a:lnTo>
                    <a:lnTo>
                      <a:pt x="3934" y="6433"/>
                    </a:lnTo>
                    <a:lnTo>
                      <a:pt x="3931" y="6437"/>
                    </a:lnTo>
                    <a:lnTo>
                      <a:pt x="3925" y="6440"/>
                    </a:lnTo>
                    <a:lnTo>
                      <a:pt x="3918" y="6446"/>
                    </a:lnTo>
                    <a:lnTo>
                      <a:pt x="3912" y="6453"/>
                    </a:lnTo>
                    <a:lnTo>
                      <a:pt x="3907" y="6462"/>
                    </a:lnTo>
                    <a:lnTo>
                      <a:pt x="3904" y="6470"/>
                    </a:lnTo>
                    <a:lnTo>
                      <a:pt x="3902" y="6474"/>
                    </a:lnTo>
                    <a:lnTo>
                      <a:pt x="3900" y="6476"/>
                    </a:lnTo>
                    <a:lnTo>
                      <a:pt x="3898" y="6478"/>
                    </a:lnTo>
                    <a:lnTo>
                      <a:pt x="3895" y="6481"/>
                    </a:lnTo>
                    <a:lnTo>
                      <a:pt x="3886" y="6482"/>
                    </a:lnTo>
                    <a:lnTo>
                      <a:pt x="3873" y="6483"/>
                    </a:lnTo>
                    <a:lnTo>
                      <a:pt x="3867" y="6483"/>
                    </a:lnTo>
                    <a:lnTo>
                      <a:pt x="3861" y="6484"/>
                    </a:lnTo>
                    <a:lnTo>
                      <a:pt x="3857" y="6487"/>
                    </a:lnTo>
                    <a:lnTo>
                      <a:pt x="3855" y="6489"/>
                    </a:lnTo>
                    <a:lnTo>
                      <a:pt x="3851" y="6496"/>
                    </a:lnTo>
                    <a:lnTo>
                      <a:pt x="3848" y="6506"/>
                    </a:lnTo>
                    <a:lnTo>
                      <a:pt x="3846" y="6512"/>
                    </a:lnTo>
                    <a:lnTo>
                      <a:pt x="3844" y="6515"/>
                    </a:lnTo>
                    <a:lnTo>
                      <a:pt x="3842" y="6519"/>
                    </a:lnTo>
                    <a:lnTo>
                      <a:pt x="3839" y="6521"/>
                    </a:lnTo>
                    <a:lnTo>
                      <a:pt x="3833" y="6525"/>
                    </a:lnTo>
                    <a:lnTo>
                      <a:pt x="3826" y="6527"/>
                    </a:lnTo>
                    <a:lnTo>
                      <a:pt x="3823" y="6528"/>
                    </a:lnTo>
                    <a:lnTo>
                      <a:pt x="3820" y="6531"/>
                    </a:lnTo>
                    <a:lnTo>
                      <a:pt x="3819" y="6534"/>
                    </a:lnTo>
                    <a:lnTo>
                      <a:pt x="3819" y="6539"/>
                    </a:lnTo>
                    <a:lnTo>
                      <a:pt x="3820" y="6548"/>
                    </a:lnTo>
                    <a:lnTo>
                      <a:pt x="3820" y="6557"/>
                    </a:lnTo>
                    <a:lnTo>
                      <a:pt x="3820" y="6561"/>
                    </a:lnTo>
                    <a:lnTo>
                      <a:pt x="3818" y="6564"/>
                    </a:lnTo>
                    <a:lnTo>
                      <a:pt x="3814" y="6567"/>
                    </a:lnTo>
                    <a:lnTo>
                      <a:pt x="3811" y="6571"/>
                    </a:lnTo>
                    <a:lnTo>
                      <a:pt x="3799" y="6577"/>
                    </a:lnTo>
                    <a:lnTo>
                      <a:pt x="3783" y="6585"/>
                    </a:lnTo>
                    <a:lnTo>
                      <a:pt x="3769" y="6592"/>
                    </a:lnTo>
                    <a:lnTo>
                      <a:pt x="3760" y="6598"/>
                    </a:lnTo>
                    <a:lnTo>
                      <a:pt x="3756" y="6602"/>
                    </a:lnTo>
                    <a:lnTo>
                      <a:pt x="3754" y="6605"/>
                    </a:lnTo>
                    <a:lnTo>
                      <a:pt x="3751" y="6609"/>
                    </a:lnTo>
                    <a:lnTo>
                      <a:pt x="3749" y="6614"/>
                    </a:lnTo>
                    <a:lnTo>
                      <a:pt x="3742" y="6626"/>
                    </a:lnTo>
                    <a:lnTo>
                      <a:pt x="3734" y="6636"/>
                    </a:lnTo>
                    <a:lnTo>
                      <a:pt x="3725" y="6647"/>
                    </a:lnTo>
                    <a:lnTo>
                      <a:pt x="3719" y="6658"/>
                    </a:lnTo>
                    <a:lnTo>
                      <a:pt x="3717" y="6662"/>
                    </a:lnTo>
                    <a:lnTo>
                      <a:pt x="3715" y="6666"/>
                    </a:lnTo>
                    <a:lnTo>
                      <a:pt x="3712" y="6668"/>
                    </a:lnTo>
                    <a:lnTo>
                      <a:pt x="3710" y="6670"/>
                    </a:lnTo>
                    <a:lnTo>
                      <a:pt x="3704" y="6671"/>
                    </a:lnTo>
                    <a:lnTo>
                      <a:pt x="3696" y="6672"/>
                    </a:lnTo>
                    <a:lnTo>
                      <a:pt x="3692" y="6673"/>
                    </a:lnTo>
                    <a:lnTo>
                      <a:pt x="3690" y="6676"/>
                    </a:lnTo>
                    <a:lnTo>
                      <a:pt x="3688" y="6679"/>
                    </a:lnTo>
                    <a:lnTo>
                      <a:pt x="3687" y="6683"/>
                    </a:lnTo>
                    <a:lnTo>
                      <a:pt x="3687" y="6692"/>
                    </a:lnTo>
                    <a:lnTo>
                      <a:pt x="3687" y="6704"/>
                    </a:lnTo>
                    <a:lnTo>
                      <a:pt x="3687" y="6710"/>
                    </a:lnTo>
                    <a:lnTo>
                      <a:pt x="3686" y="6715"/>
                    </a:lnTo>
                    <a:lnTo>
                      <a:pt x="3685" y="6718"/>
                    </a:lnTo>
                    <a:lnTo>
                      <a:pt x="3684" y="6722"/>
                    </a:lnTo>
                    <a:lnTo>
                      <a:pt x="3679" y="6729"/>
                    </a:lnTo>
                    <a:lnTo>
                      <a:pt x="3675" y="6737"/>
                    </a:lnTo>
                    <a:lnTo>
                      <a:pt x="3674" y="6743"/>
                    </a:lnTo>
                    <a:lnTo>
                      <a:pt x="3675" y="6749"/>
                    </a:lnTo>
                    <a:lnTo>
                      <a:pt x="3679" y="6755"/>
                    </a:lnTo>
                    <a:lnTo>
                      <a:pt x="3684" y="6761"/>
                    </a:lnTo>
                    <a:lnTo>
                      <a:pt x="3688" y="6767"/>
                    </a:lnTo>
                    <a:lnTo>
                      <a:pt x="3694" y="6772"/>
                    </a:lnTo>
                    <a:lnTo>
                      <a:pt x="3700" y="6775"/>
                    </a:lnTo>
                    <a:lnTo>
                      <a:pt x="3706" y="6779"/>
                    </a:lnTo>
                    <a:lnTo>
                      <a:pt x="3715" y="6784"/>
                    </a:lnTo>
                    <a:lnTo>
                      <a:pt x="3720" y="6788"/>
                    </a:lnTo>
                    <a:lnTo>
                      <a:pt x="3723" y="6792"/>
                    </a:lnTo>
                    <a:lnTo>
                      <a:pt x="3724" y="6796"/>
                    </a:lnTo>
                    <a:lnTo>
                      <a:pt x="3724" y="6800"/>
                    </a:lnTo>
                    <a:lnTo>
                      <a:pt x="3724" y="6805"/>
                    </a:lnTo>
                    <a:lnTo>
                      <a:pt x="3720" y="6818"/>
                    </a:lnTo>
                    <a:lnTo>
                      <a:pt x="3717" y="6832"/>
                    </a:lnTo>
                    <a:lnTo>
                      <a:pt x="3712" y="6848"/>
                    </a:lnTo>
                    <a:lnTo>
                      <a:pt x="3705" y="6861"/>
                    </a:lnTo>
                    <a:lnTo>
                      <a:pt x="3699" y="6872"/>
                    </a:lnTo>
                    <a:lnTo>
                      <a:pt x="3694" y="6878"/>
                    </a:lnTo>
                    <a:lnTo>
                      <a:pt x="3692" y="6879"/>
                    </a:lnTo>
                    <a:lnTo>
                      <a:pt x="3688" y="6879"/>
                    </a:lnTo>
                    <a:lnTo>
                      <a:pt x="3686" y="6878"/>
                    </a:lnTo>
                    <a:lnTo>
                      <a:pt x="3684" y="6876"/>
                    </a:lnTo>
                    <a:lnTo>
                      <a:pt x="3671" y="6861"/>
                    </a:lnTo>
                    <a:lnTo>
                      <a:pt x="3656" y="6842"/>
                    </a:lnTo>
                    <a:lnTo>
                      <a:pt x="3654" y="6840"/>
                    </a:lnTo>
                    <a:lnTo>
                      <a:pt x="3650" y="6837"/>
                    </a:lnTo>
                    <a:lnTo>
                      <a:pt x="3647" y="6838"/>
                    </a:lnTo>
                    <a:lnTo>
                      <a:pt x="3643" y="6840"/>
                    </a:lnTo>
                    <a:lnTo>
                      <a:pt x="3640" y="6843"/>
                    </a:lnTo>
                    <a:lnTo>
                      <a:pt x="3637" y="6848"/>
                    </a:lnTo>
                    <a:lnTo>
                      <a:pt x="3634" y="6854"/>
                    </a:lnTo>
                    <a:lnTo>
                      <a:pt x="3633" y="6861"/>
                    </a:lnTo>
                    <a:lnTo>
                      <a:pt x="3630" y="6878"/>
                    </a:lnTo>
                    <a:lnTo>
                      <a:pt x="3630" y="6897"/>
                    </a:lnTo>
                    <a:lnTo>
                      <a:pt x="3631" y="6913"/>
                    </a:lnTo>
                    <a:lnTo>
                      <a:pt x="3631" y="6926"/>
                    </a:lnTo>
                    <a:lnTo>
                      <a:pt x="3633" y="6939"/>
                    </a:lnTo>
                    <a:lnTo>
                      <a:pt x="3634" y="6954"/>
                    </a:lnTo>
                    <a:lnTo>
                      <a:pt x="3634" y="6961"/>
                    </a:lnTo>
                    <a:lnTo>
                      <a:pt x="3633" y="6968"/>
                    </a:lnTo>
                    <a:lnTo>
                      <a:pt x="3630" y="6973"/>
                    </a:lnTo>
                    <a:lnTo>
                      <a:pt x="3627" y="6976"/>
                    </a:lnTo>
                    <a:lnTo>
                      <a:pt x="3621" y="6980"/>
                    </a:lnTo>
                    <a:lnTo>
                      <a:pt x="3616" y="6981"/>
                    </a:lnTo>
                    <a:lnTo>
                      <a:pt x="3609" y="6983"/>
                    </a:lnTo>
                    <a:lnTo>
                      <a:pt x="3602" y="6985"/>
                    </a:lnTo>
                    <a:lnTo>
                      <a:pt x="3586" y="6985"/>
                    </a:lnTo>
                    <a:lnTo>
                      <a:pt x="3566" y="6985"/>
                    </a:lnTo>
                    <a:lnTo>
                      <a:pt x="3547" y="6985"/>
                    </a:lnTo>
                    <a:lnTo>
                      <a:pt x="3531" y="6986"/>
                    </a:lnTo>
                    <a:lnTo>
                      <a:pt x="3517" y="6988"/>
                    </a:lnTo>
                    <a:lnTo>
                      <a:pt x="3502" y="6989"/>
                    </a:lnTo>
                    <a:lnTo>
                      <a:pt x="3485" y="6991"/>
                    </a:lnTo>
                    <a:lnTo>
                      <a:pt x="3470" y="6992"/>
                    </a:lnTo>
                    <a:lnTo>
                      <a:pt x="3455" y="6994"/>
                    </a:lnTo>
                    <a:lnTo>
                      <a:pt x="3445" y="6998"/>
                    </a:lnTo>
                    <a:lnTo>
                      <a:pt x="3433" y="7002"/>
                    </a:lnTo>
                    <a:lnTo>
                      <a:pt x="3420" y="7006"/>
                    </a:lnTo>
                    <a:lnTo>
                      <a:pt x="3413" y="7007"/>
                    </a:lnTo>
                    <a:lnTo>
                      <a:pt x="3405" y="7007"/>
                    </a:lnTo>
                    <a:lnTo>
                      <a:pt x="3400" y="7007"/>
                    </a:lnTo>
                    <a:lnTo>
                      <a:pt x="3392" y="7005"/>
                    </a:lnTo>
                    <a:lnTo>
                      <a:pt x="3388" y="7002"/>
                    </a:lnTo>
                    <a:lnTo>
                      <a:pt x="3383" y="7000"/>
                    </a:lnTo>
                    <a:lnTo>
                      <a:pt x="3379" y="6995"/>
                    </a:lnTo>
                    <a:lnTo>
                      <a:pt x="3376" y="6992"/>
                    </a:lnTo>
                    <a:lnTo>
                      <a:pt x="3372" y="6979"/>
                    </a:lnTo>
                    <a:lnTo>
                      <a:pt x="3369" y="6963"/>
                    </a:lnTo>
                    <a:lnTo>
                      <a:pt x="3365" y="6947"/>
                    </a:lnTo>
                    <a:lnTo>
                      <a:pt x="3360" y="6935"/>
                    </a:lnTo>
                    <a:lnTo>
                      <a:pt x="3358" y="6930"/>
                    </a:lnTo>
                    <a:lnTo>
                      <a:pt x="3353" y="6925"/>
                    </a:lnTo>
                    <a:lnTo>
                      <a:pt x="3348" y="6922"/>
                    </a:lnTo>
                    <a:lnTo>
                      <a:pt x="3341" y="6917"/>
                    </a:lnTo>
                    <a:lnTo>
                      <a:pt x="3333" y="6912"/>
                    </a:lnTo>
                    <a:lnTo>
                      <a:pt x="3322" y="6909"/>
                    </a:lnTo>
                    <a:lnTo>
                      <a:pt x="3312" y="6906"/>
                    </a:lnTo>
                    <a:lnTo>
                      <a:pt x="3301" y="6903"/>
                    </a:lnTo>
                    <a:lnTo>
                      <a:pt x="3281" y="6899"/>
                    </a:lnTo>
                    <a:lnTo>
                      <a:pt x="3266" y="6897"/>
                    </a:lnTo>
                    <a:lnTo>
                      <a:pt x="3257" y="6893"/>
                    </a:lnTo>
                    <a:lnTo>
                      <a:pt x="3247" y="6891"/>
                    </a:lnTo>
                    <a:lnTo>
                      <a:pt x="3238" y="6887"/>
                    </a:lnTo>
                    <a:lnTo>
                      <a:pt x="3228" y="6882"/>
                    </a:lnTo>
                    <a:lnTo>
                      <a:pt x="3218" y="6876"/>
                    </a:lnTo>
                    <a:lnTo>
                      <a:pt x="3208" y="6871"/>
                    </a:lnTo>
                    <a:lnTo>
                      <a:pt x="3200" y="6865"/>
                    </a:lnTo>
                    <a:lnTo>
                      <a:pt x="3193" y="6859"/>
                    </a:lnTo>
                    <a:lnTo>
                      <a:pt x="3187" y="6848"/>
                    </a:lnTo>
                    <a:lnTo>
                      <a:pt x="3182" y="6836"/>
                    </a:lnTo>
                    <a:lnTo>
                      <a:pt x="3177" y="6824"/>
                    </a:lnTo>
                    <a:lnTo>
                      <a:pt x="3171" y="6813"/>
                    </a:lnTo>
                    <a:lnTo>
                      <a:pt x="3162" y="6805"/>
                    </a:lnTo>
                    <a:lnTo>
                      <a:pt x="3148" y="6793"/>
                    </a:lnTo>
                    <a:lnTo>
                      <a:pt x="3139" y="6788"/>
                    </a:lnTo>
                    <a:lnTo>
                      <a:pt x="3130" y="6783"/>
                    </a:lnTo>
                    <a:lnTo>
                      <a:pt x="3119" y="6779"/>
                    </a:lnTo>
                    <a:lnTo>
                      <a:pt x="3108" y="6775"/>
                    </a:lnTo>
                    <a:lnTo>
                      <a:pt x="3107" y="6775"/>
                    </a:lnTo>
                    <a:lnTo>
                      <a:pt x="3105" y="6775"/>
                    </a:lnTo>
                    <a:lnTo>
                      <a:pt x="3096" y="6774"/>
                    </a:lnTo>
                    <a:lnTo>
                      <a:pt x="3088" y="6774"/>
                    </a:lnTo>
                    <a:lnTo>
                      <a:pt x="3080" y="6774"/>
                    </a:lnTo>
                    <a:lnTo>
                      <a:pt x="3071" y="6775"/>
                    </a:lnTo>
                    <a:lnTo>
                      <a:pt x="3064" y="6777"/>
                    </a:lnTo>
                    <a:lnTo>
                      <a:pt x="3057" y="6778"/>
                    </a:lnTo>
                    <a:lnTo>
                      <a:pt x="3048" y="6779"/>
                    </a:lnTo>
                    <a:lnTo>
                      <a:pt x="3038" y="6780"/>
                    </a:lnTo>
                    <a:lnTo>
                      <a:pt x="3033" y="6780"/>
                    </a:lnTo>
                    <a:lnTo>
                      <a:pt x="3029" y="6780"/>
                    </a:lnTo>
                    <a:lnTo>
                      <a:pt x="3026" y="6780"/>
                    </a:lnTo>
                    <a:lnTo>
                      <a:pt x="3024" y="6779"/>
                    </a:lnTo>
                    <a:lnTo>
                      <a:pt x="3018" y="6778"/>
                    </a:lnTo>
                    <a:lnTo>
                      <a:pt x="3012" y="6774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陕西"/>
              <p:cNvSpPr/>
              <p:nvPr>
                <p:custDataLst>
                  <p:tags r:id="rId37"/>
                </p:custDataLst>
              </p:nvPr>
            </p:nvSpPr>
            <p:spPr bwMode="auto">
              <a:xfrm>
                <a:off x="4349813" y="2908736"/>
                <a:ext cx="736700" cy="1276069"/>
              </a:xfrm>
              <a:custGeom>
                <a:avLst/>
                <a:gdLst>
                  <a:gd name="T0" fmla="*/ 546 w 2030"/>
                  <a:gd name="T1" fmla="*/ 3014 h 3463"/>
                  <a:gd name="T2" fmla="*/ 423 w 2030"/>
                  <a:gd name="T3" fmla="*/ 2992 h 3463"/>
                  <a:gd name="T4" fmla="*/ 284 w 2030"/>
                  <a:gd name="T5" fmla="*/ 3007 h 3463"/>
                  <a:gd name="T6" fmla="*/ 215 w 2030"/>
                  <a:gd name="T7" fmla="*/ 2929 h 3463"/>
                  <a:gd name="T8" fmla="*/ 70 w 2030"/>
                  <a:gd name="T9" fmla="*/ 2972 h 3463"/>
                  <a:gd name="T10" fmla="*/ 0 w 2030"/>
                  <a:gd name="T11" fmla="*/ 2900 h 3463"/>
                  <a:gd name="T12" fmla="*/ 145 w 2030"/>
                  <a:gd name="T13" fmla="*/ 2878 h 3463"/>
                  <a:gd name="T14" fmla="*/ 179 w 2030"/>
                  <a:gd name="T15" fmla="*/ 2805 h 3463"/>
                  <a:gd name="T16" fmla="*/ 91 w 2030"/>
                  <a:gd name="T17" fmla="*/ 2700 h 3463"/>
                  <a:gd name="T18" fmla="*/ 206 w 2030"/>
                  <a:gd name="T19" fmla="*/ 2597 h 3463"/>
                  <a:gd name="T20" fmla="*/ 348 w 2030"/>
                  <a:gd name="T21" fmla="*/ 2604 h 3463"/>
                  <a:gd name="T22" fmla="*/ 372 w 2030"/>
                  <a:gd name="T23" fmla="*/ 2550 h 3463"/>
                  <a:gd name="T24" fmla="*/ 377 w 2030"/>
                  <a:gd name="T25" fmla="*/ 2410 h 3463"/>
                  <a:gd name="T26" fmla="*/ 454 w 2030"/>
                  <a:gd name="T27" fmla="*/ 2271 h 3463"/>
                  <a:gd name="T28" fmla="*/ 361 w 2030"/>
                  <a:gd name="T29" fmla="*/ 2139 h 3463"/>
                  <a:gd name="T30" fmla="*/ 418 w 2030"/>
                  <a:gd name="T31" fmla="*/ 1958 h 3463"/>
                  <a:gd name="T32" fmla="*/ 657 w 2030"/>
                  <a:gd name="T33" fmla="*/ 2036 h 3463"/>
                  <a:gd name="T34" fmla="*/ 853 w 2030"/>
                  <a:gd name="T35" fmla="*/ 2004 h 3463"/>
                  <a:gd name="T36" fmla="*/ 820 w 2030"/>
                  <a:gd name="T37" fmla="*/ 1880 h 3463"/>
                  <a:gd name="T38" fmla="*/ 976 w 2030"/>
                  <a:gd name="T39" fmla="*/ 1868 h 3463"/>
                  <a:gd name="T40" fmla="*/ 1116 w 2030"/>
                  <a:gd name="T41" fmla="*/ 1747 h 3463"/>
                  <a:gd name="T42" fmla="*/ 1154 w 2030"/>
                  <a:gd name="T43" fmla="*/ 1479 h 3463"/>
                  <a:gd name="T44" fmla="*/ 1051 w 2030"/>
                  <a:gd name="T45" fmla="*/ 1337 h 3463"/>
                  <a:gd name="T46" fmla="*/ 928 w 2030"/>
                  <a:gd name="T47" fmla="*/ 1264 h 3463"/>
                  <a:gd name="T48" fmla="*/ 774 w 2030"/>
                  <a:gd name="T49" fmla="*/ 1188 h 3463"/>
                  <a:gd name="T50" fmla="*/ 688 w 2030"/>
                  <a:gd name="T51" fmla="*/ 1069 h 3463"/>
                  <a:gd name="T52" fmla="*/ 699 w 2030"/>
                  <a:gd name="T53" fmla="*/ 1004 h 3463"/>
                  <a:gd name="T54" fmla="*/ 716 w 2030"/>
                  <a:gd name="T55" fmla="*/ 842 h 3463"/>
                  <a:gd name="T56" fmla="*/ 855 w 2030"/>
                  <a:gd name="T57" fmla="*/ 746 h 3463"/>
                  <a:gd name="T58" fmla="*/ 1091 w 2030"/>
                  <a:gd name="T59" fmla="*/ 835 h 3463"/>
                  <a:gd name="T60" fmla="*/ 1245 w 2030"/>
                  <a:gd name="T61" fmla="*/ 708 h 3463"/>
                  <a:gd name="T62" fmla="*/ 1259 w 2030"/>
                  <a:gd name="T63" fmla="*/ 565 h 3463"/>
                  <a:gd name="T64" fmla="*/ 1388 w 2030"/>
                  <a:gd name="T65" fmla="*/ 414 h 3463"/>
                  <a:gd name="T66" fmla="*/ 1481 w 2030"/>
                  <a:gd name="T67" fmla="*/ 309 h 3463"/>
                  <a:gd name="T68" fmla="*/ 1626 w 2030"/>
                  <a:gd name="T69" fmla="*/ 152 h 3463"/>
                  <a:gd name="T70" fmla="*/ 1714 w 2030"/>
                  <a:gd name="T71" fmla="*/ 104 h 3463"/>
                  <a:gd name="T72" fmla="*/ 1829 w 2030"/>
                  <a:gd name="T73" fmla="*/ 133 h 3463"/>
                  <a:gd name="T74" fmla="*/ 1958 w 2030"/>
                  <a:gd name="T75" fmla="*/ 58 h 3463"/>
                  <a:gd name="T76" fmla="*/ 2003 w 2030"/>
                  <a:gd name="T77" fmla="*/ 139 h 3463"/>
                  <a:gd name="T78" fmla="*/ 1927 w 2030"/>
                  <a:gd name="T79" fmla="*/ 338 h 3463"/>
                  <a:gd name="T80" fmla="*/ 1818 w 2030"/>
                  <a:gd name="T81" fmla="*/ 561 h 3463"/>
                  <a:gd name="T82" fmla="*/ 1806 w 2030"/>
                  <a:gd name="T83" fmla="*/ 739 h 3463"/>
                  <a:gd name="T84" fmla="*/ 1870 w 2030"/>
                  <a:gd name="T85" fmla="*/ 904 h 3463"/>
                  <a:gd name="T86" fmla="*/ 1751 w 2030"/>
                  <a:gd name="T87" fmla="*/ 1118 h 3463"/>
                  <a:gd name="T88" fmla="*/ 1760 w 2030"/>
                  <a:gd name="T89" fmla="*/ 1268 h 3463"/>
                  <a:gd name="T90" fmla="*/ 1765 w 2030"/>
                  <a:gd name="T91" fmla="*/ 1534 h 3463"/>
                  <a:gd name="T92" fmla="*/ 1736 w 2030"/>
                  <a:gd name="T93" fmla="*/ 1900 h 3463"/>
                  <a:gd name="T94" fmla="*/ 1749 w 2030"/>
                  <a:gd name="T95" fmla="*/ 2190 h 3463"/>
                  <a:gd name="T96" fmla="*/ 1778 w 2030"/>
                  <a:gd name="T97" fmla="*/ 2351 h 3463"/>
                  <a:gd name="T98" fmla="*/ 1826 w 2030"/>
                  <a:gd name="T99" fmla="*/ 2492 h 3463"/>
                  <a:gd name="T100" fmla="*/ 1974 w 2030"/>
                  <a:gd name="T101" fmla="*/ 2680 h 3463"/>
                  <a:gd name="T102" fmla="*/ 1847 w 2030"/>
                  <a:gd name="T103" fmla="*/ 2834 h 3463"/>
                  <a:gd name="T104" fmla="*/ 1703 w 2030"/>
                  <a:gd name="T105" fmla="*/ 2818 h 3463"/>
                  <a:gd name="T106" fmla="*/ 1454 w 2030"/>
                  <a:gd name="T107" fmla="*/ 2790 h 3463"/>
                  <a:gd name="T108" fmla="*/ 1522 w 2030"/>
                  <a:gd name="T109" fmla="*/ 2884 h 3463"/>
                  <a:gd name="T110" fmla="*/ 1661 w 2030"/>
                  <a:gd name="T111" fmla="*/ 2985 h 3463"/>
                  <a:gd name="T112" fmla="*/ 1566 w 2030"/>
                  <a:gd name="T113" fmla="*/ 3074 h 3463"/>
                  <a:gd name="T114" fmla="*/ 1440 w 2030"/>
                  <a:gd name="T115" fmla="*/ 3155 h 3463"/>
                  <a:gd name="T116" fmla="*/ 1457 w 2030"/>
                  <a:gd name="T117" fmla="*/ 3423 h 3463"/>
                  <a:gd name="T118" fmla="*/ 1229 w 2030"/>
                  <a:gd name="T119" fmla="*/ 3336 h 3463"/>
                  <a:gd name="T120" fmla="*/ 994 w 2030"/>
                  <a:gd name="T121" fmla="*/ 3208 h 3463"/>
                  <a:gd name="T122" fmla="*/ 812 w 2030"/>
                  <a:gd name="T123" fmla="*/ 3209 h 3463"/>
                  <a:gd name="T124" fmla="*/ 681 w 2030"/>
                  <a:gd name="T125" fmla="*/ 3086 h 3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0" h="3463">
                    <a:moveTo>
                      <a:pt x="593" y="3133"/>
                    </a:moveTo>
                    <a:lnTo>
                      <a:pt x="591" y="3133"/>
                    </a:lnTo>
                    <a:lnTo>
                      <a:pt x="590" y="3133"/>
                    </a:lnTo>
                    <a:lnTo>
                      <a:pt x="588" y="3133"/>
                    </a:lnTo>
                    <a:lnTo>
                      <a:pt x="587" y="3132"/>
                    </a:lnTo>
                    <a:lnTo>
                      <a:pt x="585" y="3130"/>
                    </a:lnTo>
                    <a:lnTo>
                      <a:pt x="582" y="3129"/>
                    </a:lnTo>
                    <a:lnTo>
                      <a:pt x="581" y="3126"/>
                    </a:lnTo>
                    <a:lnTo>
                      <a:pt x="580" y="3121"/>
                    </a:lnTo>
                    <a:lnTo>
                      <a:pt x="579" y="3116"/>
                    </a:lnTo>
                    <a:lnTo>
                      <a:pt x="578" y="3111"/>
                    </a:lnTo>
                    <a:lnTo>
                      <a:pt x="575" y="3109"/>
                    </a:lnTo>
                    <a:lnTo>
                      <a:pt x="572" y="3107"/>
                    </a:lnTo>
                    <a:lnTo>
                      <a:pt x="567" y="3104"/>
                    </a:lnTo>
                    <a:lnTo>
                      <a:pt x="563" y="3103"/>
                    </a:lnTo>
                    <a:lnTo>
                      <a:pt x="556" y="3101"/>
                    </a:lnTo>
                    <a:lnTo>
                      <a:pt x="553" y="3097"/>
                    </a:lnTo>
                    <a:lnTo>
                      <a:pt x="549" y="3093"/>
                    </a:lnTo>
                    <a:lnTo>
                      <a:pt x="548" y="3090"/>
                    </a:lnTo>
                    <a:lnTo>
                      <a:pt x="548" y="3079"/>
                    </a:lnTo>
                    <a:lnTo>
                      <a:pt x="550" y="3067"/>
                    </a:lnTo>
                    <a:lnTo>
                      <a:pt x="552" y="3059"/>
                    </a:lnTo>
                    <a:lnTo>
                      <a:pt x="553" y="3050"/>
                    </a:lnTo>
                    <a:lnTo>
                      <a:pt x="553" y="3041"/>
                    </a:lnTo>
                    <a:lnTo>
                      <a:pt x="552" y="3032"/>
                    </a:lnTo>
                    <a:lnTo>
                      <a:pt x="550" y="3025"/>
                    </a:lnTo>
                    <a:lnTo>
                      <a:pt x="548" y="3017"/>
                    </a:lnTo>
                    <a:lnTo>
                      <a:pt x="546" y="3014"/>
                    </a:lnTo>
                    <a:lnTo>
                      <a:pt x="542" y="3011"/>
                    </a:lnTo>
                    <a:lnTo>
                      <a:pt x="538" y="3009"/>
                    </a:lnTo>
                    <a:lnTo>
                      <a:pt x="534" y="3008"/>
                    </a:lnTo>
                    <a:lnTo>
                      <a:pt x="523" y="3004"/>
                    </a:lnTo>
                    <a:lnTo>
                      <a:pt x="510" y="3002"/>
                    </a:lnTo>
                    <a:lnTo>
                      <a:pt x="506" y="3002"/>
                    </a:lnTo>
                    <a:lnTo>
                      <a:pt x="503" y="3002"/>
                    </a:lnTo>
                    <a:lnTo>
                      <a:pt x="497" y="3001"/>
                    </a:lnTo>
                    <a:lnTo>
                      <a:pt x="491" y="3001"/>
                    </a:lnTo>
                    <a:lnTo>
                      <a:pt x="486" y="3001"/>
                    </a:lnTo>
                    <a:lnTo>
                      <a:pt x="481" y="3000"/>
                    </a:lnTo>
                    <a:lnTo>
                      <a:pt x="479" y="3000"/>
                    </a:lnTo>
                    <a:lnTo>
                      <a:pt x="477" y="3000"/>
                    </a:lnTo>
                    <a:lnTo>
                      <a:pt x="474" y="3000"/>
                    </a:lnTo>
                    <a:lnTo>
                      <a:pt x="472" y="3000"/>
                    </a:lnTo>
                    <a:lnTo>
                      <a:pt x="467" y="3001"/>
                    </a:lnTo>
                    <a:lnTo>
                      <a:pt x="462" y="3001"/>
                    </a:lnTo>
                    <a:lnTo>
                      <a:pt x="456" y="3000"/>
                    </a:lnTo>
                    <a:lnTo>
                      <a:pt x="452" y="2998"/>
                    </a:lnTo>
                    <a:lnTo>
                      <a:pt x="449" y="2998"/>
                    </a:lnTo>
                    <a:lnTo>
                      <a:pt x="448" y="2997"/>
                    </a:lnTo>
                    <a:lnTo>
                      <a:pt x="445" y="2995"/>
                    </a:lnTo>
                    <a:lnTo>
                      <a:pt x="442" y="2992"/>
                    </a:lnTo>
                    <a:lnTo>
                      <a:pt x="439" y="2991"/>
                    </a:lnTo>
                    <a:lnTo>
                      <a:pt x="435" y="2990"/>
                    </a:lnTo>
                    <a:lnTo>
                      <a:pt x="431" y="2990"/>
                    </a:lnTo>
                    <a:lnTo>
                      <a:pt x="429" y="2990"/>
                    </a:lnTo>
                    <a:lnTo>
                      <a:pt x="423" y="2992"/>
                    </a:lnTo>
                    <a:lnTo>
                      <a:pt x="415" y="2997"/>
                    </a:lnTo>
                    <a:lnTo>
                      <a:pt x="405" y="3006"/>
                    </a:lnTo>
                    <a:lnTo>
                      <a:pt x="393" y="3011"/>
                    </a:lnTo>
                    <a:lnTo>
                      <a:pt x="380" y="3015"/>
                    </a:lnTo>
                    <a:lnTo>
                      <a:pt x="367" y="3015"/>
                    </a:lnTo>
                    <a:lnTo>
                      <a:pt x="364" y="3015"/>
                    </a:lnTo>
                    <a:lnTo>
                      <a:pt x="360" y="3015"/>
                    </a:lnTo>
                    <a:lnTo>
                      <a:pt x="355" y="3016"/>
                    </a:lnTo>
                    <a:lnTo>
                      <a:pt x="353" y="3016"/>
                    </a:lnTo>
                    <a:lnTo>
                      <a:pt x="349" y="3019"/>
                    </a:lnTo>
                    <a:lnTo>
                      <a:pt x="345" y="3022"/>
                    </a:lnTo>
                    <a:lnTo>
                      <a:pt x="342" y="3025"/>
                    </a:lnTo>
                    <a:lnTo>
                      <a:pt x="341" y="3026"/>
                    </a:lnTo>
                    <a:lnTo>
                      <a:pt x="340" y="3028"/>
                    </a:lnTo>
                    <a:lnTo>
                      <a:pt x="339" y="3029"/>
                    </a:lnTo>
                    <a:lnTo>
                      <a:pt x="335" y="3032"/>
                    </a:lnTo>
                    <a:lnTo>
                      <a:pt x="332" y="3032"/>
                    </a:lnTo>
                    <a:lnTo>
                      <a:pt x="330" y="3032"/>
                    </a:lnTo>
                    <a:lnTo>
                      <a:pt x="328" y="3032"/>
                    </a:lnTo>
                    <a:lnTo>
                      <a:pt x="326" y="3030"/>
                    </a:lnTo>
                    <a:lnTo>
                      <a:pt x="323" y="3028"/>
                    </a:lnTo>
                    <a:lnTo>
                      <a:pt x="319" y="3026"/>
                    </a:lnTo>
                    <a:lnTo>
                      <a:pt x="315" y="3022"/>
                    </a:lnTo>
                    <a:lnTo>
                      <a:pt x="305" y="3016"/>
                    </a:lnTo>
                    <a:lnTo>
                      <a:pt x="297" y="3013"/>
                    </a:lnTo>
                    <a:lnTo>
                      <a:pt x="294" y="3010"/>
                    </a:lnTo>
                    <a:lnTo>
                      <a:pt x="290" y="3009"/>
                    </a:lnTo>
                    <a:lnTo>
                      <a:pt x="284" y="3007"/>
                    </a:lnTo>
                    <a:lnTo>
                      <a:pt x="278" y="3006"/>
                    </a:lnTo>
                    <a:lnTo>
                      <a:pt x="270" y="3003"/>
                    </a:lnTo>
                    <a:lnTo>
                      <a:pt x="260" y="3001"/>
                    </a:lnTo>
                    <a:lnTo>
                      <a:pt x="253" y="2998"/>
                    </a:lnTo>
                    <a:lnTo>
                      <a:pt x="245" y="2996"/>
                    </a:lnTo>
                    <a:lnTo>
                      <a:pt x="242" y="2995"/>
                    </a:lnTo>
                    <a:lnTo>
                      <a:pt x="239" y="2994"/>
                    </a:lnTo>
                    <a:lnTo>
                      <a:pt x="236" y="2994"/>
                    </a:lnTo>
                    <a:lnTo>
                      <a:pt x="235" y="2992"/>
                    </a:lnTo>
                    <a:lnTo>
                      <a:pt x="231" y="2990"/>
                    </a:lnTo>
                    <a:lnTo>
                      <a:pt x="227" y="2987"/>
                    </a:lnTo>
                    <a:lnTo>
                      <a:pt x="222" y="2982"/>
                    </a:lnTo>
                    <a:lnTo>
                      <a:pt x="219" y="2976"/>
                    </a:lnTo>
                    <a:lnTo>
                      <a:pt x="215" y="2970"/>
                    </a:lnTo>
                    <a:lnTo>
                      <a:pt x="214" y="2964"/>
                    </a:lnTo>
                    <a:lnTo>
                      <a:pt x="213" y="2960"/>
                    </a:lnTo>
                    <a:lnTo>
                      <a:pt x="214" y="2957"/>
                    </a:lnTo>
                    <a:lnTo>
                      <a:pt x="214" y="2956"/>
                    </a:lnTo>
                    <a:lnTo>
                      <a:pt x="215" y="2956"/>
                    </a:lnTo>
                    <a:lnTo>
                      <a:pt x="215" y="2954"/>
                    </a:lnTo>
                    <a:lnTo>
                      <a:pt x="216" y="2952"/>
                    </a:lnTo>
                    <a:lnTo>
                      <a:pt x="219" y="2950"/>
                    </a:lnTo>
                    <a:lnTo>
                      <a:pt x="219" y="2947"/>
                    </a:lnTo>
                    <a:lnTo>
                      <a:pt x="220" y="2944"/>
                    </a:lnTo>
                    <a:lnTo>
                      <a:pt x="220" y="2939"/>
                    </a:lnTo>
                    <a:lnTo>
                      <a:pt x="219" y="2935"/>
                    </a:lnTo>
                    <a:lnTo>
                      <a:pt x="217" y="2932"/>
                    </a:lnTo>
                    <a:lnTo>
                      <a:pt x="215" y="2929"/>
                    </a:lnTo>
                    <a:lnTo>
                      <a:pt x="213" y="2927"/>
                    </a:lnTo>
                    <a:lnTo>
                      <a:pt x="210" y="2926"/>
                    </a:lnTo>
                    <a:lnTo>
                      <a:pt x="206" y="2926"/>
                    </a:lnTo>
                    <a:lnTo>
                      <a:pt x="198" y="2927"/>
                    </a:lnTo>
                    <a:lnTo>
                      <a:pt x="190" y="2931"/>
                    </a:lnTo>
                    <a:lnTo>
                      <a:pt x="179" y="2938"/>
                    </a:lnTo>
                    <a:lnTo>
                      <a:pt x="168" y="2941"/>
                    </a:lnTo>
                    <a:lnTo>
                      <a:pt x="160" y="2943"/>
                    </a:lnTo>
                    <a:lnTo>
                      <a:pt x="153" y="2944"/>
                    </a:lnTo>
                    <a:lnTo>
                      <a:pt x="145" y="2943"/>
                    </a:lnTo>
                    <a:lnTo>
                      <a:pt x="137" y="2941"/>
                    </a:lnTo>
                    <a:lnTo>
                      <a:pt x="130" y="2943"/>
                    </a:lnTo>
                    <a:lnTo>
                      <a:pt x="125" y="2944"/>
                    </a:lnTo>
                    <a:lnTo>
                      <a:pt x="121" y="2945"/>
                    </a:lnTo>
                    <a:lnTo>
                      <a:pt x="116" y="2952"/>
                    </a:lnTo>
                    <a:lnTo>
                      <a:pt x="113" y="2959"/>
                    </a:lnTo>
                    <a:lnTo>
                      <a:pt x="110" y="2968"/>
                    </a:lnTo>
                    <a:lnTo>
                      <a:pt x="108" y="2970"/>
                    </a:lnTo>
                    <a:lnTo>
                      <a:pt x="106" y="2972"/>
                    </a:lnTo>
                    <a:lnTo>
                      <a:pt x="100" y="2973"/>
                    </a:lnTo>
                    <a:lnTo>
                      <a:pt x="91" y="2972"/>
                    </a:lnTo>
                    <a:lnTo>
                      <a:pt x="88" y="2971"/>
                    </a:lnTo>
                    <a:lnTo>
                      <a:pt x="83" y="2970"/>
                    </a:lnTo>
                    <a:lnTo>
                      <a:pt x="80" y="2970"/>
                    </a:lnTo>
                    <a:lnTo>
                      <a:pt x="76" y="2970"/>
                    </a:lnTo>
                    <a:lnTo>
                      <a:pt x="75" y="2971"/>
                    </a:lnTo>
                    <a:lnTo>
                      <a:pt x="72" y="2971"/>
                    </a:lnTo>
                    <a:lnTo>
                      <a:pt x="70" y="2972"/>
                    </a:lnTo>
                    <a:lnTo>
                      <a:pt x="68" y="2973"/>
                    </a:lnTo>
                    <a:lnTo>
                      <a:pt x="64" y="2976"/>
                    </a:lnTo>
                    <a:lnTo>
                      <a:pt x="62" y="2978"/>
                    </a:lnTo>
                    <a:lnTo>
                      <a:pt x="58" y="2982"/>
                    </a:lnTo>
                    <a:lnTo>
                      <a:pt x="55" y="2984"/>
                    </a:lnTo>
                    <a:lnTo>
                      <a:pt x="52" y="2987"/>
                    </a:lnTo>
                    <a:lnTo>
                      <a:pt x="51" y="2989"/>
                    </a:lnTo>
                    <a:lnTo>
                      <a:pt x="49" y="2990"/>
                    </a:lnTo>
                    <a:lnTo>
                      <a:pt x="47" y="2991"/>
                    </a:lnTo>
                    <a:lnTo>
                      <a:pt x="45" y="2991"/>
                    </a:lnTo>
                    <a:lnTo>
                      <a:pt x="42" y="2992"/>
                    </a:lnTo>
                    <a:lnTo>
                      <a:pt x="37" y="2992"/>
                    </a:lnTo>
                    <a:lnTo>
                      <a:pt x="33" y="2991"/>
                    </a:lnTo>
                    <a:lnTo>
                      <a:pt x="27" y="2990"/>
                    </a:lnTo>
                    <a:lnTo>
                      <a:pt x="18" y="2983"/>
                    </a:lnTo>
                    <a:lnTo>
                      <a:pt x="17" y="2981"/>
                    </a:lnTo>
                    <a:lnTo>
                      <a:pt x="14" y="2978"/>
                    </a:lnTo>
                    <a:lnTo>
                      <a:pt x="13" y="2975"/>
                    </a:lnTo>
                    <a:lnTo>
                      <a:pt x="13" y="2971"/>
                    </a:lnTo>
                    <a:lnTo>
                      <a:pt x="12" y="2966"/>
                    </a:lnTo>
                    <a:lnTo>
                      <a:pt x="11" y="2963"/>
                    </a:lnTo>
                    <a:lnTo>
                      <a:pt x="9" y="2956"/>
                    </a:lnTo>
                    <a:lnTo>
                      <a:pt x="6" y="2943"/>
                    </a:lnTo>
                    <a:lnTo>
                      <a:pt x="3" y="2934"/>
                    </a:lnTo>
                    <a:lnTo>
                      <a:pt x="2" y="2926"/>
                    </a:lnTo>
                    <a:lnTo>
                      <a:pt x="0" y="2915"/>
                    </a:lnTo>
                    <a:lnTo>
                      <a:pt x="0" y="2905"/>
                    </a:lnTo>
                    <a:lnTo>
                      <a:pt x="0" y="2900"/>
                    </a:lnTo>
                    <a:lnTo>
                      <a:pt x="1" y="2895"/>
                    </a:lnTo>
                    <a:lnTo>
                      <a:pt x="2" y="2895"/>
                    </a:lnTo>
                    <a:lnTo>
                      <a:pt x="3" y="2895"/>
                    </a:lnTo>
                    <a:lnTo>
                      <a:pt x="6" y="2896"/>
                    </a:lnTo>
                    <a:lnTo>
                      <a:pt x="8" y="2897"/>
                    </a:lnTo>
                    <a:lnTo>
                      <a:pt x="9" y="2899"/>
                    </a:lnTo>
                    <a:lnTo>
                      <a:pt x="12" y="2900"/>
                    </a:lnTo>
                    <a:lnTo>
                      <a:pt x="14" y="2902"/>
                    </a:lnTo>
                    <a:lnTo>
                      <a:pt x="17" y="2903"/>
                    </a:lnTo>
                    <a:lnTo>
                      <a:pt x="18" y="2905"/>
                    </a:lnTo>
                    <a:lnTo>
                      <a:pt x="20" y="2906"/>
                    </a:lnTo>
                    <a:lnTo>
                      <a:pt x="24" y="2908"/>
                    </a:lnTo>
                    <a:lnTo>
                      <a:pt x="28" y="2909"/>
                    </a:lnTo>
                    <a:lnTo>
                      <a:pt x="37" y="2910"/>
                    </a:lnTo>
                    <a:lnTo>
                      <a:pt x="43" y="2910"/>
                    </a:lnTo>
                    <a:lnTo>
                      <a:pt x="52" y="2910"/>
                    </a:lnTo>
                    <a:lnTo>
                      <a:pt x="61" y="2909"/>
                    </a:lnTo>
                    <a:lnTo>
                      <a:pt x="70" y="2907"/>
                    </a:lnTo>
                    <a:lnTo>
                      <a:pt x="80" y="2903"/>
                    </a:lnTo>
                    <a:lnTo>
                      <a:pt x="93" y="2897"/>
                    </a:lnTo>
                    <a:lnTo>
                      <a:pt x="106" y="2891"/>
                    </a:lnTo>
                    <a:lnTo>
                      <a:pt x="113" y="2888"/>
                    </a:lnTo>
                    <a:lnTo>
                      <a:pt x="120" y="2884"/>
                    </a:lnTo>
                    <a:lnTo>
                      <a:pt x="124" y="2883"/>
                    </a:lnTo>
                    <a:lnTo>
                      <a:pt x="127" y="2883"/>
                    </a:lnTo>
                    <a:lnTo>
                      <a:pt x="133" y="2881"/>
                    </a:lnTo>
                    <a:lnTo>
                      <a:pt x="139" y="2880"/>
                    </a:lnTo>
                    <a:lnTo>
                      <a:pt x="145" y="2878"/>
                    </a:lnTo>
                    <a:lnTo>
                      <a:pt x="150" y="2877"/>
                    </a:lnTo>
                    <a:lnTo>
                      <a:pt x="152" y="2876"/>
                    </a:lnTo>
                    <a:lnTo>
                      <a:pt x="154" y="2875"/>
                    </a:lnTo>
                    <a:lnTo>
                      <a:pt x="156" y="2872"/>
                    </a:lnTo>
                    <a:lnTo>
                      <a:pt x="157" y="2871"/>
                    </a:lnTo>
                    <a:lnTo>
                      <a:pt x="159" y="2866"/>
                    </a:lnTo>
                    <a:lnTo>
                      <a:pt x="162" y="2857"/>
                    </a:lnTo>
                    <a:lnTo>
                      <a:pt x="162" y="2849"/>
                    </a:lnTo>
                    <a:lnTo>
                      <a:pt x="162" y="2839"/>
                    </a:lnTo>
                    <a:lnTo>
                      <a:pt x="162" y="2834"/>
                    </a:lnTo>
                    <a:lnTo>
                      <a:pt x="162" y="2830"/>
                    </a:lnTo>
                    <a:lnTo>
                      <a:pt x="159" y="2815"/>
                    </a:lnTo>
                    <a:lnTo>
                      <a:pt x="158" y="2802"/>
                    </a:lnTo>
                    <a:lnTo>
                      <a:pt x="158" y="2798"/>
                    </a:lnTo>
                    <a:lnTo>
                      <a:pt x="159" y="2794"/>
                    </a:lnTo>
                    <a:lnTo>
                      <a:pt x="159" y="2792"/>
                    </a:lnTo>
                    <a:lnTo>
                      <a:pt x="160" y="2790"/>
                    </a:lnTo>
                    <a:lnTo>
                      <a:pt x="162" y="2790"/>
                    </a:lnTo>
                    <a:lnTo>
                      <a:pt x="164" y="2790"/>
                    </a:lnTo>
                    <a:lnTo>
                      <a:pt x="166" y="2790"/>
                    </a:lnTo>
                    <a:lnTo>
                      <a:pt x="169" y="2792"/>
                    </a:lnTo>
                    <a:lnTo>
                      <a:pt x="170" y="2793"/>
                    </a:lnTo>
                    <a:lnTo>
                      <a:pt x="171" y="2794"/>
                    </a:lnTo>
                    <a:lnTo>
                      <a:pt x="172" y="2796"/>
                    </a:lnTo>
                    <a:lnTo>
                      <a:pt x="173" y="2798"/>
                    </a:lnTo>
                    <a:lnTo>
                      <a:pt x="176" y="2801"/>
                    </a:lnTo>
                    <a:lnTo>
                      <a:pt x="177" y="2803"/>
                    </a:lnTo>
                    <a:lnTo>
                      <a:pt x="179" y="2805"/>
                    </a:lnTo>
                    <a:lnTo>
                      <a:pt x="181" y="2805"/>
                    </a:lnTo>
                    <a:lnTo>
                      <a:pt x="182" y="2803"/>
                    </a:lnTo>
                    <a:lnTo>
                      <a:pt x="183" y="2803"/>
                    </a:lnTo>
                    <a:lnTo>
                      <a:pt x="184" y="2801"/>
                    </a:lnTo>
                    <a:lnTo>
                      <a:pt x="184" y="2799"/>
                    </a:lnTo>
                    <a:lnTo>
                      <a:pt x="185" y="2795"/>
                    </a:lnTo>
                    <a:lnTo>
                      <a:pt x="185" y="2793"/>
                    </a:lnTo>
                    <a:lnTo>
                      <a:pt x="185" y="2792"/>
                    </a:lnTo>
                    <a:lnTo>
                      <a:pt x="184" y="2789"/>
                    </a:lnTo>
                    <a:lnTo>
                      <a:pt x="184" y="2789"/>
                    </a:lnTo>
                    <a:lnTo>
                      <a:pt x="184" y="2788"/>
                    </a:lnTo>
                    <a:lnTo>
                      <a:pt x="183" y="2784"/>
                    </a:lnTo>
                    <a:lnTo>
                      <a:pt x="181" y="2777"/>
                    </a:lnTo>
                    <a:lnTo>
                      <a:pt x="176" y="2771"/>
                    </a:lnTo>
                    <a:lnTo>
                      <a:pt x="169" y="2765"/>
                    </a:lnTo>
                    <a:lnTo>
                      <a:pt x="162" y="2762"/>
                    </a:lnTo>
                    <a:lnTo>
                      <a:pt x="153" y="2759"/>
                    </a:lnTo>
                    <a:lnTo>
                      <a:pt x="139" y="2756"/>
                    </a:lnTo>
                    <a:lnTo>
                      <a:pt x="125" y="2751"/>
                    </a:lnTo>
                    <a:lnTo>
                      <a:pt x="118" y="2749"/>
                    </a:lnTo>
                    <a:lnTo>
                      <a:pt x="112" y="2744"/>
                    </a:lnTo>
                    <a:lnTo>
                      <a:pt x="106" y="2739"/>
                    </a:lnTo>
                    <a:lnTo>
                      <a:pt x="101" y="2735"/>
                    </a:lnTo>
                    <a:lnTo>
                      <a:pt x="97" y="2726"/>
                    </a:lnTo>
                    <a:lnTo>
                      <a:pt x="94" y="2718"/>
                    </a:lnTo>
                    <a:lnTo>
                      <a:pt x="93" y="2712"/>
                    </a:lnTo>
                    <a:lnTo>
                      <a:pt x="91" y="2704"/>
                    </a:lnTo>
                    <a:lnTo>
                      <a:pt x="91" y="2700"/>
                    </a:lnTo>
                    <a:lnTo>
                      <a:pt x="91" y="2698"/>
                    </a:lnTo>
                    <a:lnTo>
                      <a:pt x="93" y="2693"/>
                    </a:lnTo>
                    <a:lnTo>
                      <a:pt x="95" y="2689"/>
                    </a:lnTo>
                    <a:lnTo>
                      <a:pt x="100" y="2689"/>
                    </a:lnTo>
                    <a:lnTo>
                      <a:pt x="106" y="2692"/>
                    </a:lnTo>
                    <a:lnTo>
                      <a:pt x="110" y="2693"/>
                    </a:lnTo>
                    <a:lnTo>
                      <a:pt x="115" y="2693"/>
                    </a:lnTo>
                    <a:lnTo>
                      <a:pt x="120" y="2692"/>
                    </a:lnTo>
                    <a:lnTo>
                      <a:pt x="122" y="2691"/>
                    </a:lnTo>
                    <a:lnTo>
                      <a:pt x="125" y="2688"/>
                    </a:lnTo>
                    <a:lnTo>
                      <a:pt x="126" y="2687"/>
                    </a:lnTo>
                    <a:lnTo>
                      <a:pt x="128" y="2681"/>
                    </a:lnTo>
                    <a:lnTo>
                      <a:pt x="130" y="2674"/>
                    </a:lnTo>
                    <a:lnTo>
                      <a:pt x="131" y="2666"/>
                    </a:lnTo>
                    <a:lnTo>
                      <a:pt x="133" y="2657"/>
                    </a:lnTo>
                    <a:lnTo>
                      <a:pt x="135" y="2649"/>
                    </a:lnTo>
                    <a:lnTo>
                      <a:pt x="140" y="2642"/>
                    </a:lnTo>
                    <a:lnTo>
                      <a:pt x="145" y="2635"/>
                    </a:lnTo>
                    <a:lnTo>
                      <a:pt x="150" y="2629"/>
                    </a:lnTo>
                    <a:lnTo>
                      <a:pt x="157" y="2619"/>
                    </a:lnTo>
                    <a:lnTo>
                      <a:pt x="165" y="2610"/>
                    </a:lnTo>
                    <a:lnTo>
                      <a:pt x="170" y="2605"/>
                    </a:lnTo>
                    <a:lnTo>
                      <a:pt x="175" y="2601"/>
                    </a:lnTo>
                    <a:lnTo>
                      <a:pt x="179" y="2598"/>
                    </a:lnTo>
                    <a:lnTo>
                      <a:pt x="184" y="2595"/>
                    </a:lnTo>
                    <a:lnTo>
                      <a:pt x="189" y="2594"/>
                    </a:lnTo>
                    <a:lnTo>
                      <a:pt x="195" y="2594"/>
                    </a:lnTo>
                    <a:lnTo>
                      <a:pt x="206" y="2597"/>
                    </a:lnTo>
                    <a:lnTo>
                      <a:pt x="217" y="2601"/>
                    </a:lnTo>
                    <a:lnTo>
                      <a:pt x="229" y="2606"/>
                    </a:lnTo>
                    <a:lnTo>
                      <a:pt x="241" y="2612"/>
                    </a:lnTo>
                    <a:lnTo>
                      <a:pt x="250" y="2616"/>
                    </a:lnTo>
                    <a:lnTo>
                      <a:pt x="257" y="2617"/>
                    </a:lnTo>
                    <a:lnTo>
                      <a:pt x="264" y="2618"/>
                    </a:lnTo>
                    <a:lnTo>
                      <a:pt x="269" y="2618"/>
                    </a:lnTo>
                    <a:lnTo>
                      <a:pt x="284" y="2611"/>
                    </a:lnTo>
                    <a:lnTo>
                      <a:pt x="301" y="2603"/>
                    </a:lnTo>
                    <a:lnTo>
                      <a:pt x="305" y="2603"/>
                    </a:lnTo>
                    <a:lnTo>
                      <a:pt x="309" y="2603"/>
                    </a:lnTo>
                    <a:lnTo>
                      <a:pt x="310" y="2604"/>
                    </a:lnTo>
                    <a:lnTo>
                      <a:pt x="311" y="2604"/>
                    </a:lnTo>
                    <a:lnTo>
                      <a:pt x="314" y="2605"/>
                    </a:lnTo>
                    <a:lnTo>
                      <a:pt x="317" y="2607"/>
                    </a:lnTo>
                    <a:lnTo>
                      <a:pt x="320" y="2607"/>
                    </a:lnTo>
                    <a:lnTo>
                      <a:pt x="321" y="2607"/>
                    </a:lnTo>
                    <a:lnTo>
                      <a:pt x="322" y="2607"/>
                    </a:lnTo>
                    <a:lnTo>
                      <a:pt x="323" y="2607"/>
                    </a:lnTo>
                    <a:lnTo>
                      <a:pt x="324" y="2606"/>
                    </a:lnTo>
                    <a:lnTo>
                      <a:pt x="326" y="2606"/>
                    </a:lnTo>
                    <a:lnTo>
                      <a:pt x="329" y="2604"/>
                    </a:lnTo>
                    <a:lnTo>
                      <a:pt x="333" y="2601"/>
                    </a:lnTo>
                    <a:lnTo>
                      <a:pt x="338" y="2597"/>
                    </a:lnTo>
                    <a:lnTo>
                      <a:pt x="342" y="2595"/>
                    </a:lnTo>
                    <a:lnTo>
                      <a:pt x="345" y="2597"/>
                    </a:lnTo>
                    <a:lnTo>
                      <a:pt x="347" y="2600"/>
                    </a:lnTo>
                    <a:lnTo>
                      <a:pt x="348" y="2604"/>
                    </a:lnTo>
                    <a:lnTo>
                      <a:pt x="349" y="2606"/>
                    </a:lnTo>
                    <a:lnTo>
                      <a:pt x="351" y="2609"/>
                    </a:lnTo>
                    <a:lnTo>
                      <a:pt x="352" y="2610"/>
                    </a:lnTo>
                    <a:lnTo>
                      <a:pt x="353" y="2613"/>
                    </a:lnTo>
                    <a:lnTo>
                      <a:pt x="354" y="2616"/>
                    </a:lnTo>
                    <a:lnTo>
                      <a:pt x="357" y="2619"/>
                    </a:lnTo>
                    <a:lnTo>
                      <a:pt x="359" y="2623"/>
                    </a:lnTo>
                    <a:lnTo>
                      <a:pt x="365" y="2629"/>
                    </a:lnTo>
                    <a:lnTo>
                      <a:pt x="371" y="2634"/>
                    </a:lnTo>
                    <a:lnTo>
                      <a:pt x="378" y="2637"/>
                    </a:lnTo>
                    <a:lnTo>
                      <a:pt x="383" y="2638"/>
                    </a:lnTo>
                    <a:lnTo>
                      <a:pt x="387" y="2638"/>
                    </a:lnTo>
                    <a:lnTo>
                      <a:pt x="390" y="2637"/>
                    </a:lnTo>
                    <a:lnTo>
                      <a:pt x="395" y="2635"/>
                    </a:lnTo>
                    <a:lnTo>
                      <a:pt x="397" y="2631"/>
                    </a:lnTo>
                    <a:lnTo>
                      <a:pt x="399" y="2626"/>
                    </a:lnTo>
                    <a:lnTo>
                      <a:pt x="401" y="2620"/>
                    </a:lnTo>
                    <a:lnTo>
                      <a:pt x="403" y="2611"/>
                    </a:lnTo>
                    <a:lnTo>
                      <a:pt x="403" y="2601"/>
                    </a:lnTo>
                    <a:lnTo>
                      <a:pt x="403" y="2593"/>
                    </a:lnTo>
                    <a:lnTo>
                      <a:pt x="402" y="2587"/>
                    </a:lnTo>
                    <a:lnTo>
                      <a:pt x="401" y="2582"/>
                    </a:lnTo>
                    <a:lnTo>
                      <a:pt x="399" y="2579"/>
                    </a:lnTo>
                    <a:lnTo>
                      <a:pt x="398" y="2575"/>
                    </a:lnTo>
                    <a:lnTo>
                      <a:pt x="396" y="2572"/>
                    </a:lnTo>
                    <a:lnTo>
                      <a:pt x="386" y="2565"/>
                    </a:lnTo>
                    <a:lnTo>
                      <a:pt x="378" y="2557"/>
                    </a:lnTo>
                    <a:lnTo>
                      <a:pt x="372" y="2550"/>
                    </a:lnTo>
                    <a:lnTo>
                      <a:pt x="367" y="2543"/>
                    </a:lnTo>
                    <a:lnTo>
                      <a:pt x="366" y="2540"/>
                    </a:lnTo>
                    <a:lnTo>
                      <a:pt x="365" y="2536"/>
                    </a:lnTo>
                    <a:lnTo>
                      <a:pt x="364" y="2532"/>
                    </a:lnTo>
                    <a:lnTo>
                      <a:pt x="364" y="2529"/>
                    </a:lnTo>
                    <a:lnTo>
                      <a:pt x="365" y="2522"/>
                    </a:lnTo>
                    <a:lnTo>
                      <a:pt x="366" y="2516"/>
                    </a:lnTo>
                    <a:lnTo>
                      <a:pt x="370" y="2509"/>
                    </a:lnTo>
                    <a:lnTo>
                      <a:pt x="373" y="2503"/>
                    </a:lnTo>
                    <a:lnTo>
                      <a:pt x="377" y="2497"/>
                    </a:lnTo>
                    <a:lnTo>
                      <a:pt x="379" y="2491"/>
                    </a:lnTo>
                    <a:lnTo>
                      <a:pt x="379" y="2489"/>
                    </a:lnTo>
                    <a:lnTo>
                      <a:pt x="377" y="2487"/>
                    </a:lnTo>
                    <a:lnTo>
                      <a:pt x="373" y="2486"/>
                    </a:lnTo>
                    <a:lnTo>
                      <a:pt x="370" y="2486"/>
                    </a:lnTo>
                    <a:lnTo>
                      <a:pt x="365" y="2485"/>
                    </a:lnTo>
                    <a:lnTo>
                      <a:pt x="361" y="2485"/>
                    </a:lnTo>
                    <a:lnTo>
                      <a:pt x="357" y="2481"/>
                    </a:lnTo>
                    <a:lnTo>
                      <a:pt x="352" y="2477"/>
                    </a:lnTo>
                    <a:lnTo>
                      <a:pt x="352" y="2471"/>
                    </a:lnTo>
                    <a:lnTo>
                      <a:pt x="354" y="2462"/>
                    </a:lnTo>
                    <a:lnTo>
                      <a:pt x="362" y="2449"/>
                    </a:lnTo>
                    <a:lnTo>
                      <a:pt x="368" y="2440"/>
                    </a:lnTo>
                    <a:lnTo>
                      <a:pt x="371" y="2434"/>
                    </a:lnTo>
                    <a:lnTo>
                      <a:pt x="372" y="2428"/>
                    </a:lnTo>
                    <a:lnTo>
                      <a:pt x="372" y="2421"/>
                    </a:lnTo>
                    <a:lnTo>
                      <a:pt x="373" y="2415"/>
                    </a:lnTo>
                    <a:lnTo>
                      <a:pt x="377" y="2410"/>
                    </a:lnTo>
                    <a:lnTo>
                      <a:pt x="380" y="2405"/>
                    </a:lnTo>
                    <a:lnTo>
                      <a:pt x="389" y="2397"/>
                    </a:lnTo>
                    <a:lnTo>
                      <a:pt x="398" y="2385"/>
                    </a:lnTo>
                    <a:lnTo>
                      <a:pt x="403" y="2379"/>
                    </a:lnTo>
                    <a:lnTo>
                      <a:pt x="408" y="2371"/>
                    </a:lnTo>
                    <a:lnTo>
                      <a:pt x="411" y="2363"/>
                    </a:lnTo>
                    <a:lnTo>
                      <a:pt x="414" y="2353"/>
                    </a:lnTo>
                    <a:lnTo>
                      <a:pt x="415" y="2348"/>
                    </a:lnTo>
                    <a:lnTo>
                      <a:pt x="415" y="2342"/>
                    </a:lnTo>
                    <a:lnTo>
                      <a:pt x="415" y="2338"/>
                    </a:lnTo>
                    <a:lnTo>
                      <a:pt x="414" y="2333"/>
                    </a:lnTo>
                    <a:lnTo>
                      <a:pt x="409" y="2328"/>
                    </a:lnTo>
                    <a:lnTo>
                      <a:pt x="402" y="2322"/>
                    </a:lnTo>
                    <a:lnTo>
                      <a:pt x="395" y="2317"/>
                    </a:lnTo>
                    <a:lnTo>
                      <a:pt x="393" y="2315"/>
                    </a:lnTo>
                    <a:lnTo>
                      <a:pt x="397" y="2313"/>
                    </a:lnTo>
                    <a:lnTo>
                      <a:pt x="404" y="2311"/>
                    </a:lnTo>
                    <a:lnTo>
                      <a:pt x="412" y="2310"/>
                    </a:lnTo>
                    <a:lnTo>
                      <a:pt x="421" y="2310"/>
                    </a:lnTo>
                    <a:lnTo>
                      <a:pt x="430" y="2308"/>
                    </a:lnTo>
                    <a:lnTo>
                      <a:pt x="436" y="2305"/>
                    </a:lnTo>
                    <a:lnTo>
                      <a:pt x="441" y="2300"/>
                    </a:lnTo>
                    <a:lnTo>
                      <a:pt x="446" y="2292"/>
                    </a:lnTo>
                    <a:lnTo>
                      <a:pt x="448" y="2288"/>
                    </a:lnTo>
                    <a:lnTo>
                      <a:pt x="450" y="2284"/>
                    </a:lnTo>
                    <a:lnTo>
                      <a:pt x="453" y="2279"/>
                    </a:lnTo>
                    <a:lnTo>
                      <a:pt x="454" y="2273"/>
                    </a:lnTo>
                    <a:lnTo>
                      <a:pt x="454" y="2271"/>
                    </a:lnTo>
                    <a:lnTo>
                      <a:pt x="453" y="2269"/>
                    </a:lnTo>
                    <a:lnTo>
                      <a:pt x="450" y="2266"/>
                    </a:lnTo>
                    <a:lnTo>
                      <a:pt x="447" y="2264"/>
                    </a:lnTo>
                    <a:lnTo>
                      <a:pt x="439" y="2259"/>
                    </a:lnTo>
                    <a:lnTo>
                      <a:pt x="430" y="2253"/>
                    </a:lnTo>
                    <a:lnTo>
                      <a:pt x="423" y="2247"/>
                    </a:lnTo>
                    <a:lnTo>
                      <a:pt x="417" y="2241"/>
                    </a:lnTo>
                    <a:lnTo>
                      <a:pt x="406" y="2226"/>
                    </a:lnTo>
                    <a:lnTo>
                      <a:pt x="397" y="2213"/>
                    </a:lnTo>
                    <a:lnTo>
                      <a:pt x="393" y="2210"/>
                    </a:lnTo>
                    <a:lnTo>
                      <a:pt x="389" y="2208"/>
                    </a:lnTo>
                    <a:lnTo>
                      <a:pt x="382" y="2206"/>
                    </a:lnTo>
                    <a:lnTo>
                      <a:pt x="373" y="2203"/>
                    </a:lnTo>
                    <a:lnTo>
                      <a:pt x="361" y="2201"/>
                    </a:lnTo>
                    <a:lnTo>
                      <a:pt x="349" y="2198"/>
                    </a:lnTo>
                    <a:lnTo>
                      <a:pt x="343" y="2195"/>
                    </a:lnTo>
                    <a:lnTo>
                      <a:pt x="338" y="2191"/>
                    </a:lnTo>
                    <a:lnTo>
                      <a:pt x="335" y="2185"/>
                    </a:lnTo>
                    <a:lnTo>
                      <a:pt x="334" y="2179"/>
                    </a:lnTo>
                    <a:lnTo>
                      <a:pt x="334" y="2178"/>
                    </a:lnTo>
                    <a:lnTo>
                      <a:pt x="334" y="2176"/>
                    </a:lnTo>
                    <a:lnTo>
                      <a:pt x="336" y="2166"/>
                    </a:lnTo>
                    <a:lnTo>
                      <a:pt x="341" y="2158"/>
                    </a:lnTo>
                    <a:lnTo>
                      <a:pt x="343" y="2155"/>
                    </a:lnTo>
                    <a:lnTo>
                      <a:pt x="347" y="2152"/>
                    </a:lnTo>
                    <a:lnTo>
                      <a:pt x="352" y="2147"/>
                    </a:lnTo>
                    <a:lnTo>
                      <a:pt x="357" y="2144"/>
                    </a:lnTo>
                    <a:lnTo>
                      <a:pt x="361" y="2139"/>
                    </a:lnTo>
                    <a:lnTo>
                      <a:pt x="366" y="2135"/>
                    </a:lnTo>
                    <a:lnTo>
                      <a:pt x="377" y="2126"/>
                    </a:lnTo>
                    <a:lnTo>
                      <a:pt x="386" y="2116"/>
                    </a:lnTo>
                    <a:lnTo>
                      <a:pt x="393" y="2109"/>
                    </a:lnTo>
                    <a:lnTo>
                      <a:pt x="399" y="2103"/>
                    </a:lnTo>
                    <a:lnTo>
                      <a:pt x="403" y="2099"/>
                    </a:lnTo>
                    <a:lnTo>
                      <a:pt x="405" y="2093"/>
                    </a:lnTo>
                    <a:lnTo>
                      <a:pt x="406" y="2086"/>
                    </a:lnTo>
                    <a:lnTo>
                      <a:pt x="406" y="2075"/>
                    </a:lnTo>
                    <a:lnTo>
                      <a:pt x="405" y="2059"/>
                    </a:lnTo>
                    <a:lnTo>
                      <a:pt x="403" y="2042"/>
                    </a:lnTo>
                    <a:lnTo>
                      <a:pt x="402" y="2033"/>
                    </a:lnTo>
                    <a:lnTo>
                      <a:pt x="401" y="2024"/>
                    </a:lnTo>
                    <a:lnTo>
                      <a:pt x="401" y="2018"/>
                    </a:lnTo>
                    <a:lnTo>
                      <a:pt x="401" y="2013"/>
                    </a:lnTo>
                    <a:lnTo>
                      <a:pt x="401" y="2009"/>
                    </a:lnTo>
                    <a:lnTo>
                      <a:pt x="401" y="2007"/>
                    </a:lnTo>
                    <a:lnTo>
                      <a:pt x="401" y="2001"/>
                    </a:lnTo>
                    <a:lnTo>
                      <a:pt x="401" y="1994"/>
                    </a:lnTo>
                    <a:lnTo>
                      <a:pt x="401" y="1992"/>
                    </a:lnTo>
                    <a:lnTo>
                      <a:pt x="401" y="1990"/>
                    </a:lnTo>
                    <a:lnTo>
                      <a:pt x="402" y="1986"/>
                    </a:lnTo>
                    <a:lnTo>
                      <a:pt x="402" y="1981"/>
                    </a:lnTo>
                    <a:lnTo>
                      <a:pt x="403" y="1975"/>
                    </a:lnTo>
                    <a:lnTo>
                      <a:pt x="405" y="1970"/>
                    </a:lnTo>
                    <a:lnTo>
                      <a:pt x="408" y="1966"/>
                    </a:lnTo>
                    <a:lnTo>
                      <a:pt x="410" y="1962"/>
                    </a:lnTo>
                    <a:lnTo>
                      <a:pt x="418" y="1958"/>
                    </a:lnTo>
                    <a:lnTo>
                      <a:pt x="429" y="1955"/>
                    </a:lnTo>
                    <a:lnTo>
                      <a:pt x="440" y="1952"/>
                    </a:lnTo>
                    <a:lnTo>
                      <a:pt x="453" y="1950"/>
                    </a:lnTo>
                    <a:lnTo>
                      <a:pt x="462" y="1949"/>
                    </a:lnTo>
                    <a:lnTo>
                      <a:pt x="472" y="1949"/>
                    </a:lnTo>
                    <a:lnTo>
                      <a:pt x="481" y="1949"/>
                    </a:lnTo>
                    <a:lnTo>
                      <a:pt x="491" y="1949"/>
                    </a:lnTo>
                    <a:lnTo>
                      <a:pt x="502" y="1950"/>
                    </a:lnTo>
                    <a:lnTo>
                      <a:pt x="511" y="1951"/>
                    </a:lnTo>
                    <a:lnTo>
                      <a:pt x="521" y="1954"/>
                    </a:lnTo>
                    <a:lnTo>
                      <a:pt x="529" y="1956"/>
                    </a:lnTo>
                    <a:lnTo>
                      <a:pt x="541" y="1961"/>
                    </a:lnTo>
                    <a:lnTo>
                      <a:pt x="552" y="1966"/>
                    </a:lnTo>
                    <a:lnTo>
                      <a:pt x="561" y="1971"/>
                    </a:lnTo>
                    <a:lnTo>
                      <a:pt x="571" y="1979"/>
                    </a:lnTo>
                    <a:lnTo>
                      <a:pt x="582" y="1989"/>
                    </a:lnTo>
                    <a:lnTo>
                      <a:pt x="592" y="1999"/>
                    </a:lnTo>
                    <a:lnTo>
                      <a:pt x="604" y="2015"/>
                    </a:lnTo>
                    <a:lnTo>
                      <a:pt x="612" y="2027"/>
                    </a:lnTo>
                    <a:lnTo>
                      <a:pt x="618" y="2037"/>
                    </a:lnTo>
                    <a:lnTo>
                      <a:pt x="624" y="2045"/>
                    </a:lnTo>
                    <a:lnTo>
                      <a:pt x="628" y="2049"/>
                    </a:lnTo>
                    <a:lnTo>
                      <a:pt x="630" y="2050"/>
                    </a:lnTo>
                    <a:lnTo>
                      <a:pt x="634" y="2051"/>
                    </a:lnTo>
                    <a:lnTo>
                      <a:pt x="636" y="2050"/>
                    </a:lnTo>
                    <a:lnTo>
                      <a:pt x="643" y="2046"/>
                    </a:lnTo>
                    <a:lnTo>
                      <a:pt x="653" y="2039"/>
                    </a:lnTo>
                    <a:lnTo>
                      <a:pt x="657" y="2036"/>
                    </a:lnTo>
                    <a:lnTo>
                      <a:pt x="663" y="2032"/>
                    </a:lnTo>
                    <a:lnTo>
                      <a:pt x="670" y="2031"/>
                    </a:lnTo>
                    <a:lnTo>
                      <a:pt x="678" y="2030"/>
                    </a:lnTo>
                    <a:lnTo>
                      <a:pt x="685" y="2030"/>
                    </a:lnTo>
                    <a:lnTo>
                      <a:pt x="693" y="2031"/>
                    </a:lnTo>
                    <a:lnTo>
                      <a:pt x="700" y="2033"/>
                    </a:lnTo>
                    <a:lnTo>
                      <a:pt x="708" y="2036"/>
                    </a:lnTo>
                    <a:lnTo>
                      <a:pt x="716" y="2038"/>
                    </a:lnTo>
                    <a:lnTo>
                      <a:pt x="723" y="2039"/>
                    </a:lnTo>
                    <a:lnTo>
                      <a:pt x="729" y="2040"/>
                    </a:lnTo>
                    <a:lnTo>
                      <a:pt x="735" y="2039"/>
                    </a:lnTo>
                    <a:lnTo>
                      <a:pt x="744" y="2036"/>
                    </a:lnTo>
                    <a:lnTo>
                      <a:pt x="752" y="2031"/>
                    </a:lnTo>
                    <a:lnTo>
                      <a:pt x="757" y="2029"/>
                    </a:lnTo>
                    <a:lnTo>
                      <a:pt x="761" y="2026"/>
                    </a:lnTo>
                    <a:lnTo>
                      <a:pt x="765" y="2025"/>
                    </a:lnTo>
                    <a:lnTo>
                      <a:pt x="770" y="2025"/>
                    </a:lnTo>
                    <a:lnTo>
                      <a:pt x="780" y="2025"/>
                    </a:lnTo>
                    <a:lnTo>
                      <a:pt x="792" y="2026"/>
                    </a:lnTo>
                    <a:lnTo>
                      <a:pt x="806" y="2029"/>
                    </a:lnTo>
                    <a:lnTo>
                      <a:pt x="821" y="2029"/>
                    </a:lnTo>
                    <a:lnTo>
                      <a:pt x="830" y="2027"/>
                    </a:lnTo>
                    <a:lnTo>
                      <a:pt x="837" y="2026"/>
                    </a:lnTo>
                    <a:lnTo>
                      <a:pt x="843" y="2023"/>
                    </a:lnTo>
                    <a:lnTo>
                      <a:pt x="848" y="2019"/>
                    </a:lnTo>
                    <a:lnTo>
                      <a:pt x="851" y="2014"/>
                    </a:lnTo>
                    <a:lnTo>
                      <a:pt x="853" y="2009"/>
                    </a:lnTo>
                    <a:lnTo>
                      <a:pt x="853" y="2004"/>
                    </a:lnTo>
                    <a:lnTo>
                      <a:pt x="852" y="1999"/>
                    </a:lnTo>
                    <a:lnTo>
                      <a:pt x="851" y="1993"/>
                    </a:lnTo>
                    <a:lnTo>
                      <a:pt x="848" y="1988"/>
                    </a:lnTo>
                    <a:lnTo>
                      <a:pt x="844" y="1983"/>
                    </a:lnTo>
                    <a:lnTo>
                      <a:pt x="839" y="1980"/>
                    </a:lnTo>
                    <a:lnTo>
                      <a:pt x="831" y="1971"/>
                    </a:lnTo>
                    <a:lnTo>
                      <a:pt x="823" y="1962"/>
                    </a:lnTo>
                    <a:lnTo>
                      <a:pt x="819" y="1957"/>
                    </a:lnTo>
                    <a:lnTo>
                      <a:pt x="817" y="1951"/>
                    </a:lnTo>
                    <a:lnTo>
                      <a:pt x="815" y="1945"/>
                    </a:lnTo>
                    <a:lnTo>
                      <a:pt x="814" y="1938"/>
                    </a:lnTo>
                    <a:lnTo>
                      <a:pt x="814" y="1925"/>
                    </a:lnTo>
                    <a:lnTo>
                      <a:pt x="813" y="1918"/>
                    </a:lnTo>
                    <a:lnTo>
                      <a:pt x="812" y="1916"/>
                    </a:lnTo>
                    <a:lnTo>
                      <a:pt x="811" y="1914"/>
                    </a:lnTo>
                    <a:lnTo>
                      <a:pt x="807" y="1913"/>
                    </a:lnTo>
                    <a:lnTo>
                      <a:pt x="804" y="1912"/>
                    </a:lnTo>
                    <a:lnTo>
                      <a:pt x="800" y="1911"/>
                    </a:lnTo>
                    <a:lnTo>
                      <a:pt x="798" y="1908"/>
                    </a:lnTo>
                    <a:lnTo>
                      <a:pt x="796" y="1906"/>
                    </a:lnTo>
                    <a:lnTo>
                      <a:pt x="795" y="1904"/>
                    </a:lnTo>
                    <a:lnTo>
                      <a:pt x="796" y="1901"/>
                    </a:lnTo>
                    <a:lnTo>
                      <a:pt x="798" y="1899"/>
                    </a:lnTo>
                    <a:lnTo>
                      <a:pt x="801" y="1895"/>
                    </a:lnTo>
                    <a:lnTo>
                      <a:pt x="806" y="1893"/>
                    </a:lnTo>
                    <a:lnTo>
                      <a:pt x="811" y="1889"/>
                    </a:lnTo>
                    <a:lnTo>
                      <a:pt x="817" y="1885"/>
                    </a:lnTo>
                    <a:lnTo>
                      <a:pt x="820" y="1880"/>
                    </a:lnTo>
                    <a:lnTo>
                      <a:pt x="824" y="1874"/>
                    </a:lnTo>
                    <a:lnTo>
                      <a:pt x="830" y="1864"/>
                    </a:lnTo>
                    <a:lnTo>
                      <a:pt x="833" y="1861"/>
                    </a:lnTo>
                    <a:lnTo>
                      <a:pt x="838" y="1866"/>
                    </a:lnTo>
                    <a:lnTo>
                      <a:pt x="848" y="1874"/>
                    </a:lnTo>
                    <a:lnTo>
                      <a:pt x="855" y="1878"/>
                    </a:lnTo>
                    <a:lnTo>
                      <a:pt x="865" y="1882"/>
                    </a:lnTo>
                    <a:lnTo>
                      <a:pt x="876" y="1886"/>
                    </a:lnTo>
                    <a:lnTo>
                      <a:pt x="883" y="1887"/>
                    </a:lnTo>
                    <a:lnTo>
                      <a:pt x="887" y="1889"/>
                    </a:lnTo>
                    <a:lnTo>
                      <a:pt x="889" y="1892"/>
                    </a:lnTo>
                    <a:lnTo>
                      <a:pt x="890" y="1894"/>
                    </a:lnTo>
                    <a:lnTo>
                      <a:pt x="890" y="1898"/>
                    </a:lnTo>
                    <a:lnTo>
                      <a:pt x="891" y="1901"/>
                    </a:lnTo>
                    <a:lnTo>
                      <a:pt x="893" y="1905"/>
                    </a:lnTo>
                    <a:lnTo>
                      <a:pt x="894" y="1906"/>
                    </a:lnTo>
                    <a:lnTo>
                      <a:pt x="895" y="1906"/>
                    </a:lnTo>
                    <a:lnTo>
                      <a:pt x="897" y="1906"/>
                    </a:lnTo>
                    <a:lnTo>
                      <a:pt x="900" y="1904"/>
                    </a:lnTo>
                    <a:lnTo>
                      <a:pt x="908" y="1899"/>
                    </a:lnTo>
                    <a:lnTo>
                      <a:pt x="914" y="1894"/>
                    </a:lnTo>
                    <a:lnTo>
                      <a:pt x="915" y="1894"/>
                    </a:lnTo>
                    <a:lnTo>
                      <a:pt x="916" y="1893"/>
                    </a:lnTo>
                    <a:lnTo>
                      <a:pt x="930" y="1885"/>
                    </a:lnTo>
                    <a:lnTo>
                      <a:pt x="943" y="1878"/>
                    </a:lnTo>
                    <a:lnTo>
                      <a:pt x="957" y="1872"/>
                    </a:lnTo>
                    <a:lnTo>
                      <a:pt x="970" y="1868"/>
                    </a:lnTo>
                    <a:lnTo>
                      <a:pt x="976" y="1868"/>
                    </a:lnTo>
                    <a:lnTo>
                      <a:pt x="982" y="1868"/>
                    </a:lnTo>
                    <a:lnTo>
                      <a:pt x="987" y="1870"/>
                    </a:lnTo>
                    <a:lnTo>
                      <a:pt x="991" y="1874"/>
                    </a:lnTo>
                    <a:lnTo>
                      <a:pt x="996" y="1878"/>
                    </a:lnTo>
                    <a:lnTo>
                      <a:pt x="1002" y="1880"/>
                    </a:lnTo>
                    <a:lnTo>
                      <a:pt x="1009" y="1882"/>
                    </a:lnTo>
                    <a:lnTo>
                      <a:pt x="1017" y="1884"/>
                    </a:lnTo>
                    <a:lnTo>
                      <a:pt x="1026" y="1885"/>
                    </a:lnTo>
                    <a:lnTo>
                      <a:pt x="1035" y="1885"/>
                    </a:lnTo>
                    <a:lnTo>
                      <a:pt x="1046" y="1885"/>
                    </a:lnTo>
                    <a:lnTo>
                      <a:pt x="1056" y="1884"/>
                    </a:lnTo>
                    <a:lnTo>
                      <a:pt x="1067" y="1881"/>
                    </a:lnTo>
                    <a:lnTo>
                      <a:pt x="1078" y="1878"/>
                    </a:lnTo>
                    <a:lnTo>
                      <a:pt x="1089" y="1873"/>
                    </a:lnTo>
                    <a:lnTo>
                      <a:pt x="1100" y="1866"/>
                    </a:lnTo>
                    <a:lnTo>
                      <a:pt x="1109" y="1859"/>
                    </a:lnTo>
                    <a:lnTo>
                      <a:pt x="1116" y="1851"/>
                    </a:lnTo>
                    <a:lnTo>
                      <a:pt x="1122" y="1844"/>
                    </a:lnTo>
                    <a:lnTo>
                      <a:pt x="1126" y="1837"/>
                    </a:lnTo>
                    <a:lnTo>
                      <a:pt x="1127" y="1824"/>
                    </a:lnTo>
                    <a:lnTo>
                      <a:pt x="1127" y="1811"/>
                    </a:lnTo>
                    <a:lnTo>
                      <a:pt x="1127" y="1796"/>
                    </a:lnTo>
                    <a:lnTo>
                      <a:pt x="1126" y="1778"/>
                    </a:lnTo>
                    <a:lnTo>
                      <a:pt x="1124" y="1769"/>
                    </a:lnTo>
                    <a:lnTo>
                      <a:pt x="1123" y="1762"/>
                    </a:lnTo>
                    <a:lnTo>
                      <a:pt x="1122" y="1756"/>
                    </a:lnTo>
                    <a:lnTo>
                      <a:pt x="1121" y="1752"/>
                    </a:lnTo>
                    <a:lnTo>
                      <a:pt x="1116" y="1747"/>
                    </a:lnTo>
                    <a:lnTo>
                      <a:pt x="1113" y="1743"/>
                    </a:lnTo>
                    <a:lnTo>
                      <a:pt x="1110" y="1741"/>
                    </a:lnTo>
                    <a:lnTo>
                      <a:pt x="1109" y="1737"/>
                    </a:lnTo>
                    <a:lnTo>
                      <a:pt x="1107" y="1731"/>
                    </a:lnTo>
                    <a:lnTo>
                      <a:pt x="1105" y="1725"/>
                    </a:lnTo>
                    <a:lnTo>
                      <a:pt x="1102" y="1710"/>
                    </a:lnTo>
                    <a:lnTo>
                      <a:pt x="1100" y="1695"/>
                    </a:lnTo>
                    <a:lnTo>
                      <a:pt x="1098" y="1674"/>
                    </a:lnTo>
                    <a:lnTo>
                      <a:pt x="1097" y="1652"/>
                    </a:lnTo>
                    <a:lnTo>
                      <a:pt x="1097" y="1641"/>
                    </a:lnTo>
                    <a:lnTo>
                      <a:pt x="1097" y="1630"/>
                    </a:lnTo>
                    <a:lnTo>
                      <a:pt x="1100" y="1622"/>
                    </a:lnTo>
                    <a:lnTo>
                      <a:pt x="1102" y="1615"/>
                    </a:lnTo>
                    <a:lnTo>
                      <a:pt x="1115" y="1602"/>
                    </a:lnTo>
                    <a:lnTo>
                      <a:pt x="1133" y="1585"/>
                    </a:lnTo>
                    <a:lnTo>
                      <a:pt x="1142" y="1577"/>
                    </a:lnTo>
                    <a:lnTo>
                      <a:pt x="1151" y="1567"/>
                    </a:lnTo>
                    <a:lnTo>
                      <a:pt x="1154" y="1563"/>
                    </a:lnTo>
                    <a:lnTo>
                      <a:pt x="1157" y="1558"/>
                    </a:lnTo>
                    <a:lnTo>
                      <a:pt x="1159" y="1554"/>
                    </a:lnTo>
                    <a:lnTo>
                      <a:pt x="1160" y="1550"/>
                    </a:lnTo>
                    <a:lnTo>
                      <a:pt x="1161" y="1540"/>
                    </a:lnTo>
                    <a:lnTo>
                      <a:pt x="1161" y="1529"/>
                    </a:lnTo>
                    <a:lnTo>
                      <a:pt x="1161" y="1519"/>
                    </a:lnTo>
                    <a:lnTo>
                      <a:pt x="1161" y="1508"/>
                    </a:lnTo>
                    <a:lnTo>
                      <a:pt x="1159" y="1498"/>
                    </a:lnTo>
                    <a:lnTo>
                      <a:pt x="1158" y="1488"/>
                    </a:lnTo>
                    <a:lnTo>
                      <a:pt x="1154" y="1479"/>
                    </a:lnTo>
                    <a:lnTo>
                      <a:pt x="1151" y="1472"/>
                    </a:lnTo>
                    <a:lnTo>
                      <a:pt x="1148" y="1466"/>
                    </a:lnTo>
                    <a:lnTo>
                      <a:pt x="1147" y="1460"/>
                    </a:lnTo>
                    <a:lnTo>
                      <a:pt x="1146" y="1456"/>
                    </a:lnTo>
                    <a:lnTo>
                      <a:pt x="1147" y="1451"/>
                    </a:lnTo>
                    <a:lnTo>
                      <a:pt x="1151" y="1443"/>
                    </a:lnTo>
                    <a:lnTo>
                      <a:pt x="1157" y="1435"/>
                    </a:lnTo>
                    <a:lnTo>
                      <a:pt x="1159" y="1432"/>
                    </a:lnTo>
                    <a:lnTo>
                      <a:pt x="1163" y="1427"/>
                    </a:lnTo>
                    <a:lnTo>
                      <a:pt x="1164" y="1422"/>
                    </a:lnTo>
                    <a:lnTo>
                      <a:pt x="1165" y="1416"/>
                    </a:lnTo>
                    <a:lnTo>
                      <a:pt x="1165" y="1412"/>
                    </a:lnTo>
                    <a:lnTo>
                      <a:pt x="1164" y="1406"/>
                    </a:lnTo>
                    <a:lnTo>
                      <a:pt x="1161" y="1400"/>
                    </a:lnTo>
                    <a:lnTo>
                      <a:pt x="1157" y="1395"/>
                    </a:lnTo>
                    <a:lnTo>
                      <a:pt x="1144" y="1384"/>
                    </a:lnTo>
                    <a:lnTo>
                      <a:pt x="1127" y="1374"/>
                    </a:lnTo>
                    <a:lnTo>
                      <a:pt x="1119" y="1369"/>
                    </a:lnTo>
                    <a:lnTo>
                      <a:pt x="1111" y="1364"/>
                    </a:lnTo>
                    <a:lnTo>
                      <a:pt x="1105" y="1362"/>
                    </a:lnTo>
                    <a:lnTo>
                      <a:pt x="1100" y="1362"/>
                    </a:lnTo>
                    <a:lnTo>
                      <a:pt x="1084" y="1363"/>
                    </a:lnTo>
                    <a:lnTo>
                      <a:pt x="1070" y="1363"/>
                    </a:lnTo>
                    <a:lnTo>
                      <a:pt x="1066" y="1362"/>
                    </a:lnTo>
                    <a:lnTo>
                      <a:pt x="1064" y="1359"/>
                    </a:lnTo>
                    <a:lnTo>
                      <a:pt x="1059" y="1352"/>
                    </a:lnTo>
                    <a:lnTo>
                      <a:pt x="1054" y="1342"/>
                    </a:lnTo>
                    <a:lnTo>
                      <a:pt x="1051" y="1337"/>
                    </a:lnTo>
                    <a:lnTo>
                      <a:pt x="1046" y="1332"/>
                    </a:lnTo>
                    <a:lnTo>
                      <a:pt x="1041" y="1327"/>
                    </a:lnTo>
                    <a:lnTo>
                      <a:pt x="1034" y="1324"/>
                    </a:lnTo>
                    <a:lnTo>
                      <a:pt x="1021" y="1318"/>
                    </a:lnTo>
                    <a:lnTo>
                      <a:pt x="1012" y="1314"/>
                    </a:lnTo>
                    <a:lnTo>
                      <a:pt x="1006" y="1311"/>
                    </a:lnTo>
                    <a:lnTo>
                      <a:pt x="1001" y="1306"/>
                    </a:lnTo>
                    <a:lnTo>
                      <a:pt x="998" y="1303"/>
                    </a:lnTo>
                    <a:lnTo>
                      <a:pt x="997" y="1302"/>
                    </a:lnTo>
                    <a:lnTo>
                      <a:pt x="995" y="1302"/>
                    </a:lnTo>
                    <a:lnTo>
                      <a:pt x="993" y="1302"/>
                    </a:lnTo>
                    <a:lnTo>
                      <a:pt x="989" y="1305"/>
                    </a:lnTo>
                    <a:lnTo>
                      <a:pt x="985" y="1311"/>
                    </a:lnTo>
                    <a:lnTo>
                      <a:pt x="984" y="1313"/>
                    </a:lnTo>
                    <a:lnTo>
                      <a:pt x="982" y="1314"/>
                    </a:lnTo>
                    <a:lnTo>
                      <a:pt x="978" y="1315"/>
                    </a:lnTo>
                    <a:lnTo>
                      <a:pt x="975" y="1317"/>
                    </a:lnTo>
                    <a:lnTo>
                      <a:pt x="971" y="1317"/>
                    </a:lnTo>
                    <a:lnTo>
                      <a:pt x="966" y="1315"/>
                    </a:lnTo>
                    <a:lnTo>
                      <a:pt x="962" y="1313"/>
                    </a:lnTo>
                    <a:lnTo>
                      <a:pt x="957" y="1309"/>
                    </a:lnTo>
                    <a:lnTo>
                      <a:pt x="949" y="1302"/>
                    </a:lnTo>
                    <a:lnTo>
                      <a:pt x="941" y="1294"/>
                    </a:lnTo>
                    <a:lnTo>
                      <a:pt x="937" y="1286"/>
                    </a:lnTo>
                    <a:lnTo>
                      <a:pt x="934" y="1275"/>
                    </a:lnTo>
                    <a:lnTo>
                      <a:pt x="933" y="1270"/>
                    </a:lnTo>
                    <a:lnTo>
                      <a:pt x="931" y="1267"/>
                    </a:lnTo>
                    <a:lnTo>
                      <a:pt x="928" y="1264"/>
                    </a:lnTo>
                    <a:lnTo>
                      <a:pt x="927" y="1263"/>
                    </a:lnTo>
                    <a:lnTo>
                      <a:pt x="921" y="1263"/>
                    </a:lnTo>
                    <a:lnTo>
                      <a:pt x="914" y="1265"/>
                    </a:lnTo>
                    <a:lnTo>
                      <a:pt x="912" y="1267"/>
                    </a:lnTo>
                    <a:lnTo>
                      <a:pt x="909" y="1267"/>
                    </a:lnTo>
                    <a:lnTo>
                      <a:pt x="907" y="1265"/>
                    </a:lnTo>
                    <a:lnTo>
                      <a:pt x="906" y="1264"/>
                    </a:lnTo>
                    <a:lnTo>
                      <a:pt x="901" y="1261"/>
                    </a:lnTo>
                    <a:lnTo>
                      <a:pt x="899" y="1256"/>
                    </a:lnTo>
                    <a:lnTo>
                      <a:pt x="897" y="1249"/>
                    </a:lnTo>
                    <a:lnTo>
                      <a:pt x="896" y="1243"/>
                    </a:lnTo>
                    <a:lnTo>
                      <a:pt x="895" y="1237"/>
                    </a:lnTo>
                    <a:lnTo>
                      <a:pt x="890" y="1231"/>
                    </a:lnTo>
                    <a:lnTo>
                      <a:pt x="883" y="1224"/>
                    </a:lnTo>
                    <a:lnTo>
                      <a:pt x="874" y="1218"/>
                    </a:lnTo>
                    <a:lnTo>
                      <a:pt x="864" y="1213"/>
                    </a:lnTo>
                    <a:lnTo>
                      <a:pt x="857" y="1208"/>
                    </a:lnTo>
                    <a:lnTo>
                      <a:pt x="848" y="1202"/>
                    </a:lnTo>
                    <a:lnTo>
                      <a:pt x="837" y="1197"/>
                    </a:lnTo>
                    <a:lnTo>
                      <a:pt x="827" y="1191"/>
                    </a:lnTo>
                    <a:lnTo>
                      <a:pt x="820" y="1188"/>
                    </a:lnTo>
                    <a:lnTo>
                      <a:pt x="817" y="1187"/>
                    </a:lnTo>
                    <a:lnTo>
                      <a:pt x="811" y="1187"/>
                    </a:lnTo>
                    <a:lnTo>
                      <a:pt x="804" y="1187"/>
                    </a:lnTo>
                    <a:lnTo>
                      <a:pt x="793" y="1189"/>
                    </a:lnTo>
                    <a:lnTo>
                      <a:pt x="785" y="1189"/>
                    </a:lnTo>
                    <a:lnTo>
                      <a:pt x="779" y="1189"/>
                    </a:lnTo>
                    <a:lnTo>
                      <a:pt x="774" y="1188"/>
                    </a:lnTo>
                    <a:lnTo>
                      <a:pt x="770" y="1186"/>
                    </a:lnTo>
                    <a:lnTo>
                      <a:pt x="767" y="1179"/>
                    </a:lnTo>
                    <a:lnTo>
                      <a:pt x="764" y="1169"/>
                    </a:lnTo>
                    <a:lnTo>
                      <a:pt x="763" y="1166"/>
                    </a:lnTo>
                    <a:lnTo>
                      <a:pt x="761" y="1163"/>
                    </a:lnTo>
                    <a:lnTo>
                      <a:pt x="758" y="1161"/>
                    </a:lnTo>
                    <a:lnTo>
                      <a:pt x="755" y="1160"/>
                    </a:lnTo>
                    <a:lnTo>
                      <a:pt x="746" y="1157"/>
                    </a:lnTo>
                    <a:lnTo>
                      <a:pt x="737" y="1155"/>
                    </a:lnTo>
                    <a:lnTo>
                      <a:pt x="717" y="1155"/>
                    </a:lnTo>
                    <a:lnTo>
                      <a:pt x="700" y="1154"/>
                    </a:lnTo>
                    <a:lnTo>
                      <a:pt x="692" y="1154"/>
                    </a:lnTo>
                    <a:lnTo>
                      <a:pt x="687" y="1151"/>
                    </a:lnTo>
                    <a:lnTo>
                      <a:pt x="686" y="1150"/>
                    </a:lnTo>
                    <a:lnTo>
                      <a:pt x="685" y="1147"/>
                    </a:lnTo>
                    <a:lnTo>
                      <a:pt x="685" y="1143"/>
                    </a:lnTo>
                    <a:lnTo>
                      <a:pt x="685" y="1137"/>
                    </a:lnTo>
                    <a:lnTo>
                      <a:pt x="683" y="1128"/>
                    </a:lnTo>
                    <a:lnTo>
                      <a:pt x="683" y="1117"/>
                    </a:lnTo>
                    <a:lnTo>
                      <a:pt x="685" y="1110"/>
                    </a:lnTo>
                    <a:lnTo>
                      <a:pt x="686" y="1103"/>
                    </a:lnTo>
                    <a:lnTo>
                      <a:pt x="687" y="1098"/>
                    </a:lnTo>
                    <a:lnTo>
                      <a:pt x="689" y="1093"/>
                    </a:lnTo>
                    <a:lnTo>
                      <a:pt x="691" y="1088"/>
                    </a:lnTo>
                    <a:lnTo>
                      <a:pt x="692" y="1085"/>
                    </a:lnTo>
                    <a:lnTo>
                      <a:pt x="692" y="1081"/>
                    </a:lnTo>
                    <a:lnTo>
                      <a:pt x="692" y="1078"/>
                    </a:lnTo>
                    <a:lnTo>
                      <a:pt x="688" y="1069"/>
                    </a:lnTo>
                    <a:lnTo>
                      <a:pt x="683" y="1063"/>
                    </a:lnTo>
                    <a:lnTo>
                      <a:pt x="680" y="1061"/>
                    </a:lnTo>
                    <a:lnTo>
                      <a:pt x="679" y="1059"/>
                    </a:lnTo>
                    <a:lnTo>
                      <a:pt x="682" y="1060"/>
                    </a:lnTo>
                    <a:lnTo>
                      <a:pt x="688" y="1061"/>
                    </a:lnTo>
                    <a:lnTo>
                      <a:pt x="692" y="1061"/>
                    </a:lnTo>
                    <a:lnTo>
                      <a:pt x="697" y="1061"/>
                    </a:lnTo>
                    <a:lnTo>
                      <a:pt x="698" y="1061"/>
                    </a:lnTo>
                    <a:lnTo>
                      <a:pt x="699" y="1060"/>
                    </a:lnTo>
                    <a:lnTo>
                      <a:pt x="700" y="1059"/>
                    </a:lnTo>
                    <a:lnTo>
                      <a:pt x="700" y="1056"/>
                    </a:lnTo>
                    <a:lnTo>
                      <a:pt x="700" y="1054"/>
                    </a:lnTo>
                    <a:lnTo>
                      <a:pt x="702" y="1053"/>
                    </a:lnTo>
                    <a:lnTo>
                      <a:pt x="704" y="1051"/>
                    </a:lnTo>
                    <a:lnTo>
                      <a:pt x="706" y="1050"/>
                    </a:lnTo>
                    <a:lnTo>
                      <a:pt x="711" y="1049"/>
                    </a:lnTo>
                    <a:lnTo>
                      <a:pt x="713" y="1047"/>
                    </a:lnTo>
                    <a:lnTo>
                      <a:pt x="716" y="1041"/>
                    </a:lnTo>
                    <a:lnTo>
                      <a:pt x="716" y="1037"/>
                    </a:lnTo>
                    <a:lnTo>
                      <a:pt x="713" y="1032"/>
                    </a:lnTo>
                    <a:lnTo>
                      <a:pt x="710" y="1029"/>
                    </a:lnTo>
                    <a:lnTo>
                      <a:pt x="701" y="1023"/>
                    </a:lnTo>
                    <a:lnTo>
                      <a:pt x="695" y="1018"/>
                    </a:lnTo>
                    <a:lnTo>
                      <a:pt x="693" y="1016"/>
                    </a:lnTo>
                    <a:lnTo>
                      <a:pt x="692" y="1012"/>
                    </a:lnTo>
                    <a:lnTo>
                      <a:pt x="694" y="1009"/>
                    </a:lnTo>
                    <a:lnTo>
                      <a:pt x="697" y="1006"/>
                    </a:lnTo>
                    <a:lnTo>
                      <a:pt x="699" y="1004"/>
                    </a:lnTo>
                    <a:lnTo>
                      <a:pt x="701" y="1002"/>
                    </a:lnTo>
                    <a:lnTo>
                      <a:pt x="701" y="999"/>
                    </a:lnTo>
                    <a:lnTo>
                      <a:pt x="701" y="998"/>
                    </a:lnTo>
                    <a:lnTo>
                      <a:pt x="699" y="993"/>
                    </a:lnTo>
                    <a:lnTo>
                      <a:pt x="694" y="986"/>
                    </a:lnTo>
                    <a:lnTo>
                      <a:pt x="692" y="984"/>
                    </a:lnTo>
                    <a:lnTo>
                      <a:pt x="691" y="980"/>
                    </a:lnTo>
                    <a:lnTo>
                      <a:pt x="691" y="975"/>
                    </a:lnTo>
                    <a:lnTo>
                      <a:pt x="691" y="969"/>
                    </a:lnTo>
                    <a:lnTo>
                      <a:pt x="691" y="952"/>
                    </a:lnTo>
                    <a:lnTo>
                      <a:pt x="691" y="934"/>
                    </a:lnTo>
                    <a:lnTo>
                      <a:pt x="692" y="923"/>
                    </a:lnTo>
                    <a:lnTo>
                      <a:pt x="695" y="914"/>
                    </a:lnTo>
                    <a:lnTo>
                      <a:pt x="700" y="904"/>
                    </a:lnTo>
                    <a:lnTo>
                      <a:pt x="706" y="897"/>
                    </a:lnTo>
                    <a:lnTo>
                      <a:pt x="712" y="890"/>
                    </a:lnTo>
                    <a:lnTo>
                      <a:pt x="717" y="883"/>
                    </a:lnTo>
                    <a:lnTo>
                      <a:pt x="718" y="880"/>
                    </a:lnTo>
                    <a:lnTo>
                      <a:pt x="719" y="877"/>
                    </a:lnTo>
                    <a:lnTo>
                      <a:pt x="718" y="873"/>
                    </a:lnTo>
                    <a:lnTo>
                      <a:pt x="714" y="871"/>
                    </a:lnTo>
                    <a:lnTo>
                      <a:pt x="708" y="866"/>
                    </a:lnTo>
                    <a:lnTo>
                      <a:pt x="705" y="861"/>
                    </a:lnTo>
                    <a:lnTo>
                      <a:pt x="705" y="858"/>
                    </a:lnTo>
                    <a:lnTo>
                      <a:pt x="705" y="855"/>
                    </a:lnTo>
                    <a:lnTo>
                      <a:pt x="706" y="853"/>
                    </a:lnTo>
                    <a:lnTo>
                      <a:pt x="708" y="849"/>
                    </a:lnTo>
                    <a:lnTo>
                      <a:pt x="716" y="842"/>
                    </a:lnTo>
                    <a:lnTo>
                      <a:pt x="726" y="832"/>
                    </a:lnTo>
                    <a:lnTo>
                      <a:pt x="736" y="823"/>
                    </a:lnTo>
                    <a:lnTo>
                      <a:pt x="744" y="817"/>
                    </a:lnTo>
                    <a:lnTo>
                      <a:pt x="750" y="815"/>
                    </a:lnTo>
                    <a:lnTo>
                      <a:pt x="755" y="811"/>
                    </a:lnTo>
                    <a:lnTo>
                      <a:pt x="758" y="807"/>
                    </a:lnTo>
                    <a:lnTo>
                      <a:pt x="761" y="801"/>
                    </a:lnTo>
                    <a:lnTo>
                      <a:pt x="763" y="797"/>
                    </a:lnTo>
                    <a:lnTo>
                      <a:pt x="765" y="794"/>
                    </a:lnTo>
                    <a:lnTo>
                      <a:pt x="769" y="791"/>
                    </a:lnTo>
                    <a:lnTo>
                      <a:pt x="773" y="788"/>
                    </a:lnTo>
                    <a:lnTo>
                      <a:pt x="783" y="783"/>
                    </a:lnTo>
                    <a:lnTo>
                      <a:pt x="796" y="779"/>
                    </a:lnTo>
                    <a:lnTo>
                      <a:pt x="808" y="776"/>
                    </a:lnTo>
                    <a:lnTo>
                      <a:pt x="817" y="771"/>
                    </a:lnTo>
                    <a:lnTo>
                      <a:pt x="821" y="766"/>
                    </a:lnTo>
                    <a:lnTo>
                      <a:pt x="825" y="759"/>
                    </a:lnTo>
                    <a:lnTo>
                      <a:pt x="826" y="754"/>
                    </a:lnTo>
                    <a:lnTo>
                      <a:pt x="826" y="751"/>
                    </a:lnTo>
                    <a:lnTo>
                      <a:pt x="825" y="746"/>
                    </a:lnTo>
                    <a:lnTo>
                      <a:pt x="824" y="742"/>
                    </a:lnTo>
                    <a:lnTo>
                      <a:pt x="824" y="740"/>
                    </a:lnTo>
                    <a:lnTo>
                      <a:pt x="825" y="740"/>
                    </a:lnTo>
                    <a:lnTo>
                      <a:pt x="826" y="739"/>
                    </a:lnTo>
                    <a:lnTo>
                      <a:pt x="830" y="740"/>
                    </a:lnTo>
                    <a:lnTo>
                      <a:pt x="834" y="741"/>
                    </a:lnTo>
                    <a:lnTo>
                      <a:pt x="840" y="744"/>
                    </a:lnTo>
                    <a:lnTo>
                      <a:pt x="855" y="746"/>
                    </a:lnTo>
                    <a:lnTo>
                      <a:pt x="875" y="750"/>
                    </a:lnTo>
                    <a:lnTo>
                      <a:pt x="886" y="753"/>
                    </a:lnTo>
                    <a:lnTo>
                      <a:pt x="896" y="756"/>
                    </a:lnTo>
                    <a:lnTo>
                      <a:pt x="907" y="759"/>
                    </a:lnTo>
                    <a:lnTo>
                      <a:pt x="915" y="764"/>
                    </a:lnTo>
                    <a:lnTo>
                      <a:pt x="922" y="769"/>
                    </a:lnTo>
                    <a:lnTo>
                      <a:pt x="927" y="772"/>
                    </a:lnTo>
                    <a:lnTo>
                      <a:pt x="932" y="777"/>
                    </a:lnTo>
                    <a:lnTo>
                      <a:pt x="934" y="782"/>
                    </a:lnTo>
                    <a:lnTo>
                      <a:pt x="939" y="794"/>
                    </a:lnTo>
                    <a:lnTo>
                      <a:pt x="943" y="810"/>
                    </a:lnTo>
                    <a:lnTo>
                      <a:pt x="946" y="826"/>
                    </a:lnTo>
                    <a:lnTo>
                      <a:pt x="950" y="839"/>
                    </a:lnTo>
                    <a:lnTo>
                      <a:pt x="953" y="842"/>
                    </a:lnTo>
                    <a:lnTo>
                      <a:pt x="957" y="847"/>
                    </a:lnTo>
                    <a:lnTo>
                      <a:pt x="962" y="849"/>
                    </a:lnTo>
                    <a:lnTo>
                      <a:pt x="966" y="852"/>
                    </a:lnTo>
                    <a:lnTo>
                      <a:pt x="974" y="854"/>
                    </a:lnTo>
                    <a:lnTo>
                      <a:pt x="979" y="854"/>
                    </a:lnTo>
                    <a:lnTo>
                      <a:pt x="987" y="854"/>
                    </a:lnTo>
                    <a:lnTo>
                      <a:pt x="994" y="853"/>
                    </a:lnTo>
                    <a:lnTo>
                      <a:pt x="1007" y="849"/>
                    </a:lnTo>
                    <a:lnTo>
                      <a:pt x="1019" y="845"/>
                    </a:lnTo>
                    <a:lnTo>
                      <a:pt x="1029" y="841"/>
                    </a:lnTo>
                    <a:lnTo>
                      <a:pt x="1044" y="839"/>
                    </a:lnTo>
                    <a:lnTo>
                      <a:pt x="1059" y="838"/>
                    </a:lnTo>
                    <a:lnTo>
                      <a:pt x="1076" y="836"/>
                    </a:lnTo>
                    <a:lnTo>
                      <a:pt x="1091" y="835"/>
                    </a:lnTo>
                    <a:lnTo>
                      <a:pt x="1105" y="833"/>
                    </a:lnTo>
                    <a:lnTo>
                      <a:pt x="1121" y="832"/>
                    </a:lnTo>
                    <a:lnTo>
                      <a:pt x="1140" y="832"/>
                    </a:lnTo>
                    <a:lnTo>
                      <a:pt x="1160" y="832"/>
                    </a:lnTo>
                    <a:lnTo>
                      <a:pt x="1176" y="832"/>
                    </a:lnTo>
                    <a:lnTo>
                      <a:pt x="1183" y="830"/>
                    </a:lnTo>
                    <a:lnTo>
                      <a:pt x="1190" y="828"/>
                    </a:lnTo>
                    <a:lnTo>
                      <a:pt x="1195" y="827"/>
                    </a:lnTo>
                    <a:lnTo>
                      <a:pt x="1201" y="823"/>
                    </a:lnTo>
                    <a:lnTo>
                      <a:pt x="1204" y="820"/>
                    </a:lnTo>
                    <a:lnTo>
                      <a:pt x="1207" y="815"/>
                    </a:lnTo>
                    <a:lnTo>
                      <a:pt x="1208" y="808"/>
                    </a:lnTo>
                    <a:lnTo>
                      <a:pt x="1208" y="801"/>
                    </a:lnTo>
                    <a:lnTo>
                      <a:pt x="1207" y="786"/>
                    </a:lnTo>
                    <a:lnTo>
                      <a:pt x="1205" y="773"/>
                    </a:lnTo>
                    <a:lnTo>
                      <a:pt x="1205" y="760"/>
                    </a:lnTo>
                    <a:lnTo>
                      <a:pt x="1204" y="744"/>
                    </a:lnTo>
                    <a:lnTo>
                      <a:pt x="1204" y="725"/>
                    </a:lnTo>
                    <a:lnTo>
                      <a:pt x="1207" y="708"/>
                    </a:lnTo>
                    <a:lnTo>
                      <a:pt x="1208" y="701"/>
                    </a:lnTo>
                    <a:lnTo>
                      <a:pt x="1211" y="695"/>
                    </a:lnTo>
                    <a:lnTo>
                      <a:pt x="1214" y="690"/>
                    </a:lnTo>
                    <a:lnTo>
                      <a:pt x="1217" y="687"/>
                    </a:lnTo>
                    <a:lnTo>
                      <a:pt x="1221" y="685"/>
                    </a:lnTo>
                    <a:lnTo>
                      <a:pt x="1224" y="684"/>
                    </a:lnTo>
                    <a:lnTo>
                      <a:pt x="1228" y="687"/>
                    </a:lnTo>
                    <a:lnTo>
                      <a:pt x="1230" y="689"/>
                    </a:lnTo>
                    <a:lnTo>
                      <a:pt x="1245" y="708"/>
                    </a:lnTo>
                    <a:lnTo>
                      <a:pt x="1258" y="723"/>
                    </a:lnTo>
                    <a:lnTo>
                      <a:pt x="1260" y="725"/>
                    </a:lnTo>
                    <a:lnTo>
                      <a:pt x="1262" y="726"/>
                    </a:lnTo>
                    <a:lnTo>
                      <a:pt x="1266" y="726"/>
                    </a:lnTo>
                    <a:lnTo>
                      <a:pt x="1268" y="725"/>
                    </a:lnTo>
                    <a:lnTo>
                      <a:pt x="1273" y="719"/>
                    </a:lnTo>
                    <a:lnTo>
                      <a:pt x="1279" y="708"/>
                    </a:lnTo>
                    <a:lnTo>
                      <a:pt x="1286" y="695"/>
                    </a:lnTo>
                    <a:lnTo>
                      <a:pt x="1291" y="679"/>
                    </a:lnTo>
                    <a:lnTo>
                      <a:pt x="1294" y="665"/>
                    </a:lnTo>
                    <a:lnTo>
                      <a:pt x="1298" y="652"/>
                    </a:lnTo>
                    <a:lnTo>
                      <a:pt x="1298" y="647"/>
                    </a:lnTo>
                    <a:lnTo>
                      <a:pt x="1298" y="643"/>
                    </a:lnTo>
                    <a:lnTo>
                      <a:pt x="1297" y="639"/>
                    </a:lnTo>
                    <a:lnTo>
                      <a:pt x="1294" y="635"/>
                    </a:lnTo>
                    <a:lnTo>
                      <a:pt x="1289" y="631"/>
                    </a:lnTo>
                    <a:lnTo>
                      <a:pt x="1280" y="626"/>
                    </a:lnTo>
                    <a:lnTo>
                      <a:pt x="1274" y="622"/>
                    </a:lnTo>
                    <a:lnTo>
                      <a:pt x="1268" y="619"/>
                    </a:lnTo>
                    <a:lnTo>
                      <a:pt x="1262" y="614"/>
                    </a:lnTo>
                    <a:lnTo>
                      <a:pt x="1258" y="608"/>
                    </a:lnTo>
                    <a:lnTo>
                      <a:pt x="1253" y="602"/>
                    </a:lnTo>
                    <a:lnTo>
                      <a:pt x="1249" y="596"/>
                    </a:lnTo>
                    <a:lnTo>
                      <a:pt x="1248" y="590"/>
                    </a:lnTo>
                    <a:lnTo>
                      <a:pt x="1249" y="584"/>
                    </a:lnTo>
                    <a:lnTo>
                      <a:pt x="1253" y="576"/>
                    </a:lnTo>
                    <a:lnTo>
                      <a:pt x="1258" y="569"/>
                    </a:lnTo>
                    <a:lnTo>
                      <a:pt x="1259" y="565"/>
                    </a:lnTo>
                    <a:lnTo>
                      <a:pt x="1260" y="562"/>
                    </a:lnTo>
                    <a:lnTo>
                      <a:pt x="1261" y="557"/>
                    </a:lnTo>
                    <a:lnTo>
                      <a:pt x="1261" y="551"/>
                    </a:lnTo>
                    <a:lnTo>
                      <a:pt x="1261" y="539"/>
                    </a:lnTo>
                    <a:lnTo>
                      <a:pt x="1261" y="530"/>
                    </a:lnTo>
                    <a:lnTo>
                      <a:pt x="1262" y="526"/>
                    </a:lnTo>
                    <a:lnTo>
                      <a:pt x="1264" y="523"/>
                    </a:lnTo>
                    <a:lnTo>
                      <a:pt x="1266" y="520"/>
                    </a:lnTo>
                    <a:lnTo>
                      <a:pt x="1270" y="519"/>
                    </a:lnTo>
                    <a:lnTo>
                      <a:pt x="1278" y="518"/>
                    </a:lnTo>
                    <a:lnTo>
                      <a:pt x="1284" y="517"/>
                    </a:lnTo>
                    <a:lnTo>
                      <a:pt x="1286" y="515"/>
                    </a:lnTo>
                    <a:lnTo>
                      <a:pt x="1289" y="513"/>
                    </a:lnTo>
                    <a:lnTo>
                      <a:pt x="1291" y="509"/>
                    </a:lnTo>
                    <a:lnTo>
                      <a:pt x="1293" y="505"/>
                    </a:lnTo>
                    <a:lnTo>
                      <a:pt x="1299" y="494"/>
                    </a:lnTo>
                    <a:lnTo>
                      <a:pt x="1308" y="483"/>
                    </a:lnTo>
                    <a:lnTo>
                      <a:pt x="1316" y="473"/>
                    </a:lnTo>
                    <a:lnTo>
                      <a:pt x="1323" y="461"/>
                    </a:lnTo>
                    <a:lnTo>
                      <a:pt x="1325" y="456"/>
                    </a:lnTo>
                    <a:lnTo>
                      <a:pt x="1328" y="452"/>
                    </a:lnTo>
                    <a:lnTo>
                      <a:pt x="1330" y="449"/>
                    </a:lnTo>
                    <a:lnTo>
                      <a:pt x="1334" y="445"/>
                    </a:lnTo>
                    <a:lnTo>
                      <a:pt x="1343" y="439"/>
                    </a:lnTo>
                    <a:lnTo>
                      <a:pt x="1357" y="432"/>
                    </a:lnTo>
                    <a:lnTo>
                      <a:pt x="1373" y="424"/>
                    </a:lnTo>
                    <a:lnTo>
                      <a:pt x="1385" y="418"/>
                    </a:lnTo>
                    <a:lnTo>
                      <a:pt x="1388" y="414"/>
                    </a:lnTo>
                    <a:lnTo>
                      <a:pt x="1392" y="411"/>
                    </a:lnTo>
                    <a:lnTo>
                      <a:pt x="1394" y="408"/>
                    </a:lnTo>
                    <a:lnTo>
                      <a:pt x="1394" y="404"/>
                    </a:lnTo>
                    <a:lnTo>
                      <a:pt x="1394" y="395"/>
                    </a:lnTo>
                    <a:lnTo>
                      <a:pt x="1393" y="386"/>
                    </a:lnTo>
                    <a:lnTo>
                      <a:pt x="1393" y="381"/>
                    </a:lnTo>
                    <a:lnTo>
                      <a:pt x="1394" y="378"/>
                    </a:lnTo>
                    <a:lnTo>
                      <a:pt x="1397" y="375"/>
                    </a:lnTo>
                    <a:lnTo>
                      <a:pt x="1400" y="374"/>
                    </a:lnTo>
                    <a:lnTo>
                      <a:pt x="1407" y="372"/>
                    </a:lnTo>
                    <a:lnTo>
                      <a:pt x="1413" y="368"/>
                    </a:lnTo>
                    <a:lnTo>
                      <a:pt x="1416" y="366"/>
                    </a:lnTo>
                    <a:lnTo>
                      <a:pt x="1418" y="362"/>
                    </a:lnTo>
                    <a:lnTo>
                      <a:pt x="1420" y="359"/>
                    </a:lnTo>
                    <a:lnTo>
                      <a:pt x="1422" y="353"/>
                    </a:lnTo>
                    <a:lnTo>
                      <a:pt x="1425" y="343"/>
                    </a:lnTo>
                    <a:lnTo>
                      <a:pt x="1429" y="336"/>
                    </a:lnTo>
                    <a:lnTo>
                      <a:pt x="1431" y="334"/>
                    </a:lnTo>
                    <a:lnTo>
                      <a:pt x="1435" y="331"/>
                    </a:lnTo>
                    <a:lnTo>
                      <a:pt x="1441" y="330"/>
                    </a:lnTo>
                    <a:lnTo>
                      <a:pt x="1447" y="330"/>
                    </a:lnTo>
                    <a:lnTo>
                      <a:pt x="1460" y="329"/>
                    </a:lnTo>
                    <a:lnTo>
                      <a:pt x="1469" y="328"/>
                    </a:lnTo>
                    <a:lnTo>
                      <a:pt x="1472" y="325"/>
                    </a:lnTo>
                    <a:lnTo>
                      <a:pt x="1474" y="323"/>
                    </a:lnTo>
                    <a:lnTo>
                      <a:pt x="1476" y="321"/>
                    </a:lnTo>
                    <a:lnTo>
                      <a:pt x="1478" y="317"/>
                    </a:lnTo>
                    <a:lnTo>
                      <a:pt x="1481" y="309"/>
                    </a:lnTo>
                    <a:lnTo>
                      <a:pt x="1486" y="300"/>
                    </a:lnTo>
                    <a:lnTo>
                      <a:pt x="1492" y="293"/>
                    </a:lnTo>
                    <a:lnTo>
                      <a:pt x="1499" y="287"/>
                    </a:lnTo>
                    <a:lnTo>
                      <a:pt x="1505" y="284"/>
                    </a:lnTo>
                    <a:lnTo>
                      <a:pt x="1508" y="280"/>
                    </a:lnTo>
                    <a:lnTo>
                      <a:pt x="1508" y="274"/>
                    </a:lnTo>
                    <a:lnTo>
                      <a:pt x="1508" y="263"/>
                    </a:lnTo>
                    <a:lnTo>
                      <a:pt x="1508" y="249"/>
                    </a:lnTo>
                    <a:lnTo>
                      <a:pt x="1508" y="235"/>
                    </a:lnTo>
                    <a:lnTo>
                      <a:pt x="1510" y="229"/>
                    </a:lnTo>
                    <a:lnTo>
                      <a:pt x="1512" y="223"/>
                    </a:lnTo>
                    <a:lnTo>
                      <a:pt x="1514" y="219"/>
                    </a:lnTo>
                    <a:lnTo>
                      <a:pt x="1519" y="217"/>
                    </a:lnTo>
                    <a:lnTo>
                      <a:pt x="1530" y="215"/>
                    </a:lnTo>
                    <a:lnTo>
                      <a:pt x="1541" y="212"/>
                    </a:lnTo>
                    <a:lnTo>
                      <a:pt x="1545" y="210"/>
                    </a:lnTo>
                    <a:lnTo>
                      <a:pt x="1551" y="208"/>
                    </a:lnTo>
                    <a:lnTo>
                      <a:pt x="1555" y="204"/>
                    </a:lnTo>
                    <a:lnTo>
                      <a:pt x="1560" y="200"/>
                    </a:lnTo>
                    <a:lnTo>
                      <a:pt x="1568" y="190"/>
                    </a:lnTo>
                    <a:lnTo>
                      <a:pt x="1577" y="177"/>
                    </a:lnTo>
                    <a:lnTo>
                      <a:pt x="1583" y="171"/>
                    </a:lnTo>
                    <a:lnTo>
                      <a:pt x="1589" y="165"/>
                    </a:lnTo>
                    <a:lnTo>
                      <a:pt x="1595" y="160"/>
                    </a:lnTo>
                    <a:lnTo>
                      <a:pt x="1601" y="158"/>
                    </a:lnTo>
                    <a:lnTo>
                      <a:pt x="1612" y="153"/>
                    </a:lnTo>
                    <a:lnTo>
                      <a:pt x="1619" y="152"/>
                    </a:lnTo>
                    <a:lnTo>
                      <a:pt x="1626" y="152"/>
                    </a:lnTo>
                    <a:lnTo>
                      <a:pt x="1632" y="152"/>
                    </a:lnTo>
                    <a:lnTo>
                      <a:pt x="1638" y="151"/>
                    </a:lnTo>
                    <a:lnTo>
                      <a:pt x="1645" y="148"/>
                    </a:lnTo>
                    <a:lnTo>
                      <a:pt x="1652" y="143"/>
                    </a:lnTo>
                    <a:lnTo>
                      <a:pt x="1661" y="139"/>
                    </a:lnTo>
                    <a:lnTo>
                      <a:pt x="1668" y="135"/>
                    </a:lnTo>
                    <a:lnTo>
                      <a:pt x="1675" y="129"/>
                    </a:lnTo>
                    <a:lnTo>
                      <a:pt x="1676" y="127"/>
                    </a:lnTo>
                    <a:lnTo>
                      <a:pt x="1675" y="122"/>
                    </a:lnTo>
                    <a:lnTo>
                      <a:pt x="1673" y="117"/>
                    </a:lnTo>
                    <a:lnTo>
                      <a:pt x="1670" y="111"/>
                    </a:lnTo>
                    <a:lnTo>
                      <a:pt x="1663" y="98"/>
                    </a:lnTo>
                    <a:lnTo>
                      <a:pt x="1658" y="89"/>
                    </a:lnTo>
                    <a:lnTo>
                      <a:pt x="1652" y="78"/>
                    </a:lnTo>
                    <a:lnTo>
                      <a:pt x="1644" y="64"/>
                    </a:lnTo>
                    <a:lnTo>
                      <a:pt x="1640" y="57"/>
                    </a:lnTo>
                    <a:lnTo>
                      <a:pt x="1639" y="54"/>
                    </a:lnTo>
                    <a:lnTo>
                      <a:pt x="1643" y="53"/>
                    </a:lnTo>
                    <a:lnTo>
                      <a:pt x="1652" y="52"/>
                    </a:lnTo>
                    <a:lnTo>
                      <a:pt x="1662" y="53"/>
                    </a:lnTo>
                    <a:lnTo>
                      <a:pt x="1671" y="54"/>
                    </a:lnTo>
                    <a:lnTo>
                      <a:pt x="1676" y="57"/>
                    </a:lnTo>
                    <a:lnTo>
                      <a:pt x="1681" y="59"/>
                    </a:lnTo>
                    <a:lnTo>
                      <a:pt x="1684" y="61"/>
                    </a:lnTo>
                    <a:lnTo>
                      <a:pt x="1688" y="65"/>
                    </a:lnTo>
                    <a:lnTo>
                      <a:pt x="1696" y="79"/>
                    </a:lnTo>
                    <a:lnTo>
                      <a:pt x="1706" y="93"/>
                    </a:lnTo>
                    <a:lnTo>
                      <a:pt x="1714" y="104"/>
                    </a:lnTo>
                    <a:lnTo>
                      <a:pt x="1722" y="113"/>
                    </a:lnTo>
                    <a:lnTo>
                      <a:pt x="1726" y="115"/>
                    </a:lnTo>
                    <a:lnTo>
                      <a:pt x="1730" y="116"/>
                    </a:lnTo>
                    <a:lnTo>
                      <a:pt x="1732" y="116"/>
                    </a:lnTo>
                    <a:lnTo>
                      <a:pt x="1736" y="115"/>
                    </a:lnTo>
                    <a:lnTo>
                      <a:pt x="1738" y="114"/>
                    </a:lnTo>
                    <a:lnTo>
                      <a:pt x="1740" y="110"/>
                    </a:lnTo>
                    <a:lnTo>
                      <a:pt x="1744" y="107"/>
                    </a:lnTo>
                    <a:lnTo>
                      <a:pt x="1746" y="102"/>
                    </a:lnTo>
                    <a:lnTo>
                      <a:pt x="1750" y="96"/>
                    </a:lnTo>
                    <a:lnTo>
                      <a:pt x="1755" y="92"/>
                    </a:lnTo>
                    <a:lnTo>
                      <a:pt x="1759" y="90"/>
                    </a:lnTo>
                    <a:lnTo>
                      <a:pt x="1765" y="90"/>
                    </a:lnTo>
                    <a:lnTo>
                      <a:pt x="1770" y="90"/>
                    </a:lnTo>
                    <a:lnTo>
                      <a:pt x="1776" y="92"/>
                    </a:lnTo>
                    <a:lnTo>
                      <a:pt x="1781" y="95"/>
                    </a:lnTo>
                    <a:lnTo>
                      <a:pt x="1783" y="98"/>
                    </a:lnTo>
                    <a:lnTo>
                      <a:pt x="1789" y="109"/>
                    </a:lnTo>
                    <a:lnTo>
                      <a:pt x="1796" y="121"/>
                    </a:lnTo>
                    <a:lnTo>
                      <a:pt x="1800" y="127"/>
                    </a:lnTo>
                    <a:lnTo>
                      <a:pt x="1803" y="132"/>
                    </a:lnTo>
                    <a:lnTo>
                      <a:pt x="1807" y="135"/>
                    </a:lnTo>
                    <a:lnTo>
                      <a:pt x="1810" y="137"/>
                    </a:lnTo>
                    <a:lnTo>
                      <a:pt x="1814" y="139"/>
                    </a:lnTo>
                    <a:lnTo>
                      <a:pt x="1818" y="139"/>
                    </a:lnTo>
                    <a:lnTo>
                      <a:pt x="1822" y="137"/>
                    </a:lnTo>
                    <a:lnTo>
                      <a:pt x="1826" y="136"/>
                    </a:lnTo>
                    <a:lnTo>
                      <a:pt x="1829" y="133"/>
                    </a:lnTo>
                    <a:lnTo>
                      <a:pt x="1834" y="128"/>
                    </a:lnTo>
                    <a:lnTo>
                      <a:pt x="1838" y="122"/>
                    </a:lnTo>
                    <a:lnTo>
                      <a:pt x="1840" y="115"/>
                    </a:lnTo>
                    <a:lnTo>
                      <a:pt x="1847" y="99"/>
                    </a:lnTo>
                    <a:lnTo>
                      <a:pt x="1854" y="83"/>
                    </a:lnTo>
                    <a:lnTo>
                      <a:pt x="1864" y="67"/>
                    </a:lnTo>
                    <a:lnTo>
                      <a:pt x="1875" y="50"/>
                    </a:lnTo>
                    <a:lnTo>
                      <a:pt x="1881" y="42"/>
                    </a:lnTo>
                    <a:lnTo>
                      <a:pt x="1889" y="35"/>
                    </a:lnTo>
                    <a:lnTo>
                      <a:pt x="1896" y="29"/>
                    </a:lnTo>
                    <a:lnTo>
                      <a:pt x="1904" y="23"/>
                    </a:lnTo>
                    <a:lnTo>
                      <a:pt x="1921" y="16"/>
                    </a:lnTo>
                    <a:lnTo>
                      <a:pt x="1938" y="9"/>
                    </a:lnTo>
                    <a:lnTo>
                      <a:pt x="1952" y="3"/>
                    </a:lnTo>
                    <a:lnTo>
                      <a:pt x="1965" y="1"/>
                    </a:lnTo>
                    <a:lnTo>
                      <a:pt x="1971" y="0"/>
                    </a:lnTo>
                    <a:lnTo>
                      <a:pt x="1976" y="0"/>
                    </a:lnTo>
                    <a:lnTo>
                      <a:pt x="1979" y="1"/>
                    </a:lnTo>
                    <a:lnTo>
                      <a:pt x="1983" y="2"/>
                    </a:lnTo>
                    <a:lnTo>
                      <a:pt x="1984" y="4"/>
                    </a:lnTo>
                    <a:lnTo>
                      <a:pt x="1985" y="8"/>
                    </a:lnTo>
                    <a:lnTo>
                      <a:pt x="1985" y="11"/>
                    </a:lnTo>
                    <a:lnTo>
                      <a:pt x="1984" y="15"/>
                    </a:lnTo>
                    <a:lnTo>
                      <a:pt x="1980" y="23"/>
                    </a:lnTo>
                    <a:lnTo>
                      <a:pt x="1976" y="32"/>
                    </a:lnTo>
                    <a:lnTo>
                      <a:pt x="1968" y="40"/>
                    </a:lnTo>
                    <a:lnTo>
                      <a:pt x="1963" y="50"/>
                    </a:lnTo>
                    <a:lnTo>
                      <a:pt x="1958" y="58"/>
                    </a:lnTo>
                    <a:lnTo>
                      <a:pt x="1955" y="66"/>
                    </a:lnTo>
                    <a:lnTo>
                      <a:pt x="1955" y="71"/>
                    </a:lnTo>
                    <a:lnTo>
                      <a:pt x="1958" y="74"/>
                    </a:lnTo>
                    <a:lnTo>
                      <a:pt x="1960" y="78"/>
                    </a:lnTo>
                    <a:lnTo>
                      <a:pt x="1964" y="82"/>
                    </a:lnTo>
                    <a:lnTo>
                      <a:pt x="1965" y="84"/>
                    </a:lnTo>
                    <a:lnTo>
                      <a:pt x="1966" y="89"/>
                    </a:lnTo>
                    <a:lnTo>
                      <a:pt x="1968" y="90"/>
                    </a:lnTo>
                    <a:lnTo>
                      <a:pt x="1971" y="91"/>
                    </a:lnTo>
                    <a:lnTo>
                      <a:pt x="1976" y="91"/>
                    </a:lnTo>
                    <a:lnTo>
                      <a:pt x="1979" y="92"/>
                    </a:lnTo>
                    <a:lnTo>
                      <a:pt x="1990" y="91"/>
                    </a:lnTo>
                    <a:lnTo>
                      <a:pt x="1998" y="90"/>
                    </a:lnTo>
                    <a:lnTo>
                      <a:pt x="2007" y="90"/>
                    </a:lnTo>
                    <a:lnTo>
                      <a:pt x="2012" y="91"/>
                    </a:lnTo>
                    <a:lnTo>
                      <a:pt x="2017" y="93"/>
                    </a:lnTo>
                    <a:lnTo>
                      <a:pt x="2022" y="98"/>
                    </a:lnTo>
                    <a:lnTo>
                      <a:pt x="2027" y="105"/>
                    </a:lnTo>
                    <a:lnTo>
                      <a:pt x="2030" y="114"/>
                    </a:lnTo>
                    <a:lnTo>
                      <a:pt x="2030" y="117"/>
                    </a:lnTo>
                    <a:lnTo>
                      <a:pt x="2030" y="121"/>
                    </a:lnTo>
                    <a:lnTo>
                      <a:pt x="2029" y="123"/>
                    </a:lnTo>
                    <a:lnTo>
                      <a:pt x="2027" y="126"/>
                    </a:lnTo>
                    <a:lnTo>
                      <a:pt x="2021" y="129"/>
                    </a:lnTo>
                    <a:lnTo>
                      <a:pt x="2014" y="132"/>
                    </a:lnTo>
                    <a:lnTo>
                      <a:pt x="2010" y="133"/>
                    </a:lnTo>
                    <a:lnTo>
                      <a:pt x="2007" y="135"/>
                    </a:lnTo>
                    <a:lnTo>
                      <a:pt x="2003" y="139"/>
                    </a:lnTo>
                    <a:lnTo>
                      <a:pt x="2001" y="143"/>
                    </a:lnTo>
                    <a:lnTo>
                      <a:pt x="1996" y="155"/>
                    </a:lnTo>
                    <a:lnTo>
                      <a:pt x="1992" y="167"/>
                    </a:lnTo>
                    <a:lnTo>
                      <a:pt x="1991" y="179"/>
                    </a:lnTo>
                    <a:lnTo>
                      <a:pt x="1990" y="190"/>
                    </a:lnTo>
                    <a:lnTo>
                      <a:pt x="1989" y="200"/>
                    </a:lnTo>
                    <a:lnTo>
                      <a:pt x="1988" y="210"/>
                    </a:lnTo>
                    <a:lnTo>
                      <a:pt x="1984" y="219"/>
                    </a:lnTo>
                    <a:lnTo>
                      <a:pt x="1979" y="225"/>
                    </a:lnTo>
                    <a:lnTo>
                      <a:pt x="1972" y="233"/>
                    </a:lnTo>
                    <a:lnTo>
                      <a:pt x="1963" y="239"/>
                    </a:lnTo>
                    <a:lnTo>
                      <a:pt x="1952" y="244"/>
                    </a:lnTo>
                    <a:lnTo>
                      <a:pt x="1944" y="249"/>
                    </a:lnTo>
                    <a:lnTo>
                      <a:pt x="1941" y="250"/>
                    </a:lnTo>
                    <a:lnTo>
                      <a:pt x="1940" y="253"/>
                    </a:lnTo>
                    <a:lnTo>
                      <a:pt x="1939" y="255"/>
                    </a:lnTo>
                    <a:lnTo>
                      <a:pt x="1938" y="258"/>
                    </a:lnTo>
                    <a:lnTo>
                      <a:pt x="1939" y="263"/>
                    </a:lnTo>
                    <a:lnTo>
                      <a:pt x="1941" y="271"/>
                    </a:lnTo>
                    <a:lnTo>
                      <a:pt x="1944" y="279"/>
                    </a:lnTo>
                    <a:lnTo>
                      <a:pt x="1946" y="288"/>
                    </a:lnTo>
                    <a:lnTo>
                      <a:pt x="1947" y="294"/>
                    </a:lnTo>
                    <a:lnTo>
                      <a:pt x="1947" y="299"/>
                    </a:lnTo>
                    <a:lnTo>
                      <a:pt x="1946" y="304"/>
                    </a:lnTo>
                    <a:lnTo>
                      <a:pt x="1945" y="309"/>
                    </a:lnTo>
                    <a:lnTo>
                      <a:pt x="1940" y="318"/>
                    </a:lnTo>
                    <a:lnTo>
                      <a:pt x="1934" y="328"/>
                    </a:lnTo>
                    <a:lnTo>
                      <a:pt x="1927" y="338"/>
                    </a:lnTo>
                    <a:lnTo>
                      <a:pt x="1923" y="350"/>
                    </a:lnTo>
                    <a:lnTo>
                      <a:pt x="1920" y="363"/>
                    </a:lnTo>
                    <a:lnTo>
                      <a:pt x="1917" y="374"/>
                    </a:lnTo>
                    <a:lnTo>
                      <a:pt x="1914" y="385"/>
                    </a:lnTo>
                    <a:lnTo>
                      <a:pt x="1910" y="395"/>
                    </a:lnTo>
                    <a:lnTo>
                      <a:pt x="1905" y="408"/>
                    </a:lnTo>
                    <a:lnTo>
                      <a:pt x="1902" y="422"/>
                    </a:lnTo>
                    <a:lnTo>
                      <a:pt x="1901" y="436"/>
                    </a:lnTo>
                    <a:lnTo>
                      <a:pt x="1900" y="448"/>
                    </a:lnTo>
                    <a:lnTo>
                      <a:pt x="1900" y="458"/>
                    </a:lnTo>
                    <a:lnTo>
                      <a:pt x="1898" y="467"/>
                    </a:lnTo>
                    <a:lnTo>
                      <a:pt x="1895" y="476"/>
                    </a:lnTo>
                    <a:lnTo>
                      <a:pt x="1890" y="485"/>
                    </a:lnTo>
                    <a:lnTo>
                      <a:pt x="1884" y="493"/>
                    </a:lnTo>
                    <a:lnTo>
                      <a:pt x="1878" y="496"/>
                    </a:lnTo>
                    <a:lnTo>
                      <a:pt x="1873" y="499"/>
                    </a:lnTo>
                    <a:lnTo>
                      <a:pt x="1869" y="500"/>
                    </a:lnTo>
                    <a:lnTo>
                      <a:pt x="1864" y="501"/>
                    </a:lnTo>
                    <a:lnTo>
                      <a:pt x="1860" y="505"/>
                    </a:lnTo>
                    <a:lnTo>
                      <a:pt x="1858" y="508"/>
                    </a:lnTo>
                    <a:lnTo>
                      <a:pt x="1857" y="513"/>
                    </a:lnTo>
                    <a:lnTo>
                      <a:pt x="1854" y="520"/>
                    </a:lnTo>
                    <a:lnTo>
                      <a:pt x="1850" y="530"/>
                    </a:lnTo>
                    <a:lnTo>
                      <a:pt x="1842" y="539"/>
                    </a:lnTo>
                    <a:lnTo>
                      <a:pt x="1837" y="546"/>
                    </a:lnTo>
                    <a:lnTo>
                      <a:pt x="1831" y="552"/>
                    </a:lnTo>
                    <a:lnTo>
                      <a:pt x="1823" y="557"/>
                    </a:lnTo>
                    <a:lnTo>
                      <a:pt x="1818" y="561"/>
                    </a:lnTo>
                    <a:lnTo>
                      <a:pt x="1809" y="563"/>
                    </a:lnTo>
                    <a:lnTo>
                      <a:pt x="1802" y="564"/>
                    </a:lnTo>
                    <a:lnTo>
                      <a:pt x="1796" y="568"/>
                    </a:lnTo>
                    <a:lnTo>
                      <a:pt x="1794" y="570"/>
                    </a:lnTo>
                    <a:lnTo>
                      <a:pt x="1793" y="572"/>
                    </a:lnTo>
                    <a:lnTo>
                      <a:pt x="1791" y="576"/>
                    </a:lnTo>
                    <a:lnTo>
                      <a:pt x="1791" y="580"/>
                    </a:lnTo>
                    <a:lnTo>
                      <a:pt x="1790" y="587"/>
                    </a:lnTo>
                    <a:lnTo>
                      <a:pt x="1789" y="593"/>
                    </a:lnTo>
                    <a:lnTo>
                      <a:pt x="1787" y="599"/>
                    </a:lnTo>
                    <a:lnTo>
                      <a:pt x="1783" y="603"/>
                    </a:lnTo>
                    <a:lnTo>
                      <a:pt x="1779" y="609"/>
                    </a:lnTo>
                    <a:lnTo>
                      <a:pt x="1776" y="616"/>
                    </a:lnTo>
                    <a:lnTo>
                      <a:pt x="1775" y="624"/>
                    </a:lnTo>
                    <a:lnTo>
                      <a:pt x="1775" y="633"/>
                    </a:lnTo>
                    <a:lnTo>
                      <a:pt x="1776" y="645"/>
                    </a:lnTo>
                    <a:lnTo>
                      <a:pt x="1776" y="660"/>
                    </a:lnTo>
                    <a:lnTo>
                      <a:pt x="1775" y="675"/>
                    </a:lnTo>
                    <a:lnTo>
                      <a:pt x="1774" y="688"/>
                    </a:lnTo>
                    <a:lnTo>
                      <a:pt x="1774" y="697"/>
                    </a:lnTo>
                    <a:lnTo>
                      <a:pt x="1774" y="706"/>
                    </a:lnTo>
                    <a:lnTo>
                      <a:pt x="1775" y="709"/>
                    </a:lnTo>
                    <a:lnTo>
                      <a:pt x="1776" y="713"/>
                    </a:lnTo>
                    <a:lnTo>
                      <a:pt x="1778" y="715"/>
                    </a:lnTo>
                    <a:lnTo>
                      <a:pt x="1782" y="719"/>
                    </a:lnTo>
                    <a:lnTo>
                      <a:pt x="1789" y="725"/>
                    </a:lnTo>
                    <a:lnTo>
                      <a:pt x="1797" y="731"/>
                    </a:lnTo>
                    <a:lnTo>
                      <a:pt x="1806" y="739"/>
                    </a:lnTo>
                    <a:lnTo>
                      <a:pt x="1812" y="747"/>
                    </a:lnTo>
                    <a:lnTo>
                      <a:pt x="1820" y="765"/>
                    </a:lnTo>
                    <a:lnTo>
                      <a:pt x="1826" y="780"/>
                    </a:lnTo>
                    <a:lnTo>
                      <a:pt x="1829" y="786"/>
                    </a:lnTo>
                    <a:lnTo>
                      <a:pt x="1834" y="790"/>
                    </a:lnTo>
                    <a:lnTo>
                      <a:pt x="1839" y="791"/>
                    </a:lnTo>
                    <a:lnTo>
                      <a:pt x="1844" y="794"/>
                    </a:lnTo>
                    <a:lnTo>
                      <a:pt x="1847" y="796"/>
                    </a:lnTo>
                    <a:lnTo>
                      <a:pt x="1851" y="801"/>
                    </a:lnTo>
                    <a:lnTo>
                      <a:pt x="1851" y="804"/>
                    </a:lnTo>
                    <a:lnTo>
                      <a:pt x="1852" y="807"/>
                    </a:lnTo>
                    <a:lnTo>
                      <a:pt x="1851" y="810"/>
                    </a:lnTo>
                    <a:lnTo>
                      <a:pt x="1850" y="814"/>
                    </a:lnTo>
                    <a:lnTo>
                      <a:pt x="1847" y="820"/>
                    </a:lnTo>
                    <a:lnTo>
                      <a:pt x="1846" y="823"/>
                    </a:lnTo>
                    <a:lnTo>
                      <a:pt x="1848" y="828"/>
                    </a:lnTo>
                    <a:lnTo>
                      <a:pt x="1852" y="832"/>
                    </a:lnTo>
                    <a:lnTo>
                      <a:pt x="1857" y="835"/>
                    </a:lnTo>
                    <a:lnTo>
                      <a:pt x="1862" y="840"/>
                    </a:lnTo>
                    <a:lnTo>
                      <a:pt x="1864" y="843"/>
                    </a:lnTo>
                    <a:lnTo>
                      <a:pt x="1866" y="847"/>
                    </a:lnTo>
                    <a:lnTo>
                      <a:pt x="1869" y="851"/>
                    </a:lnTo>
                    <a:lnTo>
                      <a:pt x="1870" y="857"/>
                    </a:lnTo>
                    <a:lnTo>
                      <a:pt x="1871" y="867"/>
                    </a:lnTo>
                    <a:lnTo>
                      <a:pt x="1872" y="878"/>
                    </a:lnTo>
                    <a:lnTo>
                      <a:pt x="1872" y="889"/>
                    </a:lnTo>
                    <a:lnTo>
                      <a:pt x="1871" y="899"/>
                    </a:lnTo>
                    <a:lnTo>
                      <a:pt x="1870" y="904"/>
                    </a:lnTo>
                    <a:lnTo>
                      <a:pt x="1867" y="909"/>
                    </a:lnTo>
                    <a:lnTo>
                      <a:pt x="1865" y="914"/>
                    </a:lnTo>
                    <a:lnTo>
                      <a:pt x="1863" y="918"/>
                    </a:lnTo>
                    <a:lnTo>
                      <a:pt x="1856" y="927"/>
                    </a:lnTo>
                    <a:lnTo>
                      <a:pt x="1846" y="934"/>
                    </a:lnTo>
                    <a:lnTo>
                      <a:pt x="1837" y="940"/>
                    </a:lnTo>
                    <a:lnTo>
                      <a:pt x="1828" y="945"/>
                    </a:lnTo>
                    <a:lnTo>
                      <a:pt x="1826" y="947"/>
                    </a:lnTo>
                    <a:lnTo>
                      <a:pt x="1822" y="948"/>
                    </a:lnTo>
                    <a:lnTo>
                      <a:pt x="1821" y="950"/>
                    </a:lnTo>
                    <a:lnTo>
                      <a:pt x="1820" y="953"/>
                    </a:lnTo>
                    <a:lnTo>
                      <a:pt x="1820" y="959"/>
                    </a:lnTo>
                    <a:lnTo>
                      <a:pt x="1822" y="966"/>
                    </a:lnTo>
                    <a:lnTo>
                      <a:pt x="1826" y="972"/>
                    </a:lnTo>
                    <a:lnTo>
                      <a:pt x="1829" y="979"/>
                    </a:lnTo>
                    <a:lnTo>
                      <a:pt x="1834" y="984"/>
                    </a:lnTo>
                    <a:lnTo>
                      <a:pt x="1837" y="989"/>
                    </a:lnTo>
                    <a:lnTo>
                      <a:pt x="1838" y="994"/>
                    </a:lnTo>
                    <a:lnTo>
                      <a:pt x="1837" y="1003"/>
                    </a:lnTo>
                    <a:lnTo>
                      <a:pt x="1827" y="1019"/>
                    </a:lnTo>
                    <a:lnTo>
                      <a:pt x="1815" y="1036"/>
                    </a:lnTo>
                    <a:lnTo>
                      <a:pt x="1809" y="1047"/>
                    </a:lnTo>
                    <a:lnTo>
                      <a:pt x="1801" y="1060"/>
                    </a:lnTo>
                    <a:lnTo>
                      <a:pt x="1791" y="1074"/>
                    </a:lnTo>
                    <a:lnTo>
                      <a:pt x="1782" y="1087"/>
                    </a:lnTo>
                    <a:lnTo>
                      <a:pt x="1771" y="1098"/>
                    </a:lnTo>
                    <a:lnTo>
                      <a:pt x="1760" y="1109"/>
                    </a:lnTo>
                    <a:lnTo>
                      <a:pt x="1751" y="1118"/>
                    </a:lnTo>
                    <a:lnTo>
                      <a:pt x="1745" y="1124"/>
                    </a:lnTo>
                    <a:lnTo>
                      <a:pt x="1741" y="1130"/>
                    </a:lnTo>
                    <a:lnTo>
                      <a:pt x="1739" y="1136"/>
                    </a:lnTo>
                    <a:lnTo>
                      <a:pt x="1739" y="1142"/>
                    </a:lnTo>
                    <a:lnTo>
                      <a:pt x="1741" y="1148"/>
                    </a:lnTo>
                    <a:lnTo>
                      <a:pt x="1744" y="1155"/>
                    </a:lnTo>
                    <a:lnTo>
                      <a:pt x="1745" y="1162"/>
                    </a:lnTo>
                    <a:lnTo>
                      <a:pt x="1746" y="1169"/>
                    </a:lnTo>
                    <a:lnTo>
                      <a:pt x="1745" y="1179"/>
                    </a:lnTo>
                    <a:lnTo>
                      <a:pt x="1743" y="1186"/>
                    </a:lnTo>
                    <a:lnTo>
                      <a:pt x="1741" y="1192"/>
                    </a:lnTo>
                    <a:lnTo>
                      <a:pt x="1741" y="1197"/>
                    </a:lnTo>
                    <a:lnTo>
                      <a:pt x="1744" y="1201"/>
                    </a:lnTo>
                    <a:lnTo>
                      <a:pt x="1746" y="1207"/>
                    </a:lnTo>
                    <a:lnTo>
                      <a:pt x="1749" y="1214"/>
                    </a:lnTo>
                    <a:lnTo>
                      <a:pt x="1749" y="1221"/>
                    </a:lnTo>
                    <a:lnTo>
                      <a:pt x="1746" y="1229"/>
                    </a:lnTo>
                    <a:lnTo>
                      <a:pt x="1743" y="1236"/>
                    </a:lnTo>
                    <a:lnTo>
                      <a:pt x="1741" y="1243"/>
                    </a:lnTo>
                    <a:lnTo>
                      <a:pt x="1741" y="1245"/>
                    </a:lnTo>
                    <a:lnTo>
                      <a:pt x="1743" y="1248"/>
                    </a:lnTo>
                    <a:lnTo>
                      <a:pt x="1744" y="1250"/>
                    </a:lnTo>
                    <a:lnTo>
                      <a:pt x="1746" y="1251"/>
                    </a:lnTo>
                    <a:lnTo>
                      <a:pt x="1752" y="1255"/>
                    </a:lnTo>
                    <a:lnTo>
                      <a:pt x="1757" y="1258"/>
                    </a:lnTo>
                    <a:lnTo>
                      <a:pt x="1758" y="1262"/>
                    </a:lnTo>
                    <a:lnTo>
                      <a:pt x="1759" y="1264"/>
                    </a:lnTo>
                    <a:lnTo>
                      <a:pt x="1760" y="1268"/>
                    </a:lnTo>
                    <a:lnTo>
                      <a:pt x="1759" y="1273"/>
                    </a:lnTo>
                    <a:lnTo>
                      <a:pt x="1759" y="1282"/>
                    </a:lnTo>
                    <a:lnTo>
                      <a:pt x="1759" y="1290"/>
                    </a:lnTo>
                    <a:lnTo>
                      <a:pt x="1762" y="1299"/>
                    </a:lnTo>
                    <a:lnTo>
                      <a:pt x="1766" y="1308"/>
                    </a:lnTo>
                    <a:lnTo>
                      <a:pt x="1769" y="1313"/>
                    </a:lnTo>
                    <a:lnTo>
                      <a:pt x="1771" y="1318"/>
                    </a:lnTo>
                    <a:lnTo>
                      <a:pt x="1772" y="1324"/>
                    </a:lnTo>
                    <a:lnTo>
                      <a:pt x="1774" y="1328"/>
                    </a:lnTo>
                    <a:lnTo>
                      <a:pt x="1774" y="1340"/>
                    </a:lnTo>
                    <a:lnTo>
                      <a:pt x="1771" y="1350"/>
                    </a:lnTo>
                    <a:lnTo>
                      <a:pt x="1769" y="1359"/>
                    </a:lnTo>
                    <a:lnTo>
                      <a:pt x="1766" y="1368"/>
                    </a:lnTo>
                    <a:lnTo>
                      <a:pt x="1766" y="1377"/>
                    </a:lnTo>
                    <a:lnTo>
                      <a:pt x="1768" y="1387"/>
                    </a:lnTo>
                    <a:lnTo>
                      <a:pt x="1770" y="1399"/>
                    </a:lnTo>
                    <a:lnTo>
                      <a:pt x="1771" y="1412"/>
                    </a:lnTo>
                    <a:lnTo>
                      <a:pt x="1772" y="1418"/>
                    </a:lnTo>
                    <a:lnTo>
                      <a:pt x="1771" y="1425"/>
                    </a:lnTo>
                    <a:lnTo>
                      <a:pt x="1771" y="1432"/>
                    </a:lnTo>
                    <a:lnTo>
                      <a:pt x="1770" y="1438"/>
                    </a:lnTo>
                    <a:lnTo>
                      <a:pt x="1766" y="1451"/>
                    </a:lnTo>
                    <a:lnTo>
                      <a:pt x="1763" y="1465"/>
                    </a:lnTo>
                    <a:lnTo>
                      <a:pt x="1760" y="1481"/>
                    </a:lnTo>
                    <a:lnTo>
                      <a:pt x="1759" y="1495"/>
                    </a:lnTo>
                    <a:lnTo>
                      <a:pt x="1760" y="1509"/>
                    </a:lnTo>
                    <a:lnTo>
                      <a:pt x="1763" y="1521"/>
                    </a:lnTo>
                    <a:lnTo>
                      <a:pt x="1765" y="1534"/>
                    </a:lnTo>
                    <a:lnTo>
                      <a:pt x="1769" y="1546"/>
                    </a:lnTo>
                    <a:lnTo>
                      <a:pt x="1774" y="1559"/>
                    </a:lnTo>
                    <a:lnTo>
                      <a:pt x="1777" y="1569"/>
                    </a:lnTo>
                    <a:lnTo>
                      <a:pt x="1779" y="1578"/>
                    </a:lnTo>
                    <a:lnTo>
                      <a:pt x="1781" y="1589"/>
                    </a:lnTo>
                    <a:lnTo>
                      <a:pt x="1782" y="1601"/>
                    </a:lnTo>
                    <a:lnTo>
                      <a:pt x="1783" y="1610"/>
                    </a:lnTo>
                    <a:lnTo>
                      <a:pt x="1785" y="1620"/>
                    </a:lnTo>
                    <a:lnTo>
                      <a:pt x="1790" y="1626"/>
                    </a:lnTo>
                    <a:lnTo>
                      <a:pt x="1795" y="1629"/>
                    </a:lnTo>
                    <a:lnTo>
                      <a:pt x="1800" y="1633"/>
                    </a:lnTo>
                    <a:lnTo>
                      <a:pt x="1801" y="1636"/>
                    </a:lnTo>
                    <a:lnTo>
                      <a:pt x="1802" y="1640"/>
                    </a:lnTo>
                    <a:lnTo>
                      <a:pt x="1803" y="1645"/>
                    </a:lnTo>
                    <a:lnTo>
                      <a:pt x="1804" y="1652"/>
                    </a:lnTo>
                    <a:lnTo>
                      <a:pt x="1806" y="1670"/>
                    </a:lnTo>
                    <a:lnTo>
                      <a:pt x="1808" y="1692"/>
                    </a:lnTo>
                    <a:lnTo>
                      <a:pt x="1809" y="1714"/>
                    </a:lnTo>
                    <a:lnTo>
                      <a:pt x="1810" y="1728"/>
                    </a:lnTo>
                    <a:lnTo>
                      <a:pt x="1808" y="1746"/>
                    </a:lnTo>
                    <a:lnTo>
                      <a:pt x="1801" y="1772"/>
                    </a:lnTo>
                    <a:lnTo>
                      <a:pt x="1791" y="1800"/>
                    </a:lnTo>
                    <a:lnTo>
                      <a:pt x="1782" y="1823"/>
                    </a:lnTo>
                    <a:lnTo>
                      <a:pt x="1772" y="1842"/>
                    </a:lnTo>
                    <a:lnTo>
                      <a:pt x="1760" y="1860"/>
                    </a:lnTo>
                    <a:lnTo>
                      <a:pt x="1750" y="1875"/>
                    </a:lnTo>
                    <a:lnTo>
                      <a:pt x="1741" y="1887"/>
                    </a:lnTo>
                    <a:lnTo>
                      <a:pt x="1736" y="1900"/>
                    </a:lnTo>
                    <a:lnTo>
                      <a:pt x="1731" y="1917"/>
                    </a:lnTo>
                    <a:lnTo>
                      <a:pt x="1727" y="1932"/>
                    </a:lnTo>
                    <a:lnTo>
                      <a:pt x="1725" y="1945"/>
                    </a:lnTo>
                    <a:lnTo>
                      <a:pt x="1725" y="1957"/>
                    </a:lnTo>
                    <a:lnTo>
                      <a:pt x="1722" y="1970"/>
                    </a:lnTo>
                    <a:lnTo>
                      <a:pt x="1719" y="1983"/>
                    </a:lnTo>
                    <a:lnTo>
                      <a:pt x="1713" y="1996"/>
                    </a:lnTo>
                    <a:lnTo>
                      <a:pt x="1708" y="2009"/>
                    </a:lnTo>
                    <a:lnTo>
                      <a:pt x="1705" y="2024"/>
                    </a:lnTo>
                    <a:lnTo>
                      <a:pt x="1702" y="2040"/>
                    </a:lnTo>
                    <a:lnTo>
                      <a:pt x="1701" y="2057"/>
                    </a:lnTo>
                    <a:lnTo>
                      <a:pt x="1701" y="2075"/>
                    </a:lnTo>
                    <a:lnTo>
                      <a:pt x="1701" y="2094"/>
                    </a:lnTo>
                    <a:lnTo>
                      <a:pt x="1701" y="2112"/>
                    </a:lnTo>
                    <a:lnTo>
                      <a:pt x="1701" y="2125"/>
                    </a:lnTo>
                    <a:lnTo>
                      <a:pt x="1702" y="2139"/>
                    </a:lnTo>
                    <a:lnTo>
                      <a:pt x="1706" y="2156"/>
                    </a:lnTo>
                    <a:lnTo>
                      <a:pt x="1708" y="2163"/>
                    </a:lnTo>
                    <a:lnTo>
                      <a:pt x="1711" y="2171"/>
                    </a:lnTo>
                    <a:lnTo>
                      <a:pt x="1714" y="2177"/>
                    </a:lnTo>
                    <a:lnTo>
                      <a:pt x="1719" y="2183"/>
                    </a:lnTo>
                    <a:lnTo>
                      <a:pt x="1722" y="2187"/>
                    </a:lnTo>
                    <a:lnTo>
                      <a:pt x="1728" y="2188"/>
                    </a:lnTo>
                    <a:lnTo>
                      <a:pt x="1734" y="2190"/>
                    </a:lnTo>
                    <a:lnTo>
                      <a:pt x="1740" y="2190"/>
                    </a:lnTo>
                    <a:lnTo>
                      <a:pt x="1745" y="2190"/>
                    </a:lnTo>
                    <a:lnTo>
                      <a:pt x="1747" y="2190"/>
                    </a:lnTo>
                    <a:lnTo>
                      <a:pt x="1749" y="2190"/>
                    </a:lnTo>
                    <a:lnTo>
                      <a:pt x="1749" y="2193"/>
                    </a:lnTo>
                    <a:lnTo>
                      <a:pt x="1746" y="2196"/>
                    </a:lnTo>
                    <a:lnTo>
                      <a:pt x="1744" y="2202"/>
                    </a:lnTo>
                    <a:lnTo>
                      <a:pt x="1741" y="2209"/>
                    </a:lnTo>
                    <a:lnTo>
                      <a:pt x="1739" y="2218"/>
                    </a:lnTo>
                    <a:lnTo>
                      <a:pt x="1738" y="2227"/>
                    </a:lnTo>
                    <a:lnTo>
                      <a:pt x="1739" y="2237"/>
                    </a:lnTo>
                    <a:lnTo>
                      <a:pt x="1740" y="2246"/>
                    </a:lnTo>
                    <a:lnTo>
                      <a:pt x="1744" y="2253"/>
                    </a:lnTo>
                    <a:lnTo>
                      <a:pt x="1747" y="2259"/>
                    </a:lnTo>
                    <a:lnTo>
                      <a:pt x="1752" y="2264"/>
                    </a:lnTo>
                    <a:lnTo>
                      <a:pt x="1762" y="2272"/>
                    </a:lnTo>
                    <a:lnTo>
                      <a:pt x="1770" y="2279"/>
                    </a:lnTo>
                    <a:lnTo>
                      <a:pt x="1772" y="2283"/>
                    </a:lnTo>
                    <a:lnTo>
                      <a:pt x="1775" y="2288"/>
                    </a:lnTo>
                    <a:lnTo>
                      <a:pt x="1776" y="2291"/>
                    </a:lnTo>
                    <a:lnTo>
                      <a:pt x="1777" y="2295"/>
                    </a:lnTo>
                    <a:lnTo>
                      <a:pt x="1776" y="2298"/>
                    </a:lnTo>
                    <a:lnTo>
                      <a:pt x="1775" y="2302"/>
                    </a:lnTo>
                    <a:lnTo>
                      <a:pt x="1772" y="2305"/>
                    </a:lnTo>
                    <a:lnTo>
                      <a:pt x="1770" y="2309"/>
                    </a:lnTo>
                    <a:lnTo>
                      <a:pt x="1763" y="2317"/>
                    </a:lnTo>
                    <a:lnTo>
                      <a:pt x="1758" y="2327"/>
                    </a:lnTo>
                    <a:lnTo>
                      <a:pt x="1757" y="2332"/>
                    </a:lnTo>
                    <a:lnTo>
                      <a:pt x="1758" y="2335"/>
                    </a:lnTo>
                    <a:lnTo>
                      <a:pt x="1759" y="2340"/>
                    </a:lnTo>
                    <a:lnTo>
                      <a:pt x="1764" y="2343"/>
                    </a:lnTo>
                    <a:lnTo>
                      <a:pt x="1778" y="2351"/>
                    </a:lnTo>
                    <a:lnTo>
                      <a:pt x="1795" y="2359"/>
                    </a:lnTo>
                    <a:lnTo>
                      <a:pt x="1813" y="2366"/>
                    </a:lnTo>
                    <a:lnTo>
                      <a:pt x="1826" y="2373"/>
                    </a:lnTo>
                    <a:lnTo>
                      <a:pt x="1829" y="2377"/>
                    </a:lnTo>
                    <a:lnTo>
                      <a:pt x="1833" y="2379"/>
                    </a:lnTo>
                    <a:lnTo>
                      <a:pt x="1834" y="2383"/>
                    </a:lnTo>
                    <a:lnTo>
                      <a:pt x="1835" y="2385"/>
                    </a:lnTo>
                    <a:lnTo>
                      <a:pt x="1834" y="2391"/>
                    </a:lnTo>
                    <a:lnTo>
                      <a:pt x="1832" y="2396"/>
                    </a:lnTo>
                    <a:lnTo>
                      <a:pt x="1827" y="2402"/>
                    </a:lnTo>
                    <a:lnTo>
                      <a:pt x="1821" y="2409"/>
                    </a:lnTo>
                    <a:lnTo>
                      <a:pt x="1819" y="2412"/>
                    </a:lnTo>
                    <a:lnTo>
                      <a:pt x="1818" y="2417"/>
                    </a:lnTo>
                    <a:lnTo>
                      <a:pt x="1816" y="2423"/>
                    </a:lnTo>
                    <a:lnTo>
                      <a:pt x="1816" y="2429"/>
                    </a:lnTo>
                    <a:lnTo>
                      <a:pt x="1818" y="2435"/>
                    </a:lnTo>
                    <a:lnTo>
                      <a:pt x="1820" y="2441"/>
                    </a:lnTo>
                    <a:lnTo>
                      <a:pt x="1822" y="2446"/>
                    </a:lnTo>
                    <a:lnTo>
                      <a:pt x="1826" y="2450"/>
                    </a:lnTo>
                    <a:lnTo>
                      <a:pt x="1832" y="2458"/>
                    </a:lnTo>
                    <a:lnTo>
                      <a:pt x="1837" y="2464"/>
                    </a:lnTo>
                    <a:lnTo>
                      <a:pt x="1838" y="2466"/>
                    </a:lnTo>
                    <a:lnTo>
                      <a:pt x="1838" y="2469"/>
                    </a:lnTo>
                    <a:lnTo>
                      <a:pt x="1838" y="2472"/>
                    </a:lnTo>
                    <a:lnTo>
                      <a:pt x="1837" y="2475"/>
                    </a:lnTo>
                    <a:lnTo>
                      <a:pt x="1833" y="2481"/>
                    </a:lnTo>
                    <a:lnTo>
                      <a:pt x="1828" y="2489"/>
                    </a:lnTo>
                    <a:lnTo>
                      <a:pt x="1826" y="2492"/>
                    </a:lnTo>
                    <a:lnTo>
                      <a:pt x="1823" y="2496"/>
                    </a:lnTo>
                    <a:lnTo>
                      <a:pt x="1822" y="2500"/>
                    </a:lnTo>
                    <a:lnTo>
                      <a:pt x="1822" y="2504"/>
                    </a:lnTo>
                    <a:lnTo>
                      <a:pt x="1822" y="2508"/>
                    </a:lnTo>
                    <a:lnTo>
                      <a:pt x="1825" y="2511"/>
                    </a:lnTo>
                    <a:lnTo>
                      <a:pt x="1828" y="2513"/>
                    </a:lnTo>
                    <a:lnTo>
                      <a:pt x="1833" y="2516"/>
                    </a:lnTo>
                    <a:lnTo>
                      <a:pt x="1847" y="2518"/>
                    </a:lnTo>
                    <a:lnTo>
                      <a:pt x="1860" y="2523"/>
                    </a:lnTo>
                    <a:lnTo>
                      <a:pt x="1867" y="2525"/>
                    </a:lnTo>
                    <a:lnTo>
                      <a:pt x="1873" y="2529"/>
                    </a:lnTo>
                    <a:lnTo>
                      <a:pt x="1878" y="2534"/>
                    </a:lnTo>
                    <a:lnTo>
                      <a:pt x="1883" y="2541"/>
                    </a:lnTo>
                    <a:lnTo>
                      <a:pt x="1888" y="2555"/>
                    </a:lnTo>
                    <a:lnTo>
                      <a:pt x="1890" y="2568"/>
                    </a:lnTo>
                    <a:lnTo>
                      <a:pt x="1892" y="2575"/>
                    </a:lnTo>
                    <a:lnTo>
                      <a:pt x="1895" y="2582"/>
                    </a:lnTo>
                    <a:lnTo>
                      <a:pt x="1898" y="2588"/>
                    </a:lnTo>
                    <a:lnTo>
                      <a:pt x="1903" y="2594"/>
                    </a:lnTo>
                    <a:lnTo>
                      <a:pt x="1917" y="2607"/>
                    </a:lnTo>
                    <a:lnTo>
                      <a:pt x="1932" y="2618"/>
                    </a:lnTo>
                    <a:lnTo>
                      <a:pt x="1946" y="2630"/>
                    </a:lnTo>
                    <a:lnTo>
                      <a:pt x="1958" y="2642"/>
                    </a:lnTo>
                    <a:lnTo>
                      <a:pt x="1963" y="2648"/>
                    </a:lnTo>
                    <a:lnTo>
                      <a:pt x="1967" y="2654"/>
                    </a:lnTo>
                    <a:lnTo>
                      <a:pt x="1970" y="2660"/>
                    </a:lnTo>
                    <a:lnTo>
                      <a:pt x="1972" y="2667"/>
                    </a:lnTo>
                    <a:lnTo>
                      <a:pt x="1974" y="2680"/>
                    </a:lnTo>
                    <a:lnTo>
                      <a:pt x="1974" y="2694"/>
                    </a:lnTo>
                    <a:lnTo>
                      <a:pt x="1973" y="2711"/>
                    </a:lnTo>
                    <a:lnTo>
                      <a:pt x="1973" y="2727"/>
                    </a:lnTo>
                    <a:lnTo>
                      <a:pt x="1971" y="2742"/>
                    </a:lnTo>
                    <a:lnTo>
                      <a:pt x="1968" y="2754"/>
                    </a:lnTo>
                    <a:lnTo>
                      <a:pt x="1964" y="2763"/>
                    </a:lnTo>
                    <a:lnTo>
                      <a:pt x="1957" y="2775"/>
                    </a:lnTo>
                    <a:lnTo>
                      <a:pt x="1949" y="2787"/>
                    </a:lnTo>
                    <a:lnTo>
                      <a:pt x="1942" y="2795"/>
                    </a:lnTo>
                    <a:lnTo>
                      <a:pt x="1938" y="2801"/>
                    </a:lnTo>
                    <a:lnTo>
                      <a:pt x="1934" y="2802"/>
                    </a:lnTo>
                    <a:lnTo>
                      <a:pt x="1930" y="2802"/>
                    </a:lnTo>
                    <a:lnTo>
                      <a:pt x="1926" y="2800"/>
                    </a:lnTo>
                    <a:lnTo>
                      <a:pt x="1922" y="2799"/>
                    </a:lnTo>
                    <a:lnTo>
                      <a:pt x="1919" y="2800"/>
                    </a:lnTo>
                    <a:lnTo>
                      <a:pt x="1914" y="2801"/>
                    </a:lnTo>
                    <a:lnTo>
                      <a:pt x="1910" y="2802"/>
                    </a:lnTo>
                    <a:lnTo>
                      <a:pt x="1902" y="2808"/>
                    </a:lnTo>
                    <a:lnTo>
                      <a:pt x="1892" y="2815"/>
                    </a:lnTo>
                    <a:lnTo>
                      <a:pt x="1876" y="2826"/>
                    </a:lnTo>
                    <a:lnTo>
                      <a:pt x="1864" y="2833"/>
                    </a:lnTo>
                    <a:lnTo>
                      <a:pt x="1863" y="2836"/>
                    </a:lnTo>
                    <a:lnTo>
                      <a:pt x="1860" y="2837"/>
                    </a:lnTo>
                    <a:lnTo>
                      <a:pt x="1858" y="2837"/>
                    </a:lnTo>
                    <a:lnTo>
                      <a:pt x="1854" y="2838"/>
                    </a:lnTo>
                    <a:lnTo>
                      <a:pt x="1852" y="2837"/>
                    </a:lnTo>
                    <a:lnTo>
                      <a:pt x="1850" y="2836"/>
                    </a:lnTo>
                    <a:lnTo>
                      <a:pt x="1847" y="2834"/>
                    </a:lnTo>
                    <a:lnTo>
                      <a:pt x="1845" y="2831"/>
                    </a:lnTo>
                    <a:lnTo>
                      <a:pt x="1842" y="2827"/>
                    </a:lnTo>
                    <a:lnTo>
                      <a:pt x="1839" y="2825"/>
                    </a:lnTo>
                    <a:lnTo>
                      <a:pt x="1837" y="2825"/>
                    </a:lnTo>
                    <a:lnTo>
                      <a:pt x="1832" y="2826"/>
                    </a:lnTo>
                    <a:lnTo>
                      <a:pt x="1827" y="2826"/>
                    </a:lnTo>
                    <a:lnTo>
                      <a:pt x="1823" y="2824"/>
                    </a:lnTo>
                    <a:lnTo>
                      <a:pt x="1822" y="2819"/>
                    </a:lnTo>
                    <a:lnTo>
                      <a:pt x="1820" y="2809"/>
                    </a:lnTo>
                    <a:lnTo>
                      <a:pt x="1819" y="2799"/>
                    </a:lnTo>
                    <a:lnTo>
                      <a:pt x="1815" y="2792"/>
                    </a:lnTo>
                    <a:lnTo>
                      <a:pt x="1812" y="2788"/>
                    </a:lnTo>
                    <a:lnTo>
                      <a:pt x="1808" y="2784"/>
                    </a:lnTo>
                    <a:lnTo>
                      <a:pt x="1806" y="2784"/>
                    </a:lnTo>
                    <a:lnTo>
                      <a:pt x="1803" y="2784"/>
                    </a:lnTo>
                    <a:lnTo>
                      <a:pt x="1801" y="2784"/>
                    </a:lnTo>
                    <a:lnTo>
                      <a:pt x="1799" y="2786"/>
                    </a:lnTo>
                    <a:lnTo>
                      <a:pt x="1793" y="2790"/>
                    </a:lnTo>
                    <a:lnTo>
                      <a:pt x="1788" y="2796"/>
                    </a:lnTo>
                    <a:lnTo>
                      <a:pt x="1782" y="2801"/>
                    </a:lnTo>
                    <a:lnTo>
                      <a:pt x="1776" y="2805"/>
                    </a:lnTo>
                    <a:lnTo>
                      <a:pt x="1769" y="2807"/>
                    </a:lnTo>
                    <a:lnTo>
                      <a:pt x="1759" y="2809"/>
                    </a:lnTo>
                    <a:lnTo>
                      <a:pt x="1747" y="2809"/>
                    </a:lnTo>
                    <a:lnTo>
                      <a:pt x="1737" y="2811"/>
                    </a:lnTo>
                    <a:lnTo>
                      <a:pt x="1725" y="2813"/>
                    </a:lnTo>
                    <a:lnTo>
                      <a:pt x="1711" y="2817"/>
                    </a:lnTo>
                    <a:lnTo>
                      <a:pt x="1703" y="2818"/>
                    </a:lnTo>
                    <a:lnTo>
                      <a:pt x="1697" y="2819"/>
                    </a:lnTo>
                    <a:lnTo>
                      <a:pt x="1692" y="2818"/>
                    </a:lnTo>
                    <a:lnTo>
                      <a:pt x="1687" y="2817"/>
                    </a:lnTo>
                    <a:lnTo>
                      <a:pt x="1678" y="2813"/>
                    </a:lnTo>
                    <a:lnTo>
                      <a:pt x="1670" y="2808"/>
                    </a:lnTo>
                    <a:lnTo>
                      <a:pt x="1667" y="2805"/>
                    </a:lnTo>
                    <a:lnTo>
                      <a:pt x="1661" y="2802"/>
                    </a:lnTo>
                    <a:lnTo>
                      <a:pt x="1655" y="2801"/>
                    </a:lnTo>
                    <a:lnTo>
                      <a:pt x="1649" y="2800"/>
                    </a:lnTo>
                    <a:lnTo>
                      <a:pt x="1636" y="2799"/>
                    </a:lnTo>
                    <a:lnTo>
                      <a:pt x="1625" y="2800"/>
                    </a:lnTo>
                    <a:lnTo>
                      <a:pt x="1614" y="2801"/>
                    </a:lnTo>
                    <a:lnTo>
                      <a:pt x="1601" y="2801"/>
                    </a:lnTo>
                    <a:lnTo>
                      <a:pt x="1586" y="2800"/>
                    </a:lnTo>
                    <a:lnTo>
                      <a:pt x="1571" y="2796"/>
                    </a:lnTo>
                    <a:lnTo>
                      <a:pt x="1556" y="2793"/>
                    </a:lnTo>
                    <a:lnTo>
                      <a:pt x="1541" y="2790"/>
                    </a:lnTo>
                    <a:lnTo>
                      <a:pt x="1526" y="2790"/>
                    </a:lnTo>
                    <a:lnTo>
                      <a:pt x="1519" y="2790"/>
                    </a:lnTo>
                    <a:lnTo>
                      <a:pt x="1513" y="2788"/>
                    </a:lnTo>
                    <a:lnTo>
                      <a:pt x="1504" y="2786"/>
                    </a:lnTo>
                    <a:lnTo>
                      <a:pt x="1498" y="2784"/>
                    </a:lnTo>
                    <a:lnTo>
                      <a:pt x="1492" y="2783"/>
                    </a:lnTo>
                    <a:lnTo>
                      <a:pt x="1486" y="2784"/>
                    </a:lnTo>
                    <a:lnTo>
                      <a:pt x="1480" y="2786"/>
                    </a:lnTo>
                    <a:lnTo>
                      <a:pt x="1470" y="2788"/>
                    </a:lnTo>
                    <a:lnTo>
                      <a:pt x="1462" y="2790"/>
                    </a:lnTo>
                    <a:lnTo>
                      <a:pt x="1454" y="2790"/>
                    </a:lnTo>
                    <a:lnTo>
                      <a:pt x="1444" y="2790"/>
                    </a:lnTo>
                    <a:lnTo>
                      <a:pt x="1438" y="2790"/>
                    </a:lnTo>
                    <a:lnTo>
                      <a:pt x="1434" y="2792"/>
                    </a:lnTo>
                    <a:lnTo>
                      <a:pt x="1428" y="2794"/>
                    </a:lnTo>
                    <a:lnTo>
                      <a:pt x="1423" y="2798"/>
                    </a:lnTo>
                    <a:lnTo>
                      <a:pt x="1415" y="2803"/>
                    </a:lnTo>
                    <a:lnTo>
                      <a:pt x="1409" y="2811"/>
                    </a:lnTo>
                    <a:lnTo>
                      <a:pt x="1407" y="2814"/>
                    </a:lnTo>
                    <a:lnTo>
                      <a:pt x="1405" y="2817"/>
                    </a:lnTo>
                    <a:lnTo>
                      <a:pt x="1405" y="2820"/>
                    </a:lnTo>
                    <a:lnTo>
                      <a:pt x="1405" y="2824"/>
                    </a:lnTo>
                    <a:lnTo>
                      <a:pt x="1406" y="2827"/>
                    </a:lnTo>
                    <a:lnTo>
                      <a:pt x="1407" y="2831"/>
                    </a:lnTo>
                    <a:lnTo>
                      <a:pt x="1411" y="2833"/>
                    </a:lnTo>
                    <a:lnTo>
                      <a:pt x="1416" y="2834"/>
                    </a:lnTo>
                    <a:lnTo>
                      <a:pt x="1430" y="2838"/>
                    </a:lnTo>
                    <a:lnTo>
                      <a:pt x="1449" y="2840"/>
                    </a:lnTo>
                    <a:lnTo>
                      <a:pt x="1468" y="2843"/>
                    </a:lnTo>
                    <a:lnTo>
                      <a:pt x="1483" y="2845"/>
                    </a:lnTo>
                    <a:lnTo>
                      <a:pt x="1491" y="2846"/>
                    </a:lnTo>
                    <a:lnTo>
                      <a:pt x="1497" y="2849"/>
                    </a:lnTo>
                    <a:lnTo>
                      <a:pt x="1503" y="2852"/>
                    </a:lnTo>
                    <a:lnTo>
                      <a:pt x="1508" y="2856"/>
                    </a:lnTo>
                    <a:lnTo>
                      <a:pt x="1513" y="2861"/>
                    </a:lnTo>
                    <a:lnTo>
                      <a:pt x="1517" y="2864"/>
                    </a:lnTo>
                    <a:lnTo>
                      <a:pt x="1519" y="2869"/>
                    </a:lnTo>
                    <a:lnTo>
                      <a:pt x="1520" y="2874"/>
                    </a:lnTo>
                    <a:lnTo>
                      <a:pt x="1522" y="2884"/>
                    </a:lnTo>
                    <a:lnTo>
                      <a:pt x="1522" y="2901"/>
                    </a:lnTo>
                    <a:lnTo>
                      <a:pt x="1520" y="2919"/>
                    </a:lnTo>
                    <a:lnTo>
                      <a:pt x="1520" y="2935"/>
                    </a:lnTo>
                    <a:lnTo>
                      <a:pt x="1520" y="2943"/>
                    </a:lnTo>
                    <a:lnTo>
                      <a:pt x="1522" y="2947"/>
                    </a:lnTo>
                    <a:lnTo>
                      <a:pt x="1524" y="2950"/>
                    </a:lnTo>
                    <a:lnTo>
                      <a:pt x="1526" y="2951"/>
                    </a:lnTo>
                    <a:lnTo>
                      <a:pt x="1532" y="2952"/>
                    </a:lnTo>
                    <a:lnTo>
                      <a:pt x="1538" y="2950"/>
                    </a:lnTo>
                    <a:lnTo>
                      <a:pt x="1550" y="2946"/>
                    </a:lnTo>
                    <a:lnTo>
                      <a:pt x="1563" y="2943"/>
                    </a:lnTo>
                    <a:lnTo>
                      <a:pt x="1569" y="2943"/>
                    </a:lnTo>
                    <a:lnTo>
                      <a:pt x="1574" y="2944"/>
                    </a:lnTo>
                    <a:lnTo>
                      <a:pt x="1577" y="2946"/>
                    </a:lnTo>
                    <a:lnTo>
                      <a:pt x="1580" y="2948"/>
                    </a:lnTo>
                    <a:lnTo>
                      <a:pt x="1583" y="2951"/>
                    </a:lnTo>
                    <a:lnTo>
                      <a:pt x="1588" y="2954"/>
                    </a:lnTo>
                    <a:lnTo>
                      <a:pt x="1595" y="2956"/>
                    </a:lnTo>
                    <a:lnTo>
                      <a:pt x="1604" y="2957"/>
                    </a:lnTo>
                    <a:lnTo>
                      <a:pt x="1613" y="2956"/>
                    </a:lnTo>
                    <a:lnTo>
                      <a:pt x="1623" y="2956"/>
                    </a:lnTo>
                    <a:lnTo>
                      <a:pt x="1631" y="2958"/>
                    </a:lnTo>
                    <a:lnTo>
                      <a:pt x="1637" y="2960"/>
                    </a:lnTo>
                    <a:lnTo>
                      <a:pt x="1646" y="2969"/>
                    </a:lnTo>
                    <a:lnTo>
                      <a:pt x="1655" y="2975"/>
                    </a:lnTo>
                    <a:lnTo>
                      <a:pt x="1659" y="2978"/>
                    </a:lnTo>
                    <a:lnTo>
                      <a:pt x="1661" y="2981"/>
                    </a:lnTo>
                    <a:lnTo>
                      <a:pt x="1661" y="2985"/>
                    </a:lnTo>
                    <a:lnTo>
                      <a:pt x="1661" y="2991"/>
                    </a:lnTo>
                    <a:lnTo>
                      <a:pt x="1659" y="3001"/>
                    </a:lnTo>
                    <a:lnTo>
                      <a:pt x="1661" y="3011"/>
                    </a:lnTo>
                    <a:lnTo>
                      <a:pt x="1665" y="3030"/>
                    </a:lnTo>
                    <a:lnTo>
                      <a:pt x="1671" y="3046"/>
                    </a:lnTo>
                    <a:lnTo>
                      <a:pt x="1673" y="3055"/>
                    </a:lnTo>
                    <a:lnTo>
                      <a:pt x="1671" y="3063"/>
                    </a:lnTo>
                    <a:lnTo>
                      <a:pt x="1669" y="3065"/>
                    </a:lnTo>
                    <a:lnTo>
                      <a:pt x="1667" y="3067"/>
                    </a:lnTo>
                    <a:lnTo>
                      <a:pt x="1664" y="3067"/>
                    </a:lnTo>
                    <a:lnTo>
                      <a:pt x="1659" y="3067"/>
                    </a:lnTo>
                    <a:lnTo>
                      <a:pt x="1652" y="3067"/>
                    </a:lnTo>
                    <a:lnTo>
                      <a:pt x="1648" y="3069"/>
                    </a:lnTo>
                    <a:lnTo>
                      <a:pt x="1644" y="3072"/>
                    </a:lnTo>
                    <a:lnTo>
                      <a:pt x="1640" y="3077"/>
                    </a:lnTo>
                    <a:lnTo>
                      <a:pt x="1634" y="3083"/>
                    </a:lnTo>
                    <a:lnTo>
                      <a:pt x="1627" y="3089"/>
                    </a:lnTo>
                    <a:lnTo>
                      <a:pt x="1619" y="3096"/>
                    </a:lnTo>
                    <a:lnTo>
                      <a:pt x="1612" y="3101"/>
                    </a:lnTo>
                    <a:lnTo>
                      <a:pt x="1608" y="3102"/>
                    </a:lnTo>
                    <a:lnTo>
                      <a:pt x="1605" y="3101"/>
                    </a:lnTo>
                    <a:lnTo>
                      <a:pt x="1600" y="3098"/>
                    </a:lnTo>
                    <a:lnTo>
                      <a:pt x="1595" y="3096"/>
                    </a:lnTo>
                    <a:lnTo>
                      <a:pt x="1586" y="3088"/>
                    </a:lnTo>
                    <a:lnTo>
                      <a:pt x="1577" y="3079"/>
                    </a:lnTo>
                    <a:lnTo>
                      <a:pt x="1573" y="3077"/>
                    </a:lnTo>
                    <a:lnTo>
                      <a:pt x="1569" y="3074"/>
                    </a:lnTo>
                    <a:lnTo>
                      <a:pt x="1566" y="3074"/>
                    </a:lnTo>
                    <a:lnTo>
                      <a:pt x="1562" y="3074"/>
                    </a:lnTo>
                    <a:lnTo>
                      <a:pt x="1555" y="3077"/>
                    </a:lnTo>
                    <a:lnTo>
                      <a:pt x="1549" y="3082"/>
                    </a:lnTo>
                    <a:lnTo>
                      <a:pt x="1543" y="3086"/>
                    </a:lnTo>
                    <a:lnTo>
                      <a:pt x="1538" y="3089"/>
                    </a:lnTo>
                    <a:lnTo>
                      <a:pt x="1533" y="3088"/>
                    </a:lnTo>
                    <a:lnTo>
                      <a:pt x="1526" y="3085"/>
                    </a:lnTo>
                    <a:lnTo>
                      <a:pt x="1518" y="3083"/>
                    </a:lnTo>
                    <a:lnTo>
                      <a:pt x="1508" y="3083"/>
                    </a:lnTo>
                    <a:lnTo>
                      <a:pt x="1499" y="3083"/>
                    </a:lnTo>
                    <a:lnTo>
                      <a:pt x="1491" y="3082"/>
                    </a:lnTo>
                    <a:lnTo>
                      <a:pt x="1485" y="3080"/>
                    </a:lnTo>
                    <a:lnTo>
                      <a:pt x="1478" y="3080"/>
                    </a:lnTo>
                    <a:lnTo>
                      <a:pt x="1474" y="3080"/>
                    </a:lnTo>
                    <a:lnTo>
                      <a:pt x="1472" y="3082"/>
                    </a:lnTo>
                    <a:lnTo>
                      <a:pt x="1468" y="3084"/>
                    </a:lnTo>
                    <a:lnTo>
                      <a:pt x="1464" y="3086"/>
                    </a:lnTo>
                    <a:lnTo>
                      <a:pt x="1459" y="3095"/>
                    </a:lnTo>
                    <a:lnTo>
                      <a:pt x="1453" y="3105"/>
                    </a:lnTo>
                    <a:lnTo>
                      <a:pt x="1450" y="3111"/>
                    </a:lnTo>
                    <a:lnTo>
                      <a:pt x="1448" y="3118"/>
                    </a:lnTo>
                    <a:lnTo>
                      <a:pt x="1447" y="3124"/>
                    </a:lnTo>
                    <a:lnTo>
                      <a:pt x="1447" y="3132"/>
                    </a:lnTo>
                    <a:lnTo>
                      <a:pt x="1447" y="3137"/>
                    </a:lnTo>
                    <a:lnTo>
                      <a:pt x="1445" y="3143"/>
                    </a:lnTo>
                    <a:lnTo>
                      <a:pt x="1444" y="3147"/>
                    </a:lnTo>
                    <a:lnTo>
                      <a:pt x="1443" y="3151"/>
                    </a:lnTo>
                    <a:lnTo>
                      <a:pt x="1440" y="3155"/>
                    </a:lnTo>
                    <a:lnTo>
                      <a:pt x="1435" y="3159"/>
                    </a:lnTo>
                    <a:lnTo>
                      <a:pt x="1429" y="3165"/>
                    </a:lnTo>
                    <a:lnTo>
                      <a:pt x="1424" y="3173"/>
                    </a:lnTo>
                    <a:lnTo>
                      <a:pt x="1422" y="3179"/>
                    </a:lnTo>
                    <a:lnTo>
                      <a:pt x="1419" y="3186"/>
                    </a:lnTo>
                    <a:lnTo>
                      <a:pt x="1419" y="3192"/>
                    </a:lnTo>
                    <a:lnTo>
                      <a:pt x="1419" y="3200"/>
                    </a:lnTo>
                    <a:lnTo>
                      <a:pt x="1420" y="3208"/>
                    </a:lnTo>
                    <a:lnTo>
                      <a:pt x="1423" y="3214"/>
                    </a:lnTo>
                    <a:lnTo>
                      <a:pt x="1426" y="3218"/>
                    </a:lnTo>
                    <a:lnTo>
                      <a:pt x="1430" y="3223"/>
                    </a:lnTo>
                    <a:lnTo>
                      <a:pt x="1438" y="3229"/>
                    </a:lnTo>
                    <a:lnTo>
                      <a:pt x="1445" y="3235"/>
                    </a:lnTo>
                    <a:lnTo>
                      <a:pt x="1448" y="3238"/>
                    </a:lnTo>
                    <a:lnTo>
                      <a:pt x="1450" y="3243"/>
                    </a:lnTo>
                    <a:lnTo>
                      <a:pt x="1451" y="3249"/>
                    </a:lnTo>
                    <a:lnTo>
                      <a:pt x="1453" y="3256"/>
                    </a:lnTo>
                    <a:lnTo>
                      <a:pt x="1454" y="3273"/>
                    </a:lnTo>
                    <a:lnTo>
                      <a:pt x="1455" y="3291"/>
                    </a:lnTo>
                    <a:lnTo>
                      <a:pt x="1454" y="3313"/>
                    </a:lnTo>
                    <a:lnTo>
                      <a:pt x="1453" y="3343"/>
                    </a:lnTo>
                    <a:lnTo>
                      <a:pt x="1453" y="3359"/>
                    </a:lnTo>
                    <a:lnTo>
                      <a:pt x="1454" y="3374"/>
                    </a:lnTo>
                    <a:lnTo>
                      <a:pt x="1454" y="3387"/>
                    </a:lnTo>
                    <a:lnTo>
                      <a:pt x="1456" y="3398"/>
                    </a:lnTo>
                    <a:lnTo>
                      <a:pt x="1457" y="3407"/>
                    </a:lnTo>
                    <a:lnTo>
                      <a:pt x="1457" y="3416"/>
                    </a:lnTo>
                    <a:lnTo>
                      <a:pt x="1457" y="3423"/>
                    </a:lnTo>
                    <a:lnTo>
                      <a:pt x="1455" y="3430"/>
                    </a:lnTo>
                    <a:lnTo>
                      <a:pt x="1453" y="3436"/>
                    </a:lnTo>
                    <a:lnTo>
                      <a:pt x="1449" y="3442"/>
                    </a:lnTo>
                    <a:lnTo>
                      <a:pt x="1445" y="3447"/>
                    </a:lnTo>
                    <a:lnTo>
                      <a:pt x="1442" y="3450"/>
                    </a:lnTo>
                    <a:lnTo>
                      <a:pt x="1438" y="3452"/>
                    </a:lnTo>
                    <a:lnTo>
                      <a:pt x="1432" y="3455"/>
                    </a:lnTo>
                    <a:lnTo>
                      <a:pt x="1425" y="3457"/>
                    </a:lnTo>
                    <a:lnTo>
                      <a:pt x="1416" y="3460"/>
                    </a:lnTo>
                    <a:lnTo>
                      <a:pt x="1397" y="3462"/>
                    </a:lnTo>
                    <a:lnTo>
                      <a:pt x="1375" y="3463"/>
                    </a:lnTo>
                    <a:lnTo>
                      <a:pt x="1366" y="3462"/>
                    </a:lnTo>
                    <a:lnTo>
                      <a:pt x="1359" y="3461"/>
                    </a:lnTo>
                    <a:lnTo>
                      <a:pt x="1352" y="3460"/>
                    </a:lnTo>
                    <a:lnTo>
                      <a:pt x="1347" y="3457"/>
                    </a:lnTo>
                    <a:lnTo>
                      <a:pt x="1343" y="3455"/>
                    </a:lnTo>
                    <a:lnTo>
                      <a:pt x="1341" y="3450"/>
                    </a:lnTo>
                    <a:lnTo>
                      <a:pt x="1337" y="3445"/>
                    </a:lnTo>
                    <a:lnTo>
                      <a:pt x="1335" y="3441"/>
                    </a:lnTo>
                    <a:lnTo>
                      <a:pt x="1328" y="3427"/>
                    </a:lnTo>
                    <a:lnTo>
                      <a:pt x="1319" y="3416"/>
                    </a:lnTo>
                    <a:lnTo>
                      <a:pt x="1310" y="3404"/>
                    </a:lnTo>
                    <a:lnTo>
                      <a:pt x="1298" y="3391"/>
                    </a:lnTo>
                    <a:lnTo>
                      <a:pt x="1284" y="3376"/>
                    </a:lnTo>
                    <a:lnTo>
                      <a:pt x="1267" y="3361"/>
                    </a:lnTo>
                    <a:lnTo>
                      <a:pt x="1252" y="3348"/>
                    </a:lnTo>
                    <a:lnTo>
                      <a:pt x="1240" y="3341"/>
                    </a:lnTo>
                    <a:lnTo>
                      <a:pt x="1229" y="3336"/>
                    </a:lnTo>
                    <a:lnTo>
                      <a:pt x="1216" y="3331"/>
                    </a:lnTo>
                    <a:lnTo>
                      <a:pt x="1203" y="3326"/>
                    </a:lnTo>
                    <a:lnTo>
                      <a:pt x="1192" y="3322"/>
                    </a:lnTo>
                    <a:lnTo>
                      <a:pt x="1184" y="3316"/>
                    </a:lnTo>
                    <a:lnTo>
                      <a:pt x="1174" y="3307"/>
                    </a:lnTo>
                    <a:lnTo>
                      <a:pt x="1164" y="3299"/>
                    </a:lnTo>
                    <a:lnTo>
                      <a:pt x="1151" y="3290"/>
                    </a:lnTo>
                    <a:lnTo>
                      <a:pt x="1138" y="3282"/>
                    </a:lnTo>
                    <a:lnTo>
                      <a:pt x="1124" y="3274"/>
                    </a:lnTo>
                    <a:lnTo>
                      <a:pt x="1114" y="3268"/>
                    </a:lnTo>
                    <a:lnTo>
                      <a:pt x="1105" y="3263"/>
                    </a:lnTo>
                    <a:lnTo>
                      <a:pt x="1098" y="3259"/>
                    </a:lnTo>
                    <a:lnTo>
                      <a:pt x="1091" y="3254"/>
                    </a:lnTo>
                    <a:lnTo>
                      <a:pt x="1086" y="3248"/>
                    </a:lnTo>
                    <a:lnTo>
                      <a:pt x="1082" y="3243"/>
                    </a:lnTo>
                    <a:lnTo>
                      <a:pt x="1072" y="3233"/>
                    </a:lnTo>
                    <a:lnTo>
                      <a:pt x="1065" y="3224"/>
                    </a:lnTo>
                    <a:lnTo>
                      <a:pt x="1058" y="3218"/>
                    </a:lnTo>
                    <a:lnTo>
                      <a:pt x="1052" y="3214"/>
                    </a:lnTo>
                    <a:lnTo>
                      <a:pt x="1046" y="3210"/>
                    </a:lnTo>
                    <a:lnTo>
                      <a:pt x="1040" y="3210"/>
                    </a:lnTo>
                    <a:lnTo>
                      <a:pt x="1032" y="3211"/>
                    </a:lnTo>
                    <a:lnTo>
                      <a:pt x="1021" y="3214"/>
                    </a:lnTo>
                    <a:lnTo>
                      <a:pt x="1016" y="3215"/>
                    </a:lnTo>
                    <a:lnTo>
                      <a:pt x="1010" y="3215"/>
                    </a:lnTo>
                    <a:lnTo>
                      <a:pt x="1004" y="3214"/>
                    </a:lnTo>
                    <a:lnTo>
                      <a:pt x="998" y="3210"/>
                    </a:lnTo>
                    <a:lnTo>
                      <a:pt x="994" y="3208"/>
                    </a:lnTo>
                    <a:lnTo>
                      <a:pt x="989" y="3206"/>
                    </a:lnTo>
                    <a:lnTo>
                      <a:pt x="985" y="3205"/>
                    </a:lnTo>
                    <a:lnTo>
                      <a:pt x="982" y="3206"/>
                    </a:lnTo>
                    <a:lnTo>
                      <a:pt x="972" y="3211"/>
                    </a:lnTo>
                    <a:lnTo>
                      <a:pt x="959" y="3219"/>
                    </a:lnTo>
                    <a:lnTo>
                      <a:pt x="952" y="3223"/>
                    </a:lnTo>
                    <a:lnTo>
                      <a:pt x="945" y="3224"/>
                    </a:lnTo>
                    <a:lnTo>
                      <a:pt x="938" y="3224"/>
                    </a:lnTo>
                    <a:lnTo>
                      <a:pt x="931" y="3224"/>
                    </a:lnTo>
                    <a:lnTo>
                      <a:pt x="918" y="3223"/>
                    </a:lnTo>
                    <a:lnTo>
                      <a:pt x="903" y="3223"/>
                    </a:lnTo>
                    <a:lnTo>
                      <a:pt x="897" y="3225"/>
                    </a:lnTo>
                    <a:lnTo>
                      <a:pt x="893" y="3228"/>
                    </a:lnTo>
                    <a:lnTo>
                      <a:pt x="889" y="3231"/>
                    </a:lnTo>
                    <a:lnTo>
                      <a:pt x="887" y="3235"/>
                    </a:lnTo>
                    <a:lnTo>
                      <a:pt x="884" y="3244"/>
                    </a:lnTo>
                    <a:lnTo>
                      <a:pt x="881" y="3254"/>
                    </a:lnTo>
                    <a:lnTo>
                      <a:pt x="878" y="3258"/>
                    </a:lnTo>
                    <a:lnTo>
                      <a:pt x="876" y="3259"/>
                    </a:lnTo>
                    <a:lnTo>
                      <a:pt x="874" y="3259"/>
                    </a:lnTo>
                    <a:lnTo>
                      <a:pt x="870" y="3258"/>
                    </a:lnTo>
                    <a:lnTo>
                      <a:pt x="863" y="3252"/>
                    </a:lnTo>
                    <a:lnTo>
                      <a:pt x="856" y="3247"/>
                    </a:lnTo>
                    <a:lnTo>
                      <a:pt x="846" y="3241"/>
                    </a:lnTo>
                    <a:lnTo>
                      <a:pt x="836" y="3233"/>
                    </a:lnTo>
                    <a:lnTo>
                      <a:pt x="826" y="3224"/>
                    </a:lnTo>
                    <a:lnTo>
                      <a:pt x="818" y="3217"/>
                    </a:lnTo>
                    <a:lnTo>
                      <a:pt x="812" y="3209"/>
                    </a:lnTo>
                    <a:lnTo>
                      <a:pt x="805" y="3199"/>
                    </a:lnTo>
                    <a:lnTo>
                      <a:pt x="796" y="3190"/>
                    </a:lnTo>
                    <a:lnTo>
                      <a:pt x="788" y="3180"/>
                    </a:lnTo>
                    <a:lnTo>
                      <a:pt x="781" y="3172"/>
                    </a:lnTo>
                    <a:lnTo>
                      <a:pt x="774" y="3162"/>
                    </a:lnTo>
                    <a:lnTo>
                      <a:pt x="769" y="3154"/>
                    </a:lnTo>
                    <a:lnTo>
                      <a:pt x="765" y="3147"/>
                    </a:lnTo>
                    <a:lnTo>
                      <a:pt x="764" y="3143"/>
                    </a:lnTo>
                    <a:lnTo>
                      <a:pt x="761" y="3142"/>
                    </a:lnTo>
                    <a:lnTo>
                      <a:pt x="756" y="3140"/>
                    </a:lnTo>
                    <a:lnTo>
                      <a:pt x="750" y="3140"/>
                    </a:lnTo>
                    <a:lnTo>
                      <a:pt x="743" y="3140"/>
                    </a:lnTo>
                    <a:lnTo>
                      <a:pt x="736" y="3140"/>
                    </a:lnTo>
                    <a:lnTo>
                      <a:pt x="729" y="3142"/>
                    </a:lnTo>
                    <a:lnTo>
                      <a:pt x="722" y="3143"/>
                    </a:lnTo>
                    <a:lnTo>
                      <a:pt x="714" y="3146"/>
                    </a:lnTo>
                    <a:lnTo>
                      <a:pt x="706" y="3146"/>
                    </a:lnTo>
                    <a:lnTo>
                      <a:pt x="699" y="3146"/>
                    </a:lnTo>
                    <a:lnTo>
                      <a:pt x="693" y="3145"/>
                    </a:lnTo>
                    <a:lnTo>
                      <a:pt x="686" y="3142"/>
                    </a:lnTo>
                    <a:lnTo>
                      <a:pt x="680" y="3137"/>
                    </a:lnTo>
                    <a:lnTo>
                      <a:pt x="678" y="3135"/>
                    </a:lnTo>
                    <a:lnTo>
                      <a:pt x="676" y="3132"/>
                    </a:lnTo>
                    <a:lnTo>
                      <a:pt x="675" y="3128"/>
                    </a:lnTo>
                    <a:lnTo>
                      <a:pt x="676" y="3123"/>
                    </a:lnTo>
                    <a:lnTo>
                      <a:pt x="680" y="3104"/>
                    </a:lnTo>
                    <a:lnTo>
                      <a:pt x="682" y="3089"/>
                    </a:lnTo>
                    <a:lnTo>
                      <a:pt x="681" y="3086"/>
                    </a:lnTo>
                    <a:lnTo>
                      <a:pt x="679" y="3085"/>
                    </a:lnTo>
                    <a:lnTo>
                      <a:pt x="676" y="3084"/>
                    </a:lnTo>
                    <a:lnTo>
                      <a:pt x="672" y="3084"/>
                    </a:lnTo>
                    <a:lnTo>
                      <a:pt x="662" y="3085"/>
                    </a:lnTo>
                    <a:lnTo>
                      <a:pt x="654" y="3089"/>
                    </a:lnTo>
                    <a:lnTo>
                      <a:pt x="647" y="3095"/>
                    </a:lnTo>
                    <a:lnTo>
                      <a:pt x="639" y="3101"/>
                    </a:lnTo>
                    <a:lnTo>
                      <a:pt x="634" y="3109"/>
                    </a:lnTo>
                    <a:lnTo>
                      <a:pt x="629" y="3118"/>
                    </a:lnTo>
                    <a:lnTo>
                      <a:pt x="625" y="3123"/>
                    </a:lnTo>
                    <a:lnTo>
                      <a:pt x="622" y="3127"/>
                    </a:lnTo>
                    <a:lnTo>
                      <a:pt x="617" y="3130"/>
                    </a:lnTo>
                    <a:lnTo>
                      <a:pt x="612" y="3132"/>
                    </a:lnTo>
                    <a:lnTo>
                      <a:pt x="601" y="3133"/>
                    </a:lnTo>
                    <a:lnTo>
                      <a:pt x="593" y="3133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1" name="重庆"/>
              <p:cNvSpPr/>
              <p:nvPr>
                <p:custDataLst>
                  <p:tags r:id="rId38"/>
                </p:custDataLst>
              </p:nvPr>
            </p:nvSpPr>
            <p:spPr bwMode="auto">
              <a:xfrm>
                <a:off x="4300823" y="4105873"/>
                <a:ext cx="644612" cy="631457"/>
              </a:xfrm>
              <a:custGeom>
                <a:avLst/>
                <a:gdLst>
                  <a:gd name="T0" fmla="*/ 595 w 1775"/>
                  <a:gd name="T1" fmla="*/ 1433 h 1753"/>
                  <a:gd name="T2" fmla="*/ 546 w 1775"/>
                  <a:gd name="T3" fmla="*/ 1466 h 1753"/>
                  <a:gd name="T4" fmla="*/ 501 w 1775"/>
                  <a:gd name="T5" fmla="*/ 1586 h 1753"/>
                  <a:gd name="T6" fmla="*/ 438 w 1775"/>
                  <a:gd name="T7" fmla="*/ 1581 h 1753"/>
                  <a:gd name="T8" fmla="*/ 420 w 1775"/>
                  <a:gd name="T9" fmla="*/ 1467 h 1753"/>
                  <a:gd name="T10" fmla="*/ 411 w 1775"/>
                  <a:gd name="T11" fmla="*/ 1505 h 1753"/>
                  <a:gd name="T12" fmla="*/ 366 w 1775"/>
                  <a:gd name="T13" fmla="*/ 1557 h 1753"/>
                  <a:gd name="T14" fmla="*/ 313 w 1775"/>
                  <a:gd name="T15" fmla="*/ 1467 h 1753"/>
                  <a:gd name="T16" fmla="*/ 202 w 1775"/>
                  <a:gd name="T17" fmla="*/ 1382 h 1753"/>
                  <a:gd name="T18" fmla="*/ 115 w 1775"/>
                  <a:gd name="T19" fmla="*/ 1292 h 1753"/>
                  <a:gd name="T20" fmla="*/ 74 w 1775"/>
                  <a:gd name="T21" fmla="*/ 1221 h 1753"/>
                  <a:gd name="T22" fmla="*/ 18 w 1775"/>
                  <a:gd name="T23" fmla="*/ 1127 h 1753"/>
                  <a:gd name="T24" fmla="*/ 92 w 1775"/>
                  <a:gd name="T25" fmla="*/ 988 h 1753"/>
                  <a:gd name="T26" fmla="*/ 146 w 1775"/>
                  <a:gd name="T27" fmla="*/ 910 h 1753"/>
                  <a:gd name="T28" fmla="*/ 109 w 1775"/>
                  <a:gd name="T29" fmla="*/ 843 h 1753"/>
                  <a:gd name="T30" fmla="*/ 153 w 1775"/>
                  <a:gd name="T31" fmla="*/ 754 h 1753"/>
                  <a:gd name="T32" fmla="*/ 269 w 1775"/>
                  <a:gd name="T33" fmla="*/ 767 h 1753"/>
                  <a:gd name="T34" fmla="*/ 383 w 1775"/>
                  <a:gd name="T35" fmla="*/ 825 h 1753"/>
                  <a:gd name="T36" fmla="*/ 495 w 1775"/>
                  <a:gd name="T37" fmla="*/ 888 h 1753"/>
                  <a:gd name="T38" fmla="*/ 652 w 1775"/>
                  <a:gd name="T39" fmla="*/ 868 h 1753"/>
                  <a:gd name="T40" fmla="*/ 726 w 1775"/>
                  <a:gd name="T41" fmla="*/ 770 h 1753"/>
                  <a:gd name="T42" fmla="*/ 772 w 1775"/>
                  <a:gd name="T43" fmla="*/ 624 h 1753"/>
                  <a:gd name="T44" fmla="*/ 793 w 1775"/>
                  <a:gd name="T45" fmla="*/ 560 h 1753"/>
                  <a:gd name="T46" fmla="*/ 866 w 1775"/>
                  <a:gd name="T47" fmla="*/ 561 h 1753"/>
                  <a:gd name="T48" fmla="*/ 933 w 1775"/>
                  <a:gd name="T49" fmla="*/ 550 h 1753"/>
                  <a:gd name="T50" fmla="*/ 986 w 1775"/>
                  <a:gd name="T51" fmla="*/ 458 h 1753"/>
                  <a:gd name="T52" fmla="*/ 1045 w 1775"/>
                  <a:gd name="T53" fmla="*/ 353 h 1753"/>
                  <a:gd name="T54" fmla="*/ 1166 w 1775"/>
                  <a:gd name="T55" fmla="*/ 229 h 1753"/>
                  <a:gd name="T56" fmla="*/ 1140 w 1775"/>
                  <a:gd name="T57" fmla="*/ 166 h 1753"/>
                  <a:gd name="T58" fmla="*/ 1103 w 1775"/>
                  <a:gd name="T59" fmla="*/ 52 h 1753"/>
                  <a:gd name="T60" fmla="*/ 1244 w 1775"/>
                  <a:gd name="T61" fmla="*/ 34 h 1753"/>
                  <a:gd name="T62" fmla="*/ 1449 w 1775"/>
                  <a:gd name="T63" fmla="*/ 207 h 1753"/>
                  <a:gd name="T64" fmla="*/ 1605 w 1775"/>
                  <a:gd name="T65" fmla="*/ 223 h 1753"/>
                  <a:gd name="T66" fmla="*/ 1717 w 1775"/>
                  <a:gd name="T67" fmla="*/ 330 h 1753"/>
                  <a:gd name="T68" fmla="*/ 1763 w 1775"/>
                  <a:gd name="T69" fmla="*/ 466 h 1753"/>
                  <a:gd name="T70" fmla="*/ 1714 w 1775"/>
                  <a:gd name="T71" fmla="*/ 597 h 1753"/>
                  <a:gd name="T72" fmla="*/ 1562 w 1775"/>
                  <a:gd name="T73" fmla="*/ 656 h 1753"/>
                  <a:gd name="T74" fmla="*/ 1469 w 1775"/>
                  <a:gd name="T75" fmla="*/ 732 h 1753"/>
                  <a:gd name="T76" fmla="*/ 1392 w 1775"/>
                  <a:gd name="T77" fmla="*/ 718 h 1753"/>
                  <a:gd name="T78" fmla="*/ 1289 w 1775"/>
                  <a:gd name="T79" fmla="*/ 727 h 1753"/>
                  <a:gd name="T80" fmla="*/ 1207 w 1775"/>
                  <a:gd name="T81" fmla="*/ 708 h 1753"/>
                  <a:gd name="T82" fmla="*/ 1120 w 1775"/>
                  <a:gd name="T83" fmla="*/ 794 h 1753"/>
                  <a:gd name="T84" fmla="*/ 1164 w 1775"/>
                  <a:gd name="T85" fmla="*/ 927 h 1753"/>
                  <a:gd name="T86" fmla="*/ 1109 w 1775"/>
                  <a:gd name="T87" fmla="*/ 1025 h 1753"/>
                  <a:gd name="T88" fmla="*/ 1182 w 1775"/>
                  <a:gd name="T89" fmla="*/ 1040 h 1753"/>
                  <a:gd name="T90" fmla="*/ 1271 w 1775"/>
                  <a:gd name="T91" fmla="*/ 1110 h 1753"/>
                  <a:gd name="T92" fmla="*/ 1309 w 1775"/>
                  <a:gd name="T93" fmla="*/ 1230 h 1753"/>
                  <a:gd name="T94" fmla="*/ 1372 w 1775"/>
                  <a:gd name="T95" fmla="*/ 1229 h 1753"/>
                  <a:gd name="T96" fmla="*/ 1453 w 1775"/>
                  <a:gd name="T97" fmla="*/ 1374 h 1753"/>
                  <a:gd name="T98" fmla="*/ 1449 w 1775"/>
                  <a:gd name="T99" fmla="*/ 1519 h 1753"/>
                  <a:gd name="T100" fmla="*/ 1421 w 1775"/>
                  <a:gd name="T101" fmla="*/ 1565 h 1753"/>
                  <a:gd name="T102" fmla="*/ 1385 w 1775"/>
                  <a:gd name="T103" fmla="*/ 1694 h 1753"/>
                  <a:gd name="T104" fmla="*/ 1302 w 1775"/>
                  <a:gd name="T105" fmla="*/ 1732 h 1753"/>
                  <a:gd name="T106" fmla="*/ 1250 w 1775"/>
                  <a:gd name="T107" fmla="*/ 1641 h 1753"/>
                  <a:gd name="T108" fmla="*/ 1195 w 1775"/>
                  <a:gd name="T109" fmla="*/ 1691 h 1753"/>
                  <a:gd name="T110" fmla="*/ 1189 w 1775"/>
                  <a:gd name="T111" fmla="*/ 1563 h 1753"/>
                  <a:gd name="T112" fmla="*/ 1102 w 1775"/>
                  <a:gd name="T113" fmla="*/ 1488 h 1753"/>
                  <a:gd name="T114" fmla="*/ 1022 w 1775"/>
                  <a:gd name="T115" fmla="*/ 1362 h 1753"/>
                  <a:gd name="T116" fmla="*/ 885 w 1775"/>
                  <a:gd name="T117" fmla="*/ 1315 h 1753"/>
                  <a:gd name="T118" fmla="*/ 792 w 1775"/>
                  <a:gd name="T119" fmla="*/ 1302 h 1753"/>
                  <a:gd name="T120" fmla="*/ 764 w 1775"/>
                  <a:gd name="T121" fmla="*/ 1418 h 1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75" h="1753">
                    <a:moveTo>
                      <a:pt x="692" y="1479"/>
                    </a:moveTo>
                    <a:lnTo>
                      <a:pt x="687" y="1479"/>
                    </a:lnTo>
                    <a:lnTo>
                      <a:pt x="682" y="1479"/>
                    </a:lnTo>
                    <a:lnTo>
                      <a:pt x="680" y="1477"/>
                    </a:lnTo>
                    <a:lnTo>
                      <a:pt x="679" y="1475"/>
                    </a:lnTo>
                    <a:lnTo>
                      <a:pt x="678" y="1474"/>
                    </a:lnTo>
                    <a:lnTo>
                      <a:pt x="677" y="1471"/>
                    </a:lnTo>
                    <a:lnTo>
                      <a:pt x="674" y="1467"/>
                    </a:lnTo>
                    <a:lnTo>
                      <a:pt x="672" y="1460"/>
                    </a:lnTo>
                    <a:lnTo>
                      <a:pt x="667" y="1454"/>
                    </a:lnTo>
                    <a:lnTo>
                      <a:pt x="660" y="1448"/>
                    </a:lnTo>
                    <a:lnTo>
                      <a:pt x="653" y="1443"/>
                    </a:lnTo>
                    <a:lnTo>
                      <a:pt x="643" y="1441"/>
                    </a:lnTo>
                    <a:lnTo>
                      <a:pt x="634" y="1438"/>
                    </a:lnTo>
                    <a:lnTo>
                      <a:pt x="624" y="1437"/>
                    </a:lnTo>
                    <a:lnTo>
                      <a:pt x="617" y="1436"/>
                    </a:lnTo>
                    <a:lnTo>
                      <a:pt x="610" y="1435"/>
                    </a:lnTo>
                    <a:lnTo>
                      <a:pt x="605" y="1433"/>
                    </a:lnTo>
                    <a:lnTo>
                      <a:pt x="599" y="1433"/>
                    </a:lnTo>
                    <a:lnTo>
                      <a:pt x="595" y="1433"/>
                    </a:lnTo>
                    <a:lnTo>
                      <a:pt x="590" y="1435"/>
                    </a:lnTo>
                    <a:lnTo>
                      <a:pt x="587" y="1437"/>
                    </a:lnTo>
                    <a:lnTo>
                      <a:pt x="584" y="1441"/>
                    </a:lnTo>
                    <a:lnTo>
                      <a:pt x="583" y="1445"/>
                    </a:lnTo>
                    <a:lnTo>
                      <a:pt x="581" y="1450"/>
                    </a:lnTo>
                    <a:lnTo>
                      <a:pt x="581" y="1460"/>
                    </a:lnTo>
                    <a:lnTo>
                      <a:pt x="583" y="1469"/>
                    </a:lnTo>
                    <a:lnTo>
                      <a:pt x="583" y="1475"/>
                    </a:lnTo>
                    <a:lnTo>
                      <a:pt x="580" y="1479"/>
                    </a:lnTo>
                    <a:lnTo>
                      <a:pt x="578" y="1479"/>
                    </a:lnTo>
                    <a:lnTo>
                      <a:pt x="577" y="1479"/>
                    </a:lnTo>
                    <a:lnTo>
                      <a:pt x="574" y="1477"/>
                    </a:lnTo>
                    <a:lnTo>
                      <a:pt x="571" y="1475"/>
                    </a:lnTo>
                    <a:lnTo>
                      <a:pt x="566" y="1470"/>
                    </a:lnTo>
                    <a:lnTo>
                      <a:pt x="561" y="1466"/>
                    </a:lnTo>
                    <a:lnTo>
                      <a:pt x="556" y="1463"/>
                    </a:lnTo>
                    <a:lnTo>
                      <a:pt x="552" y="1463"/>
                    </a:lnTo>
                    <a:lnTo>
                      <a:pt x="551" y="1464"/>
                    </a:lnTo>
                    <a:lnTo>
                      <a:pt x="548" y="1464"/>
                    </a:lnTo>
                    <a:lnTo>
                      <a:pt x="546" y="1466"/>
                    </a:lnTo>
                    <a:lnTo>
                      <a:pt x="542" y="1468"/>
                    </a:lnTo>
                    <a:lnTo>
                      <a:pt x="535" y="1475"/>
                    </a:lnTo>
                    <a:lnTo>
                      <a:pt x="528" y="1485"/>
                    </a:lnTo>
                    <a:lnTo>
                      <a:pt x="523" y="1492"/>
                    </a:lnTo>
                    <a:lnTo>
                      <a:pt x="515" y="1502"/>
                    </a:lnTo>
                    <a:lnTo>
                      <a:pt x="509" y="1512"/>
                    </a:lnTo>
                    <a:lnTo>
                      <a:pt x="504" y="1521"/>
                    </a:lnTo>
                    <a:lnTo>
                      <a:pt x="503" y="1527"/>
                    </a:lnTo>
                    <a:lnTo>
                      <a:pt x="502" y="1533"/>
                    </a:lnTo>
                    <a:lnTo>
                      <a:pt x="501" y="1536"/>
                    </a:lnTo>
                    <a:lnTo>
                      <a:pt x="501" y="1542"/>
                    </a:lnTo>
                    <a:lnTo>
                      <a:pt x="502" y="1546"/>
                    </a:lnTo>
                    <a:lnTo>
                      <a:pt x="503" y="1551"/>
                    </a:lnTo>
                    <a:lnTo>
                      <a:pt x="504" y="1557"/>
                    </a:lnTo>
                    <a:lnTo>
                      <a:pt x="507" y="1563"/>
                    </a:lnTo>
                    <a:lnTo>
                      <a:pt x="507" y="1567"/>
                    </a:lnTo>
                    <a:lnTo>
                      <a:pt x="507" y="1570"/>
                    </a:lnTo>
                    <a:lnTo>
                      <a:pt x="505" y="1577"/>
                    </a:lnTo>
                    <a:lnTo>
                      <a:pt x="502" y="1583"/>
                    </a:lnTo>
                    <a:lnTo>
                      <a:pt x="501" y="1586"/>
                    </a:lnTo>
                    <a:lnTo>
                      <a:pt x="499" y="1588"/>
                    </a:lnTo>
                    <a:lnTo>
                      <a:pt x="496" y="1592"/>
                    </a:lnTo>
                    <a:lnTo>
                      <a:pt x="493" y="1595"/>
                    </a:lnTo>
                    <a:lnTo>
                      <a:pt x="488" y="1601"/>
                    </a:lnTo>
                    <a:lnTo>
                      <a:pt x="482" y="1605"/>
                    </a:lnTo>
                    <a:lnTo>
                      <a:pt x="479" y="1603"/>
                    </a:lnTo>
                    <a:lnTo>
                      <a:pt x="477" y="1602"/>
                    </a:lnTo>
                    <a:lnTo>
                      <a:pt x="476" y="1601"/>
                    </a:lnTo>
                    <a:lnTo>
                      <a:pt x="474" y="1600"/>
                    </a:lnTo>
                    <a:lnTo>
                      <a:pt x="473" y="1599"/>
                    </a:lnTo>
                    <a:lnTo>
                      <a:pt x="472" y="1599"/>
                    </a:lnTo>
                    <a:lnTo>
                      <a:pt x="468" y="1596"/>
                    </a:lnTo>
                    <a:lnTo>
                      <a:pt x="459" y="1593"/>
                    </a:lnTo>
                    <a:lnTo>
                      <a:pt x="454" y="1592"/>
                    </a:lnTo>
                    <a:lnTo>
                      <a:pt x="448" y="1592"/>
                    </a:lnTo>
                    <a:lnTo>
                      <a:pt x="446" y="1592"/>
                    </a:lnTo>
                    <a:lnTo>
                      <a:pt x="444" y="1590"/>
                    </a:lnTo>
                    <a:lnTo>
                      <a:pt x="440" y="1589"/>
                    </a:lnTo>
                    <a:lnTo>
                      <a:pt x="438" y="1584"/>
                    </a:lnTo>
                    <a:lnTo>
                      <a:pt x="438" y="1581"/>
                    </a:lnTo>
                    <a:lnTo>
                      <a:pt x="438" y="1576"/>
                    </a:lnTo>
                    <a:lnTo>
                      <a:pt x="439" y="1571"/>
                    </a:lnTo>
                    <a:lnTo>
                      <a:pt x="441" y="1565"/>
                    </a:lnTo>
                    <a:lnTo>
                      <a:pt x="446" y="1555"/>
                    </a:lnTo>
                    <a:lnTo>
                      <a:pt x="451" y="1543"/>
                    </a:lnTo>
                    <a:lnTo>
                      <a:pt x="453" y="1536"/>
                    </a:lnTo>
                    <a:lnTo>
                      <a:pt x="457" y="1527"/>
                    </a:lnTo>
                    <a:lnTo>
                      <a:pt x="458" y="1521"/>
                    </a:lnTo>
                    <a:lnTo>
                      <a:pt x="457" y="1518"/>
                    </a:lnTo>
                    <a:lnTo>
                      <a:pt x="455" y="1512"/>
                    </a:lnTo>
                    <a:lnTo>
                      <a:pt x="453" y="1508"/>
                    </a:lnTo>
                    <a:lnTo>
                      <a:pt x="451" y="1506"/>
                    </a:lnTo>
                    <a:lnTo>
                      <a:pt x="448" y="1505"/>
                    </a:lnTo>
                    <a:lnTo>
                      <a:pt x="436" y="1500"/>
                    </a:lnTo>
                    <a:lnTo>
                      <a:pt x="423" y="1494"/>
                    </a:lnTo>
                    <a:lnTo>
                      <a:pt x="421" y="1487"/>
                    </a:lnTo>
                    <a:lnTo>
                      <a:pt x="421" y="1479"/>
                    </a:lnTo>
                    <a:lnTo>
                      <a:pt x="421" y="1475"/>
                    </a:lnTo>
                    <a:lnTo>
                      <a:pt x="420" y="1473"/>
                    </a:lnTo>
                    <a:lnTo>
                      <a:pt x="420" y="1467"/>
                    </a:lnTo>
                    <a:lnTo>
                      <a:pt x="417" y="1463"/>
                    </a:lnTo>
                    <a:lnTo>
                      <a:pt x="416" y="1458"/>
                    </a:lnTo>
                    <a:lnTo>
                      <a:pt x="414" y="1455"/>
                    </a:lnTo>
                    <a:lnTo>
                      <a:pt x="409" y="1449"/>
                    </a:lnTo>
                    <a:lnTo>
                      <a:pt x="403" y="1443"/>
                    </a:lnTo>
                    <a:lnTo>
                      <a:pt x="398" y="1438"/>
                    </a:lnTo>
                    <a:lnTo>
                      <a:pt x="392" y="1435"/>
                    </a:lnTo>
                    <a:lnTo>
                      <a:pt x="389" y="1433"/>
                    </a:lnTo>
                    <a:lnTo>
                      <a:pt x="385" y="1433"/>
                    </a:lnTo>
                    <a:lnTo>
                      <a:pt x="384" y="1435"/>
                    </a:lnTo>
                    <a:lnTo>
                      <a:pt x="382" y="1436"/>
                    </a:lnTo>
                    <a:lnTo>
                      <a:pt x="381" y="1439"/>
                    </a:lnTo>
                    <a:lnTo>
                      <a:pt x="381" y="1444"/>
                    </a:lnTo>
                    <a:lnTo>
                      <a:pt x="383" y="1451"/>
                    </a:lnTo>
                    <a:lnTo>
                      <a:pt x="386" y="1457"/>
                    </a:lnTo>
                    <a:lnTo>
                      <a:pt x="392" y="1468"/>
                    </a:lnTo>
                    <a:lnTo>
                      <a:pt x="400" y="1479"/>
                    </a:lnTo>
                    <a:lnTo>
                      <a:pt x="405" y="1489"/>
                    </a:lnTo>
                    <a:lnTo>
                      <a:pt x="410" y="1501"/>
                    </a:lnTo>
                    <a:lnTo>
                      <a:pt x="411" y="1505"/>
                    </a:lnTo>
                    <a:lnTo>
                      <a:pt x="411" y="1510"/>
                    </a:lnTo>
                    <a:lnTo>
                      <a:pt x="410" y="1514"/>
                    </a:lnTo>
                    <a:lnTo>
                      <a:pt x="410" y="1519"/>
                    </a:lnTo>
                    <a:lnTo>
                      <a:pt x="408" y="1524"/>
                    </a:lnTo>
                    <a:lnTo>
                      <a:pt x="405" y="1527"/>
                    </a:lnTo>
                    <a:lnTo>
                      <a:pt x="403" y="1531"/>
                    </a:lnTo>
                    <a:lnTo>
                      <a:pt x="402" y="1533"/>
                    </a:lnTo>
                    <a:lnTo>
                      <a:pt x="401" y="1539"/>
                    </a:lnTo>
                    <a:lnTo>
                      <a:pt x="400" y="1552"/>
                    </a:lnTo>
                    <a:lnTo>
                      <a:pt x="400" y="1559"/>
                    </a:lnTo>
                    <a:lnTo>
                      <a:pt x="398" y="1565"/>
                    </a:lnTo>
                    <a:lnTo>
                      <a:pt x="398" y="1570"/>
                    </a:lnTo>
                    <a:lnTo>
                      <a:pt x="396" y="1574"/>
                    </a:lnTo>
                    <a:lnTo>
                      <a:pt x="394" y="1574"/>
                    </a:lnTo>
                    <a:lnTo>
                      <a:pt x="391" y="1574"/>
                    </a:lnTo>
                    <a:lnTo>
                      <a:pt x="386" y="1570"/>
                    </a:lnTo>
                    <a:lnTo>
                      <a:pt x="381" y="1567"/>
                    </a:lnTo>
                    <a:lnTo>
                      <a:pt x="376" y="1563"/>
                    </a:lnTo>
                    <a:lnTo>
                      <a:pt x="372" y="1561"/>
                    </a:lnTo>
                    <a:lnTo>
                      <a:pt x="366" y="1557"/>
                    </a:lnTo>
                    <a:lnTo>
                      <a:pt x="364" y="1555"/>
                    </a:lnTo>
                    <a:lnTo>
                      <a:pt x="362" y="1555"/>
                    </a:lnTo>
                    <a:lnTo>
                      <a:pt x="359" y="1553"/>
                    </a:lnTo>
                    <a:lnTo>
                      <a:pt x="357" y="1553"/>
                    </a:lnTo>
                    <a:lnTo>
                      <a:pt x="354" y="1552"/>
                    </a:lnTo>
                    <a:lnTo>
                      <a:pt x="351" y="1550"/>
                    </a:lnTo>
                    <a:lnTo>
                      <a:pt x="348" y="1546"/>
                    </a:lnTo>
                    <a:lnTo>
                      <a:pt x="339" y="1534"/>
                    </a:lnTo>
                    <a:lnTo>
                      <a:pt x="327" y="1521"/>
                    </a:lnTo>
                    <a:lnTo>
                      <a:pt x="318" y="1510"/>
                    </a:lnTo>
                    <a:lnTo>
                      <a:pt x="312" y="1498"/>
                    </a:lnTo>
                    <a:lnTo>
                      <a:pt x="310" y="1493"/>
                    </a:lnTo>
                    <a:lnTo>
                      <a:pt x="310" y="1487"/>
                    </a:lnTo>
                    <a:lnTo>
                      <a:pt x="312" y="1483"/>
                    </a:lnTo>
                    <a:lnTo>
                      <a:pt x="313" y="1480"/>
                    </a:lnTo>
                    <a:lnTo>
                      <a:pt x="313" y="1479"/>
                    </a:lnTo>
                    <a:lnTo>
                      <a:pt x="313" y="1476"/>
                    </a:lnTo>
                    <a:lnTo>
                      <a:pt x="314" y="1473"/>
                    </a:lnTo>
                    <a:lnTo>
                      <a:pt x="314" y="1471"/>
                    </a:lnTo>
                    <a:lnTo>
                      <a:pt x="313" y="1467"/>
                    </a:lnTo>
                    <a:lnTo>
                      <a:pt x="313" y="1463"/>
                    </a:lnTo>
                    <a:lnTo>
                      <a:pt x="310" y="1455"/>
                    </a:lnTo>
                    <a:lnTo>
                      <a:pt x="304" y="1444"/>
                    </a:lnTo>
                    <a:lnTo>
                      <a:pt x="297" y="1433"/>
                    </a:lnTo>
                    <a:lnTo>
                      <a:pt x="288" y="1422"/>
                    </a:lnTo>
                    <a:lnTo>
                      <a:pt x="284" y="1418"/>
                    </a:lnTo>
                    <a:lnTo>
                      <a:pt x="279" y="1413"/>
                    </a:lnTo>
                    <a:lnTo>
                      <a:pt x="276" y="1410"/>
                    </a:lnTo>
                    <a:lnTo>
                      <a:pt x="270" y="1407"/>
                    </a:lnTo>
                    <a:lnTo>
                      <a:pt x="263" y="1405"/>
                    </a:lnTo>
                    <a:lnTo>
                      <a:pt x="255" y="1404"/>
                    </a:lnTo>
                    <a:lnTo>
                      <a:pt x="245" y="1404"/>
                    </a:lnTo>
                    <a:lnTo>
                      <a:pt x="236" y="1404"/>
                    </a:lnTo>
                    <a:lnTo>
                      <a:pt x="226" y="1404"/>
                    </a:lnTo>
                    <a:lnTo>
                      <a:pt x="216" y="1403"/>
                    </a:lnTo>
                    <a:lnTo>
                      <a:pt x="213" y="1400"/>
                    </a:lnTo>
                    <a:lnTo>
                      <a:pt x="211" y="1397"/>
                    </a:lnTo>
                    <a:lnTo>
                      <a:pt x="209" y="1393"/>
                    </a:lnTo>
                    <a:lnTo>
                      <a:pt x="207" y="1389"/>
                    </a:lnTo>
                    <a:lnTo>
                      <a:pt x="202" y="1382"/>
                    </a:lnTo>
                    <a:lnTo>
                      <a:pt x="197" y="1376"/>
                    </a:lnTo>
                    <a:lnTo>
                      <a:pt x="195" y="1374"/>
                    </a:lnTo>
                    <a:lnTo>
                      <a:pt x="192" y="1373"/>
                    </a:lnTo>
                    <a:lnTo>
                      <a:pt x="187" y="1373"/>
                    </a:lnTo>
                    <a:lnTo>
                      <a:pt x="182" y="1372"/>
                    </a:lnTo>
                    <a:lnTo>
                      <a:pt x="176" y="1370"/>
                    </a:lnTo>
                    <a:lnTo>
                      <a:pt x="171" y="1366"/>
                    </a:lnTo>
                    <a:lnTo>
                      <a:pt x="163" y="1356"/>
                    </a:lnTo>
                    <a:lnTo>
                      <a:pt x="152" y="1347"/>
                    </a:lnTo>
                    <a:lnTo>
                      <a:pt x="144" y="1344"/>
                    </a:lnTo>
                    <a:lnTo>
                      <a:pt x="136" y="1342"/>
                    </a:lnTo>
                    <a:lnTo>
                      <a:pt x="129" y="1342"/>
                    </a:lnTo>
                    <a:lnTo>
                      <a:pt x="123" y="1340"/>
                    </a:lnTo>
                    <a:lnTo>
                      <a:pt x="120" y="1338"/>
                    </a:lnTo>
                    <a:lnTo>
                      <a:pt x="118" y="1336"/>
                    </a:lnTo>
                    <a:lnTo>
                      <a:pt x="115" y="1330"/>
                    </a:lnTo>
                    <a:lnTo>
                      <a:pt x="114" y="1322"/>
                    </a:lnTo>
                    <a:lnTo>
                      <a:pt x="114" y="1310"/>
                    </a:lnTo>
                    <a:lnTo>
                      <a:pt x="114" y="1299"/>
                    </a:lnTo>
                    <a:lnTo>
                      <a:pt x="115" y="1292"/>
                    </a:lnTo>
                    <a:lnTo>
                      <a:pt x="117" y="1284"/>
                    </a:lnTo>
                    <a:lnTo>
                      <a:pt x="118" y="1275"/>
                    </a:lnTo>
                    <a:lnTo>
                      <a:pt x="118" y="1267"/>
                    </a:lnTo>
                    <a:lnTo>
                      <a:pt x="118" y="1261"/>
                    </a:lnTo>
                    <a:lnTo>
                      <a:pt x="117" y="1255"/>
                    </a:lnTo>
                    <a:lnTo>
                      <a:pt x="115" y="1248"/>
                    </a:lnTo>
                    <a:lnTo>
                      <a:pt x="114" y="1241"/>
                    </a:lnTo>
                    <a:lnTo>
                      <a:pt x="115" y="1235"/>
                    </a:lnTo>
                    <a:lnTo>
                      <a:pt x="117" y="1231"/>
                    </a:lnTo>
                    <a:lnTo>
                      <a:pt x="117" y="1227"/>
                    </a:lnTo>
                    <a:lnTo>
                      <a:pt x="118" y="1223"/>
                    </a:lnTo>
                    <a:lnTo>
                      <a:pt x="118" y="1218"/>
                    </a:lnTo>
                    <a:lnTo>
                      <a:pt x="117" y="1216"/>
                    </a:lnTo>
                    <a:lnTo>
                      <a:pt x="114" y="1215"/>
                    </a:lnTo>
                    <a:lnTo>
                      <a:pt x="111" y="1214"/>
                    </a:lnTo>
                    <a:lnTo>
                      <a:pt x="107" y="1214"/>
                    </a:lnTo>
                    <a:lnTo>
                      <a:pt x="104" y="1215"/>
                    </a:lnTo>
                    <a:lnTo>
                      <a:pt x="95" y="1216"/>
                    </a:lnTo>
                    <a:lnTo>
                      <a:pt x="86" y="1218"/>
                    </a:lnTo>
                    <a:lnTo>
                      <a:pt x="74" y="1221"/>
                    </a:lnTo>
                    <a:lnTo>
                      <a:pt x="61" y="1224"/>
                    </a:lnTo>
                    <a:lnTo>
                      <a:pt x="52" y="1227"/>
                    </a:lnTo>
                    <a:lnTo>
                      <a:pt x="45" y="1229"/>
                    </a:lnTo>
                    <a:lnTo>
                      <a:pt x="41" y="1229"/>
                    </a:lnTo>
                    <a:lnTo>
                      <a:pt x="37" y="1229"/>
                    </a:lnTo>
                    <a:lnTo>
                      <a:pt x="35" y="1228"/>
                    </a:lnTo>
                    <a:lnTo>
                      <a:pt x="33" y="1227"/>
                    </a:lnTo>
                    <a:lnTo>
                      <a:pt x="32" y="1225"/>
                    </a:lnTo>
                    <a:lnTo>
                      <a:pt x="32" y="1223"/>
                    </a:lnTo>
                    <a:lnTo>
                      <a:pt x="32" y="1215"/>
                    </a:lnTo>
                    <a:lnTo>
                      <a:pt x="33" y="1205"/>
                    </a:lnTo>
                    <a:lnTo>
                      <a:pt x="36" y="1195"/>
                    </a:lnTo>
                    <a:lnTo>
                      <a:pt x="37" y="1183"/>
                    </a:lnTo>
                    <a:lnTo>
                      <a:pt x="36" y="1173"/>
                    </a:lnTo>
                    <a:lnTo>
                      <a:pt x="36" y="1164"/>
                    </a:lnTo>
                    <a:lnTo>
                      <a:pt x="35" y="1154"/>
                    </a:lnTo>
                    <a:lnTo>
                      <a:pt x="33" y="1145"/>
                    </a:lnTo>
                    <a:lnTo>
                      <a:pt x="32" y="1139"/>
                    </a:lnTo>
                    <a:lnTo>
                      <a:pt x="26" y="1133"/>
                    </a:lnTo>
                    <a:lnTo>
                      <a:pt x="18" y="1127"/>
                    </a:lnTo>
                    <a:lnTo>
                      <a:pt x="10" y="1120"/>
                    </a:lnTo>
                    <a:lnTo>
                      <a:pt x="6" y="1115"/>
                    </a:lnTo>
                    <a:lnTo>
                      <a:pt x="3" y="1109"/>
                    </a:lnTo>
                    <a:lnTo>
                      <a:pt x="1" y="1103"/>
                    </a:lnTo>
                    <a:lnTo>
                      <a:pt x="0" y="1098"/>
                    </a:lnTo>
                    <a:lnTo>
                      <a:pt x="1" y="1091"/>
                    </a:lnTo>
                    <a:lnTo>
                      <a:pt x="4" y="1083"/>
                    </a:lnTo>
                    <a:lnTo>
                      <a:pt x="7" y="1076"/>
                    </a:lnTo>
                    <a:lnTo>
                      <a:pt x="13" y="1069"/>
                    </a:lnTo>
                    <a:lnTo>
                      <a:pt x="23" y="1059"/>
                    </a:lnTo>
                    <a:lnTo>
                      <a:pt x="32" y="1052"/>
                    </a:lnTo>
                    <a:lnTo>
                      <a:pt x="42" y="1045"/>
                    </a:lnTo>
                    <a:lnTo>
                      <a:pt x="49" y="1039"/>
                    </a:lnTo>
                    <a:lnTo>
                      <a:pt x="58" y="1027"/>
                    </a:lnTo>
                    <a:lnTo>
                      <a:pt x="67" y="1014"/>
                    </a:lnTo>
                    <a:lnTo>
                      <a:pt x="71" y="1007"/>
                    </a:lnTo>
                    <a:lnTo>
                      <a:pt x="76" y="1001"/>
                    </a:lnTo>
                    <a:lnTo>
                      <a:pt x="82" y="995"/>
                    </a:lnTo>
                    <a:lnTo>
                      <a:pt x="88" y="990"/>
                    </a:lnTo>
                    <a:lnTo>
                      <a:pt x="92" y="988"/>
                    </a:lnTo>
                    <a:lnTo>
                      <a:pt x="98" y="985"/>
                    </a:lnTo>
                    <a:lnTo>
                      <a:pt x="102" y="984"/>
                    </a:lnTo>
                    <a:lnTo>
                      <a:pt x="108" y="983"/>
                    </a:lnTo>
                    <a:lnTo>
                      <a:pt x="118" y="982"/>
                    </a:lnTo>
                    <a:lnTo>
                      <a:pt x="127" y="978"/>
                    </a:lnTo>
                    <a:lnTo>
                      <a:pt x="131" y="977"/>
                    </a:lnTo>
                    <a:lnTo>
                      <a:pt x="133" y="975"/>
                    </a:lnTo>
                    <a:lnTo>
                      <a:pt x="139" y="966"/>
                    </a:lnTo>
                    <a:lnTo>
                      <a:pt x="145" y="958"/>
                    </a:lnTo>
                    <a:lnTo>
                      <a:pt x="151" y="953"/>
                    </a:lnTo>
                    <a:lnTo>
                      <a:pt x="156" y="947"/>
                    </a:lnTo>
                    <a:lnTo>
                      <a:pt x="159" y="943"/>
                    </a:lnTo>
                    <a:lnTo>
                      <a:pt x="163" y="938"/>
                    </a:lnTo>
                    <a:lnTo>
                      <a:pt x="164" y="934"/>
                    </a:lnTo>
                    <a:lnTo>
                      <a:pt x="165" y="929"/>
                    </a:lnTo>
                    <a:lnTo>
                      <a:pt x="165" y="926"/>
                    </a:lnTo>
                    <a:lnTo>
                      <a:pt x="163" y="922"/>
                    </a:lnTo>
                    <a:lnTo>
                      <a:pt x="161" y="918"/>
                    </a:lnTo>
                    <a:lnTo>
                      <a:pt x="156" y="914"/>
                    </a:lnTo>
                    <a:lnTo>
                      <a:pt x="146" y="910"/>
                    </a:lnTo>
                    <a:lnTo>
                      <a:pt x="137" y="907"/>
                    </a:lnTo>
                    <a:lnTo>
                      <a:pt x="129" y="902"/>
                    </a:lnTo>
                    <a:lnTo>
                      <a:pt x="120" y="897"/>
                    </a:lnTo>
                    <a:lnTo>
                      <a:pt x="111" y="893"/>
                    </a:lnTo>
                    <a:lnTo>
                      <a:pt x="104" y="887"/>
                    </a:lnTo>
                    <a:lnTo>
                      <a:pt x="96" y="882"/>
                    </a:lnTo>
                    <a:lnTo>
                      <a:pt x="89" y="876"/>
                    </a:lnTo>
                    <a:lnTo>
                      <a:pt x="87" y="872"/>
                    </a:lnTo>
                    <a:lnTo>
                      <a:pt x="85" y="870"/>
                    </a:lnTo>
                    <a:lnTo>
                      <a:pt x="83" y="866"/>
                    </a:lnTo>
                    <a:lnTo>
                      <a:pt x="83" y="863"/>
                    </a:lnTo>
                    <a:lnTo>
                      <a:pt x="85" y="861"/>
                    </a:lnTo>
                    <a:lnTo>
                      <a:pt x="87" y="857"/>
                    </a:lnTo>
                    <a:lnTo>
                      <a:pt x="89" y="855"/>
                    </a:lnTo>
                    <a:lnTo>
                      <a:pt x="93" y="852"/>
                    </a:lnTo>
                    <a:lnTo>
                      <a:pt x="99" y="850"/>
                    </a:lnTo>
                    <a:lnTo>
                      <a:pt x="104" y="849"/>
                    </a:lnTo>
                    <a:lnTo>
                      <a:pt x="106" y="847"/>
                    </a:lnTo>
                    <a:lnTo>
                      <a:pt x="107" y="846"/>
                    </a:lnTo>
                    <a:lnTo>
                      <a:pt x="109" y="843"/>
                    </a:lnTo>
                    <a:lnTo>
                      <a:pt x="111" y="838"/>
                    </a:lnTo>
                    <a:lnTo>
                      <a:pt x="112" y="832"/>
                    </a:lnTo>
                    <a:lnTo>
                      <a:pt x="113" y="826"/>
                    </a:lnTo>
                    <a:lnTo>
                      <a:pt x="114" y="823"/>
                    </a:lnTo>
                    <a:lnTo>
                      <a:pt x="115" y="820"/>
                    </a:lnTo>
                    <a:lnTo>
                      <a:pt x="118" y="817"/>
                    </a:lnTo>
                    <a:lnTo>
                      <a:pt x="120" y="814"/>
                    </a:lnTo>
                    <a:lnTo>
                      <a:pt x="131" y="807"/>
                    </a:lnTo>
                    <a:lnTo>
                      <a:pt x="140" y="800"/>
                    </a:lnTo>
                    <a:lnTo>
                      <a:pt x="145" y="796"/>
                    </a:lnTo>
                    <a:lnTo>
                      <a:pt x="150" y="792"/>
                    </a:lnTo>
                    <a:lnTo>
                      <a:pt x="152" y="788"/>
                    </a:lnTo>
                    <a:lnTo>
                      <a:pt x="155" y="783"/>
                    </a:lnTo>
                    <a:lnTo>
                      <a:pt x="156" y="781"/>
                    </a:lnTo>
                    <a:lnTo>
                      <a:pt x="156" y="777"/>
                    </a:lnTo>
                    <a:lnTo>
                      <a:pt x="155" y="774"/>
                    </a:lnTo>
                    <a:lnTo>
                      <a:pt x="155" y="770"/>
                    </a:lnTo>
                    <a:lnTo>
                      <a:pt x="153" y="764"/>
                    </a:lnTo>
                    <a:lnTo>
                      <a:pt x="153" y="760"/>
                    </a:lnTo>
                    <a:lnTo>
                      <a:pt x="153" y="754"/>
                    </a:lnTo>
                    <a:lnTo>
                      <a:pt x="156" y="749"/>
                    </a:lnTo>
                    <a:lnTo>
                      <a:pt x="161" y="744"/>
                    </a:lnTo>
                    <a:lnTo>
                      <a:pt x="168" y="742"/>
                    </a:lnTo>
                    <a:lnTo>
                      <a:pt x="175" y="740"/>
                    </a:lnTo>
                    <a:lnTo>
                      <a:pt x="182" y="742"/>
                    </a:lnTo>
                    <a:lnTo>
                      <a:pt x="187" y="744"/>
                    </a:lnTo>
                    <a:lnTo>
                      <a:pt x="192" y="748"/>
                    </a:lnTo>
                    <a:lnTo>
                      <a:pt x="195" y="752"/>
                    </a:lnTo>
                    <a:lnTo>
                      <a:pt x="200" y="755"/>
                    </a:lnTo>
                    <a:lnTo>
                      <a:pt x="202" y="756"/>
                    </a:lnTo>
                    <a:lnTo>
                      <a:pt x="205" y="757"/>
                    </a:lnTo>
                    <a:lnTo>
                      <a:pt x="209" y="760"/>
                    </a:lnTo>
                    <a:lnTo>
                      <a:pt x="214" y="760"/>
                    </a:lnTo>
                    <a:lnTo>
                      <a:pt x="225" y="761"/>
                    </a:lnTo>
                    <a:lnTo>
                      <a:pt x="236" y="762"/>
                    </a:lnTo>
                    <a:lnTo>
                      <a:pt x="245" y="762"/>
                    </a:lnTo>
                    <a:lnTo>
                      <a:pt x="253" y="762"/>
                    </a:lnTo>
                    <a:lnTo>
                      <a:pt x="259" y="763"/>
                    </a:lnTo>
                    <a:lnTo>
                      <a:pt x="264" y="765"/>
                    </a:lnTo>
                    <a:lnTo>
                      <a:pt x="269" y="767"/>
                    </a:lnTo>
                    <a:lnTo>
                      <a:pt x="271" y="768"/>
                    </a:lnTo>
                    <a:lnTo>
                      <a:pt x="284" y="777"/>
                    </a:lnTo>
                    <a:lnTo>
                      <a:pt x="299" y="787"/>
                    </a:lnTo>
                    <a:lnTo>
                      <a:pt x="303" y="792"/>
                    </a:lnTo>
                    <a:lnTo>
                      <a:pt x="307" y="796"/>
                    </a:lnTo>
                    <a:lnTo>
                      <a:pt x="309" y="802"/>
                    </a:lnTo>
                    <a:lnTo>
                      <a:pt x="310" y="808"/>
                    </a:lnTo>
                    <a:lnTo>
                      <a:pt x="312" y="815"/>
                    </a:lnTo>
                    <a:lnTo>
                      <a:pt x="312" y="821"/>
                    </a:lnTo>
                    <a:lnTo>
                      <a:pt x="312" y="827"/>
                    </a:lnTo>
                    <a:lnTo>
                      <a:pt x="313" y="832"/>
                    </a:lnTo>
                    <a:lnTo>
                      <a:pt x="315" y="837"/>
                    </a:lnTo>
                    <a:lnTo>
                      <a:pt x="318" y="840"/>
                    </a:lnTo>
                    <a:lnTo>
                      <a:pt x="320" y="842"/>
                    </a:lnTo>
                    <a:lnTo>
                      <a:pt x="323" y="842"/>
                    </a:lnTo>
                    <a:lnTo>
                      <a:pt x="332" y="839"/>
                    </a:lnTo>
                    <a:lnTo>
                      <a:pt x="340" y="836"/>
                    </a:lnTo>
                    <a:lnTo>
                      <a:pt x="354" y="832"/>
                    </a:lnTo>
                    <a:lnTo>
                      <a:pt x="370" y="827"/>
                    </a:lnTo>
                    <a:lnTo>
                      <a:pt x="383" y="825"/>
                    </a:lnTo>
                    <a:lnTo>
                      <a:pt x="395" y="823"/>
                    </a:lnTo>
                    <a:lnTo>
                      <a:pt x="408" y="820"/>
                    </a:lnTo>
                    <a:lnTo>
                      <a:pt x="420" y="820"/>
                    </a:lnTo>
                    <a:lnTo>
                      <a:pt x="425" y="819"/>
                    </a:lnTo>
                    <a:lnTo>
                      <a:pt x="428" y="818"/>
                    </a:lnTo>
                    <a:lnTo>
                      <a:pt x="433" y="814"/>
                    </a:lnTo>
                    <a:lnTo>
                      <a:pt x="436" y="811"/>
                    </a:lnTo>
                    <a:lnTo>
                      <a:pt x="442" y="807"/>
                    </a:lnTo>
                    <a:lnTo>
                      <a:pt x="446" y="806"/>
                    </a:lnTo>
                    <a:lnTo>
                      <a:pt x="452" y="805"/>
                    </a:lnTo>
                    <a:lnTo>
                      <a:pt x="457" y="806"/>
                    </a:lnTo>
                    <a:lnTo>
                      <a:pt x="461" y="808"/>
                    </a:lnTo>
                    <a:lnTo>
                      <a:pt x="466" y="812"/>
                    </a:lnTo>
                    <a:lnTo>
                      <a:pt x="471" y="820"/>
                    </a:lnTo>
                    <a:lnTo>
                      <a:pt x="476" y="828"/>
                    </a:lnTo>
                    <a:lnTo>
                      <a:pt x="479" y="838"/>
                    </a:lnTo>
                    <a:lnTo>
                      <a:pt x="483" y="849"/>
                    </a:lnTo>
                    <a:lnTo>
                      <a:pt x="488" y="864"/>
                    </a:lnTo>
                    <a:lnTo>
                      <a:pt x="492" y="878"/>
                    </a:lnTo>
                    <a:lnTo>
                      <a:pt x="495" y="888"/>
                    </a:lnTo>
                    <a:lnTo>
                      <a:pt x="497" y="895"/>
                    </a:lnTo>
                    <a:lnTo>
                      <a:pt x="501" y="899"/>
                    </a:lnTo>
                    <a:lnTo>
                      <a:pt x="504" y="901"/>
                    </a:lnTo>
                    <a:lnTo>
                      <a:pt x="521" y="907"/>
                    </a:lnTo>
                    <a:lnTo>
                      <a:pt x="537" y="912"/>
                    </a:lnTo>
                    <a:lnTo>
                      <a:pt x="553" y="914"/>
                    </a:lnTo>
                    <a:lnTo>
                      <a:pt x="567" y="915"/>
                    </a:lnTo>
                    <a:lnTo>
                      <a:pt x="581" y="914"/>
                    </a:lnTo>
                    <a:lnTo>
                      <a:pt x="590" y="913"/>
                    </a:lnTo>
                    <a:lnTo>
                      <a:pt x="597" y="910"/>
                    </a:lnTo>
                    <a:lnTo>
                      <a:pt x="603" y="906"/>
                    </a:lnTo>
                    <a:lnTo>
                      <a:pt x="609" y="901"/>
                    </a:lnTo>
                    <a:lnTo>
                      <a:pt x="614" y="897"/>
                    </a:lnTo>
                    <a:lnTo>
                      <a:pt x="623" y="896"/>
                    </a:lnTo>
                    <a:lnTo>
                      <a:pt x="633" y="895"/>
                    </a:lnTo>
                    <a:lnTo>
                      <a:pt x="636" y="891"/>
                    </a:lnTo>
                    <a:lnTo>
                      <a:pt x="640" y="887"/>
                    </a:lnTo>
                    <a:lnTo>
                      <a:pt x="643" y="877"/>
                    </a:lnTo>
                    <a:lnTo>
                      <a:pt x="647" y="870"/>
                    </a:lnTo>
                    <a:lnTo>
                      <a:pt x="652" y="868"/>
                    </a:lnTo>
                    <a:lnTo>
                      <a:pt x="656" y="868"/>
                    </a:lnTo>
                    <a:lnTo>
                      <a:pt x="659" y="868"/>
                    </a:lnTo>
                    <a:lnTo>
                      <a:pt x="662" y="866"/>
                    </a:lnTo>
                    <a:lnTo>
                      <a:pt x="667" y="865"/>
                    </a:lnTo>
                    <a:lnTo>
                      <a:pt x="669" y="864"/>
                    </a:lnTo>
                    <a:lnTo>
                      <a:pt x="675" y="861"/>
                    </a:lnTo>
                    <a:lnTo>
                      <a:pt x="681" y="857"/>
                    </a:lnTo>
                    <a:lnTo>
                      <a:pt x="682" y="853"/>
                    </a:lnTo>
                    <a:lnTo>
                      <a:pt x="685" y="851"/>
                    </a:lnTo>
                    <a:lnTo>
                      <a:pt x="687" y="846"/>
                    </a:lnTo>
                    <a:lnTo>
                      <a:pt x="688" y="842"/>
                    </a:lnTo>
                    <a:lnTo>
                      <a:pt x="690" y="832"/>
                    </a:lnTo>
                    <a:lnTo>
                      <a:pt x="692" y="821"/>
                    </a:lnTo>
                    <a:lnTo>
                      <a:pt x="694" y="817"/>
                    </a:lnTo>
                    <a:lnTo>
                      <a:pt x="697" y="811"/>
                    </a:lnTo>
                    <a:lnTo>
                      <a:pt x="701" y="805"/>
                    </a:lnTo>
                    <a:lnTo>
                      <a:pt x="706" y="800"/>
                    </a:lnTo>
                    <a:lnTo>
                      <a:pt x="715" y="789"/>
                    </a:lnTo>
                    <a:lnTo>
                      <a:pt x="723" y="776"/>
                    </a:lnTo>
                    <a:lnTo>
                      <a:pt x="726" y="770"/>
                    </a:lnTo>
                    <a:lnTo>
                      <a:pt x="730" y="763"/>
                    </a:lnTo>
                    <a:lnTo>
                      <a:pt x="738" y="750"/>
                    </a:lnTo>
                    <a:lnTo>
                      <a:pt x="748" y="737"/>
                    </a:lnTo>
                    <a:lnTo>
                      <a:pt x="756" y="725"/>
                    </a:lnTo>
                    <a:lnTo>
                      <a:pt x="766" y="714"/>
                    </a:lnTo>
                    <a:lnTo>
                      <a:pt x="773" y="705"/>
                    </a:lnTo>
                    <a:lnTo>
                      <a:pt x="780" y="693"/>
                    </a:lnTo>
                    <a:lnTo>
                      <a:pt x="785" y="685"/>
                    </a:lnTo>
                    <a:lnTo>
                      <a:pt x="788" y="678"/>
                    </a:lnTo>
                    <a:lnTo>
                      <a:pt x="788" y="672"/>
                    </a:lnTo>
                    <a:lnTo>
                      <a:pt x="788" y="667"/>
                    </a:lnTo>
                    <a:lnTo>
                      <a:pt x="787" y="661"/>
                    </a:lnTo>
                    <a:lnTo>
                      <a:pt x="785" y="655"/>
                    </a:lnTo>
                    <a:lnTo>
                      <a:pt x="781" y="649"/>
                    </a:lnTo>
                    <a:lnTo>
                      <a:pt x="779" y="645"/>
                    </a:lnTo>
                    <a:lnTo>
                      <a:pt x="778" y="644"/>
                    </a:lnTo>
                    <a:lnTo>
                      <a:pt x="776" y="642"/>
                    </a:lnTo>
                    <a:lnTo>
                      <a:pt x="773" y="635"/>
                    </a:lnTo>
                    <a:lnTo>
                      <a:pt x="772" y="628"/>
                    </a:lnTo>
                    <a:lnTo>
                      <a:pt x="772" y="624"/>
                    </a:lnTo>
                    <a:lnTo>
                      <a:pt x="773" y="620"/>
                    </a:lnTo>
                    <a:lnTo>
                      <a:pt x="774" y="619"/>
                    </a:lnTo>
                    <a:lnTo>
                      <a:pt x="776" y="618"/>
                    </a:lnTo>
                    <a:lnTo>
                      <a:pt x="779" y="617"/>
                    </a:lnTo>
                    <a:lnTo>
                      <a:pt x="781" y="615"/>
                    </a:lnTo>
                    <a:lnTo>
                      <a:pt x="784" y="612"/>
                    </a:lnTo>
                    <a:lnTo>
                      <a:pt x="786" y="609"/>
                    </a:lnTo>
                    <a:lnTo>
                      <a:pt x="787" y="605"/>
                    </a:lnTo>
                    <a:lnTo>
                      <a:pt x="787" y="601"/>
                    </a:lnTo>
                    <a:lnTo>
                      <a:pt x="787" y="599"/>
                    </a:lnTo>
                    <a:lnTo>
                      <a:pt x="787" y="597"/>
                    </a:lnTo>
                    <a:lnTo>
                      <a:pt x="787" y="593"/>
                    </a:lnTo>
                    <a:lnTo>
                      <a:pt x="787" y="590"/>
                    </a:lnTo>
                    <a:lnTo>
                      <a:pt x="786" y="579"/>
                    </a:lnTo>
                    <a:lnTo>
                      <a:pt x="786" y="571"/>
                    </a:lnTo>
                    <a:lnTo>
                      <a:pt x="786" y="567"/>
                    </a:lnTo>
                    <a:lnTo>
                      <a:pt x="787" y="565"/>
                    </a:lnTo>
                    <a:lnTo>
                      <a:pt x="788" y="562"/>
                    </a:lnTo>
                    <a:lnTo>
                      <a:pt x="791" y="561"/>
                    </a:lnTo>
                    <a:lnTo>
                      <a:pt x="793" y="560"/>
                    </a:lnTo>
                    <a:lnTo>
                      <a:pt x="797" y="559"/>
                    </a:lnTo>
                    <a:lnTo>
                      <a:pt x="800" y="560"/>
                    </a:lnTo>
                    <a:lnTo>
                      <a:pt x="805" y="561"/>
                    </a:lnTo>
                    <a:lnTo>
                      <a:pt x="808" y="563"/>
                    </a:lnTo>
                    <a:lnTo>
                      <a:pt x="812" y="567"/>
                    </a:lnTo>
                    <a:lnTo>
                      <a:pt x="820" y="573"/>
                    </a:lnTo>
                    <a:lnTo>
                      <a:pt x="826" y="578"/>
                    </a:lnTo>
                    <a:lnTo>
                      <a:pt x="830" y="579"/>
                    </a:lnTo>
                    <a:lnTo>
                      <a:pt x="832" y="580"/>
                    </a:lnTo>
                    <a:lnTo>
                      <a:pt x="833" y="581"/>
                    </a:lnTo>
                    <a:lnTo>
                      <a:pt x="835" y="581"/>
                    </a:lnTo>
                    <a:lnTo>
                      <a:pt x="838" y="581"/>
                    </a:lnTo>
                    <a:lnTo>
                      <a:pt x="841" y="580"/>
                    </a:lnTo>
                    <a:lnTo>
                      <a:pt x="844" y="578"/>
                    </a:lnTo>
                    <a:lnTo>
                      <a:pt x="848" y="575"/>
                    </a:lnTo>
                    <a:lnTo>
                      <a:pt x="854" y="568"/>
                    </a:lnTo>
                    <a:lnTo>
                      <a:pt x="860" y="562"/>
                    </a:lnTo>
                    <a:lnTo>
                      <a:pt x="862" y="561"/>
                    </a:lnTo>
                    <a:lnTo>
                      <a:pt x="863" y="561"/>
                    </a:lnTo>
                    <a:lnTo>
                      <a:pt x="866" y="561"/>
                    </a:lnTo>
                    <a:lnTo>
                      <a:pt x="868" y="563"/>
                    </a:lnTo>
                    <a:lnTo>
                      <a:pt x="871" y="574"/>
                    </a:lnTo>
                    <a:lnTo>
                      <a:pt x="876" y="588"/>
                    </a:lnTo>
                    <a:lnTo>
                      <a:pt x="880" y="592"/>
                    </a:lnTo>
                    <a:lnTo>
                      <a:pt x="883" y="595"/>
                    </a:lnTo>
                    <a:lnTo>
                      <a:pt x="887" y="598"/>
                    </a:lnTo>
                    <a:lnTo>
                      <a:pt x="892" y="599"/>
                    </a:lnTo>
                    <a:lnTo>
                      <a:pt x="896" y="600"/>
                    </a:lnTo>
                    <a:lnTo>
                      <a:pt x="902" y="601"/>
                    </a:lnTo>
                    <a:lnTo>
                      <a:pt x="907" y="601"/>
                    </a:lnTo>
                    <a:lnTo>
                      <a:pt x="913" y="600"/>
                    </a:lnTo>
                    <a:lnTo>
                      <a:pt x="918" y="599"/>
                    </a:lnTo>
                    <a:lnTo>
                      <a:pt x="923" y="597"/>
                    </a:lnTo>
                    <a:lnTo>
                      <a:pt x="925" y="593"/>
                    </a:lnTo>
                    <a:lnTo>
                      <a:pt x="927" y="588"/>
                    </a:lnTo>
                    <a:lnTo>
                      <a:pt x="929" y="579"/>
                    </a:lnTo>
                    <a:lnTo>
                      <a:pt x="930" y="568"/>
                    </a:lnTo>
                    <a:lnTo>
                      <a:pt x="931" y="562"/>
                    </a:lnTo>
                    <a:lnTo>
                      <a:pt x="932" y="556"/>
                    </a:lnTo>
                    <a:lnTo>
                      <a:pt x="933" y="550"/>
                    </a:lnTo>
                    <a:lnTo>
                      <a:pt x="937" y="544"/>
                    </a:lnTo>
                    <a:lnTo>
                      <a:pt x="940" y="538"/>
                    </a:lnTo>
                    <a:lnTo>
                      <a:pt x="944" y="534"/>
                    </a:lnTo>
                    <a:lnTo>
                      <a:pt x="950" y="529"/>
                    </a:lnTo>
                    <a:lnTo>
                      <a:pt x="956" y="525"/>
                    </a:lnTo>
                    <a:lnTo>
                      <a:pt x="961" y="522"/>
                    </a:lnTo>
                    <a:lnTo>
                      <a:pt x="967" y="518"/>
                    </a:lnTo>
                    <a:lnTo>
                      <a:pt x="970" y="516"/>
                    </a:lnTo>
                    <a:lnTo>
                      <a:pt x="973" y="513"/>
                    </a:lnTo>
                    <a:lnTo>
                      <a:pt x="976" y="509"/>
                    </a:lnTo>
                    <a:lnTo>
                      <a:pt x="980" y="504"/>
                    </a:lnTo>
                    <a:lnTo>
                      <a:pt x="983" y="499"/>
                    </a:lnTo>
                    <a:lnTo>
                      <a:pt x="984" y="493"/>
                    </a:lnTo>
                    <a:lnTo>
                      <a:pt x="982" y="484"/>
                    </a:lnTo>
                    <a:lnTo>
                      <a:pt x="977" y="473"/>
                    </a:lnTo>
                    <a:lnTo>
                      <a:pt x="977" y="472"/>
                    </a:lnTo>
                    <a:lnTo>
                      <a:pt x="977" y="471"/>
                    </a:lnTo>
                    <a:lnTo>
                      <a:pt x="978" y="466"/>
                    </a:lnTo>
                    <a:lnTo>
                      <a:pt x="982" y="461"/>
                    </a:lnTo>
                    <a:lnTo>
                      <a:pt x="986" y="458"/>
                    </a:lnTo>
                    <a:lnTo>
                      <a:pt x="990" y="455"/>
                    </a:lnTo>
                    <a:lnTo>
                      <a:pt x="999" y="448"/>
                    </a:lnTo>
                    <a:lnTo>
                      <a:pt x="1005" y="442"/>
                    </a:lnTo>
                    <a:lnTo>
                      <a:pt x="1006" y="440"/>
                    </a:lnTo>
                    <a:lnTo>
                      <a:pt x="1007" y="437"/>
                    </a:lnTo>
                    <a:lnTo>
                      <a:pt x="1008" y="435"/>
                    </a:lnTo>
                    <a:lnTo>
                      <a:pt x="1008" y="433"/>
                    </a:lnTo>
                    <a:lnTo>
                      <a:pt x="1006" y="428"/>
                    </a:lnTo>
                    <a:lnTo>
                      <a:pt x="1002" y="422"/>
                    </a:lnTo>
                    <a:lnTo>
                      <a:pt x="1000" y="417"/>
                    </a:lnTo>
                    <a:lnTo>
                      <a:pt x="1000" y="412"/>
                    </a:lnTo>
                    <a:lnTo>
                      <a:pt x="1001" y="409"/>
                    </a:lnTo>
                    <a:lnTo>
                      <a:pt x="1003" y="405"/>
                    </a:lnTo>
                    <a:lnTo>
                      <a:pt x="1006" y="403"/>
                    </a:lnTo>
                    <a:lnTo>
                      <a:pt x="1008" y="401"/>
                    </a:lnTo>
                    <a:lnTo>
                      <a:pt x="1017" y="391"/>
                    </a:lnTo>
                    <a:lnTo>
                      <a:pt x="1025" y="383"/>
                    </a:lnTo>
                    <a:lnTo>
                      <a:pt x="1032" y="373"/>
                    </a:lnTo>
                    <a:lnTo>
                      <a:pt x="1039" y="364"/>
                    </a:lnTo>
                    <a:lnTo>
                      <a:pt x="1045" y="353"/>
                    </a:lnTo>
                    <a:lnTo>
                      <a:pt x="1049" y="345"/>
                    </a:lnTo>
                    <a:lnTo>
                      <a:pt x="1052" y="334"/>
                    </a:lnTo>
                    <a:lnTo>
                      <a:pt x="1058" y="321"/>
                    </a:lnTo>
                    <a:lnTo>
                      <a:pt x="1062" y="313"/>
                    </a:lnTo>
                    <a:lnTo>
                      <a:pt x="1066" y="307"/>
                    </a:lnTo>
                    <a:lnTo>
                      <a:pt x="1071" y="302"/>
                    </a:lnTo>
                    <a:lnTo>
                      <a:pt x="1077" y="297"/>
                    </a:lnTo>
                    <a:lnTo>
                      <a:pt x="1082" y="292"/>
                    </a:lnTo>
                    <a:lnTo>
                      <a:pt x="1087" y="288"/>
                    </a:lnTo>
                    <a:lnTo>
                      <a:pt x="1091" y="281"/>
                    </a:lnTo>
                    <a:lnTo>
                      <a:pt x="1095" y="273"/>
                    </a:lnTo>
                    <a:lnTo>
                      <a:pt x="1099" y="266"/>
                    </a:lnTo>
                    <a:lnTo>
                      <a:pt x="1102" y="260"/>
                    </a:lnTo>
                    <a:lnTo>
                      <a:pt x="1104" y="257"/>
                    </a:lnTo>
                    <a:lnTo>
                      <a:pt x="1108" y="253"/>
                    </a:lnTo>
                    <a:lnTo>
                      <a:pt x="1119" y="248"/>
                    </a:lnTo>
                    <a:lnTo>
                      <a:pt x="1134" y="244"/>
                    </a:lnTo>
                    <a:lnTo>
                      <a:pt x="1146" y="240"/>
                    </a:lnTo>
                    <a:lnTo>
                      <a:pt x="1162" y="233"/>
                    </a:lnTo>
                    <a:lnTo>
                      <a:pt x="1166" y="229"/>
                    </a:lnTo>
                    <a:lnTo>
                      <a:pt x="1169" y="226"/>
                    </a:lnTo>
                    <a:lnTo>
                      <a:pt x="1171" y="223"/>
                    </a:lnTo>
                    <a:lnTo>
                      <a:pt x="1172" y="220"/>
                    </a:lnTo>
                    <a:lnTo>
                      <a:pt x="1175" y="215"/>
                    </a:lnTo>
                    <a:lnTo>
                      <a:pt x="1177" y="209"/>
                    </a:lnTo>
                    <a:lnTo>
                      <a:pt x="1178" y="196"/>
                    </a:lnTo>
                    <a:lnTo>
                      <a:pt x="1179" y="184"/>
                    </a:lnTo>
                    <a:lnTo>
                      <a:pt x="1178" y="181"/>
                    </a:lnTo>
                    <a:lnTo>
                      <a:pt x="1176" y="178"/>
                    </a:lnTo>
                    <a:lnTo>
                      <a:pt x="1173" y="178"/>
                    </a:lnTo>
                    <a:lnTo>
                      <a:pt x="1170" y="178"/>
                    </a:lnTo>
                    <a:lnTo>
                      <a:pt x="1164" y="179"/>
                    </a:lnTo>
                    <a:lnTo>
                      <a:pt x="1157" y="181"/>
                    </a:lnTo>
                    <a:lnTo>
                      <a:pt x="1153" y="181"/>
                    </a:lnTo>
                    <a:lnTo>
                      <a:pt x="1150" y="181"/>
                    </a:lnTo>
                    <a:lnTo>
                      <a:pt x="1147" y="181"/>
                    </a:lnTo>
                    <a:lnTo>
                      <a:pt x="1146" y="178"/>
                    </a:lnTo>
                    <a:lnTo>
                      <a:pt x="1145" y="176"/>
                    </a:lnTo>
                    <a:lnTo>
                      <a:pt x="1144" y="174"/>
                    </a:lnTo>
                    <a:lnTo>
                      <a:pt x="1140" y="166"/>
                    </a:lnTo>
                    <a:lnTo>
                      <a:pt x="1135" y="160"/>
                    </a:lnTo>
                    <a:lnTo>
                      <a:pt x="1129" y="155"/>
                    </a:lnTo>
                    <a:lnTo>
                      <a:pt x="1122" y="149"/>
                    </a:lnTo>
                    <a:lnTo>
                      <a:pt x="1113" y="140"/>
                    </a:lnTo>
                    <a:lnTo>
                      <a:pt x="1103" y="133"/>
                    </a:lnTo>
                    <a:lnTo>
                      <a:pt x="1090" y="124"/>
                    </a:lnTo>
                    <a:lnTo>
                      <a:pt x="1081" y="114"/>
                    </a:lnTo>
                    <a:lnTo>
                      <a:pt x="1077" y="109"/>
                    </a:lnTo>
                    <a:lnTo>
                      <a:pt x="1075" y="105"/>
                    </a:lnTo>
                    <a:lnTo>
                      <a:pt x="1072" y="100"/>
                    </a:lnTo>
                    <a:lnTo>
                      <a:pt x="1071" y="94"/>
                    </a:lnTo>
                    <a:lnTo>
                      <a:pt x="1071" y="89"/>
                    </a:lnTo>
                    <a:lnTo>
                      <a:pt x="1072" y="83"/>
                    </a:lnTo>
                    <a:lnTo>
                      <a:pt x="1075" y="77"/>
                    </a:lnTo>
                    <a:lnTo>
                      <a:pt x="1078" y="71"/>
                    </a:lnTo>
                    <a:lnTo>
                      <a:pt x="1082" y="65"/>
                    </a:lnTo>
                    <a:lnTo>
                      <a:pt x="1085" y="61"/>
                    </a:lnTo>
                    <a:lnTo>
                      <a:pt x="1090" y="57"/>
                    </a:lnTo>
                    <a:lnTo>
                      <a:pt x="1095" y="53"/>
                    </a:lnTo>
                    <a:lnTo>
                      <a:pt x="1103" y="52"/>
                    </a:lnTo>
                    <a:lnTo>
                      <a:pt x="1114" y="52"/>
                    </a:lnTo>
                    <a:lnTo>
                      <a:pt x="1120" y="51"/>
                    </a:lnTo>
                    <a:lnTo>
                      <a:pt x="1125" y="50"/>
                    </a:lnTo>
                    <a:lnTo>
                      <a:pt x="1131" y="48"/>
                    </a:lnTo>
                    <a:lnTo>
                      <a:pt x="1135" y="44"/>
                    </a:lnTo>
                    <a:lnTo>
                      <a:pt x="1144" y="36"/>
                    </a:lnTo>
                    <a:lnTo>
                      <a:pt x="1151" y="26"/>
                    </a:lnTo>
                    <a:lnTo>
                      <a:pt x="1152" y="25"/>
                    </a:lnTo>
                    <a:lnTo>
                      <a:pt x="1152" y="23"/>
                    </a:lnTo>
                    <a:lnTo>
                      <a:pt x="1153" y="12"/>
                    </a:lnTo>
                    <a:lnTo>
                      <a:pt x="1154" y="2"/>
                    </a:lnTo>
                    <a:lnTo>
                      <a:pt x="1154" y="1"/>
                    </a:lnTo>
                    <a:lnTo>
                      <a:pt x="1157" y="0"/>
                    </a:lnTo>
                    <a:lnTo>
                      <a:pt x="1165" y="1"/>
                    </a:lnTo>
                    <a:lnTo>
                      <a:pt x="1179" y="4"/>
                    </a:lnTo>
                    <a:lnTo>
                      <a:pt x="1196" y="8"/>
                    </a:lnTo>
                    <a:lnTo>
                      <a:pt x="1211" y="15"/>
                    </a:lnTo>
                    <a:lnTo>
                      <a:pt x="1220" y="20"/>
                    </a:lnTo>
                    <a:lnTo>
                      <a:pt x="1230" y="26"/>
                    </a:lnTo>
                    <a:lnTo>
                      <a:pt x="1244" y="34"/>
                    </a:lnTo>
                    <a:lnTo>
                      <a:pt x="1257" y="42"/>
                    </a:lnTo>
                    <a:lnTo>
                      <a:pt x="1270" y="51"/>
                    </a:lnTo>
                    <a:lnTo>
                      <a:pt x="1280" y="59"/>
                    </a:lnTo>
                    <a:lnTo>
                      <a:pt x="1290" y="68"/>
                    </a:lnTo>
                    <a:lnTo>
                      <a:pt x="1298" y="74"/>
                    </a:lnTo>
                    <a:lnTo>
                      <a:pt x="1309" y="78"/>
                    </a:lnTo>
                    <a:lnTo>
                      <a:pt x="1322" y="83"/>
                    </a:lnTo>
                    <a:lnTo>
                      <a:pt x="1335" y="88"/>
                    </a:lnTo>
                    <a:lnTo>
                      <a:pt x="1346" y="93"/>
                    </a:lnTo>
                    <a:lnTo>
                      <a:pt x="1358" y="100"/>
                    </a:lnTo>
                    <a:lnTo>
                      <a:pt x="1373" y="113"/>
                    </a:lnTo>
                    <a:lnTo>
                      <a:pt x="1390" y="128"/>
                    </a:lnTo>
                    <a:lnTo>
                      <a:pt x="1404" y="143"/>
                    </a:lnTo>
                    <a:lnTo>
                      <a:pt x="1416" y="156"/>
                    </a:lnTo>
                    <a:lnTo>
                      <a:pt x="1425" y="168"/>
                    </a:lnTo>
                    <a:lnTo>
                      <a:pt x="1434" y="179"/>
                    </a:lnTo>
                    <a:lnTo>
                      <a:pt x="1441" y="193"/>
                    </a:lnTo>
                    <a:lnTo>
                      <a:pt x="1443" y="197"/>
                    </a:lnTo>
                    <a:lnTo>
                      <a:pt x="1447" y="202"/>
                    </a:lnTo>
                    <a:lnTo>
                      <a:pt x="1449" y="207"/>
                    </a:lnTo>
                    <a:lnTo>
                      <a:pt x="1453" y="209"/>
                    </a:lnTo>
                    <a:lnTo>
                      <a:pt x="1458" y="212"/>
                    </a:lnTo>
                    <a:lnTo>
                      <a:pt x="1465" y="213"/>
                    </a:lnTo>
                    <a:lnTo>
                      <a:pt x="1472" y="214"/>
                    </a:lnTo>
                    <a:lnTo>
                      <a:pt x="1481" y="215"/>
                    </a:lnTo>
                    <a:lnTo>
                      <a:pt x="1493" y="214"/>
                    </a:lnTo>
                    <a:lnTo>
                      <a:pt x="1506" y="214"/>
                    </a:lnTo>
                    <a:lnTo>
                      <a:pt x="1518" y="212"/>
                    </a:lnTo>
                    <a:lnTo>
                      <a:pt x="1529" y="209"/>
                    </a:lnTo>
                    <a:lnTo>
                      <a:pt x="1540" y="207"/>
                    </a:lnTo>
                    <a:lnTo>
                      <a:pt x="1548" y="204"/>
                    </a:lnTo>
                    <a:lnTo>
                      <a:pt x="1555" y="203"/>
                    </a:lnTo>
                    <a:lnTo>
                      <a:pt x="1566" y="204"/>
                    </a:lnTo>
                    <a:lnTo>
                      <a:pt x="1578" y="207"/>
                    </a:lnTo>
                    <a:lnTo>
                      <a:pt x="1588" y="210"/>
                    </a:lnTo>
                    <a:lnTo>
                      <a:pt x="1593" y="212"/>
                    </a:lnTo>
                    <a:lnTo>
                      <a:pt x="1598" y="214"/>
                    </a:lnTo>
                    <a:lnTo>
                      <a:pt x="1601" y="216"/>
                    </a:lnTo>
                    <a:lnTo>
                      <a:pt x="1604" y="219"/>
                    </a:lnTo>
                    <a:lnTo>
                      <a:pt x="1605" y="223"/>
                    </a:lnTo>
                    <a:lnTo>
                      <a:pt x="1607" y="232"/>
                    </a:lnTo>
                    <a:lnTo>
                      <a:pt x="1607" y="240"/>
                    </a:lnTo>
                    <a:lnTo>
                      <a:pt x="1609" y="251"/>
                    </a:lnTo>
                    <a:lnTo>
                      <a:pt x="1609" y="260"/>
                    </a:lnTo>
                    <a:lnTo>
                      <a:pt x="1610" y="270"/>
                    </a:lnTo>
                    <a:lnTo>
                      <a:pt x="1611" y="277"/>
                    </a:lnTo>
                    <a:lnTo>
                      <a:pt x="1613" y="282"/>
                    </a:lnTo>
                    <a:lnTo>
                      <a:pt x="1617" y="284"/>
                    </a:lnTo>
                    <a:lnTo>
                      <a:pt x="1620" y="285"/>
                    </a:lnTo>
                    <a:lnTo>
                      <a:pt x="1626" y="288"/>
                    </a:lnTo>
                    <a:lnTo>
                      <a:pt x="1632" y="289"/>
                    </a:lnTo>
                    <a:lnTo>
                      <a:pt x="1643" y="290"/>
                    </a:lnTo>
                    <a:lnTo>
                      <a:pt x="1651" y="290"/>
                    </a:lnTo>
                    <a:lnTo>
                      <a:pt x="1657" y="290"/>
                    </a:lnTo>
                    <a:lnTo>
                      <a:pt x="1664" y="291"/>
                    </a:lnTo>
                    <a:lnTo>
                      <a:pt x="1673" y="292"/>
                    </a:lnTo>
                    <a:lnTo>
                      <a:pt x="1680" y="296"/>
                    </a:lnTo>
                    <a:lnTo>
                      <a:pt x="1696" y="310"/>
                    </a:lnTo>
                    <a:lnTo>
                      <a:pt x="1714" y="328"/>
                    </a:lnTo>
                    <a:lnTo>
                      <a:pt x="1717" y="330"/>
                    </a:lnTo>
                    <a:lnTo>
                      <a:pt x="1720" y="333"/>
                    </a:lnTo>
                    <a:lnTo>
                      <a:pt x="1723" y="334"/>
                    </a:lnTo>
                    <a:lnTo>
                      <a:pt x="1726" y="334"/>
                    </a:lnTo>
                    <a:lnTo>
                      <a:pt x="1735" y="334"/>
                    </a:lnTo>
                    <a:lnTo>
                      <a:pt x="1744" y="333"/>
                    </a:lnTo>
                    <a:lnTo>
                      <a:pt x="1749" y="333"/>
                    </a:lnTo>
                    <a:lnTo>
                      <a:pt x="1754" y="335"/>
                    </a:lnTo>
                    <a:lnTo>
                      <a:pt x="1758" y="339"/>
                    </a:lnTo>
                    <a:lnTo>
                      <a:pt x="1762" y="344"/>
                    </a:lnTo>
                    <a:lnTo>
                      <a:pt x="1765" y="349"/>
                    </a:lnTo>
                    <a:lnTo>
                      <a:pt x="1768" y="357"/>
                    </a:lnTo>
                    <a:lnTo>
                      <a:pt x="1770" y="364"/>
                    </a:lnTo>
                    <a:lnTo>
                      <a:pt x="1773" y="372"/>
                    </a:lnTo>
                    <a:lnTo>
                      <a:pt x="1775" y="395"/>
                    </a:lnTo>
                    <a:lnTo>
                      <a:pt x="1775" y="420"/>
                    </a:lnTo>
                    <a:lnTo>
                      <a:pt x="1774" y="431"/>
                    </a:lnTo>
                    <a:lnTo>
                      <a:pt x="1773" y="442"/>
                    </a:lnTo>
                    <a:lnTo>
                      <a:pt x="1770" y="452"/>
                    </a:lnTo>
                    <a:lnTo>
                      <a:pt x="1767" y="460"/>
                    </a:lnTo>
                    <a:lnTo>
                      <a:pt x="1763" y="466"/>
                    </a:lnTo>
                    <a:lnTo>
                      <a:pt x="1761" y="472"/>
                    </a:lnTo>
                    <a:lnTo>
                      <a:pt x="1761" y="478"/>
                    </a:lnTo>
                    <a:lnTo>
                      <a:pt x="1761" y="484"/>
                    </a:lnTo>
                    <a:lnTo>
                      <a:pt x="1762" y="496"/>
                    </a:lnTo>
                    <a:lnTo>
                      <a:pt x="1765" y="505"/>
                    </a:lnTo>
                    <a:lnTo>
                      <a:pt x="1768" y="515"/>
                    </a:lnTo>
                    <a:lnTo>
                      <a:pt x="1769" y="527"/>
                    </a:lnTo>
                    <a:lnTo>
                      <a:pt x="1769" y="538"/>
                    </a:lnTo>
                    <a:lnTo>
                      <a:pt x="1765" y="550"/>
                    </a:lnTo>
                    <a:lnTo>
                      <a:pt x="1761" y="562"/>
                    </a:lnTo>
                    <a:lnTo>
                      <a:pt x="1754" y="574"/>
                    </a:lnTo>
                    <a:lnTo>
                      <a:pt x="1750" y="580"/>
                    </a:lnTo>
                    <a:lnTo>
                      <a:pt x="1745" y="585"/>
                    </a:lnTo>
                    <a:lnTo>
                      <a:pt x="1740" y="590"/>
                    </a:lnTo>
                    <a:lnTo>
                      <a:pt x="1735" y="593"/>
                    </a:lnTo>
                    <a:lnTo>
                      <a:pt x="1730" y="595"/>
                    </a:lnTo>
                    <a:lnTo>
                      <a:pt x="1726" y="598"/>
                    </a:lnTo>
                    <a:lnTo>
                      <a:pt x="1721" y="598"/>
                    </a:lnTo>
                    <a:lnTo>
                      <a:pt x="1718" y="598"/>
                    </a:lnTo>
                    <a:lnTo>
                      <a:pt x="1714" y="597"/>
                    </a:lnTo>
                    <a:lnTo>
                      <a:pt x="1711" y="594"/>
                    </a:lnTo>
                    <a:lnTo>
                      <a:pt x="1707" y="591"/>
                    </a:lnTo>
                    <a:lnTo>
                      <a:pt x="1702" y="586"/>
                    </a:lnTo>
                    <a:lnTo>
                      <a:pt x="1696" y="582"/>
                    </a:lnTo>
                    <a:lnTo>
                      <a:pt x="1689" y="579"/>
                    </a:lnTo>
                    <a:lnTo>
                      <a:pt x="1681" y="576"/>
                    </a:lnTo>
                    <a:lnTo>
                      <a:pt x="1673" y="576"/>
                    </a:lnTo>
                    <a:lnTo>
                      <a:pt x="1662" y="576"/>
                    </a:lnTo>
                    <a:lnTo>
                      <a:pt x="1652" y="578"/>
                    </a:lnTo>
                    <a:lnTo>
                      <a:pt x="1642" y="580"/>
                    </a:lnTo>
                    <a:lnTo>
                      <a:pt x="1631" y="585"/>
                    </a:lnTo>
                    <a:lnTo>
                      <a:pt x="1622" y="590"/>
                    </a:lnTo>
                    <a:lnTo>
                      <a:pt x="1613" y="595"/>
                    </a:lnTo>
                    <a:lnTo>
                      <a:pt x="1605" y="603"/>
                    </a:lnTo>
                    <a:lnTo>
                      <a:pt x="1598" y="610"/>
                    </a:lnTo>
                    <a:lnTo>
                      <a:pt x="1586" y="624"/>
                    </a:lnTo>
                    <a:lnTo>
                      <a:pt x="1579" y="636"/>
                    </a:lnTo>
                    <a:lnTo>
                      <a:pt x="1573" y="645"/>
                    </a:lnTo>
                    <a:lnTo>
                      <a:pt x="1566" y="654"/>
                    </a:lnTo>
                    <a:lnTo>
                      <a:pt x="1562" y="656"/>
                    </a:lnTo>
                    <a:lnTo>
                      <a:pt x="1559" y="660"/>
                    </a:lnTo>
                    <a:lnTo>
                      <a:pt x="1555" y="661"/>
                    </a:lnTo>
                    <a:lnTo>
                      <a:pt x="1551" y="662"/>
                    </a:lnTo>
                    <a:lnTo>
                      <a:pt x="1544" y="663"/>
                    </a:lnTo>
                    <a:lnTo>
                      <a:pt x="1537" y="667"/>
                    </a:lnTo>
                    <a:lnTo>
                      <a:pt x="1529" y="672"/>
                    </a:lnTo>
                    <a:lnTo>
                      <a:pt x="1519" y="679"/>
                    </a:lnTo>
                    <a:lnTo>
                      <a:pt x="1509" y="691"/>
                    </a:lnTo>
                    <a:lnTo>
                      <a:pt x="1499" y="702"/>
                    </a:lnTo>
                    <a:lnTo>
                      <a:pt x="1491" y="716"/>
                    </a:lnTo>
                    <a:lnTo>
                      <a:pt x="1487" y="727"/>
                    </a:lnTo>
                    <a:lnTo>
                      <a:pt x="1485" y="732"/>
                    </a:lnTo>
                    <a:lnTo>
                      <a:pt x="1484" y="736"/>
                    </a:lnTo>
                    <a:lnTo>
                      <a:pt x="1481" y="738"/>
                    </a:lnTo>
                    <a:lnTo>
                      <a:pt x="1479" y="740"/>
                    </a:lnTo>
                    <a:lnTo>
                      <a:pt x="1478" y="740"/>
                    </a:lnTo>
                    <a:lnTo>
                      <a:pt x="1475" y="740"/>
                    </a:lnTo>
                    <a:lnTo>
                      <a:pt x="1473" y="739"/>
                    </a:lnTo>
                    <a:lnTo>
                      <a:pt x="1472" y="737"/>
                    </a:lnTo>
                    <a:lnTo>
                      <a:pt x="1469" y="732"/>
                    </a:lnTo>
                    <a:lnTo>
                      <a:pt x="1467" y="724"/>
                    </a:lnTo>
                    <a:lnTo>
                      <a:pt x="1465" y="716"/>
                    </a:lnTo>
                    <a:lnTo>
                      <a:pt x="1465" y="706"/>
                    </a:lnTo>
                    <a:lnTo>
                      <a:pt x="1463" y="698"/>
                    </a:lnTo>
                    <a:lnTo>
                      <a:pt x="1461" y="692"/>
                    </a:lnTo>
                    <a:lnTo>
                      <a:pt x="1460" y="689"/>
                    </a:lnTo>
                    <a:lnTo>
                      <a:pt x="1458" y="688"/>
                    </a:lnTo>
                    <a:lnTo>
                      <a:pt x="1455" y="687"/>
                    </a:lnTo>
                    <a:lnTo>
                      <a:pt x="1453" y="687"/>
                    </a:lnTo>
                    <a:lnTo>
                      <a:pt x="1447" y="688"/>
                    </a:lnTo>
                    <a:lnTo>
                      <a:pt x="1441" y="691"/>
                    </a:lnTo>
                    <a:lnTo>
                      <a:pt x="1435" y="697"/>
                    </a:lnTo>
                    <a:lnTo>
                      <a:pt x="1428" y="704"/>
                    </a:lnTo>
                    <a:lnTo>
                      <a:pt x="1419" y="711"/>
                    </a:lnTo>
                    <a:lnTo>
                      <a:pt x="1412" y="717"/>
                    </a:lnTo>
                    <a:lnTo>
                      <a:pt x="1408" y="719"/>
                    </a:lnTo>
                    <a:lnTo>
                      <a:pt x="1404" y="720"/>
                    </a:lnTo>
                    <a:lnTo>
                      <a:pt x="1400" y="720"/>
                    </a:lnTo>
                    <a:lnTo>
                      <a:pt x="1396" y="719"/>
                    </a:lnTo>
                    <a:lnTo>
                      <a:pt x="1392" y="718"/>
                    </a:lnTo>
                    <a:lnTo>
                      <a:pt x="1389" y="716"/>
                    </a:lnTo>
                    <a:lnTo>
                      <a:pt x="1386" y="713"/>
                    </a:lnTo>
                    <a:lnTo>
                      <a:pt x="1384" y="710"/>
                    </a:lnTo>
                    <a:lnTo>
                      <a:pt x="1379" y="701"/>
                    </a:lnTo>
                    <a:lnTo>
                      <a:pt x="1373" y="688"/>
                    </a:lnTo>
                    <a:lnTo>
                      <a:pt x="1371" y="682"/>
                    </a:lnTo>
                    <a:lnTo>
                      <a:pt x="1366" y="678"/>
                    </a:lnTo>
                    <a:lnTo>
                      <a:pt x="1361" y="674"/>
                    </a:lnTo>
                    <a:lnTo>
                      <a:pt x="1356" y="672"/>
                    </a:lnTo>
                    <a:lnTo>
                      <a:pt x="1352" y="670"/>
                    </a:lnTo>
                    <a:lnTo>
                      <a:pt x="1347" y="670"/>
                    </a:lnTo>
                    <a:lnTo>
                      <a:pt x="1342" y="670"/>
                    </a:lnTo>
                    <a:lnTo>
                      <a:pt x="1337" y="672"/>
                    </a:lnTo>
                    <a:lnTo>
                      <a:pt x="1333" y="675"/>
                    </a:lnTo>
                    <a:lnTo>
                      <a:pt x="1328" y="679"/>
                    </a:lnTo>
                    <a:lnTo>
                      <a:pt x="1322" y="685"/>
                    </a:lnTo>
                    <a:lnTo>
                      <a:pt x="1317" y="691"/>
                    </a:lnTo>
                    <a:lnTo>
                      <a:pt x="1305" y="706"/>
                    </a:lnTo>
                    <a:lnTo>
                      <a:pt x="1295" y="720"/>
                    </a:lnTo>
                    <a:lnTo>
                      <a:pt x="1289" y="727"/>
                    </a:lnTo>
                    <a:lnTo>
                      <a:pt x="1283" y="732"/>
                    </a:lnTo>
                    <a:lnTo>
                      <a:pt x="1278" y="737"/>
                    </a:lnTo>
                    <a:lnTo>
                      <a:pt x="1273" y="739"/>
                    </a:lnTo>
                    <a:lnTo>
                      <a:pt x="1269" y="742"/>
                    </a:lnTo>
                    <a:lnTo>
                      <a:pt x="1264" y="742"/>
                    </a:lnTo>
                    <a:lnTo>
                      <a:pt x="1259" y="742"/>
                    </a:lnTo>
                    <a:lnTo>
                      <a:pt x="1255" y="742"/>
                    </a:lnTo>
                    <a:lnTo>
                      <a:pt x="1252" y="740"/>
                    </a:lnTo>
                    <a:lnTo>
                      <a:pt x="1247" y="738"/>
                    </a:lnTo>
                    <a:lnTo>
                      <a:pt x="1244" y="735"/>
                    </a:lnTo>
                    <a:lnTo>
                      <a:pt x="1240" y="731"/>
                    </a:lnTo>
                    <a:lnTo>
                      <a:pt x="1233" y="724"/>
                    </a:lnTo>
                    <a:lnTo>
                      <a:pt x="1228" y="716"/>
                    </a:lnTo>
                    <a:lnTo>
                      <a:pt x="1223" y="708"/>
                    </a:lnTo>
                    <a:lnTo>
                      <a:pt x="1219" y="702"/>
                    </a:lnTo>
                    <a:lnTo>
                      <a:pt x="1216" y="700"/>
                    </a:lnTo>
                    <a:lnTo>
                      <a:pt x="1214" y="699"/>
                    </a:lnTo>
                    <a:lnTo>
                      <a:pt x="1213" y="699"/>
                    </a:lnTo>
                    <a:lnTo>
                      <a:pt x="1210" y="701"/>
                    </a:lnTo>
                    <a:lnTo>
                      <a:pt x="1207" y="708"/>
                    </a:lnTo>
                    <a:lnTo>
                      <a:pt x="1204" y="718"/>
                    </a:lnTo>
                    <a:lnTo>
                      <a:pt x="1202" y="727"/>
                    </a:lnTo>
                    <a:lnTo>
                      <a:pt x="1197" y="738"/>
                    </a:lnTo>
                    <a:lnTo>
                      <a:pt x="1195" y="743"/>
                    </a:lnTo>
                    <a:lnTo>
                      <a:pt x="1192" y="745"/>
                    </a:lnTo>
                    <a:lnTo>
                      <a:pt x="1189" y="746"/>
                    </a:lnTo>
                    <a:lnTo>
                      <a:pt x="1184" y="748"/>
                    </a:lnTo>
                    <a:lnTo>
                      <a:pt x="1175" y="746"/>
                    </a:lnTo>
                    <a:lnTo>
                      <a:pt x="1162" y="743"/>
                    </a:lnTo>
                    <a:lnTo>
                      <a:pt x="1154" y="743"/>
                    </a:lnTo>
                    <a:lnTo>
                      <a:pt x="1148" y="744"/>
                    </a:lnTo>
                    <a:lnTo>
                      <a:pt x="1143" y="746"/>
                    </a:lnTo>
                    <a:lnTo>
                      <a:pt x="1138" y="751"/>
                    </a:lnTo>
                    <a:lnTo>
                      <a:pt x="1128" y="761"/>
                    </a:lnTo>
                    <a:lnTo>
                      <a:pt x="1122" y="771"/>
                    </a:lnTo>
                    <a:lnTo>
                      <a:pt x="1118" y="780"/>
                    </a:lnTo>
                    <a:lnTo>
                      <a:pt x="1116" y="786"/>
                    </a:lnTo>
                    <a:lnTo>
                      <a:pt x="1116" y="789"/>
                    </a:lnTo>
                    <a:lnTo>
                      <a:pt x="1118" y="792"/>
                    </a:lnTo>
                    <a:lnTo>
                      <a:pt x="1120" y="794"/>
                    </a:lnTo>
                    <a:lnTo>
                      <a:pt x="1123" y="798"/>
                    </a:lnTo>
                    <a:lnTo>
                      <a:pt x="1132" y="803"/>
                    </a:lnTo>
                    <a:lnTo>
                      <a:pt x="1143" y="811"/>
                    </a:lnTo>
                    <a:lnTo>
                      <a:pt x="1153" y="819"/>
                    </a:lnTo>
                    <a:lnTo>
                      <a:pt x="1163" y="828"/>
                    </a:lnTo>
                    <a:lnTo>
                      <a:pt x="1167" y="833"/>
                    </a:lnTo>
                    <a:lnTo>
                      <a:pt x="1170" y="839"/>
                    </a:lnTo>
                    <a:lnTo>
                      <a:pt x="1172" y="844"/>
                    </a:lnTo>
                    <a:lnTo>
                      <a:pt x="1175" y="849"/>
                    </a:lnTo>
                    <a:lnTo>
                      <a:pt x="1176" y="861"/>
                    </a:lnTo>
                    <a:lnTo>
                      <a:pt x="1177" y="878"/>
                    </a:lnTo>
                    <a:lnTo>
                      <a:pt x="1177" y="888"/>
                    </a:lnTo>
                    <a:lnTo>
                      <a:pt x="1176" y="894"/>
                    </a:lnTo>
                    <a:lnTo>
                      <a:pt x="1175" y="900"/>
                    </a:lnTo>
                    <a:lnTo>
                      <a:pt x="1173" y="903"/>
                    </a:lnTo>
                    <a:lnTo>
                      <a:pt x="1170" y="909"/>
                    </a:lnTo>
                    <a:lnTo>
                      <a:pt x="1165" y="918"/>
                    </a:lnTo>
                    <a:lnTo>
                      <a:pt x="1163" y="921"/>
                    </a:lnTo>
                    <a:lnTo>
                      <a:pt x="1163" y="925"/>
                    </a:lnTo>
                    <a:lnTo>
                      <a:pt x="1164" y="927"/>
                    </a:lnTo>
                    <a:lnTo>
                      <a:pt x="1165" y="929"/>
                    </a:lnTo>
                    <a:lnTo>
                      <a:pt x="1169" y="937"/>
                    </a:lnTo>
                    <a:lnTo>
                      <a:pt x="1172" y="947"/>
                    </a:lnTo>
                    <a:lnTo>
                      <a:pt x="1173" y="954"/>
                    </a:lnTo>
                    <a:lnTo>
                      <a:pt x="1173" y="962"/>
                    </a:lnTo>
                    <a:lnTo>
                      <a:pt x="1172" y="970"/>
                    </a:lnTo>
                    <a:lnTo>
                      <a:pt x="1171" y="977"/>
                    </a:lnTo>
                    <a:lnTo>
                      <a:pt x="1169" y="984"/>
                    </a:lnTo>
                    <a:lnTo>
                      <a:pt x="1166" y="991"/>
                    </a:lnTo>
                    <a:lnTo>
                      <a:pt x="1163" y="997"/>
                    </a:lnTo>
                    <a:lnTo>
                      <a:pt x="1158" y="1001"/>
                    </a:lnTo>
                    <a:lnTo>
                      <a:pt x="1153" y="1004"/>
                    </a:lnTo>
                    <a:lnTo>
                      <a:pt x="1147" y="1008"/>
                    </a:lnTo>
                    <a:lnTo>
                      <a:pt x="1140" y="1010"/>
                    </a:lnTo>
                    <a:lnTo>
                      <a:pt x="1134" y="1013"/>
                    </a:lnTo>
                    <a:lnTo>
                      <a:pt x="1122" y="1015"/>
                    </a:lnTo>
                    <a:lnTo>
                      <a:pt x="1113" y="1019"/>
                    </a:lnTo>
                    <a:lnTo>
                      <a:pt x="1112" y="1021"/>
                    </a:lnTo>
                    <a:lnTo>
                      <a:pt x="1109" y="1022"/>
                    </a:lnTo>
                    <a:lnTo>
                      <a:pt x="1109" y="1025"/>
                    </a:lnTo>
                    <a:lnTo>
                      <a:pt x="1109" y="1027"/>
                    </a:lnTo>
                    <a:lnTo>
                      <a:pt x="1110" y="1032"/>
                    </a:lnTo>
                    <a:lnTo>
                      <a:pt x="1115" y="1035"/>
                    </a:lnTo>
                    <a:lnTo>
                      <a:pt x="1120" y="1040"/>
                    </a:lnTo>
                    <a:lnTo>
                      <a:pt x="1126" y="1045"/>
                    </a:lnTo>
                    <a:lnTo>
                      <a:pt x="1129" y="1052"/>
                    </a:lnTo>
                    <a:lnTo>
                      <a:pt x="1134" y="1061"/>
                    </a:lnTo>
                    <a:lnTo>
                      <a:pt x="1138" y="1071"/>
                    </a:lnTo>
                    <a:lnTo>
                      <a:pt x="1141" y="1079"/>
                    </a:lnTo>
                    <a:lnTo>
                      <a:pt x="1144" y="1082"/>
                    </a:lnTo>
                    <a:lnTo>
                      <a:pt x="1146" y="1084"/>
                    </a:lnTo>
                    <a:lnTo>
                      <a:pt x="1148" y="1085"/>
                    </a:lnTo>
                    <a:lnTo>
                      <a:pt x="1151" y="1086"/>
                    </a:lnTo>
                    <a:lnTo>
                      <a:pt x="1154" y="1085"/>
                    </a:lnTo>
                    <a:lnTo>
                      <a:pt x="1159" y="1084"/>
                    </a:lnTo>
                    <a:lnTo>
                      <a:pt x="1163" y="1080"/>
                    </a:lnTo>
                    <a:lnTo>
                      <a:pt x="1167" y="1073"/>
                    </a:lnTo>
                    <a:lnTo>
                      <a:pt x="1171" y="1063"/>
                    </a:lnTo>
                    <a:lnTo>
                      <a:pt x="1176" y="1051"/>
                    </a:lnTo>
                    <a:lnTo>
                      <a:pt x="1182" y="1040"/>
                    </a:lnTo>
                    <a:lnTo>
                      <a:pt x="1187" y="1032"/>
                    </a:lnTo>
                    <a:lnTo>
                      <a:pt x="1194" y="1027"/>
                    </a:lnTo>
                    <a:lnTo>
                      <a:pt x="1202" y="1025"/>
                    </a:lnTo>
                    <a:lnTo>
                      <a:pt x="1206" y="1023"/>
                    </a:lnTo>
                    <a:lnTo>
                      <a:pt x="1208" y="1023"/>
                    </a:lnTo>
                    <a:lnTo>
                      <a:pt x="1211" y="1025"/>
                    </a:lnTo>
                    <a:lnTo>
                      <a:pt x="1213" y="1026"/>
                    </a:lnTo>
                    <a:lnTo>
                      <a:pt x="1215" y="1032"/>
                    </a:lnTo>
                    <a:lnTo>
                      <a:pt x="1215" y="1041"/>
                    </a:lnTo>
                    <a:lnTo>
                      <a:pt x="1215" y="1054"/>
                    </a:lnTo>
                    <a:lnTo>
                      <a:pt x="1215" y="1069"/>
                    </a:lnTo>
                    <a:lnTo>
                      <a:pt x="1216" y="1077"/>
                    </a:lnTo>
                    <a:lnTo>
                      <a:pt x="1219" y="1083"/>
                    </a:lnTo>
                    <a:lnTo>
                      <a:pt x="1222" y="1088"/>
                    </a:lnTo>
                    <a:lnTo>
                      <a:pt x="1227" y="1092"/>
                    </a:lnTo>
                    <a:lnTo>
                      <a:pt x="1236" y="1099"/>
                    </a:lnTo>
                    <a:lnTo>
                      <a:pt x="1247" y="1103"/>
                    </a:lnTo>
                    <a:lnTo>
                      <a:pt x="1257" y="1105"/>
                    </a:lnTo>
                    <a:lnTo>
                      <a:pt x="1266" y="1109"/>
                    </a:lnTo>
                    <a:lnTo>
                      <a:pt x="1271" y="1110"/>
                    </a:lnTo>
                    <a:lnTo>
                      <a:pt x="1274" y="1113"/>
                    </a:lnTo>
                    <a:lnTo>
                      <a:pt x="1278" y="1115"/>
                    </a:lnTo>
                    <a:lnTo>
                      <a:pt x="1282" y="1118"/>
                    </a:lnTo>
                    <a:lnTo>
                      <a:pt x="1288" y="1129"/>
                    </a:lnTo>
                    <a:lnTo>
                      <a:pt x="1295" y="1145"/>
                    </a:lnTo>
                    <a:lnTo>
                      <a:pt x="1297" y="1153"/>
                    </a:lnTo>
                    <a:lnTo>
                      <a:pt x="1298" y="1161"/>
                    </a:lnTo>
                    <a:lnTo>
                      <a:pt x="1298" y="1168"/>
                    </a:lnTo>
                    <a:lnTo>
                      <a:pt x="1297" y="1174"/>
                    </a:lnTo>
                    <a:lnTo>
                      <a:pt x="1295" y="1179"/>
                    </a:lnTo>
                    <a:lnTo>
                      <a:pt x="1293" y="1184"/>
                    </a:lnTo>
                    <a:lnTo>
                      <a:pt x="1293" y="1187"/>
                    </a:lnTo>
                    <a:lnTo>
                      <a:pt x="1295" y="1192"/>
                    </a:lnTo>
                    <a:lnTo>
                      <a:pt x="1298" y="1199"/>
                    </a:lnTo>
                    <a:lnTo>
                      <a:pt x="1304" y="1206"/>
                    </a:lnTo>
                    <a:lnTo>
                      <a:pt x="1307" y="1210"/>
                    </a:lnTo>
                    <a:lnTo>
                      <a:pt x="1308" y="1214"/>
                    </a:lnTo>
                    <a:lnTo>
                      <a:pt x="1309" y="1217"/>
                    </a:lnTo>
                    <a:lnTo>
                      <a:pt x="1310" y="1221"/>
                    </a:lnTo>
                    <a:lnTo>
                      <a:pt x="1309" y="1230"/>
                    </a:lnTo>
                    <a:lnTo>
                      <a:pt x="1308" y="1241"/>
                    </a:lnTo>
                    <a:lnTo>
                      <a:pt x="1307" y="1246"/>
                    </a:lnTo>
                    <a:lnTo>
                      <a:pt x="1308" y="1249"/>
                    </a:lnTo>
                    <a:lnTo>
                      <a:pt x="1310" y="1252"/>
                    </a:lnTo>
                    <a:lnTo>
                      <a:pt x="1313" y="1254"/>
                    </a:lnTo>
                    <a:lnTo>
                      <a:pt x="1315" y="1254"/>
                    </a:lnTo>
                    <a:lnTo>
                      <a:pt x="1318" y="1254"/>
                    </a:lnTo>
                    <a:lnTo>
                      <a:pt x="1322" y="1253"/>
                    </a:lnTo>
                    <a:lnTo>
                      <a:pt x="1326" y="1252"/>
                    </a:lnTo>
                    <a:lnTo>
                      <a:pt x="1333" y="1247"/>
                    </a:lnTo>
                    <a:lnTo>
                      <a:pt x="1340" y="1242"/>
                    </a:lnTo>
                    <a:lnTo>
                      <a:pt x="1347" y="1235"/>
                    </a:lnTo>
                    <a:lnTo>
                      <a:pt x="1352" y="1229"/>
                    </a:lnTo>
                    <a:lnTo>
                      <a:pt x="1356" y="1223"/>
                    </a:lnTo>
                    <a:lnTo>
                      <a:pt x="1360" y="1220"/>
                    </a:lnTo>
                    <a:lnTo>
                      <a:pt x="1361" y="1220"/>
                    </a:lnTo>
                    <a:lnTo>
                      <a:pt x="1364" y="1221"/>
                    </a:lnTo>
                    <a:lnTo>
                      <a:pt x="1366" y="1222"/>
                    </a:lnTo>
                    <a:lnTo>
                      <a:pt x="1368" y="1224"/>
                    </a:lnTo>
                    <a:lnTo>
                      <a:pt x="1372" y="1229"/>
                    </a:lnTo>
                    <a:lnTo>
                      <a:pt x="1374" y="1234"/>
                    </a:lnTo>
                    <a:lnTo>
                      <a:pt x="1376" y="1239"/>
                    </a:lnTo>
                    <a:lnTo>
                      <a:pt x="1378" y="1244"/>
                    </a:lnTo>
                    <a:lnTo>
                      <a:pt x="1380" y="1259"/>
                    </a:lnTo>
                    <a:lnTo>
                      <a:pt x="1381" y="1274"/>
                    </a:lnTo>
                    <a:lnTo>
                      <a:pt x="1383" y="1291"/>
                    </a:lnTo>
                    <a:lnTo>
                      <a:pt x="1385" y="1305"/>
                    </a:lnTo>
                    <a:lnTo>
                      <a:pt x="1386" y="1311"/>
                    </a:lnTo>
                    <a:lnTo>
                      <a:pt x="1390" y="1317"/>
                    </a:lnTo>
                    <a:lnTo>
                      <a:pt x="1393" y="1323"/>
                    </a:lnTo>
                    <a:lnTo>
                      <a:pt x="1398" y="1328"/>
                    </a:lnTo>
                    <a:lnTo>
                      <a:pt x="1409" y="1336"/>
                    </a:lnTo>
                    <a:lnTo>
                      <a:pt x="1418" y="1340"/>
                    </a:lnTo>
                    <a:lnTo>
                      <a:pt x="1424" y="1343"/>
                    </a:lnTo>
                    <a:lnTo>
                      <a:pt x="1428" y="1345"/>
                    </a:lnTo>
                    <a:lnTo>
                      <a:pt x="1431" y="1349"/>
                    </a:lnTo>
                    <a:lnTo>
                      <a:pt x="1434" y="1354"/>
                    </a:lnTo>
                    <a:lnTo>
                      <a:pt x="1442" y="1362"/>
                    </a:lnTo>
                    <a:lnTo>
                      <a:pt x="1450" y="1370"/>
                    </a:lnTo>
                    <a:lnTo>
                      <a:pt x="1453" y="1374"/>
                    </a:lnTo>
                    <a:lnTo>
                      <a:pt x="1454" y="1379"/>
                    </a:lnTo>
                    <a:lnTo>
                      <a:pt x="1454" y="1384"/>
                    </a:lnTo>
                    <a:lnTo>
                      <a:pt x="1453" y="1388"/>
                    </a:lnTo>
                    <a:lnTo>
                      <a:pt x="1447" y="1399"/>
                    </a:lnTo>
                    <a:lnTo>
                      <a:pt x="1441" y="1410"/>
                    </a:lnTo>
                    <a:lnTo>
                      <a:pt x="1435" y="1422"/>
                    </a:lnTo>
                    <a:lnTo>
                      <a:pt x="1431" y="1435"/>
                    </a:lnTo>
                    <a:lnTo>
                      <a:pt x="1429" y="1449"/>
                    </a:lnTo>
                    <a:lnTo>
                      <a:pt x="1428" y="1461"/>
                    </a:lnTo>
                    <a:lnTo>
                      <a:pt x="1429" y="1467"/>
                    </a:lnTo>
                    <a:lnTo>
                      <a:pt x="1430" y="1473"/>
                    </a:lnTo>
                    <a:lnTo>
                      <a:pt x="1431" y="1480"/>
                    </a:lnTo>
                    <a:lnTo>
                      <a:pt x="1434" y="1486"/>
                    </a:lnTo>
                    <a:lnTo>
                      <a:pt x="1440" y="1496"/>
                    </a:lnTo>
                    <a:lnTo>
                      <a:pt x="1446" y="1505"/>
                    </a:lnTo>
                    <a:lnTo>
                      <a:pt x="1448" y="1508"/>
                    </a:lnTo>
                    <a:lnTo>
                      <a:pt x="1449" y="1511"/>
                    </a:lnTo>
                    <a:lnTo>
                      <a:pt x="1450" y="1514"/>
                    </a:lnTo>
                    <a:lnTo>
                      <a:pt x="1450" y="1517"/>
                    </a:lnTo>
                    <a:lnTo>
                      <a:pt x="1449" y="1519"/>
                    </a:lnTo>
                    <a:lnTo>
                      <a:pt x="1448" y="1521"/>
                    </a:lnTo>
                    <a:lnTo>
                      <a:pt x="1446" y="1524"/>
                    </a:lnTo>
                    <a:lnTo>
                      <a:pt x="1442" y="1526"/>
                    </a:lnTo>
                    <a:lnTo>
                      <a:pt x="1440" y="1527"/>
                    </a:lnTo>
                    <a:lnTo>
                      <a:pt x="1439" y="1531"/>
                    </a:lnTo>
                    <a:lnTo>
                      <a:pt x="1437" y="1533"/>
                    </a:lnTo>
                    <a:lnTo>
                      <a:pt x="1436" y="1537"/>
                    </a:lnTo>
                    <a:lnTo>
                      <a:pt x="1435" y="1539"/>
                    </a:lnTo>
                    <a:lnTo>
                      <a:pt x="1434" y="1542"/>
                    </a:lnTo>
                    <a:lnTo>
                      <a:pt x="1431" y="1543"/>
                    </a:lnTo>
                    <a:lnTo>
                      <a:pt x="1428" y="1544"/>
                    </a:lnTo>
                    <a:lnTo>
                      <a:pt x="1419" y="1545"/>
                    </a:lnTo>
                    <a:lnTo>
                      <a:pt x="1415" y="1549"/>
                    </a:lnTo>
                    <a:lnTo>
                      <a:pt x="1412" y="1551"/>
                    </a:lnTo>
                    <a:lnTo>
                      <a:pt x="1411" y="1553"/>
                    </a:lnTo>
                    <a:lnTo>
                      <a:pt x="1411" y="1557"/>
                    </a:lnTo>
                    <a:lnTo>
                      <a:pt x="1411" y="1559"/>
                    </a:lnTo>
                    <a:lnTo>
                      <a:pt x="1414" y="1563"/>
                    </a:lnTo>
                    <a:lnTo>
                      <a:pt x="1417" y="1564"/>
                    </a:lnTo>
                    <a:lnTo>
                      <a:pt x="1421" y="1565"/>
                    </a:lnTo>
                    <a:lnTo>
                      <a:pt x="1424" y="1565"/>
                    </a:lnTo>
                    <a:lnTo>
                      <a:pt x="1428" y="1567"/>
                    </a:lnTo>
                    <a:lnTo>
                      <a:pt x="1430" y="1568"/>
                    </a:lnTo>
                    <a:lnTo>
                      <a:pt x="1433" y="1570"/>
                    </a:lnTo>
                    <a:lnTo>
                      <a:pt x="1434" y="1574"/>
                    </a:lnTo>
                    <a:lnTo>
                      <a:pt x="1435" y="1587"/>
                    </a:lnTo>
                    <a:lnTo>
                      <a:pt x="1436" y="1607"/>
                    </a:lnTo>
                    <a:lnTo>
                      <a:pt x="1436" y="1612"/>
                    </a:lnTo>
                    <a:lnTo>
                      <a:pt x="1436" y="1615"/>
                    </a:lnTo>
                    <a:lnTo>
                      <a:pt x="1435" y="1616"/>
                    </a:lnTo>
                    <a:lnTo>
                      <a:pt x="1434" y="1618"/>
                    </a:lnTo>
                    <a:lnTo>
                      <a:pt x="1421" y="1624"/>
                    </a:lnTo>
                    <a:lnTo>
                      <a:pt x="1408" y="1631"/>
                    </a:lnTo>
                    <a:lnTo>
                      <a:pt x="1405" y="1636"/>
                    </a:lnTo>
                    <a:lnTo>
                      <a:pt x="1403" y="1640"/>
                    </a:lnTo>
                    <a:lnTo>
                      <a:pt x="1400" y="1647"/>
                    </a:lnTo>
                    <a:lnTo>
                      <a:pt x="1399" y="1655"/>
                    </a:lnTo>
                    <a:lnTo>
                      <a:pt x="1396" y="1669"/>
                    </a:lnTo>
                    <a:lnTo>
                      <a:pt x="1391" y="1682"/>
                    </a:lnTo>
                    <a:lnTo>
                      <a:pt x="1385" y="1694"/>
                    </a:lnTo>
                    <a:lnTo>
                      <a:pt x="1380" y="1707"/>
                    </a:lnTo>
                    <a:lnTo>
                      <a:pt x="1379" y="1714"/>
                    </a:lnTo>
                    <a:lnTo>
                      <a:pt x="1378" y="1721"/>
                    </a:lnTo>
                    <a:lnTo>
                      <a:pt x="1378" y="1728"/>
                    </a:lnTo>
                    <a:lnTo>
                      <a:pt x="1378" y="1734"/>
                    </a:lnTo>
                    <a:lnTo>
                      <a:pt x="1378" y="1740"/>
                    </a:lnTo>
                    <a:lnTo>
                      <a:pt x="1377" y="1745"/>
                    </a:lnTo>
                    <a:lnTo>
                      <a:pt x="1373" y="1747"/>
                    </a:lnTo>
                    <a:lnTo>
                      <a:pt x="1370" y="1748"/>
                    </a:lnTo>
                    <a:lnTo>
                      <a:pt x="1359" y="1750"/>
                    </a:lnTo>
                    <a:lnTo>
                      <a:pt x="1349" y="1751"/>
                    </a:lnTo>
                    <a:lnTo>
                      <a:pt x="1339" y="1752"/>
                    </a:lnTo>
                    <a:lnTo>
                      <a:pt x="1328" y="1753"/>
                    </a:lnTo>
                    <a:lnTo>
                      <a:pt x="1323" y="1753"/>
                    </a:lnTo>
                    <a:lnTo>
                      <a:pt x="1318" y="1752"/>
                    </a:lnTo>
                    <a:lnTo>
                      <a:pt x="1315" y="1750"/>
                    </a:lnTo>
                    <a:lnTo>
                      <a:pt x="1313" y="1747"/>
                    </a:lnTo>
                    <a:lnTo>
                      <a:pt x="1309" y="1740"/>
                    </a:lnTo>
                    <a:lnTo>
                      <a:pt x="1305" y="1734"/>
                    </a:lnTo>
                    <a:lnTo>
                      <a:pt x="1302" y="1732"/>
                    </a:lnTo>
                    <a:lnTo>
                      <a:pt x="1298" y="1731"/>
                    </a:lnTo>
                    <a:lnTo>
                      <a:pt x="1292" y="1729"/>
                    </a:lnTo>
                    <a:lnTo>
                      <a:pt x="1286" y="1728"/>
                    </a:lnTo>
                    <a:lnTo>
                      <a:pt x="1279" y="1728"/>
                    </a:lnTo>
                    <a:lnTo>
                      <a:pt x="1273" y="1729"/>
                    </a:lnTo>
                    <a:lnTo>
                      <a:pt x="1269" y="1731"/>
                    </a:lnTo>
                    <a:lnTo>
                      <a:pt x="1263" y="1733"/>
                    </a:lnTo>
                    <a:lnTo>
                      <a:pt x="1254" y="1738"/>
                    </a:lnTo>
                    <a:lnTo>
                      <a:pt x="1247" y="1739"/>
                    </a:lnTo>
                    <a:lnTo>
                      <a:pt x="1245" y="1738"/>
                    </a:lnTo>
                    <a:lnTo>
                      <a:pt x="1244" y="1737"/>
                    </a:lnTo>
                    <a:lnTo>
                      <a:pt x="1242" y="1734"/>
                    </a:lnTo>
                    <a:lnTo>
                      <a:pt x="1241" y="1731"/>
                    </a:lnTo>
                    <a:lnTo>
                      <a:pt x="1241" y="1722"/>
                    </a:lnTo>
                    <a:lnTo>
                      <a:pt x="1242" y="1712"/>
                    </a:lnTo>
                    <a:lnTo>
                      <a:pt x="1245" y="1700"/>
                    </a:lnTo>
                    <a:lnTo>
                      <a:pt x="1248" y="1687"/>
                    </a:lnTo>
                    <a:lnTo>
                      <a:pt x="1250" y="1671"/>
                    </a:lnTo>
                    <a:lnTo>
                      <a:pt x="1251" y="1651"/>
                    </a:lnTo>
                    <a:lnTo>
                      <a:pt x="1250" y="1641"/>
                    </a:lnTo>
                    <a:lnTo>
                      <a:pt x="1247" y="1632"/>
                    </a:lnTo>
                    <a:lnTo>
                      <a:pt x="1244" y="1626"/>
                    </a:lnTo>
                    <a:lnTo>
                      <a:pt x="1240" y="1620"/>
                    </a:lnTo>
                    <a:lnTo>
                      <a:pt x="1235" y="1618"/>
                    </a:lnTo>
                    <a:lnTo>
                      <a:pt x="1230" y="1616"/>
                    </a:lnTo>
                    <a:lnTo>
                      <a:pt x="1226" y="1616"/>
                    </a:lnTo>
                    <a:lnTo>
                      <a:pt x="1221" y="1619"/>
                    </a:lnTo>
                    <a:lnTo>
                      <a:pt x="1217" y="1624"/>
                    </a:lnTo>
                    <a:lnTo>
                      <a:pt x="1216" y="1628"/>
                    </a:lnTo>
                    <a:lnTo>
                      <a:pt x="1215" y="1634"/>
                    </a:lnTo>
                    <a:lnTo>
                      <a:pt x="1216" y="1640"/>
                    </a:lnTo>
                    <a:lnTo>
                      <a:pt x="1219" y="1653"/>
                    </a:lnTo>
                    <a:lnTo>
                      <a:pt x="1222" y="1665"/>
                    </a:lnTo>
                    <a:lnTo>
                      <a:pt x="1222" y="1671"/>
                    </a:lnTo>
                    <a:lnTo>
                      <a:pt x="1220" y="1676"/>
                    </a:lnTo>
                    <a:lnTo>
                      <a:pt x="1216" y="1681"/>
                    </a:lnTo>
                    <a:lnTo>
                      <a:pt x="1211" y="1684"/>
                    </a:lnTo>
                    <a:lnTo>
                      <a:pt x="1206" y="1688"/>
                    </a:lnTo>
                    <a:lnTo>
                      <a:pt x="1201" y="1690"/>
                    </a:lnTo>
                    <a:lnTo>
                      <a:pt x="1195" y="1691"/>
                    </a:lnTo>
                    <a:lnTo>
                      <a:pt x="1190" y="1690"/>
                    </a:lnTo>
                    <a:lnTo>
                      <a:pt x="1185" y="1689"/>
                    </a:lnTo>
                    <a:lnTo>
                      <a:pt x="1182" y="1687"/>
                    </a:lnTo>
                    <a:lnTo>
                      <a:pt x="1179" y="1684"/>
                    </a:lnTo>
                    <a:lnTo>
                      <a:pt x="1178" y="1681"/>
                    </a:lnTo>
                    <a:lnTo>
                      <a:pt x="1177" y="1677"/>
                    </a:lnTo>
                    <a:lnTo>
                      <a:pt x="1177" y="1672"/>
                    </a:lnTo>
                    <a:lnTo>
                      <a:pt x="1178" y="1668"/>
                    </a:lnTo>
                    <a:lnTo>
                      <a:pt x="1179" y="1662"/>
                    </a:lnTo>
                    <a:lnTo>
                      <a:pt x="1183" y="1652"/>
                    </a:lnTo>
                    <a:lnTo>
                      <a:pt x="1184" y="1643"/>
                    </a:lnTo>
                    <a:lnTo>
                      <a:pt x="1183" y="1633"/>
                    </a:lnTo>
                    <a:lnTo>
                      <a:pt x="1178" y="1620"/>
                    </a:lnTo>
                    <a:lnTo>
                      <a:pt x="1177" y="1612"/>
                    </a:lnTo>
                    <a:lnTo>
                      <a:pt x="1176" y="1605"/>
                    </a:lnTo>
                    <a:lnTo>
                      <a:pt x="1176" y="1599"/>
                    </a:lnTo>
                    <a:lnTo>
                      <a:pt x="1177" y="1593"/>
                    </a:lnTo>
                    <a:lnTo>
                      <a:pt x="1181" y="1583"/>
                    </a:lnTo>
                    <a:lnTo>
                      <a:pt x="1185" y="1574"/>
                    </a:lnTo>
                    <a:lnTo>
                      <a:pt x="1189" y="1563"/>
                    </a:lnTo>
                    <a:lnTo>
                      <a:pt x="1190" y="1552"/>
                    </a:lnTo>
                    <a:lnTo>
                      <a:pt x="1189" y="1548"/>
                    </a:lnTo>
                    <a:lnTo>
                      <a:pt x="1188" y="1544"/>
                    </a:lnTo>
                    <a:lnTo>
                      <a:pt x="1184" y="1543"/>
                    </a:lnTo>
                    <a:lnTo>
                      <a:pt x="1178" y="1542"/>
                    </a:lnTo>
                    <a:lnTo>
                      <a:pt x="1166" y="1543"/>
                    </a:lnTo>
                    <a:lnTo>
                      <a:pt x="1154" y="1546"/>
                    </a:lnTo>
                    <a:lnTo>
                      <a:pt x="1146" y="1550"/>
                    </a:lnTo>
                    <a:lnTo>
                      <a:pt x="1141" y="1552"/>
                    </a:lnTo>
                    <a:lnTo>
                      <a:pt x="1137" y="1552"/>
                    </a:lnTo>
                    <a:lnTo>
                      <a:pt x="1129" y="1549"/>
                    </a:lnTo>
                    <a:lnTo>
                      <a:pt x="1120" y="1545"/>
                    </a:lnTo>
                    <a:lnTo>
                      <a:pt x="1114" y="1543"/>
                    </a:lnTo>
                    <a:lnTo>
                      <a:pt x="1112" y="1542"/>
                    </a:lnTo>
                    <a:lnTo>
                      <a:pt x="1110" y="1539"/>
                    </a:lnTo>
                    <a:lnTo>
                      <a:pt x="1109" y="1537"/>
                    </a:lnTo>
                    <a:lnTo>
                      <a:pt x="1108" y="1533"/>
                    </a:lnTo>
                    <a:lnTo>
                      <a:pt x="1103" y="1517"/>
                    </a:lnTo>
                    <a:lnTo>
                      <a:pt x="1101" y="1500"/>
                    </a:lnTo>
                    <a:lnTo>
                      <a:pt x="1102" y="1488"/>
                    </a:lnTo>
                    <a:lnTo>
                      <a:pt x="1102" y="1470"/>
                    </a:lnTo>
                    <a:lnTo>
                      <a:pt x="1100" y="1455"/>
                    </a:lnTo>
                    <a:lnTo>
                      <a:pt x="1096" y="1435"/>
                    </a:lnTo>
                    <a:lnTo>
                      <a:pt x="1091" y="1412"/>
                    </a:lnTo>
                    <a:lnTo>
                      <a:pt x="1085" y="1392"/>
                    </a:lnTo>
                    <a:lnTo>
                      <a:pt x="1081" y="1378"/>
                    </a:lnTo>
                    <a:lnTo>
                      <a:pt x="1078" y="1370"/>
                    </a:lnTo>
                    <a:lnTo>
                      <a:pt x="1076" y="1369"/>
                    </a:lnTo>
                    <a:lnTo>
                      <a:pt x="1075" y="1369"/>
                    </a:lnTo>
                    <a:lnTo>
                      <a:pt x="1071" y="1372"/>
                    </a:lnTo>
                    <a:lnTo>
                      <a:pt x="1068" y="1374"/>
                    </a:lnTo>
                    <a:lnTo>
                      <a:pt x="1063" y="1376"/>
                    </a:lnTo>
                    <a:lnTo>
                      <a:pt x="1059" y="1379"/>
                    </a:lnTo>
                    <a:lnTo>
                      <a:pt x="1055" y="1382"/>
                    </a:lnTo>
                    <a:lnTo>
                      <a:pt x="1051" y="1382"/>
                    </a:lnTo>
                    <a:lnTo>
                      <a:pt x="1049" y="1380"/>
                    </a:lnTo>
                    <a:lnTo>
                      <a:pt x="1045" y="1378"/>
                    </a:lnTo>
                    <a:lnTo>
                      <a:pt x="1039" y="1372"/>
                    </a:lnTo>
                    <a:lnTo>
                      <a:pt x="1032" y="1367"/>
                    </a:lnTo>
                    <a:lnTo>
                      <a:pt x="1022" y="1362"/>
                    </a:lnTo>
                    <a:lnTo>
                      <a:pt x="1011" y="1359"/>
                    </a:lnTo>
                    <a:lnTo>
                      <a:pt x="1002" y="1359"/>
                    </a:lnTo>
                    <a:lnTo>
                      <a:pt x="994" y="1360"/>
                    </a:lnTo>
                    <a:lnTo>
                      <a:pt x="984" y="1362"/>
                    </a:lnTo>
                    <a:lnTo>
                      <a:pt x="975" y="1366"/>
                    </a:lnTo>
                    <a:lnTo>
                      <a:pt x="957" y="1374"/>
                    </a:lnTo>
                    <a:lnTo>
                      <a:pt x="943" y="1384"/>
                    </a:lnTo>
                    <a:lnTo>
                      <a:pt x="936" y="1387"/>
                    </a:lnTo>
                    <a:lnTo>
                      <a:pt x="929" y="1389"/>
                    </a:lnTo>
                    <a:lnTo>
                      <a:pt x="921" y="1391"/>
                    </a:lnTo>
                    <a:lnTo>
                      <a:pt x="915" y="1389"/>
                    </a:lnTo>
                    <a:lnTo>
                      <a:pt x="908" y="1389"/>
                    </a:lnTo>
                    <a:lnTo>
                      <a:pt x="904" y="1387"/>
                    </a:lnTo>
                    <a:lnTo>
                      <a:pt x="899" y="1384"/>
                    </a:lnTo>
                    <a:lnTo>
                      <a:pt x="895" y="1380"/>
                    </a:lnTo>
                    <a:lnTo>
                      <a:pt x="892" y="1369"/>
                    </a:lnTo>
                    <a:lnTo>
                      <a:pt x="889" y="1354"/>
                    </a:lnTo>
                    <a:lnTo>
                      <a:pt x="887" y="1338"/>
                    </a:lnTo>
                    <a:lnTo>
                      <a:pt x="886" y="1322"/>
                    </a:lnTo>
                    <a:lnTo>
                      <a:pt x="885" y="1315"/>
                    </a:lnTo>
                    <a:lnTo>
                      <a:pt x="882" y="1311"/>
                    </a:lnTo>
                    <a:lnTo>
                      <a:pt x="880" y="1309"/>
                    </a:lnTo>
                    <a:lnTo>
                      <a:pt x="876" y="1307"/>
                    </a:lnTo>
                    <a:lnTo>
                      <a:pt x="873" y="1307"/>
                    </a:lnTo>
                    <a:lnTo>
                      <a:pt x="869" y="1309"/>
                    </a:lnTo>
                    <a:lnTo>
                      <a:pt x="866" y="1311"/>
                    </a:lnTo>
                    <a:lnTo>
                      <a:pt x="862" y="1313"/>
                    </a:lnTo>
                    <a:lnTo>
                      <a:pt x="856" y="1318"/>
                    </a:lnTo>
                    <a:lnTo>
                      <a:pt x="850" y="1321"/>
                    </a:lnTo>
                    <a:lnTo>
                      <a:pt x="842" y="1322"/>
                    </a:lnTo>
                    <a:lnTo>
                      <a:pt x="832" y="1322"/>
                    </a:lnTo>
                    <a:lnTo>
                      <a:pt x="823" y="1321"/>
                    </a:lnTo>
                    <a:lnTo>
                      <a:pt x="816" y="1318"/>
                    </a:lnTo>
                    <a:lnTo>
                      <a:pt x="811" y="1313"/>
                    </a:lnTo>
                    <a:lnTo>
                      <a:pt x="807" y="1307"/>
                    </a:lnTo>
                    <a:lnTo>
                      <a:pt x="805" y="1305"/>
                    </a:lnTo>
                    <a:lnTo>
                      <a:pt x="803" y="1303"/>
                    </a:lnTo>
                    <a:lnTo>
                      <a:pt x="800" y="1302"/>
                    </a:lnTo>
                    <a:lnTo>
                      <a:pt x="798" y="1300"/>
                    </a:lnTo>
                    <a:lnTo>
                      <a:pt x="792" y="1302"/>
                    </a:lnTo>
                    <a:lnTo>
                      <a:pt x="784" y="1306"/>
                    </a:lnTo>
                    <a:lnTo>
                      <a:pt x="773" y="1312"/>
                    </a:lnTo>
                    <a:lnTo>
                      <a:pt x="762" y="1318"/>
                    </a:lnTo>
                    <a:lnTo>
                      <a:pt x="753" y="1325"/>
                    </a:lnTo>
                    <a:lnTo>
                      <a:pt x="743" y="1331"/>
                    </a:lnTo>
                    <a:lnTo>
                      <a:pt x="736" y="1336"/>
                    </a:lnTo>
                    <a:lnTo>
                      <a:pt x="732" y="1342"/>
                    </a:lnTo>
                    <a:lnTo>
                      <a:pt x="731" y="1344"/>
                    </a:lnTo>
                    <a:lnTo>
                      <a:pt x="731" y="1347"/>
                    </a:lnTo>
                    <a:lnTo>
                      <a:pt x="732" y="1350"/>
                    </a:lnTo>
                    <a:lnTo>
                      <a:pt x="734" y="1354"/>
                    </a:lnTo>
                    <a:lnTo>
                      <a:pt x="736" y="1367"/>
                    </a:lnTo>
                    <a:lnTo>
                      <a:pt x="738" y="1384"/>
                    </a:lnTo>
                    <a:lnTo>
                      <a:pt x="740" y="1388"/>
                    </a:lnTo>
                    <a:lnTo>
                      <a:pt x="741" y="1392"/>
                    </a:lnTo>
                    <a:lnTo>
                      <a:pt x="743" y="1395"/>
                    </a:lnTo>
                    <a:lnTo>
                      <a:pt x="747" y="1399"/>
                    </a:lnTo>
                    <a:lnTo>
                      <a:pt x="753" y="1406"/>
                    </a:lnTo>
                    <a:lnTo>
                      <a:pt x="761" y="1413"/>
                    </a:lnTo>
                    <a:lnTo>
                      <a:pt x="764" y="1418"/>
                    </a:lnTo>
                    <a:lnTo>
                      <a:pt x="766" y="1422"/>
                    </a:lnTo>
                    <a:lnTo>
                      <a:pt x="767" y="1425"/>
                    </a:lnTo>
                    <a:lnTo>
                      <a:pt x="764" y="1429"/>
                    </a:lnTo>
                    <a:lnTo>
                      <a:pt x="762" y="1432"/>
                    </a:lnTo>
                    <a:lnTo>
                      <a:pt x="759" y="1436"/>
                    </a:lnTo>
                    <a:lnTo>
                      <a:pt x="754" y="1439"/>
                    </a:lnTo>
                    <a:lnTo>
                      <a:pt x="748" y="1442"/>
                    </a:lnTo>
                    <a:lnTo>
                      <a:pt x="735" y="1449"/>
                    </a:lnTo>
                    <a:lnTo>
                      <a:pt x="723" y="1456"/>
                    </a:lnTo>
                    <a:lnTo>
                      <a:pt x="711" y="1464"/>
                    </a:lnTo>
                    <a:lnTo>
                      <a:pt x="700" y="1473"/>
                    </a:lnTo>
                    <a:lnTo>
                      <a:pt x="696" y="1476"/>
                    </a:lnTo>
                    <a:lnTo>
                      <a:pt x="692" y="1479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2" name="广西"/>
              <p:cNvSpPr/>
              <p:nvPr>
                <p:custDataLst>
                  <p:tags r:id="rId39"/>
                </p:custDataLst>
              </p:nvPr>
            </p:nvSpPr>
            <p:spPr bwMode="auto">
              <a:xfrm>
                <a:off x="4139327" y="5026748"/>
                <a:ext cx="1091895" cy="789321"/>
              </a:xfrm>
              <a:custGeom>
                <a:avLst/>
                <a:gdLst>
                  <a:gd name="T0" fmla="*/ 1018 w 2980"/>
                  <a:gd name="T1" fmla="*/ 1986 h 2145"/>
                  <a:gd name="T2" fmla="*/ 879 w 2980"/>
                  <a:gd name="T3" fmla="*/ 1879 h 2145"/>
                  <a:gd name="T4" fmla="*/ 786 w 2980"/>
                  <a:gd name="T5" fmla="*/ 1722 h 2145"/>
                  <a:gd name="T6" fmla="*/ 867 w 2980"/>
                  <a:gd name="T7" fmla="*/ 1563 h 2145"/>
                  <a:gd name="T8" fmla="*/ 768 w 2980"/>
                  <a:gd name="T9" fmla="*/ 1472 h 2145"/>
                  <a:gd name="T10" fmla="*/ 558 w 2980"/>
                  <a:gd name="T11" fmla="*/ 1450 h 2145"/>
                  <a:gd name="T12" fmla="*/ 427 w 2980"/>
                  <a:gd name="T13" fmla="*/ 1403 h 2145"/>
                  <a:gd name="T14" fmla="*/ 413 w 2980"/>
                  <a:gd name="T15" fmla="*/ 1291 h 2145"/>
                  <a:gd name="T16" fmla="*/ 499 w 2980"/>
                  <a:gd name="T17" fmla="*/ 1229 h 2145"/>
                  <a:gd name="T18" fmla="*/ 602 w 2980"/>
                  <a:gd name="T19" fmla="*/ 1225 h 2145"/>
                  <a:gd name="T20" fmla="*/ 617 w 2980"/>
                  <a:gd name="T21" fmla="*/ 976 h 2145"/>
                  <a:gd name="T22" fmla="*/ 500 w 2980"/>
                  <a:gd name="T23" fmla="*/ 983 h 2145"/>
                  <a:gd name="T24" fmla="*/ 408 w 2980"/>
                  <a:gd name="T25" fmla="*/ 940 h 2145"/>
                  <a:gd name="T26" fmla="*/ 340 w 2980"/>
                  <a:gd name="T27" fmla="*/ 955 h 2145"/>
                  <a:gd name="T28" fmla="*/ 269 w 2980"/>
                  <a:gd name="T29" fmla="*/ 871 h 2145"/>
                  <a:gd name="T30" fmla="*/ 112 w 2980"/>
                  <a:gd name="T31" fmla="*/ 783 h 2145"/>
                  <a:gd name="T32" fmla="*/ 19 w 2980"/>
                  <a:gd name="T33" fmla="*/ 776 h 2145"/>
                  <a:gd name="T34" fmla="*/ 86 w 2980"/>
                  <a:gd name="T35" fmla="*/ 708 h 2145"/>
                  <a:gd name="T36" fmla="*/ 220 w 2980"/>
                  <a:gd name="T37" fmla="*/ 624 h 2145"/>
                  <a:gd name="T38" fmla="*/ 353 w 2980"/>
                  <a:gd name="T39" fmla="*/ 589 h 2145"/>
                  <a:gd name="T40" fmla="*/ 491 w 2980"/>
                  <a:gd name="T41" fmla="*/ 669 h 2145"/>
                  <a:gd name="T42" fmla="*/ 641 w 2980"/>
                  <a:gd name="T43" fmla="*/ 694 h 2145"/>
                  <a:gd name="T44" fmla="*/ 757 w 2980"/>
                  <a:gd name="T45" fmla="*/ 584 h 2145"/>
                  <a:gd name="T46" fmla="*/ 980 w 2980"/>
                  <a:gd name="T47" fmla="*/ 480 h 2145"/>
                  <a:gd name="T48" fmla="*/ 1012 w 2980"/>
                  <a:gd name="T49" fmla="*/ 374 h 2145"/>
                  <a:gd name="T50" fmla="*/ 1129 w 2980"/>
                  <a:gd name="T51" fmla="*/ 416 h 2145"/>
                  <a:gd name="T52" fmla="*/ 1255 w 2980"/>
                  <a:gd name="T53" fmla="*/ 458 h 2145"/>
                  <a:gd name="T54" fmla="*/ 1328 w 2980"/>
                  <a:gd name="T55" fmla="*/ 538 h 2145"/>
                  <a:gd name="T56" fmla="*/ 1471 w 2980"/>
                  <a:gd name="T57" fmla="*/ 401 h 2145"/>
                  <a:gd name="T58" fmla="*/ 1613 w 2980"/>
                  <a:gd name="T59" fmla="*/ 444 h 2145"/>
                  <a:gd name="T60" fmla="*/ 1670 w 2980"/>
                  <a:gd name="T61" fmla="*/ 331 h 2145"/>
                  <a:gd name="T62" fmla="*/ 1796 w 2980"/>
                  <a:gd name="T63" fmla="*/ 346 h 2145"/>
                  <a:gd name="T64" fmla="*/ 1784 w 2980"/>
                  <a:gd name="T65" fmla="*/ 261 h 2145"/>
                  <a:gd name="T66" fmla="*/ 1935 w 2980"/>
                  <a:gd name="T67" fmla="*/ 224 h 2145"/>
                  <a:gd name="T68" fmla="*/ 2060 w 2980"/>
                  <a:gd name="T69" fmla="*/ 189 h 2145"/>
                  <a:gd name="T70" fmla="*/ 2121 w 2980"/>
                  <a:gd name="T71" fmla="*/ 149 h 2145"/>
                  <a:gd name="T72" fmla="*/ 2240 w 2980"/>
                  <a:gd name="T73" fmla="*/ 155 h 2145"/>
                  <a:gd name="T74" fmla="*/ 2370 w 2980"/>
                  <a:gd name="T75" fmla="*/ 78 h 2145"/>
                  <a:gd name="T76" fmla="*/ 2533 w 2980"/>
                  <a:gd name="T77" fmla="*/ 1 h 2145"/>
                  <a:gd name="T78" fmla="*/ 2634 w 2980"/>
                  <a:gd name="T79" fmla="*/ 171 h 2145"/>
                  <a:gd name="T80" fmla="*/ 2735 w 2980"/>
                  <a:gd name="T81" fmla="*/ 231 h 2145"/>
                  <a:gd name="T82" fmla="*/ 2668 w 2980"/>
                  <a:gd name="T83" fmla="*/ 413 h 2145"/>
                  <a:gd name="T84" fmla="*/ 2569 w 2980"/>
                  <a:gd name="T85" fmla="*/ 637 h 2145"/>
                  <a:gd name="T86" fmla="*/ 2713 w 2980"/>
                  <a:gd name="T87" fmla="*/ 544 h 2145"/>
                  <a:gd name="T88" fmla="*/ 2739 w 2980"/>
                  <a:gd name="T89" fmla="*/ 734 h 2145"/>
                  <a:gd name="T90" fmla="*/ 2961 w 2980"/>
                  <a:gd name="T91" fmla="*/ 705 h 2145"/>
                  <a:gd name="T92" fmla="*/ 2959 w 2980"/>
                  <a:gd name="T93" fmla="*/ 903 h 2145"/>
                  <a:gd name="T94" fmla="*/ 2897 w 2980"/>
                  <a:gd name="T95" fmla="*/ 1092 h 2145"/>
                  <a:gd name="T96" fmla="*/ 2752 w 2980"/>
                  <a:gd name="T97" fmla="*/ 1239 h 2145"/>
                  <a:gd name="T98" fmla="*/ 2676 w 2980"/>
                  <a:gd name="T99" fmla="*/ 1546 h 2145"/>
                  <a:gd name="T100" fmla="*/ 2500 w 2980"/>
                  <a:gd name="T101" fmla="*/ 1644 h 2145"/>
                  <a:gd name="T102" fmla="*/ 2481 w 2980"/>
                  <a:gd name="T103" fmla="*/ 1772 h 2145"/>
                  <a:gd name="T104" fmla="*/ 2335 w 2980"/>
                  <a:gd name="T105" fmla="*/ 1809 h 2145"/>
                  <a:gd name="T106" fmla="*/ 2278 w 2980"/>
                  <a:gd name="T107" fmla="*/ 1928 h 2145"/>
                  <a:gd name="T108" fmla="*/ 2137 w 2980"/>
                  <a:gd name="T109" fmla="*/ 2010 h 2145"/>
                  <a:gd name="T110" fmla="*/ 2004 w 2980"/>
                  <a:gd name="T111" fmla="*/ 2068 h 2145"/>
                  <a:gd name="T112" fmla="*/ 1953 w 2980"/>
                  <a:gd name="T113" fmla="*/ 2042 h 2145"/>
                  <a:gd name="T114" fmla="*/ 1857 w 2980"/>
                  <a:gd name="T115" fmla="*/ 2112 h 2145"/>
                  <a:gd name="T116" fmla="*/ 1733 w 2980"/>
                  <a:gd name="T117" fmla="*/ 2048 h 2145"/>
                  <a:gd name="T118" fmla="*/ 1608 w 2980"/>
                  <a:gd name="T119" fmla="*/ 2002 h 2145"/>
                  <a:gd name="T120" fmla="*/ 1566 w 2980"/>
                  <a:gd name="T121" fmla="*/ 2055 h 2145"/>
                  <a:gd name="T122" fmla="*/ 1211 w 2980"/>
                  <a:gd name="T123" fmla="*/ 2041 h 2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80" h="2145">
                    <a:moveTo>
                      <a:pt x="1151" y="2037"/>
                    </a:moveTo>
                    <a:lnTo>
                      <a:pt x="1141" y="2031"/>
                    </a:lnTo>
                    <a:lnTo>
                      <a:pt x="1132" y="2025"/>
                    </a:lnTo>
                    <a:lnTo>
                      <a:pt x="1128" y="2024"/>
                    </a:lnTo>
                    <a:lnTo>
                      <a:pt x="1123" y="2024"/>
                    </a:lnTo>
                    <a:lnTo>
                      <a:pt x="1120" y="2026"/>
                    </a:lnTo>
                    <a:lnTo>
                      <a:pt x="1115" y="2029"/>
                    </a:lnTo>
                    <a:lnTo>
                      <a:pt x="1112" y="2033"/>
                    </a:lnTo>
                    <a:lnTo>
                      <a:pt x="1107" y="2036"/>
                    </a:lnTo>
                    <a:lnTo>
                      <a:pt x="1103" y="2038"/>
                    </a:lnTo>
                    <a:lnTo>
                      <a:pt x="1100" y="2038"/>
                    </a:lnTo>
                    <a:lnTo>
                      <a:pt x="1097" y="2037"/>
                    </a:lnTo>
                    <a:lnTo>
                      <a:pt x="1095" y="2035"/>
                    </a:lnTo>
                    <a:lnTo>
                      <a:pt x="1091" y="2030"/>
                    </a:lnTo>
                    <a:lnTo>
                      <a:pt x="1089" y="2025"/>
                    </a:lnTo>
                    <a:lnTo>
                      <a:pt x="1085" y="2018"/>
                    </a:lnTo>
                    <a:lnTo>
                      <a:pt x="1082" y="2008"/>
                    </a:lnTo>
                    <a:lnTo>
                      <a:pt x="1078" y="1998"/>
                    </a:lnTo>
                    <a:lnTo>
                      <a:pt x="1072" y="1989"/>
                    </a:lnTo>
                    <a:lnTo>
                      <a:pt x="1068" y="1986"/>
                    </a:lnTo>
                    <a:lnTo>
                      <a:pt x="1063" y="1983"/>
                    </a:lnTo>
                    <a:lnTo>
                      <a:pt x="1060" y="1983"/>
                    </a:lnTo>
                    <a:lnTo>
                      <a:pt x="1057" y="1985"/>
                    </a:lnTo>
                    <a:lnTo>
                      <a:pt x="1053" y="1986"/>
                    </a:lnTo>
                    <a:lnTo>
                      <a:pt x="1050" y="1989"/>
                    </a:lnTo>
                    <a:lnTo>
                      <a:pt x="1046" y="1992"/>
                    </a:lnTo>
                    <a:lnTo>
                      <a:pt x="1043" y="1994"/>
                    </a:lnTo>
                    <a:lnTo>
                      <a:pt x="1038" y="1997"/>
                    </a:lnTo>
                    <a:lnTo>
                      <a:pt x="1034" y="1995"/>
                    </a:lnTo>
                    <a:lnTo>
                      <a:pt x="1029" y="1993"/>
                    </a:lnTo>
                    <a:lnTo>
                      <a:pt x="1024" y="1991"/>
                    </a:lnTo>
                    <a:lnTo>
                      <a:pt x="1018" y="1986"/>
                    </a:lnTo>
                    <a:lnTo>
                      <a:pt x="1013" y="1981"/>
                    </a:lnTo>
                    <a:lnTo>
                      <a:pt x="1003" y="1973"/>
                    </a:lnTo>
                    <a:lnTo>
                      <a:pt x="995" y="1964"/>
                    </a:lnTo>
                    <a:lnTo>
                      <a:pt x="987" y="1957"/>
                    </a:lnTo>
                    <a:lnTo>
                      <a:pt x="980" y="1953"/>
                    </a:lnTo>
                    <a:lnTo>
                      <a:pt x="963" y="1948"/>
                    </a:lnTo>
                    <a:lnTo>
                      <a:pt x="950" y="1943"/>
                    </a:lnTo>
                    <a:lnTo>
                      <a:pt x="949" y="1941"/>
                    </a:lnTo>
                    <a:lnTo>
                      <a:pt x="949" y="1938"/>
                    </a:lnTo>
                    <a:lnTo>
                      <a:pt x="950" y="1935"/>
                    </a:lnTo>
                    <a:lnTo>
                      <a:pt x="952" y="1931"/>
                    </a:lnTo>
                    <a:lnTo>
                      <a:pt x="957" y="1923"/>
                    </a:lnTo>
                    <a:lnTo>
                      <a:pt x="963" y="1916"/>
                    </a:lnTo>
                    <a:lnTo>
                      <a:pt x="964" y="1911"/>
                    </a:lnTo>
                    <a:lnTo>
                      <a:pt x="964" y="1907"/>
                    </a:lnTo>
                    <a:lnTo>
                      <a:pt x="962" y="1905"/>
                    </a:lnTo>
                    <a:lnTo>
                      <a:pt x="959" y="1903"/>
                    </a:lnTo>
                    <a:lnTo>
                      <a:pt x="955" y="1900"/>
                    </a:lnTo>
                    <a:lnTo>
                      <a:pt x="950" y="1899"/>
                    </a:lnTo>
                    <a:lnTo>
                      <a:pt x="945" y="1900"/>
                    </a:lnTo>
                    <a:lnTo>
                      <a:pt x="940" y="1900"/>
                    </a:lnTo>
                    <a:lnTo>
                      <a:pt x="934" y="1903"/>
                    </a:lnTo>
                    <a:lnTo>
                      <a:pt x="925" y="1904"/>
                    </a:lnTo>
                    <a:lnTo>
                      <a:pt x="921" y="1903"/>
                    </a:lnTo>
                    <a:lnTo>
                      <a:pt x="918" y="1901"/>
                    </a:lnTo>
                    <a:lnTo>
                      <a:pt x="915" y="1899"/>
                    </a:lnTo>
                    <a:lnTo>
                      <a:pt x="912" y="1897"/>
                    </a:lnTo>
                    <a:lnTo>
                      <a:pt x="906" y="1890"/>
                    </a:lnTo>
                    <a:lnTo>
                      <a:pt x="900" y="1884"/>
                    </a:lnTo>
                    <a:lnTo>
                      <a:pt x="893" y="1881"/>
                    </a:lnTo>
                    <a:lnTo>
                      <a:pt x="886" y="1879"/>
                    </a:lnTo>
                    <a:lnTo>
                      <a:pt x="879" y="1879"/>
                    </a:lnTo>
                    <a:lnTo>
                      <a:pt x="873" y="1878"/>
                    </a:lnTo>
                    <a:lnTo>
                      <a:pt x="863" y="1876"/>
                    </a:lnTo>
                    <a:lnTo>
                      <a:pt x="852" y="1879"/>
                    </a:lnTo>
                    <a:lnTo>
                      <a:pt x="846" y="1881"/>
                    </a:lnTo>
                    <a:lnTo>
                      <a:pt x="839" y="1885"/>
                    </a:lnTo>
                    <a:lnTo>
                      <a:pt x="837" y="1886"/>
                    </a:lnTo>
                    <a:lnTo>
                      <a:pt x="833" y="1886"/>
                    </a:lnTo>
                    <a:lnTo>
                      <a:pt x="831" y="1885"/>
                    </a:lnTo>
                    <a:lnTo>
                      <a:pt x="829" y="1882"/>
                    </a:lnTo>
                    <a:lnTo>
                      <a:pt x="826" y="1876"/>
                    </a:lnTo>
                    <a:lnTo>
                      <a:pt x="825" y="1871"/>
                    </a:lnTo>
                    <a:lnTo>
                      <a:pt x="825" y="1863"/>
                    </a:lnTo>
                    <a:lnTo>
                      <a:pt x="824" y="1853"/>
                    </a:lnTo>
                    <a:lnTo>
                      <a:pt x="826" y="1846"/>
                    </a:lnTo>
                    <a:lnTo>
                      <a:pt x="829" y="1837"/>
                    </a:lnTo>
                    <a:lnTo>
                      <a:pt x="829" y="1828"/>
                    </a:lnTo>
                    <a:lnTo>
                      <a:pt x="827" y="1817"/>
                    </a:lnTo>
                    <a:lnTo>
                      <a:pt x="826" y="1808"/>
                    </a:lnTo>
                    <a:lnTo>
                      <a:pt x="825" y="1797"/>
                    </a:lnTo>
                    <a:lnTo>
                      <a:pt x="825" y="1783"/>
                    </a:lnTo>
                    <a:lnTo>
                      <a:pt x="824" y="1771"/>
                    </a:lnTo>
                    <a:lnTo>
                      <a:pt x="823" y="1760"/>
                    </a:lnTo>
                    <a:lnTo>
                      <a:pt x="821" y="1750"/>
                    </a:lnTo>
                    <a:lnTo>
                      <a:pt x="820" y="1743"/>
                    </a:lnTo>
                    <a:lnTo>
                      <a:pt x="818" y="1737"/>
                    </a:lnTo>
                    <a:lnTo>
                      <a:pt x="814" y="1734"/>
                    </a:lnTo>
                    <a:lnTo>
                      <a:pt x="810" y="1731"/>
                    </a:lnTo>
                    <a:lnTo>
                      <a:pt x="804" y="1730"/>
                    </a:lnTo>
                    <a:lnTo>
                      <a:pt x="798" y="1729"/>
                    </a:lnTo>
                    <a:lnTo>
                      <a:pt x="793" y="1728"/>
                    </a:lnTo>
                    <a:lnTo>
                      <a:pt x="788" y="1724"/>
                    </a:lnTo>
                    <a:lnTo>
                      <a:pt x="786" y="1722"/>
                    </a:lnTo>
                    <a:lnTo>
                      <a:pt x="786" y="1718"/>
                    </a:lnTo>
                    <a:lnTo>
                      <a:pt x="786" y="1715"/>
                    </a:lnTo>
                    <a:lnTo>
                      <a:pt x="786" y="1710"/>
                    </a:lnTo>
                    <a:lnTo>
                      <a:pt x="785" y="1705"/>
                    </a:lnTo>
                    <a:lnTo>
                      <a:pt x="783" y="1701"/>
                    </a:lnTo>
                    <a:lnTo>
                      <a:pt x="780" y="1697"/>
                    </a:lnTo>
                    <a:lnTo>
                      <a:pt x="776" y="1693"/>
                    </a:lnTo>
                    <a:lnTo>
                      <a:pt x="774" y="1689"/>
                    </a:lnTo>
                    <a:lnTo>
                      <a:pt x="773" y="1684"/>
                    </a:lnTo>
                    <a:lnTo>
                      <a:pt x="774" y="1678"/>
                    </a:lnTo>
                    <a:lnTo>
                      <a:pt x="775" y="1673"/>
                    </a:lnTo>
                    <a:lnTo>
                      <a:pt x="777" y="1667"/>
                    </a:lnTo>
                    <a:lnTo>
                      <a:pt x="780" y="1663"/>
                    </a:lnTo>
                    <a:lnTo>
                      <a:pt x="786" y="1654"/>
                    </a:lnTo>
                    <a:lnTo>
                      <a:pt x="791" y="1647"/>
                    </a:lnTo>
                    <a:lnTo>
                      <a:pt x="792" y="1641"/>
                    </a:lnTo>
                    <a:lnTo>
                      <a:pt x="794" y="1634"/>
                    </a:lnTo>
                    <a:lnTo>
                      <a:pt x="795" y="1632"/>
                    </a:lnTo>
                    <a:lnTo>
                      <a:pt x="796" y="1628"/>
                    </a:lnTo>
                    <a:lnTo>
                      <a:pt x="798" y="1626"/>
                    </a:lnTo>
                    <a:lnTo>
                      <a:pt x="800" y="1625"/>
                    </a:lnTo>
                    <a:lnTo>
                      <a:pt x="808" y="1625"/>
                    </a:lnTo>
                    <a:lnTo>
                      <a:pt x="817" y="1627"/>
                    </a:lnTo>
                    <a:lnTo>
                      <a:pt x="820" y="1628"/>
                    </a:lnTo>
                    <a:lnTo>
                      <a:pt x="824" y="1628"/>
                    </a:lnTo>
                    <a:lnTo>
                      <a:pt x="827" y="1628"/>
                    </a:lnTo>
                    <a:lnTo>
                      <a:pt x="831" y="1626"/>
                    </a:lnTo>
                    <a:lnTo>
                      <a:pt x="839" y="1615"/>
                    </a:lnTo>
                    <a:lnTo>
                      <a:pt x="845" y="1602"/>
                    </a:lnTo>
                    <a:lnTo>
                      <a:pt x="852" y="1589"/>
                    </a:lnTo>
                    <a:lnTo>
                      <a:pt x="858" y="1577"/>
                    </a:lnTo>
                    <a:lnTo>
                      <a:pt x="867" y="1563"/>
                    </a:lnTo>
                    <a:lnTo>
                      <a:pt x="873" y="1550"/>
                    </a:lnTo>
                    <a:lnTo>
                      <a:pt x="880" y="1540"/>
                    </a:lnTo>
                    <a:lnTo>
                      <a:pt x="883" y="1532"/>
                    </a:lnTo>
                    <a:lnTo>
                      <a:pt x="883" y="1529"/>
                    </a:lnTo>
                    <a:lnTo>
                      <a:pt x="881" y="1527"/>
                    </a:lnTo>
                    <a:lnTo>
                      <a:pt x="876" y="1525"/>
                    </a:lnTo>
                    <a:lnTo>
                      <a:pt x="870" y="1523"/>
                    </a:lnTo>
                    <a:lnTo>
                      <a:pt x="864" y="1521"/>
                    </a:lnTo>
                    <a:lnTo>
                      <a:pt x="858" y="1519"/>
                    </a:lnTo>
                    <a:lnTo>
                      <a:pt x="856" y="1519"/>
                    </a:lnTo>
                    <a:lnTo>
                      <a:pt x="854" y="1518"/>
                    </a:lnTo>
                    <a:lnTo>
                      <a:pt x="852" y="1516"/>
                    </a:lnTo>
                    <a:lnTo>
                      <a:pt x="851" y="1514"/>
                    </a:lnTo>
                    <a:lnTo>
                      <a:pt x="850" y="1512"/>
                    </a:lnTo>
                    <a:lnTo>
                      <a:pt x="850" y="1508"/>
                    </a:lnTo>
                    <a:lnTo>
                      <a:pt x="849" y="1506"/>
                    </a:lnTo>
                    <a:lnTo>
                      <a:pt x="849" y="1504"/>
                    </a:lnTo>
                    <a:lnTo>
                      <a:pt x="848" y="1502"/>
                    </a:lnTo>
                    <a:lnTo>
                      <a:pt x="846" y="1502"/>
                    </a:lnTo>
                    <a:lnTo>
                      <a:pt x="837" y="1500"/>
                    </a:lnTo>
                    <a:lnTo>
                      <a:pt x="827" y="1500"/>
                    </a:lnTo>
                    <a:lnTo>
                      <a:pt x="819" y="1500"/>
                    </a:lnTo>
                    <a:lnTo>
                      <a:pt x="812" y="1497"/>
                    </a:lnTo>
                    <a:lnTo>
                      <a:pt x="808" y="1493"/>
                    </a:lnTo>
                    <a:lnTo>
                      <a:pt x="804" y="1485"/>
                    </a:lnTo>
                    <a:lnTo>
                      <a:pt x="799" y="1482"/>
                    </a:lnTo>
                    <a:lnTo>
                      <a:pt x="795" y="1478"/>
                    </a:lnTo>
                    <a:lnTo>
                      <a:pt x="789" y="1475"/>
                    </a:lnTo>
                    <a:lnTo>
                      <a:pt x="783" y="1472"/>
                    </a:lnTo>
                    <a:lnTo>
                      <a:pt x="779" y="1471"/>
                    </a:lnTo>
                    <a:lnTo>
                      <a:pt x="774" y="1471"/>
                    </a:lnTo>
                    <a:lnTo>
                      <a:pt x="768" y="1472"/>
                    </a:lnTo>
                    <a:lnTo>
                      <a:pt x="762" y="1475"/>
                    </a:lnTo>
                    <a:lnTo>
                      <a:pt x="754" y="1481"/>
                    </a:lnTo>
                    <a:lnTo>
                      <a:pt x="744" y="1487"/>
                    </a:lnTo>
                    <a:lnTo>
                      <a:pt x="736" y="1491"/>
                    </a:lnTo>
                    <a:lnTo>
                      <a:pt x="728" y="1496"/>
                    </a:lnTo>
                    <a:lnTo>
                      <a:pt x="720" y="1499"/>
                    </a:lnTo>
                    <a:lnTo>
                      <a:pt x="713" y="1500"/>
                    </a:lnTo>
                    <a:lnTo>
                      <a:pt x="706" y="1501"/>
                    </a:lnTo>
                    <a:lnTo>
                      <a:pt x="699" y="1501"/>
                    </a:lnTo>
                    <a:lnTo>
                      <a:pt x="692" y="1501"/>
                    </a:lnTo>
                    <a:lnTo>
                      <a:pt x="685" y="1501"/>
                    </a:lnTo>
                    <a:lnTo>
                      <a:pt x="678" y="1499"/>
                    </a:lnTo>
                    <a:lnTo>
                      <a:pt x="670" y="1496"/>
                    </a:lnTo>
                    <a:lnTo>
                      <a:pt x="668" y="1494"/>
                    </a:lnTo>
                    <a:lnTo>
                      <a:pt x="665" y="1490"/>
                    </a:lnTo>
                    <a:lnTo>
                      <a:pt x="662" y="1488"/>
                    </a:lnTo>
                    <a:lnTo>
                      <a:pt x="660" y="1483"/>
                    </a:lnTo>
                    <a:lnTo>
                      <a:pt x="656" y="1472"/>
                    </a:lnTo>
                    <a:lnTo>
                      <a:pt x="651" y="1464"/>
                    </a:lnTo>
                    <a:lnTo>
                      <a:pt x="644" y="1459"/>
                    </a:lnTo>
                    <a:lnTo>
                      <a:pt x="637" y="1456"/>
                    </a:lnTo>
                    <a:lnTo>
                      <a:pt x="631" y="1452"/>
                    </a:lnTo>
                    <a:lnTo>
                      <a:pt x="625" y="1450"/>
                    </a:lnTo>
                    <a:lnTo>
                      <a:pt x="616" y="1446"/>
                    </a:lnTo>
                    <a:lnTo>
                      <a:pt x="604" y="1445"/>
                    </a:lnTo>
                    <a:lnTo>
                      <a:pt x="590" y="1445"/>
                    </a:lnTo>
                    <a:lnTo>
                      <a:pt x="574" y="1443"/>
                    </a:lnTo>
                    <a:lnTo>
                      <a:pt x="569" y="1443"/>
                    </a:lnTo>
                    <a:lnTo>
                      <a:pt x="565" y="1443"/>
                    </a:lnTo>
                    <a:lnTo>
                      <a:pt x="561" y="1444"/>
                    </a:lnTo>
                    <a:lnTo>
                      <a:pt x="559" y="1445"/>
                    </a:lnTo>
                    <a:lnTo>
                      <a:pt x="558" y="1450"/>
                    </a:lnTo>
                    <a:lnTo>
                      <a:pt x="558" y="1455"/>
                    </a:lnTo>
                    <a:lnTo>
                      <a:pt x="556" y="1459"/>
                    </a:lnTo>
                    <a:lnTo>
                      <a:pt x="554" y="1463"/>
                    </a:lnTo>
                    <a:lnTo>
                      <a:pt x="552" y="1464"/>
                    </a:lnTo>
                    <a:lnTo>
                      <a:pt x="549" y="1465"/>
                    </a:lnTo>
                    <a:lnTo>
                      <a:pt x="543" y="1466"/>
                    </a:lnTo>
                    <a:lnTo>
                      <a:pt x="539" y="1465"/>
                    </a:lnTo>
                    <a:lnTo>
                      <a:pt x="531" y="1465"/>
                    </a:lnTo>
                    <a:lnTo>
                      <a:pt x="525" y="1465"/>
                    </a:lnTo>
                    <a:lnTo>
                      <a:pt x="518" y="1468"/>
                    </a:lnTo>
                    <a:lnTo>
                      <a:pt x="512" y="1469"/>
                    </a:lnTo>
                    <a:lnTo>
                      <a:pt x="509" y="1468"/>
                    </a:lnTo>
                    <a:lnTo>
                      <a:pt x="505" y="1464"/>
                    </a:lnTo>
                    <a:lnTo>
                      <a:pt x="498" y="1453"/>
                    </a:lnTo>
                    <a:lnTo>
                      <a:pt x="491" y="1444"/>
                    </a:lnTo>
                    <a:lnTo>
                      <a:pt x="484" y="1439"/>
                    </a:lnTo>
                    <a:lnTo>
                      <a:pt x="476" y="1434"/>
                    </a:lnTo>
                    <a:lnTo>
                      <a:pt x="473" y="1433"/>
                    </a:lnTo>
                    <a:lnTo>
                      <a:pt x="470" y="1432"/>
                    </a:lnTo>
                    <a:lnTo>
                      <a:pt x="467" y="1431"/>
                    </a:lnTo>
                    <a:lnTo>
                      <a:pt x="465" y="1430"/>
                    </a:lnTo>
                    <a:lnTo>
                      <a:pt x="462" y="1428"/>
                    </a:lnTo>
                    <a:lnTo>
                      <a:pt x="461" y="1426"/>
                    </a:lnTo>
                    <a:lnTo>
                      <a:pt x="461" y="1424"/>
                    </a:lnTo>
                    <a:lnTo>
                      <a:pt x="459" y="1421"/>
                    </a:lnTo>
                    <a:lnTo>
                      <a:pt x="457" y="1419"/>
                    </a:lnTo>
                    <a:lnTo>
                      <a:pt x="453" y="1417"/>
                    </a:lnTo>
                    <a:lnTo>
                      <a:pt x="446" y="1412"/>
                    </a:lnTo>
                    <a:lnTo>
                      <a:pt x="441" y="1408"/>
                    </a:lnTo>
                    <a:lnTo>
                      <a:pt x="437" y="1407"/>
                    </a:lnTo>
                    <a:lnTo>
                      <a:pt x="433" y="1405"/>
                    </a:lnTo>
                    <a:lnTo>
                      <a:pt x="427" y="1403"/>
                    </a:lnTo>
                    <a:lnTo>
                      <a:pt x="420" y="1402"/>
                    </a:lnTo>
                    <a:lnTo>
                      <a:pt x="410" y="1400"/>
                    </a:lnTo>
                    <a:lnTo>
                      <a:pt x="403" y="1400"/>
                    </a:lnTo>
                    <a:lnTo>
                      <a:pt x="399" y="1401"/>
                    </a:lnTo>
                    <a:lnTo>
                      <a:pt x="396" y="1402"/>
                    </a:lnTo>
                    <a:lnTo>
                      <a:pt x="390" y="1405"/>
                    </a:lnTo>
                    <a:lnTo>
                      <a:pt x="386" y="1406"/>
                    </a:lnTo>
                    <a:lnTo>
                      <a:pt x="385" y="1405"/>
                    </a:lnTo>
                    <a:lnTo>
                      <a:pt x="384" y="1401"/>
                    </a:lnTo>
                    <a:lnTo>
                      <a:pt x="385" y="1397"/>
                    </a:lnTo>
                    <a:lnTo>
                      <a:pt x="385" y="1394"/>
                    </a:lnTo>
                    <a:lnTo>
                      <a:pt x="385" y="1389"/>
                    </a:lnTo>
                    <a:lnTo>
                      <a:pt x="385" y="1383"/>
                    </a:lnTo>
                    <a:lnTo>
                      <a:pt x="385" y="1378"/>
                    </a:lnTo>
                    <a:lnTo>
                      <a:pt x="384" y="1374"/>
                    </a:lnTo>
                    <a:lnTo>
                      <a:pt x="382" y="1365"/>
                    </a:lnTo>
                    <a:lnTo>
                      <a:pt x="378" y="1357"/>
                    </a:lnTo>
                    <a:lnTo>
                      <a:pt x="374" y="1351"/>
                    </a:lnTo>
                    <a:lnTo>
                      <a:pt x="372" y="1345"/>
                    </a:lnTo>
                    <a:lnTo>
                      <a:pt x="373" y="1342"/>
                    </a:lnTo>
                    <a:lnTo>
                      <a:pt x="377" y="1338"/>
                    </a:lnTo>
                    <a:lnTo>
                      <a:pt x="379" y="1333"/>
                    </a:lnTo>
                    <a:lnTo>
                      <a:pt x="382" y="1330"/>
                    </a:lnTo>
                    <a:lnTo>
                      <a:pt x="385" y="1325"/>
                    </a:lnTo>
                    <a:lnTo>
                      <a:pt x="389" y="1320"/>
                    </a:lnTo>
                    <a:lnTo>
                      <a:pt x="394" y="1314"/>
                    </a:lnTo>
                    <a:lnTo>
                      <a:pt x="398" y="1308"/>
                    </a:lnTo>
                    <a:lnTo>
                      <a:pt x="402" y="1304"/>
                    </a:lnTo>
                    <a:lnTo>
                      <a:pt x="407" y="1299"/>
                    </a:lnTo>
                    <a:lnTo>
                      <a:pt x="409" y="1295"/>
                    </a:lnTo>
                    <a:lnTo>
                      <a:pt x="410" y="1293"/>
                    </a:lnTo>
                    <a:lnTo>
                      <a:pt x="413" y="1291"/>
                    </a:lnTo>
                    <a:lnTo>
                      <a:pt x="415" y="1289"/>
                    </a:lnTo>
                    <a:lnTo>
                      <a:pt x="423" y="1286"/>
                    </a:lnTo>
                    <a:lnTo>
                      <a:pt x="430" y="1285"/>
                    </a:lnTo>
                    <a:lnTo>
                      <a:pt x="435" y="1283"/>
                    </a:lnTo>
                    <a:lnTo>
                      <a:pt x="439" y="1283"/>
                    </a:lnTo>
                    <a:lnTo>
                      <a:pt x="441" y="1283"/>
                    </a:lnTo>
                    <a:lnTo>
                      <a:pt x="443" y="1283"/>
                    </a:lnTo>
                    <a:lnTo>
                      <a:pt x="445" y="1282"/>
                    </a:lnTo>
                    <a:lnTo>
                      <a:pt x="446" y="1281"/>
                    </a:lnTo>
                    <a:lnTo>
                      <a:pt x="447" y="1280"/>
                    </a:lnTo>
                    <a:lnTo>
                      <a:pt x="447" y="1277"/>
                    </a:lnTo>
                    <a:lnTo>
                      <a:pt x="447" y="1275"/>
                    </a:lnTo>
                    <a:lnTo>
                      <a:pt x="446" y="1274"/>
                    </a:lnTo>
                    <a:lnTo>
                      <a:pt x="445" y="1273"/>
                    </a:lnTo>
                    <a:lnTo>
                      <a:pt x="445" y="1271"/>
                    </a:lnTo>
                    <a:lnTo>
                      <a:pt x="442" y="1266"/>
                    </a:lnTo>
                    <a:lnTo>
                      <a:pt x="440" y="1260"/>
                    </a:lnTo>
                    <a:lnTo>
                      <a:pt x="440" y="1257"/>
                    </a:lnTo>
                    <a:lnTo>
                      <a:pt x="441" y="1254"/>
                    </a:lnTo>
                    <a:lnTo>
                      <a:pt x="445" y="1250"/>
                    </a:lnTo>
                    <a:lnTo>
                      <a:pt x="451" y="1248"/>
                    </a:lnTo>
                    <a:lnTo>
                      <a:pt x="455" y="1247"/>
                    </a:lnTo>
                    <a:lnTo>
                      <a:pt x="460" y="1247"/>
                    </a:lnTo>
                    <a:lnTo>
                      <a:pt x="470" y="1244"/>
                    </a:lnTo>
                    <a:lnTo>
                      <a:pt x="476" y="1243"/>
                    </a:lnTo>
                    <a:lnTo>
                      <a:pt x="479" y="1242"/>
                    </a:lnTo>
                    <a:lnTo>
                      <a:pt x="483" y="1241"/>
                    </a:lnTo>
                    <a:lnTo>
                      <a:pt x="486" y="1238"/>
                    </a:lnTo>
                    <a:lnTo>
                      <a:pt x="491" y="1236"/>
                    </a:lnTo>
                    <a:lnTo>
                      <a:pt x="493" y="1233"/>
                    </a:lnTo>
                    <a:lnTo>
                      <a:pt x="497" y="1232"/>
                    </a:lnTo>
                    <a:lnTo>
                      <a:pt x="499" y="1229"/>
                    </a:lnTo>
                    <a:lnTo>
                      <a:pt x="500" y="1225"/>
                    </a:lnTo>
                    <a:lnTo>
                      <a:pt x="502" y="1224"/>
                    </a:lnTo>
                    <a:lnTo>
                      <a:pt x="503" y="1223"/>
                    </a:lnTo>
                    <a:lnTo>
                      <a:pt x="504" y="1219"/>
                    </a:lnTo>
                    <a:lnTo>
                      <a:pt x="505" y="1217"/>
                    </a:lnTo>
                    <a:lnTo>
                      <a:pt x="506" y="1213"/>
                    </a:lnTo>
                    <a:lnTo>
                      <a:pt x="509" y="1211"/>
                    </a:lnTo>
                    <a:lnTo>
                      <a:pt x="512" y="1207"/>
                    </a:lnTo>
                    <a:lnTo>
                      <a:pt x="516" y="1206"/>
                    </a:lnTo>
                    <a:lnTo>
                      <a:pt x="517" y="1206"/>
                    </a:lnTo>
                    <a:lnTo>
                      <a:pt x="518" y="1206"/>
                    </a:lnTo>
                    <a:lnTo>
                      <a:pt x="521" y="1206"/>
                    </a:lnTo>
                    <a:lnTo>
                      <a:pt x="524" y="1206"/>
                    </a:lnTo>
                    <a:lnTo>
                      <a:pt x="533" y="1208"/>
                    </a:lnTo>
                    <a:lnTo>
                      <a:pt x="541" y="1211"/>
                    </a:lnTo>
                    <a:lnTo>
                      <a:pt x="552" y="1213"/>
                    </a:lnTo>
                    <a:lnTo>
                      <a:pt x="561" y="1218"/>
                    </a:lnTo>
                    <a:lnTo>
                      <a:pt x="566" y="1220"/>
                    </a:lnTo>
                    <a:lnTo>
                      <a:pt x="568" y="1223"/>
                    </a:lnTo>
                    <a:lnTo>
                      <a:pt x="571" y="1228"/>
                    </a:lnTo>
                    <a:lnTo>
                      <a:pt x="572" y="1232"/>
                    </a:lnTo>
                    <a:lnTo>
                      <a:pt x="573" y="1235"/>
                    </a:lnTo>
                    <a:lnTo>
                      <a:pt x="574" y="1236"/>
                    </a:lnTo>
                    <a:lnTo>
                      <a:pt x="575" y="1237"/>
                    </a:lnTo>
                    <a:lnTo>
                      <a:pt x="577" y="1237"/>
                    </a:lnTo>
                    <a:lnTo>
                      <a:pt x="581" y="1236"/>
                    </a:lnTo>
                    <a:lnTo>
                      <a:pt x="585" y="1235"/>
                    </a:lnTo>
                    <a:lnTo>
                      <a:pt x="587" y="1233"/>
                    </a:lnTo>
                    <a:lnTo>
                      <a:pt x="590" y="1231"/>
                    </a:lnTo>
                    <a:lnTo>
                      <a:pt x="592" y="1230"/>
                    </a:lnTo>
                    <a:lnTo>
                      <a:pt x="594" y="1229"/>
                    </a:lnTo>
                    <a:lnTo>
                      <a:pt x="602" y="1225"/>
                    </a:lnTo>
                    <a:lnTo>
                      <a:pt x="606" y="1223"/>
                    </a:lnTo>
                    <a:lnTo>
                      <a:pt x="611" y="1220"/>
                    </a:lnTo>
                    <a:lnTo>
                      <a:pt x="616" y="1218"/>
                    </a:lnTo>
                    <a:lnTo>
                      <a:pt x="618" y="1216"/>
                    </a:lnTo>
                    <a:lnTo>
                      <a:pt x="621" y="1213"/>
                    </a:lnTo>
                    <a:lnTo>
                      <a:pt x="622" y="1211"/>
                    </a:lnTo>
                    <a:lnTo>
                      <a:pt x="623" y="1208"/>
                    </a:lnTo>
                    <a:lnTo>
                      <a:pt x="625" y="1204"/>
                    </a:lnTo>
                    <a:lnTo>
                      <a:pt x="626" y="1199"/>
                    </a:lnTo>
                    <a:lnTo>
                      <a:pt x="629" y="1188"/>
                    </a:lnTo>
                    <a:lnTo>
                      <a:pt x="631" y="1179"/>
                    </a:lnTo>
                    <a:lnTo>
                      <a:pt x="634" y="1166"/>
                    </a:lnTo>
                    <a:lnTo>
                      <a:pt x="635" y="1153"/>
                    </a:lnTo>
                    <a:lnTo>
                      <a:pt x="637" y="1141"/>
                    </a:lnTo>
                    <a:lnTo>
                      <a:pt x="638" y="1128"/>
                    </a:lnTo>
                    <a:lnTo>
                      <a:pt x="640" y="1118"/>
                    </a:lnTo>
                    <a:lnTo>
                      <a:pt x="640" y="1110"/>
                    </a:lnTo>
                    <a:lnTo>
                      <a:pt x="642" y="1098"/>
                    </a:lnTo>
                    <a:lnTo>
                      <a:pt x="647" y="1087"/>
                    </a:lnTo>
                    <a:lnTo>
                      <a:pt x="654" y="1078"/>
                    </a:lnTo>
                    <a:lnTo>
                      <a:pt x="659" y="1068"/>
                    </a:lnTo>
                    <a:lnTo>
                      <a:pt x="659" y="1065"/>
                    </a:lnTo>
                    <a:lnTo>
                      <a:pt x="660" y="1060"/>
                    </a:lnTo>
                    <a:lnTo>
                      <a:pt x="659" y="1055"/>
                    </a:lnTo>
                    <a:lnTo>
                      <a:pt x="657" y="1049"/>
                    </a:lnTo>
                    <a:lnTo>
                      <a:pt x="655" y="1042"/>
                    </a:lnTo>
                    <a:lnTo>
                      <a:pt x="651" y="1034"/>
                    </a:lnTo>
                    <a:lnTo>
                      <a:pt x="646" y="1023"/>
                    </a:lnTo>
                    <a:lnTo>
                      <a:pt x="638" y="1012"/>
                    </a:lnTo>
                    <a:lnTo>
                      <a:pt x="631" y="1002"/>
                    </a:lnTo>
                    <a:lnTo>
                      <a:pt x="625" y="991"/>
                    </a:lnTo>
                    <a:lnTo>
                      <a:pt x="617" y="976"/>
                    </a:lnTo>
                    <a:lnTo>
                      <a:pt x="609" y="962"/>
                    </a:lnTo>
                    <a:lnTo>
                      <a:pt x="605" y="957"/>
                    </a:lnTo>
                    <a:lnTo>
                      <a:pt x="600" y="953"/>
                    </a:lnTo>
                    <a:lnTo>
                      <a:pt x="594" y="952"/>
                    </a:lnTo>
                    <a:lnTo>
                      <a:pt x="584" y="951"/>
                    </a:lnTo>
                    <a:lnTo>
                      <a:pt x="574" y="952"/>
                    </a:lnTo>
                    <a:lnTo>
                      <a:pt x="561" y="953"/>
                    </a:lnTo>
                    <a:lnTo>
                      <a:pt x="558" y="954"/>
                    </a:lnTo>
                    <a:lnTo>
                      <a:pt x="552" y="957"/>
                    </a:lnTo>
                    <a:lnTo>
                      <a:pt x="549" y="958"/>
                    </a:lnTo>
                    <a:lnTo>
                      <a:pt x="547" y="961"/>
                    </a:lnTo>
                    <a:lnTo>
                      <a:pt x="544" y="966"/>
                    </a:lnTo>
                    <a:lnTo>
                      <a:pt x="543" y="971"/>
                    </a:lnTo>
                    <a:lnTo>
                      <a:pt x="543" y="973"/>
                    </a:lnTo>
                    <a:lnTo>
                      <a:pt x="543" y="974"/>
                    </a:lnTo>
                    <a:lnTo>
                      <a:pt x="543" y="977"/>
                    </a:lnTo>
                    <a:lnTo>
                      <a:pt x="543" y="978"/>
                    </a:lnTo>
                    <a:lnTo>
                      <a:pt x="543" y="981"/>
                    </a:lnTo>
                    <a:lnTo>
                      <a:pt x="541" y="984"/>
                    </a:lnTo>
                    <a:lnTo>
                      <a:pt x="539" y="986"/>
                    </a:lnTo>
                    <a:lnTo>
                      <a:pt x="536" y="987"/>
                    </a:lnTo>
                    <a:lnTo>
                      <a:pt x="533" y="990"/>
                    </a:lnTo>
                    <a:lnTo>
                      <a:pt x="528" y="992"/>
                    </a:lnTo>
                    <a:lnTo>
                      <a:pt x="523" y="993"/>
                    </a:lnTo>
                    <a:lnTo>
                      <a:pt x="518" y="993"/>
                    </a:lnTo>
                    <a:lnTo>
                      <a:pt x="516" y="993"/>
                    </a:lnTo>
                    <a:lnTo>
                      <a:pt x="512" y="993"/>
                    </a:lnTo>
                    <a:lnTo>
                      <a:pt x="511" y="993"/>
                    </a:lnTo>
                    <a:lnTo>
                      <a:pt x="509" y="992"/>
                    </a:lnTo>
                    <a:lnTo>
                      <a:pt x="506" y="991"/>
                    </a:lnTo>
                    <a:lnTo>
                      <a:pt x="504" y="989"/>
                    </a:lnTo>
                    <a:lnTo>
                      <a:pt x="500" y="983"/>
                    </a:lnTo>
                    <a:lnTo>
                      <a:pt x="498" y="977"/>
                    </a:lnTo>
                    <a:lnTo>
                      <a:pt x="497" y="973"/>
                    </a:lnTo>
                    <a:lnTo>
                      <a:pt x="495" y="971"/>
                    </a:lnTo>
                    <a:lnTo>
                      <a:pt x="493" y="970"/>
                    </a:lnTo>
                    <a:lnTo>
                      <a:pt x="492" y="968"/>
                    </a:lnTo>
                    <a:lnTo>
                      <a:pt x="491" y="968"/>
                    </a:lnTo>
                    <a:lnTo>
                      <a:pt x="490" y="968"/>
                    </a:lnTo>
                    <a:lnTo>
                      <a:pt x="486" y="967"/>
                    </a:lnTo>
                    <a:lnTo>
                      <a:pt x="483" y="967"/>
                    </a:lnTo>
                    <a:lnTo>
                      <a:pt x="478" y="968"/>
                    </a:lnTo>
                    <a:lnTo>
                      <a:pt x="472" y="971"/>
                    </a:lnTo>
                    <a:lnTo>
                      <a:pt x="467" y="972"/>
                    </a:lnTo>
                    <a:lnTo>
                      <a:pt x="462" y="972"/>
                    </a:lnTo>
                    <a:lnTo>
                      <a:pt x="457" y="972"/>
                    </a:lnTo>
                    <a:lnTo>
                      <a:pt x="452" y="971"/>
                    </a:lnTo>
                    <a:lnTo>
                      <a:pt x="448" y="968"/>
                    </a:lnTo>
                    <a:lnTo>
                      <a:pt x="446" y="965"/>
                    </a:lnTo>
                    <a:lnTo>
                      <a:pt x="445" y="961"/>
                    </a:lnTo>
                    <a:lnTo>
                      <a:pt x="442" y="957"/>
                    </a:lnTo>
                    <a:lnTo>
                      <a:pt x="441" y="954"/>
                    </a:lnTo>
                    <a:lnTo>
                      <a:pt x="440" y="952"/>
                    </a:lnTo>
                    <a:lnTo>
                      <a:pt x="437" y="949"/>
                    </a:lnTo>
                    <a:lnTo>
                      <a:pt x="434" y="947"/>
                    </a:lnTo>
                    <a:lnTo>
                      <a:pt x="432" y="946"/>
                    </a:lnTo>
                    <a:lnTo>
                      <a:pt x="430" y="946"/>
                    </a:lnTo>
                    <a:lnTo>
                      <a:pt x="427" y="946"/>
                    </a:lnTo>
                    <a:lnTo>
                      <a:pt x="423" y="945"/>
                    </a:lnTo>
                    <a:lnTo>
                      <a:pt x="420" y="942"/>
                    </a:lnTo>
                    <a:lnTo>
                      <a:pt x="416" y="941"/>
                    </a:lnTo>
                    <a:lnTo>
                      <a:pt x="413" y="940"/>
                    </a:lnTo>
                    <a:lnTo>
                      <a:pt x="409" y="940"/>
                    </a:lnTo>
                    <a:lnTo>
                      <a:pt x="408" y="940"/>
                    </a:lnTo>
                    <a:lnTo>
                      <a:pt x="405" y="941"/>
                    </a:lnTo>
                    <a:lnTo>
                      <a:pt x="403" y="943"/>
                    </a:lnTo>
                    <a:lnTo>
                      <a:pt x="402" y="946"/>
                    </a:lnTo>
                    <a:lnTo>
                      <a:pt x="401" y="949"/>
                    </a:lnTo>
                    <a:lnTo>
                      <a:pt x="401" y="952"/>
                    </a:lnTo>
                    <a:lnTo>
                      <a:pt x="401" y="955"/>
                    </a:lnTo>
                    <a:lnTo>
                      <a:pt x="399" y="960"/>
                    </a:lnTo>
                    <a:lnTo>
                      <a:pt x="399" y="965"/>
                    </a:lnTo>
                    <a:lnTo>
                      <a:pt x="401" y="970"/>
                    </a:lnTo>
                    <a:lnTo>
                      <a:pt x="401" y="974"/>
                    </a:lnTo>
                    <a:lnTo>
                      <a:pt x="401" y="979"/>
                    </a:lnTo>
                    <a:lnTo>
                      <a:pt x="401" y="980"/>
                    </a:lnTo>
                    <a:lnTo>
                      <a:pt x="401" y="981"/>
                    </a:lnTo>
                    <a:lnTo>
                      <a:pt x="401" y="981"/>
                    </a:lnTo>
                    <a:lnTo>
                      <a:pt x="401" y="983"/>
                    </a:lnTo>
                    <a:lnTo>
                      <a:pt x="399" y="984"/>
                    </a:lnTo>
                    <a:lnTo>
                      <a:pt x="398" y="985"/>
                    </a:lnTo>
                    <a:lnTo>
                      <a:pt x="397" y="986"/>
                    </a:lnTo>
                    <a:lnTo>
                      <a:pt x="395" y="987"/>
                    </a:lnTo>
                    <a:lnTo>
                      <a:pt x="391" y="987"/>
                    </a:lnTo>
                    <a:lnTo>
                      <a:pt x="388" y="989"/>
                    </a:lnTo>
                    <a:lnTo>
                      <a:pt x="380" y="989"/>
                    </a:lnTo>
                    <a:lnTo>
                      <a:pt x="374" y="989"/>
                    </a:lnTo>
                    <a:lnTo>
                      <a:pt x="371" y="989"/>
                    </a:lnTo>
                    <a:lnTo>
                      <a:pt x="366" y="987"/>
                    </a:lnTo>
                    <a:lnTo>
                      <a:pt x="363" y="986"/>
                    </a:lnTo>
                    <a:lnTo>
                      <a:pt x="359" y="983"/>
                    </a:lnTo>
                    <a:lnTo>
                      <a:pt x="355" y="980"/>
                    </a:lnTo>
                    <a:lnTo>
                      <a:pt x="353" y="976"/>
                    </a:lnTo>
                    <a:lnTo>
                      <a:pt x="347" y="967"/>
                    </a:lnTo>
                    <a:lnTo>
                      <a:pt x="342" y="959"/>
                    </a:lnTo>
                    <a:lnTo>
                      <a:pt x="340" y="955"/>
                    </a:lnTo>
                    <a:lnTo>
                      <a:pt x="338" y="952"/>
                    </a:lnTo>
                    <a:lnTo>
                      <a:pt x="333" y="949"/>
                    </a:lnTo>
                    <a:lnTo>
                      <a:pt x="329" y="948"/>
                    </a:lnTo>
                    <a:lnTo>
                      <a:pt x="326" y="948"/>
                    </a:lnTo>
                    <a:lnTo>
                      <a:pt x="321" y="951"/>
                    </a:lnTo>
                    <a:lnTo>
                      <a:pt x="319" y="953"/>
                    </a:lnTo>
                    <a:lnTo>
                      <a:pt x="315" y="957"/>
                    </a:lnTo>
                    <a:lnTo>
                      <a:pt x="313" y="958"/>
                    </a:lnTo>
                    <a:lnTo>
                      <a:pt x="309" y="959"/>
                    </a:lnTo>
                    <a:lnTo>
                      <a:pt x="304" y="960"/>
                    </a:lnTo>
                    <a:lnTo>
                      <a:pt x="300" y="959"/>
                    </a:lnTo>
                    <a:lnTo>
                      <a:pt x="295" y="957"/>
                    </a:lnTo>
                    <a:lnTo>
                      <a:pt x="291" y="955"/>
                    </a:lnTo>
                    <a:lnTo>
                      <a:pt x="277" y="948"/>
                    </a:lnTo>
                    <a:lnTo>
                      <a:pt x="266" y="941"/>
                    </a:lnTo>
                    <a:lnTo>
                      <a:pt x="263" y="937"/>
                    </a:lnTo>
                    <a:lnTo>
                      <a:pt x="260" y="934"/>
                    </a:lnTo>
                    <a:lnTo>
                      <a:pt x="259" y="932"/>
                    </a:lnTo>
                    <a:lnTo>
                      <a:pt x="260" y="929"/>
                    </a:lnTo>
                    <a:lnTo>
                      <a:pt x="263" y="926"/>
                    </a:lnTo>
                    <a:lnTo>
                      <a:pt x="267" y="921"/>
                    </a:lnTo>
                    <a:lnTo>
                      <a:pt x="279" y="915"/>
                    </a:lnTo>
                    <a:lnTo>
                      <a:pt x="288" y="910"/>
                    </a:lnTo>
                    <a:lnTo>
                      <a:pt x="289" y="908"/>
                    </a:lnTo>
                    <a:lnTo>
                      <a:pt x="290" y="903"/>
                    </a:lnTo>
                    <a:lnTo>
                      <a:pt x="289" y="899"/>
                    </a:lnTo>
                    <a:lnTo>
                      <a:pt x="287" y="896"/>
                    </a:lnTo>
                    <a:lnTo>
                      <a:pt x="283" y="892"/>
                    </a:lnTo>
                    <a:lnTo>
                      <a:pt x="278" y="888"/>
                    </a:lnTo>
                    <a:lnTo>
                      <a:pt x="275" y="883"/>
                    </a:lnTo>
                    <a:lnTo>
                      <a:pt x="271" y="878"/>
                    </a:lnTo>
                    <a:lnTo>
                      <a:pt x="269" y="871"/>
                    </a:lnTo>
                    <a:lnTo>
                      <a:pt x="267" y="864"/>
                    </a:lnTo>
                    <a:lnTo>
                      <a:pt x="267" y="852"/>
                    </a:lnTo>
                    <a:lnTo>
                      <a:pt x="267" y="842"/>
                    </a:lnTo>
                    <a:lnTo>
                      <a:pt x="264" y="835"/>
                    </a:lnTo>
                    <a:lnTo>
                      <a:pt x="260" y="829"/>
                    </a:lnTo>
                    <a:lnTo>
                      <a:pt x="257" y="826"/>
                    </a:lnTo>
                    <a:lnTo>
                      <a:pt x="253" y="822"/>
                    </a:lnTo>
                    <a:lnTo>
                      <a:pt x="245" y="815"/>
                    </a:lnTo>
                    <a:lnTo>
                      <a:pt x="234" y="808"/>
                    </a:lnTo>
                    <a:lnTo>
                      <a:pt x="229" y="804"/>
                    </a:lnTo>
                    <a:lnTo>
                      <a:pt x="226" y="802"/>
                    </a:lnTo>
                    <a:lnTo>
                      <a:pt x="219" y="800"/>
                    </a:lnTo>
                    <a:lnTo>
                      <a:pt x="212" y="798"/>
                    </a:lnTo>
                    <a:lnTo>
                      <a:pt x="209" y="798"/>
                    </a:lnTo>
                    <a:lnTo>
                      <a:pt x="206" y="800"/>
                    </a:lnTo>
                    <a:lnTo>
                      <a:pt x="203" y="801"/>
                    </a:lnTo>
                    <a:lnTo>
                      <a:pt x="201" y="802"/>
                    </a:lnTo>
                    <a:lnTo>
                      <a:pt x="197" y="804"/>
                    </a:lnTo>
                    <a:lnTo>
                      <a:pt x="195" y="807"/>
                    </a:lnTo>
                    <a:lnTo>
                      <a:pt x="190" y="808"/>
                    </a:lnTo>
                    <a:lnTo>
                      <a:pt x="187" y="809"/>
                    </a:lnTo>
                    <a:lnTo>
                      <a:pt x="180" y="809"/>
                    </a:lnTo>
                    <a:lnTo>
                      <a:pt x="171" y="807"/>
                    </a:lnTo>
                    <a:lnTo>
                      <a:pt x="159" y="802"/>
                    </a:lnTo>
                    <a:lnTo>
                      <a:pt x="150" y="798"/>
                    </a:lnTo>
                    <a:lnTo>
                      <a:pt x="146" y="796"/>
                    </a:lnTo>
                    <a:lnTo>
                      <a:pt x="143" y="795"/>
                    </a:lnTo>
                    <a:lnTo>
                      <a:pt x="137" y="792"/>
                    </a:lnTo>
                    <a:lnTo>
                      <a:pt x="131" y="789"/>
                    </a:lnTo>
                    <a:lnTo>
                      <a:pt x="122" y="787"/>
                    </a:lnTo>
                    <a:lnTo>
                      <a:pt x="115" y="784"/>
                    </a:lnTo>
                    <a:lnTo>
                      <a:pt x="112" y="783"/>
                    </a:lnTo>
                    <a:lnTo>
                      <a:pt x="109" y="782"/>
                    </a:lnTo>
                    <a:lnTo>
                      <a:pt x="107" y="782"/>
                    </a:lnTo>
                    <a:lnTo>
                      <a:pt x="105" y="782"/>
                    </a:lnTo>
                    <a:lnTo>
                      <a:pt x="102" y="782"/>
                    </a:lnTo>
                    <a:lnTo>
                      <a:pt x="98" y="783"/>
                    </a:lnTo>
                    <a:lnTo>
                      <a:pt x="92" y="785"/>
                    </a:lnTo>
                    <a:lnTo>
                      <a:pt x="86" y="790"/>
                    </a:lnTo>
                    <a:lnTo>
                      <a:pt x="83" y="794"/>
                    </a:lnTo>
                    <a:lnTo>
                      <a:pt x="82" y="796"/>
                    </a:lnTo>
                    <a:lnTo>
                      <a:pt x="80" y="800"/>
                    </a:lnTo>
                    <a:lnTo>
                      <a:pt x="78" y="804"/>
                    </a:lnTo>
                    <a:lnTo>
                      <a:pt x="78" y="808"/>
                    </a:lnTo>
                    <a:lnTo>
                      <a:pt x="78" y="812"/>
                    </a:lnTo>
                    <a:lnTo>
                      <a:pt x="80" y="816"/>
                    </a:lnTo>
                    <a:lnTo>
                      <a:pt x="81" y="820"/>
                    </a:lnTo>
                    <a:lnTo>
                      <a:pt x="82" y="825"/>
                    </a:lnTo>
                    <a:lnTo>
                      <a:pt x="82" y="829"/>
                    </a:lnTo>
                    <a:lnTo>
                      <a:pt x="82" y="833"/>
                    </a:lnTo>
                    <a:lnTo>
                      <a:pt x="81" y="834"/>
                    </a:lnTo>
                    <a:lnTo>
                      <a:pt x="80" y="835"/>
                    </a:lnTo>
                    <a:lnTo>
                      <a:pt x="78" y="835"/>
                    </a:lnTo>
                    <a:lnTo>
                      <a:pt x="70" y="835"/>
                    </a:lnTo>
                    <a:lnTo>
                      <a:pt x="62" y="833"/>
                    </a:lnTo>
                    <a:lnTo>
                      <a:pt x="56" y="829"/>
                    </a:lnTo>
                    <a:lnTo>
                      <a:pt x="51" y="825"/>
                    </a:lnTo>
                    <a:lnTo>
                      <a:pt x="49" y="822"/>
                    </a:lnTo>
                    <a:lnTo>
                      <a:pt x="48" y="820"/>
                    </a:lnTo>
                    <a:lnTo>
                      <a:pt x="43" y="813"/>
                    </a:lnTo>
                    <a:lnTo>
                      <a:pt x="38" y="804"/>
                    </a:lnTo>
                    <a:lnTo>
                      <a:pt x="27" y="788"/>
                    </a:lnTo>
                    <a:lnTo>
                      <a:pt x="21" y="778"/>
                    </a:lnTo>
                    <a:lnTo>
                      <a:pt x="19" y="776"/>
                    </a:lnTo>
                    <a:lnTo>
                      <a:pt x="18" y="771"/>
                    </a:lnTo>
                    <a:lnTo>
                      <a:pt x="18" y="766"/>
                    </a:lnTo>
                    <a:lnTo>
                      <a:pt x="18" y="762"/>
                    </a:lnTo>
                    <a:lnTo>
                      <a:pt x="18" y="757"/>
                    </a:lnTo>
                    <a:lnTo>
                      <a:pt x="18" y="754"/>
                    </a:lnTo>
                    <a:lnTo>
                      <a:pt x="18" y="752"/>
                    </a:lnTo>
                    <a:lnTo>
                      <a:pt x="17" y="751"/>
                    </a:lnTo>
                    <a:lnTo>
                      <a:pt x="13" y="740"/>
                    </a:lnTo>
                    <a:lnTo>
                      <a:pt x="7" y="726"/>
                    </a:lnTo>
                    <a:lnTo>
                      <a:pt x="4" y="712"/>
                    </a:lnTo>
                    <a:lnTo>
                      <a:pt x="0" y="697"/>
                    </a:lnTo>
                    <a:lnTo>
                      <a:pt x="0" y="688"/>
                    </a:lnTo>
                    <a:lnTo>
                      <a:pt x="0" y="680"/>
                    </a:lnTo>
                    <a:lnTo>
                      <a:pt x="1" y="675"/>
                    </a:lnTo>
                    <a:lnTo>
                      <a:pt x="2" y="672"/>
                    </a:lnTo>
                    <a:lnTo>
                      <a:pt x="5" y="670"/>
                    </a:lnTo>
                    <a:lnTo>
                      <a:pt x="7" y="669"/>
                    </a:lnTo>
                    <a:lnTo>
                      <a:pt x="11" y="668"/>
                    </a:lnTo>
                    <a:lnTo>
                      <a:pt x="15" y="667"/>
                    </a:lnTo>
                    <a:lnTo>
                      <a:pt x="20" y="665"/>
                    </a:lnTo>
                    <a:lnTo>
                      <a:pt x="25" y="664"/>
                    </a:lnTo>
                    <a:lnTo>
                      <a:pt x="31" y="664"/>
                    </a:lnTo>
                    <a:lnTo>
                      <a:pt x="37" y="665"/>
                    </a:lnTo>
                    <a:lnTo>
                      <a:pt x="42" y="668"/>
                    </a:lnTo>
                    <a:lnTo>
                      <a:pt x="46" y="672"/>
                    </a:lnTo>
                    <a:lnTo>
                      <a:pt x="54" y="680"/>
                    </a:lnTo>
                    <a:lnTo>
                      <a:pt x="61" y="686"/>
                    </a:lnTo>
                    <a:lnTo>
                      <a:pt x="68" y="690"/>
                    </a:lnTo>
                    <a:lnTo>
                      <a:pt x="76" y="695"/>
                    </a:lnTo>
                    <a:lnTo>
                      <a:pt x="80" y="700"/>
                    </a:lnTo>
                    <a:lnTo>
                      <a:pt x="83" y="705"/>
                    </a:lnTo>
                    <a:lnTo>
                      <a:pt x="86" y="708"/>
                    </a:lnTo>
                    <a:lnTo>
                      <a:pt x="89" y="712"/>
                    </a:lnTo>
                    <a:lnTo>
                      <a:pt x="92" y="715"/>
                    </a:lnTo>
                    <a:lnTo>
                      <a:pt x="96" y="716"/>
                    </a:lnTo>
                    <a:lnTo>
                      <a:pt x="99" y="718"/>
                    </a:lnTo>
                    <a:lnTo>
                      <a:pt x="100" y="716"/>
                    </a:lnTo>
                    <a:lnTo>
                      <a:pt x="103" y="715"/>
                    </a:lnTo>
                    <a:lnTo>
                      <a:pt x="105" y="714"/>
                    </a:lnTo>
                    <a:lnTo>
                      <a:pt x="107" y="712"/>
                    </a:lnTo>
                    <a:lnTo>
                      <a:pt x="108" y="708"/>
                    </a:lnTo>
                    <a:lnTo>
                      <a:pt x="112" y="703"/>
                    </a:lnTo>
                    <a:lnTo>
                      <a:pt x="117" y="699"/>
                    </a:lnTo>
                    <a:lnTo>
                      <a:pt x="121" y="696"/>
                    </a:lnTo>
                    <a:lnTo>
                      <a:pt x="127" y="695"/>
                    </a:lnTo>
                    <a:lnTo>
                      <a:pt x="133" y="693"/>
                    </a:lnTo>
                    <a:lnTo>
                      <a:pt x="137" y="691"/>
                    </a:lnTo>
                    <a:lnTo>
                      <a:pt x="139" y="689"/>
                    </a:lnTo>
                    <a:lnTo>
                      <a:pt x="141" y="688"/>
                    </a:lnTo>
                    <a:lnTo>
                      <a:pt x="144" y="684"/>
                    </a:lnTo>
                    <a:lnTo>
                      <a:pt x="147" y="681"/>
                    </a:lnTo>
                    <a:lnTo>
                      <a:pt x="152" y="675"/>
                    </a:lnTo>
                    <a:lnTo>
                      <a:pt x="158" y="668"/>
                    </a:lnTo>
                    <a:lnTo>
                      <a:pt x="164" y="661"/>
                    </a:lnTo>
                    <a:lnTo>
                      <a:pt x="171" y="656"/>
                    </a:lnTo>
                    <a:lnTo>
                      <a:pt x="178" y="653"/>
                    </a:lnTo>
                    <a:lnTo>
                      <a:pt x="185" y="652"/>
                    </a:lnTo>
                    <a:lnTo>
                      <a:pt x="195" y="651"/>
                    </a:lnTo>
                    <a:lnTo>
                      <a:pt x="200" y="649"/>
                    </a:lnTo>
                    <a:lnTo>
                      <a:pt x="206" y="646"/>
                    </a:lnTo>
                    <a:lnTo>
                      <a:pt x="210" y="642"/>
                    </a:lnTo>
                    <a:lnTo>
                      <a:pt x="214" y="637"/>
                    </a:lnTo>
                    <a:lnTo>
                      <a:pt x="216" y="632"/>
                    </a:lnTo>
                    <a:lnTo>
                      <a:pt x="220" y="624"/>
                    </a:lnTo>
                    <a:lnTo>
                      <a:pt x="224" y="614"/>
                    </a:lnTo>
                    <a:lnTo>
                      <a:pt x="228" y="605"/>
                    </a:lnTo>
                    <a:lnTo>
                      <a:pt x="233" y="596"/>
                    </a:lnTo>
                    <a:lnTo>
                      <a:pt x="235" y="593"/>
                    </a:lnTo>
                    <a:lnTo>
                      <a:pt x="239" y="592"/>
                    </a:lnTo>
                    <a:lnTo>
                      <a:pt x="243" y="589"/>
                    </a:lnTo>
                    <a:lnTo>
                      <a:pt x="247" y="587"/>
                    </a:lnTo>
                    <a:lnTo>
                      <a:pt x="251" y="584"/>
                    </a:lnTo>
                    <a:lnTo>
                      <a:pt x="256" y="582"/>
                    </a:lnTo>
                    <a:lnTo>
                      <a:pt x="260" y="577"/>
                    </a:lnTo>
                    <a:lnTo>
                      <a:pt x="265" y="574"/>
                    </a:lnTo>
                    <a:lnTo>
                      <a:pt x="269" y="569"/>
                    </a:lnTo>
                    <a:lnTo>
                      <a:pt x="272" y="563"/>
                    </a:lnTo>
                    <a:lnTo>
                      <a:pt x="276" y="561"/>
                    </a:lnTo>
                    <a:lnTo>
                      <a:pt x="279" y="558"/>
                    </a:lnTo>
                    <a:lnTo>
                      <a:pt x="283" y="557"/>
                    </a:lnTo>
                    <a:lnTo>
                      <a:pt x="287" y="556"/>
                    </a:lnTo>
                    <a:lnTo>
                      <a:pt x="289" y="557"/>
                    </a:lnTo>
                    <a:lnTo>
                      <a:pt x="292" y="560"/>
                    </a:lnTo>
                    <a:lnTo>
                      <a:pt x="295" y="562"/>
                    </a:lnTo>
                    <a:lnTo>
                      <a:pt x="296" y="563"/>
                    </a:lnTo>
                    <a:lnTo>
                      <a:pt x="300" y="569"/>
                    </a:lnTo>
                    <a:lnTo>
                      <a:pt x="302" y="575"/>
                    </a:lnTo>
                    <a:lnTo>
                      <a:pt x="304" y="577"/>
                    </a:lnTo>
                    <a:lnTo>
                      <a:pt x="306" y="580"/>
                    </a:lnTo>
                    <a:lnTo>
                      <a:pt x="308" y="584"/>
                    </a:lnTo>
                    <a:lnTo>
                      <a:pt x="311" y="587"/>
                    </a:lnTo>
                    <a:lnTo>
                      <a:pt x="315" y="588"/>
                    </a:lnTo>
                    <a:lnTo>
                      <a:pt x="317" y="589"/>
                    </a:lnTo>
                    <a:lnTo>
                      <a:pt x="329" y="589"/>
                    </a:lnTo>
                    <a:lnTo>
                      <a:pt x="345" y="589"/>
                    </a:lnTo>
                    <a:lnTo>
                      <a:pt x="353" y="589"/>
                    </a:lnTo>
                    <a:lnTo>
                      <a:pt x="361" y="589"/>
                    </a:lnTo>
                    <a:lnTo>
                      <a:pt x="367" y="590"/>
                    </a:lnTo>
                    <a:lnTo>
                      <a:pt x="373" y="592"/>
                    </a:lnTo>
                    <a:lnTo>
                      <a:pt x="376" y="593"/>
                    </a:lnTo>
                    <a:lnTo>
                      <a:pt x="377" y="594"/>
                    </a:lnTo>
                    <a:lnTo>
                      <a:pt x="379" y="598"/>
                    </a:lnTo>
                    <a:lnTo>
                      <a:pt x="380" y="601"/>
                    </a:lnTo>
                    <a:lnTo>
                      <a:pt x="383" y="606"/>
                    </a:lnTo>
                    <a:lnTo>
                      <a:pt x="385" y="612"/>
                    </a:lnTo>
                    <a:lnTo>
                      <a:pt x="388" y="618"/>
                    </a:lnTo>
                    <a:lnTo>
                      <a:pt x="390" y="624"/>
                    </a:lnTo>
                    <a:lnTo>
                      <a:pt x="392" y="630"/>
                    </a:lnTo>
                    <a:lnTo>
                      <a:pt x="395" y="636"/>
                    </a:lnTo>
                    <a:lnTo>
                      <a:pt x="398" y="639"/>
                    </a:lnTo>
                    <a:lnTo>
                      <a:pt x="402" y="643"/>
                    </a:lnTo>
                    <a:lnTo>
                      <a:pt x="405" y="646"/>
                    </a:lnTo>
                    <a:lnTo>
                      <a:pt x="411" y="647"/>
                    </a:lnTo>
                    <a:lnTo>
                      <a:pt x="414" y="647"/>
                    </a:lnTo>
                    <a:lnTo>
                      <a:pt x="415" y="647"/>
                    </a:lnTo>
                    <a:lnTo>
                      <a:pt x="418" y="649"/>
                    </a:lnTo>
                    <a:lnTo>
                      <a:pt x="422" y="649"/>
                    </a:lnTo>
                    <a:lnTo>
                      <a:pt x="429" y="650"/>
                    </a:lnTo>
                    <a:lnTo>
                      <a:pt x="435" y="652"/>
                    </a:lnTo>
                    <a:lnTo>
                      <a:pt x="440" y="653"/>
                    </a:lnTo>
                    <a:lnTo>
                      <a:pt x="445" y="657"/>
                    </a:lnTo>
                    <a:lnTo>
                      <a:pt x="449" y="659"/>
                    </a:lnTo>
                    <a:lnTo>
                      <a:pt x="453" y="661"/>
                    </a:lnTo>
                    <a:lnTo>
                      <a:pt x="461" y="664"/>
                    </a:lnTo>
                    <a:lnTo>
                      <a:pt x="470" y="667"/>
                    </a:lnTo>
                    <a:lnTo>
                      <a:pt x="477" y="668"/>
                    </a:lnTo>
                    <a:lnTo>
                      <a:pt x="485" y="669"/>
                    </a:lnTo>
                    <a:lnTo>
                      <a:pt x="491" y="669"/>
                    </a:lnTo>
                    <a:lnTo>
                      <a:pt x="497" y="670"/>
                    </a:lnTo>
                    <a:lnTo>
                      <a:pt x="499" y="672"/>
                    </a:lnTo>
                    <a:lnTo>
                      <a:pt x="502" y="676"/>
                    </a:lnTo>
                    <a:lnTo>
                      <a:pt x="503" y="680"/>
                    </a:lnTo>
                    <a:lnTo>
                      <a:pt x="504" y="683"/>
                    </a:lnTo>
                    <a:lnTo>
                      <a:pt x="506" y="688"/>
                    </a:lnTo>
                    <a:lnTo>
                      <a:pt x="508" y="691"/>
                    </a:lnTo>
                    <a:lnTo>
                      <a:pt x="511" y="694"/>
                    </a:lnTo>
                    <a:lnTo>
                      <a:pt x="515" y="697"/>
                    </a:lnTo>
                    <a:lnTo>
                      <a:pt x="521" y="700"/>
                    </a:lnTo>
                    <a:lnTo>
                      <a:pt x="528" y="700"/>
                    </a:lnTo>
                    <a:lnTo>
                      <a:pt x="534" y="700"/>
                    </a:lnTo>
                    <a:lnTo>
                      <a:pt x="541" y="697"/>
                    </a:lnTo>
                    <a:lnTo>
                      <a:pt x="546" y="696"/>
                    </a:lnTo>
                    <a:lnTo>
                      <a:pt x="552" y="695"/>
                    </a:lnTo>
                    <a:lnTo>
                      <a:pt x="561" y="695"/>
                    </a:lnTo>
                    <a:lnTo>
                      <a:pt x="569" y="697"/>
                    </a:lnTo>
                    <a:lnTo>
                      <a:pt x="575" y="700"/>
                    </a:lnTo>
                    <a:lnTo>
                      <a:pt x="580" y="705"/>
                    </a:lnTo>
                    <a:lnTo>
                      <a:pt x="585" y="710"/>
                    </a:lnTo>
                    <a:lnTo>
                      <a:pt x="590" y="716"/>
                    </a:lnTo>
                    <a:lnTo>
                      <a:pt x="594" y="721"/>
                    </a:lnTo>
                    <a:lnTo>
                      <a:pt x="599" y="722"/>
                    </a:lnTo>
                    <a:lnTo>
                      <a:pt x="603" y="724"/>
                    </a:lnTo>
                    <a:lnTo>
                      <a:pt x="605" y="724"/>
                    </a:lnTo>
                    <a:lnTo>
                      <a:pt x="607" y="722"/>
                    </a:lnTo>
                    <a:lnTo>
                      <a:pt x="611" y="720"/>
                    </a:lnTo>
                    <a:lnTo>
                      <a:pt x="616" y="716"/>
                    </a:lnTo>
                    <a:lnTo>
                      <a:pt x="621" y="712"/>
                    </a:lnTo>
                    <a:lnTo>
                      <a:pt x="628" y="703"/>
                    </a:lnTo>
                    <a:lnTo>
                      <a:pt x="635" y="697"/>
                    </a:lnTo>
                    <a:lnTo>
                      <a:pt x="641" y="694"/>
                    </a:lnTo>
                    <a:lnTo>
                      <a:pt x="646" y="690"/>
                    </a:lnTo>
                    <a:lnTo>
                      <a:pt x="654" y="687"/>
                    </a:lnTo>
                    <a:lnTo>
                      <a:pt x="661" y="682"/>
                    </a:lnTo>
                    <a:lnTo>
                      <a:pt x="666" y="678"/>
                    </a:lnTo>
                    <a:lnTo>
                      <a:pt x="669" y="675"/>
                    </a:lnTo>
                    <a:lnTo>
                      <a:pt x="673" y="671"/>
                    </a:lnTo>
                    <a:lnTo>
                      <a:pt x="675" y="669"/>
                    </a:lnTo>
                    <a:lnTo>
                      <a:pt x="678" y="663"/>
                    </a:lnTo>
                    <a:lnTo>
                      <a:pt x="680" y="657"/>
                    </a:lnTo>
                    <a:lnTo>
                      <a:pt x="682" y="652"/>
                    </a:lnTo>
                    <a:lnTo>
                      <a:pt x="682" y="646"/>
                    </a:lnTo>
                    <a:lnTo>
                      <a:pt x="684" y="640"/>
                    </a:lnTo>
                    <a:lnTo>
                      <a:pt x="682" y="636"/>
                    </a:lnTo>
                    <a:lnTo>
                      <a:pt x="681" y="630"/>
                    </a:lnTo>
                    <a:lnTo>
                      <a:pt x="679" y="625"/>
                    </a:lnTo>
                    <a:lnTo>
                      <a:pt x="675" y="618"/>
                    </a:lnTo>
                    <a:lnTo>
                      <a:pt x="673" y="612"/>
                    </a:lnTo>
                    <a:lnTo>
                      <a:pt x="670" y="607"/>
                    </a:lnTo>
                    <a:lnTo>
                      <a:pt x="669" y="601"/>
                    </a:lnTo>
                    <a:lnTo>
                      <a:pt x="669" y="599"/>
                    </a:lnTo>
                    <a:lnTo>
                      <a:pt x="670" y="595"/>
                    </a:lnTo>
                    <a:lnTo>
                      <a:pt x="672" y="593"/>
                    </a:lnTo>
                    <a:lnTo>
                      <a:pt x="673" y="590"/>
                    </a:lnTo>
                    <a:lnTo>
                      <a:pt x="675" y="589"/>
                    </a:lnTo>
                    <a:lnTo>
                      <a:pt x="678" y="588"/>
                    </a:lnTo>
                    <a:lnTo>
                      <a:pt x="684" y="588"/>
                    </a:lnTo>
                    <a:lnTo>
                      <a:pt x="690" y="588"/>
                    </a:lnTo>
                    <a:lnTo>
                      <a:pt x="701" y="590"/>
                    </a:lnTo>
                    <a:lnTo>
                      <a:pt x="713" y="593"/>
                    </a:lnTo>
                    <a:lnTo>
                      <a:pt x="728" y="592"/>
                    </a:lnTo>
                    <a:lnTo>
                      <a:pt x="742" y="589"/>
                    </a:lnTo>
                    <a:lnTo>
                      <a:pt x="757" y="584"/>
                    </a:lnTo>
                    <a:lnTo>
                      <a:pt x="770" y="577"/>
                    </a:lnTo>
                    <a:lnTo>
                      <a:pt x="781" y="571"/>
                    </a:lnTo>
                    <a:lnTo>
                      <a:pt x="793" y="564"/>
                    </a:lnTo>
                    <a:lnTo>
                      <a:pt x="805" y="557"/>
                    </a:lnTo>
                    <a:lnTo>
                      <a:pt x="817" y="549"/>
                    </a:lnTo>
                    <a:lnTo>
                      <a:pt x="831" y="535"/>
                    </a:lnTo>
                    <a:lnTo>
                      <a:pt x="845" y="521"/>
                    </a:lnTo>
                    <a:lnTo>
                      <a:pt x="852" y="516"/>
                    </a:lnTo>
                    <a:lnTo>
                      <a:pt x="859" y="512"/>
                    </a:lnTo>
                    <a:lnTo>
                      <a:pt x="865" y="508"/>
                    </a:lnTo>
                    <a:lnTo>
                      <a:pt x="873" y="506"/>
                    </a:lnTo>
                    <a:lnTo>
                      <a:pt x="881" y="505"/>
                    </a:lnTo>
                    <a:lnTo>
                      <a:pt x="890" y="505"/>
                    </a:lnTo>
                    <a:lnTo>
                      <a:pt x="902" y="506"/>
                    </a:lnTo>
                    <a:lnTo>
                      <a:pt x="914" y="510"/>
                    </a:lnTo>
                    <a:lnTo>
                      <a:pt x="921" y="512"/>
                    </a:lnTo>
                    <a:lnTo>
                      <a:pt x="928" y="513"/>
                    </a:lnTo>
                    <a:lnTo>
                      <a:pt x="936" y="513"/>
                    </a:lnTo>
                    <a:lnTo>
                      <a:pt x="942" y="512"/>
                    </a:lnTo>
                    <a:lnTo>
                      <a:pt x="945" y="511"/>
                    </a:lnTo>
                    <a:lnTo>
                      <a:pt x="950" y="508"/>
                    </a:lnTo>
                    <a:lnTo>
                      <a:pt x="953" y="505"/>
                    </a:lnTo>
                    <a:lnTo>
                      <a:pt x="956" y="500"/>
                    </a:lnTo>
                    <a:lnTo>
                      <a:pt x="961" y="491"/>
                    </a:lnTo>
                    <a:lnTo>
                      <a:pt x="963" y="480"/>
                    </a:lnTo>
                    <a:lnTo>
                      <a:pt x="964" y="476"/>
                    </a:lnTo>
                    <a:lnTo>
                      <a:pt x="966" y="475"/>
                    </a:lnTo>
                    <a:lnTo>
                      <a:pt x="968" y="474"/>
                    </a:lnTo>
                    <a:lnTo>
                      <a:pt x="971" y="473"/>
                    </a:lnTo>
                    <a:lnTo>
                      <a:pt x="975" y="474"/>
                    </a:lnTo>
                    <a:lnTo>
                      <a:pt x="977" y="476"/>
                    </a:lnTo>
                    <a:lnTo>
                      <a:pt x="980" y="480"/>
                    </a:lnTo>
                    <a:lnTo>
                      <a:pt x="982" y="483"/>
                    </a:lnTo>
                    <a:lnTo>
                      <a:pt x="983" y="491"/>
                    </a:lnTo>
                    <a:lnTo>
                      <a:pt x="984" y="498"/>
                    </a:lnTo>
                    <a:lnTo>
                      <a:pt x="984" y="501"/>
                    </a:lnTo>
                    <a:lnTo>
                      <a:pt x="986" y="502"/>
                    </a:lnTo>
                    <a:lnTo>
                      <a:pt x="987" y="502"/>
                    </a:lnTo>
                    <a:lnTo>
                      <a:pt x="987" y="502"/>
                    </a:lnTo>
                    <a:lnTo>
                      <a:pt x="987" y="502"/>
                    </a:lnTo>
                    <a:lnTo>
                      <a:pt x="987" y="502"/>
                    </a:lnTo>
                    <a:lnTo>
                      <a:pt x="988" y="501"/>
                    </a:lnTo>
                    <a:lnTo>
                      <a:pt x="988" y="499"/>
                    </a:lnTo>
                    <a:lnTo>
                      <a:pt x="989" y="498"/>
                    </a:lnTo>
                    <a:lnTo>
                      <a:pt x="989" y="497"/>
                    </a:lnTo>
                    <a:lnTo>
                      <a:pt x="991" y="491"/>
                    </a:lnTo>
                    <a:lnTo>
                      <a:pt x="993" y="485"/>
                    </a:lnTo>
                    <a:lnTo>
                      <a:pt x="997" y="473"/>
                    </a:lnTo>
                    <a:lnTo>
                      <a:pt x="1001" y="463"/>
                    </a:lnTo>
                    <a:lnTo>
                      <a:pt x="1002" y="458"/>
                    </a:lnTo>
                    <a:lnTo>
                      <a:pt x="1002" y="453"/>
                    </a:lnTo>
                    <a:lnTo>
                      <a:pt x="1001" y="447"/>
                    </a:lnTo>
                    <a:lnTo>
                      <a:pt x="1000" y="441"/>
                    </a:lnTo>
                    <a:lnTo>
                      <a:pt x="999" y="436"/>
                    </a:lnTo>
                    <a:lnTo>
                      <a:pt x="996" y="431"/>
                    </a:lnTo>
                    <a:lnTo>
                      <a:pt x="994" y="424"/>
                    </a:lnTo>
                    <a:lnTo>
                      <a:pt x="990" y="417"/>
                    </a:lnTo>
                    <a:lnTo>
                      <a:pt x="989" y="410"/>
                    </a:lnTo>
                    <a:lnTo>
                      <a:pt x="990" y="401"/>
                    </a:lnTo>
                    <a:lnTo>
                      <a:pt x="993" y="394"/>
                    </a:lnTo>
                    <a:lnTo>
                      <a:pt x="997" y="386"/>
                    </a:lnTo>
                    <a:lnTo>
                      <a:pt x="1005" y="380"/>
                    </a:lnTo>
                    <a:lnTo>
                      <a:pt x="1009" y="375"/>
                    </a:lnTo>
                    <a:lnTo>
                      <a:pt x="1012" y="374"/>
                    </a:lnTo>
                    <a:lnTo>
                      <a:pt x="1013" y="372"/>
                    </a:lnTo>
                    <a:lnTo>
                      <a:pt x="1016" y="369"/>
                    </a:lnTo>
                    <a:lnTo>
                      <a:pt x="1019" y="366"/>
                    </a:lnTo>
                    <a:lnTo>
                      <a:pt x="1021" y="362"/>
                    </a:lnTo>
                    <a:lnTo>
                      <a:pt x="1022" y="360"/>
                    </a:lnTo>
                    <a:lnTo>
                      <a:pt x="1025" y="355"/>
                    </a:lnTo>
                    <a:lnTo>
                      <a:pt x="1028" y="352"/>
                    </a:lnTo>
                    <a:lnTo>
                      <a:pt x="1037" y="348"/>
                    </a:lnTo>
                    <a:lnTo>
                      <a:pt x="1047" y="347"/>
                    </a:lnTo>
                    <a:lnTo>
                      <a:pt x="1054" y="346"/>
                    </a:lnTo>
                    <a:lnTo>
                      <a:pt x="1063" y="341"/>
                    </a:lnTo>
                    <a:lnTo>
                      <a:pt x="1069" y="337"/>
                    </a:lnTo>
                    <a:lnTo>
                      <a:pt x="1073" y="334"/>
                    </a:lnTo>
                    <a:lnTo>
                      <a:pt x="1079" y="330"/>
                    </a:lnTo>
                    <a:lnTo>
                      <a:pt x="1084" y="330"/>
                    </a:lnTo>
                    <a:lnTo>
                      <a:pt x="1088" y="333"/>
                    </a:lnTo>
                    <a:lnTo>
                      <a:pt x="1090" y="337"/>
                    </a:lnTo>
                    <a:lnTo>
                      <a:pt x="1092" y="342"/>
                    </a:lnTo>
                    <a:lnTo>
                      <a:pt x="1094" y="348"/>
                    </a:lnTo>
                    <a:lnTo>
                      <a:pt x="1098" y="355"/>
                    </a:lnTo>
                    <a:lnTo>
                      <a:pt x="1102" y="357"/>
                    </a:lnTo>
                    <a:lnTo>
                      <a:pt x="1107" y="362"/>
                    </a:lnTo>
                    <a:lnTo>
                      <a:pt x="1110" y="365"/>
                    </a:lnTo>
                    <a:lnTo>
                      <a:pt x="1113" y="366"/>
                    </a:lnTo>
                    <a:lnTo>
                      <a:pt x="1116" y="368"/>
                    </a:lnTo>
                    <a:lnTo>
                      <a:pt x="1119" y="371"/>
                    </a:lnTo>
                    <a:lnTo>
                      <a:pt x="1120" y="375"/>
                    </a:lnTo>
                    <a:lnTo>
                      <a:pt x="1122" y="387"/>
                    </a:lnTo>
                    <a:lnTo>
                      <a:pt x="1125" y="401"/>
                    </a:lnTo>
                    <a:lnTo>
                      <a:pt x="1126" y="407"/>
                    </a:lnTo>
                    <a:lnTo>
                      <a:pt x="1128" y="412"/>
                    </a:lnTo>
                    <a:lnTo>
                      <a:pt x="1129" y="416"/>
                    </a:lnTo>
                    <a:lnTo>
                      <a:pt x="1132" y="418"/>
                    </a:lnTo>
                    <a:lnTo>
                      <a:pt x="1135" y="420"/>
                    </a:lnTo>
                    <a:lnTo>
                      <a:pt x="1138" y="422"/>
                    </a:lnTo>
                    <a:lnTo>
                      <a:pt x="1144" y="423"/>
                    </a:lnTo>
                    <a:lnTo>
                      <a:pt x="1148" y="423"/>
                    </a:lnTo>
                    <a:lnTo>
                      <a:pt x="1157" y="425"/>
                    </a:lnTo>
                    <a:lnTo>
                      <a:pt x="1161" y="429"/>
                    </a:lnTo>
                    <a:lnTo>
                      <a:pt x="1163" y="431"/>
                    </a:lnTo>
                    <a:lnTo>
                      <a:pt x="1164" y="434"/>
                    </a:lnTo>
                    <a:lnTo>
                      <a:pt x="1165" y="438"/>
                    </a:lnTo>
                    <a:lnTo>
                      <a:pt x="1165" y="443"/>
                    </a:lnTo>
                    <a:lnTo>
                      <a:pt x="1165" y="450"/>
                    </a:lnTo>
                    <a:lnTo>
                      <a:pt x="1165" y="457"/>
                    </a:lnTo>
                    <a:lnTo>
                      <a:pt x="1166" y="463"/>
                    </a:lnTo>
                    <a:lnTo>
                      <a:pt x="1169" y="470"/>
                    </a:lnTo>
                    <a:lnTo>
                      <a:pt x="1171" y="476"/>
                    </a:lnTo>
                    <a:lnTo>
                      <a:pt x="1173" y="482"/>
                    </a:lnTo>
                    <a:lnTo>
                      <a:pt x="1177" y="487"/>
                    </a:lnTo>
                    <a:lnTo>
                      <a:pt x="1182" y="492"/>
                    </a:lnTo>
                    <a:lnTo>
                      <a:pt x="1188" y="494"/>
                    </a:lnTo>
                    <a:lnTo>
                      <a:pt x="1194" y="497"/>
                    </a:lnTo>
                    <a:lnTo>
                      <a:pt x="1199" y="497"/>
                    </a:lnTo>
                    <a:lnTo>
                      <a:pt x="1207" y="495"/>
                    </a:lnTo>
                    <a:lnTo>
                      <a:pt x="1213" y="493"/>
                    </a:lnTo>
                    <a:lnTo>
                      <a:pt x="1220" y="489"/>
                    </a:lnTo>
                    <a:lnTo>
                      <a:pt x="1227" y="483"/>
                    </a:lnTo>
                    <a:lnTo>
                      <a:pt x="1233" y="476"/>
                    </a:lnTo>
                    <a:lnTo>
                      <a:pt x="1239" y="470"/>
                    </a:lnTo>
                    <a:lnTo>
                      <a:pt x="1243" y="464"/>
                    </a:lnTo>
                    <a:lnTo>
                      <a:pt x="1248" y="461"/>
                    </a:lnTo>
                    <a:lnTo>
                      <a:pt x="1253" y="458"/>
                    </a:lnTo>
                    <a:lnTo>
                      <a:pt x="1255" y="458"/>
                    </a:lnTo>
                    <a:lnTo>
                      <a:pt x="1259" y="460"/>
                    </a:lnTo>
                    <a:lnTo>
                      <a:pt x="1260" y="463"/>
                    </a:lnTo>
                    <a:lnTo>
                      <a:pt x="1260" y="469"/>
                    </a:lnTo>
                    <a:lnTo>
                      <a:pt x="1260" y="482"/>
                    </a:lnTo>
                    <a:lnTo>
                      <a:pt x="1260" y="493"/>
                    </a:lnTo>
                    <a:lnTo>
                      <a:pt x="1261" y="498"/>
                    </a:lnTo>
                    <a:lnTo>
                      <a:pt x="1262" y="502"/>
                    </a:lnTo>
                    <a:lnTo>
                      <a:pt x="1265" y="505"/>
                    </a:lnTo>
                    <a:lnTo>
                      <a:pt x="1268" y="508"/>
                    </a:lnTo>
                    <a:lnTo>
                      <a:pt x="1270" y="510"/>
                    </a:lnTo>
                    <a:lnTo>
                      <a:pt x="1272" y="510"/>
                    </a:lnTo>
                    <a:lnTo>
                      <a:pt x="1274" y="508"/>
                    </a:lnTo>
                    <a:lnTo>
                      <a:pt x="1276" y="507"/>
                    </a:lnTo>
                    <a:lnTo>
                      <a:pt x="1280" y="504"/>
                    </a:lnTo>
                    <a:lnTo>
                      <a:pt x="1284" y="500"/>
                    </a:lnTo>
                    <a:lnTo>
                      <a:pt x="1289" y="498"/>
                    </a:lnTo>
                    <a:lnTo>
                      <a:pt x="1292" y="495"/>
                    </a:lnTo>
                    <a:lnTo>
                      <a:pt x="1293" y="495"/>
                    </a:lnTo>
                    <a:lnTo>
                      <a:pt x="1295" y="497"/>
                    </a:lnTo>
                    <a:lnTo>
                      <a:pt x="1296" y="499"/>
                    </a:lnTo>
                    <a:lnTo>
                      <a:pt x="1297" y="501"/>
                    </a:lnTo>
                    <a:lnTo>
                      <a:pt x="1299" y="516"/>
                    </a:lnTo>
                    <a:lnTo>
                      <a:pt x="1299" y="530"/>
                    </a:lnTo>
                    <a:lnTo>
                      <a:pt x="1301" y="535"/>
                    </a:lnTo>
                    <a:lnTo>
                      <a:pt x="1302" y="539"/>
                    </a:lnTo>
                    <a:lnTo>
                      <a:pt x="1304" y="541"/>
                    </a:lnTo>
                    <a:lnTo>
                      <a:pt x="1305" y="542"/>
                    </a:lnTo>
                    <a:lnTo>
                      <a:pt x="1308" y="543"/>
                    </a:lnTo>
                    <a:lnTo>
                      <a:pt x="1310" y="543"/>
                    </a:lnTo>
                    <a:lnTo>
                      <a:pt x="1316" y="542"/>
                    </a:lnTo>
                    <a:lnTo>
                      <a:pt x="1322" y="541"/>
                    </a:lnTo>
                    <a:lnTo>
                      <a:pt x="1328" y="538"/>
                    </a:lnTo>
                    <a:lnTo>
                      <a:pt x="1335" y="535"/>
                    </a:lnTo>
                    <a:lnTo>
                      <a:pt x="1342" y="531"/>
                    </a:lnTo>
                    <a:lnTo>
                      <a:pt x="1352" y="527"/>
                    </a:lnTo>
                    <a:lnTo>
                      <a:pt x="1364" y="524"/>
                    </a:lnTo>
                    <a:lnTo>
                      <a:pt x="1377" y="519"/>
                    </a:lnTo>
                    <a:lnTo>
                      <a:pt x="1403" y="514"/>
                    </a:lnTo>
                    <a:lnTo>
                      <a:pt x="1421" y="510"/>
                    </a:lnTo>
                    <a:lnTo>
                      <a:pt x="1428" y="507"/>
                    </a:lnTo>
                    <a:lnTo>
                      <a:pt x="1434" y="504"/>
                    </a:lnTo>
                    <a:lnTo>
                      <a:pt x="1438" y="499"/>
                    </a:lnTo>
                    <a:lnTo>
                      <a:pt x="1443" y="493"/>
                    </a:lnTo>
                    <a:lnTo>
                      <a:pt x="1447" y="486"/>
                    </a:lnTo>
                    <a:lnTo>
                      <a:pt x="1448" y="479"/>
                    </a:lnTo>
                    <a:lnTo>
                      <a:pt x="1448" y="472"/>
                    </a:lnTo>
                    <a:lnTo>
                      <a:pt x="1447" y="463"/>
                    </a:lnTo>
                    <a:lnTo>
                      <a:pt x="1446" y="456"/>
                    </a:lnTo>
                    <a:lnTo>
                      <a:pt x="1446" y="449"/>
                    </a:lnTo>
                    <a:lnTo>
                      <a:pt x="1446" y="443"/>
                    </a:lnTo>
                    <a:lnTo>
                      <a:pt x="1447" y="437"/>
                    </a:lnTo>
                    <a:lnTo>
                      <a:pt x="1453" y="430"/>
                    </a:lnTo>
                    <a:lnTo>
                      <a:pt x="1457" y="428"/>
                    </a:lnTo>
                    <a:lnTo>
                      <a:pt x="1459" y="425"/>
                    </a:lnTo>
                    <a:lnTo>
                      <a:pt x="1459" y="424"/>
                    </a:lnTo>
                    <a:lnTo>
                      <a:pt x="1459" y="420"/>
                    </a:lnTo>
                    <a:lnTo>
                      <a:pt x="1457" y="416"/>
                    </a:lnTo>
                    <a:lnTo>
                      <a:pt x="1456" y="410"/>
                    </a:lnTo>
                    <a:lnTo>
                      <a:pt x="1456" y="406"/>
                    </a:lnTo>
                    <a:lnTo>
                      <a:pt x="1457" y="404"/>
                    </a:lnTo>
                    <a:lnTo>
                      <a:pt x="1460" y="401"/>
                    </a:lnTo>
                    <a:lnTo>
                      <a:pt x="1462" y="400"/>
                    </a:lnTo>
                    <a:lnTo>
                      <a:pt x="1466" y="400"/>
                    </a:lnTo>
                    <a:lnTo>
                      <a:pt x="1471" y="401"/>
                    </a:lnTo>
                    <a:lnTo>
                      <a:pt x="1475" y="404"/>
                    </a:lnTo>
                    <a:lnTo>
                      <a:pt x="1480" y="405"/>
                    </a:lnTo>
                    <a:lnTo>
                      <a:pt x="1485" y="406"/>
                    </a:lnTo>
                    <a:lnTo>
                      <a:pt x="1490" y="406"/>
                    </a:lnTo>
                    <a:lnTo>
                      <a:pt x="1494" y="405"/>
                    </a:lnTo>
                    <a:lnTo>
                      <a:pt x="1498" y="403"/>
                    </a:lnTo>
                    <a:lnTo>
                      <a:pt x="1501" y="399"/>
                    </a:lnTo>
                    <a:lnTo>
                      <a:pt x="1505" y="394"/>
                    </a:lnTo>
                    <a:lnTo>
                      <a:pt x="1507" y="388"/>
                    </a:lnTo>
                    <a:lnTo>
                      <a:pt x="1510" y="376"/>
                    </a:lnTo>
                    <a:lnTo>
                      <a:pt x="1514" y="368"/>
                    </a:lnTo>
                    <a:lnTo>
                      <a:pt x="1517" y="367"/>
                    </a:lnTo>
                    <a:lnTo>
                      <a:pt x="1520" y="367"/>
                    </a:lnTo>
                    <a:lnTo>
                      <a:pt x="1525" y="368"/>
                    </a:lnTo>
                    <a:lnTo>
                      <a:pt x="1531" y="373"/>
                    </a:lnTo>
                    <a:lnTo>
                      <a:pt x="1536" y="379"/>
                    </a:lnTo>
                    <a:lnTo>
                      <a:pt x="1539" y="385"/>
                    </a:lnTo>
                    <a:lnTo>
                      <a:pt x="1543" y="391"/>
                    </a:lnTo>
                    <a:lnTo>
                      <a:pt x="1545" y="396"/>
                    </a:lnTo>
                    <a:lnTo>
                      <a:pt x="1548" y="400"/>
                    </a:lnTo>
                    <a:lnTo>
                      <a:pt x="1553" y="404"/>
                    </a:lnTo>
                    <a:lnTo>
                      <a:pt x="1558" y="407"/>
                    </a:lnTo>
                    <a:lnTo>
                      <a:pt x="1566" y="410"/>
                    </a:lnTo>
                    <a:lnTo>
                      <a:pt x="1579" y="411"/>
                    </a:lnTo>
                    <a:lnTo>
                      <a:pt x="1589" y="412"/>
                    </a:lnTo>
                    <a:lnTo>
                      <a:pt x="1594" y="412"/>
                    </a:lnTo>
                    <a:lnTo>
                      <a:pt x="1598" y="413"/>
                    </a:lnTo>
                    <a:lnTo>
                      <a:pt x="1601" y="415"/>
                    </a:lnTo>
                    <a:lnTo>
                      <a:pt x="1605" y="417"/>
                    </a:lnTo>
                    <a:lnTo>
                      <a:pt x="1608" y="422"/>
                    </a:lnTo>
                    <a:lnTo>
                      <a:pt x="1611" y="429"/>
                    </a:lnTo>
                    <a:lnTo>
                      <a:pt x="1613" y="444"/>
                    </a:lnTo>
                    <a:lnTo>
                      <a:pt x="1616" y="454"/>
                    </a:lnTo>
                    <a:lnTo>
                      <a:pt x="1618" y="457"/>
                    </a:lnTo>
                    <a:lnTo>
                      <a:pt x="1619" y="460"/>
                    </a:lnTo>
                    <a:lnTo>
                      <a:pt x="1623" y="461"/>
                    </a:lnTo>
                    <a:lnTo>
                      <a:pt x="1626" y="461"/>
                    </a:lnTo>
                    <a:lnTo>
                      <a:pt x="1630" y="460"/>
                    </a:lnTo>
                    <a:lnTo>
                      <a:pt x="1633" y="458"/>
                    </a:lnTo>
                    <a:lnTo>
                      <a:pt x="1637" y="454"/>
                    </a:lnTo>
                    <a:lnTo>
                      <a:pt x="1639" y="449"/>
                    </a:lnTo>
                    <a:lnTo>
                      <a:pt x="1641" y="443"/>
                    </a:lnTo>
                    <a:lnTo>
                      <a:pt x="1641" y="437"/>
                    </a:lnTo>
                    <a:lnTo>
                      <a:pt x="1642" y="429"/>
                    </a:lnTo>
                    <a:lnTo>
                      <a:pt x="1641" y="420"/>
                    </a:lnTo>
                    <a:lnTo>
                      <a:pt x="1639" y="404"/>
                    </a:lnTo>
                    <a:lnTo>
                      <a:pt x="1639" y="391"/>
                    </a:lnTo>
                    <a:lnTo>
                      <a:pt x="1639" y="385"/>
                    </a:lnTo>
                    <a:lnTo>
                      <a:pt x="1641" y="381"/>
                    </a:lnTo>
                    <a:lnTo>
                      <a:pt x="1642" y="379"/>
                    </a:lnTo>
                    <a:lnTo>
                      <a:pt x="1644" y="378"/>
                    </a:lnTo>
                    <a:lnTo>
                      <a:pt x="1649" y="378"/>
                    </a:lnTo>
                    <a:lnTo>
                      <a:pt x="1652" y="376"/>
                    </a:lnTo>
                    <a:lnTo>
                      <a:pt x="1654" y="375"/>
                    </a:lnTo>
                    <a:lnTo>
                      <a:pt x="1655" y="373"/>
                    </a:lnTo>
                    <a:lnTo>
                      <a:pt x="1655" y="369"/>
                    </a:lnTo>
                    <a:lnTo>
                      <a:pt x="1654" y="366"/>
                    </a:lnTo>
                    <a:lnTo>
                      <a:pt x="1652" y="361"/>
                    </a:lnTo>
                    <a:lnTo>
                      <a:pt x="1654" y="355"/>
                    </a:lnTo>
                    <a:lnTo>
                      <a:pt x="1655" y="349"/>
                    </a:lnTo>
                    <a:lnTo>
                      <a:pt x="1658" y="344"/>
                    </a:lnTo>
                    <a:lnTo>
                      <a:pt x="1661" y="340"/>
                    </a:lnTo>
                    <a:lnTo>
                      <a:pt x="1665" y="335"/>
                    </a:lnTo>
                    <a:lnTo>
                      <a:pt x="1670" y="331"/>
                    </a:lnTo>
                    <a:lnTo>
                      <a:pt x="1675" y="330"/>
                    </a:lnTo>
                    <a:lnTo>
                      <a:pt x="1679" y="329"/>
                    </a:lnTo>
                    <a:lnTo>
                      <a:pt x="1683" y="328"/>
                    </a:lnTo>
                    <a:lnTo>
                      <a:pt x="1687" y="329"/>
                    </a:lnTo>
                    <a:lnTo>
                      <a:pt x="1689" y="330"/>
                    </a:lnTo>
                    <a:lnTo>
                      <a:pt x="1692" y="333"/>
                    </a:lnTo>
                    <a:lnTo>
                      <a:pt x="1694" y="336"/>
                    </a:lnTo>
                    <a:lnTo>
                      <a:pt x="1696" y="341"/>
                    </a:lnTo>
                    <a:lnTo>
                      <a:pt x="1696" y="347"/>
                    </a:lnTo>
                    <a:lnTo>
                      <a:pt x="1699" y="353"/>
                    </a:lnTo>
                    <a:lnTo>
                      <a:pt x="1700" y="357"/>
                    </a:lnTo>
                    <a:lnTo>
                      <a:pt x="1704" y="361"/>
                    </a:lnTo>
                    <a:lnTo>
                      <a:pt x="1707" y="363"/>
                    </a:lnTo>
                    <a:lnTo>
                      <a:pt x="1711" y="366"/>
                    </a:lnTo>
                    <a:lnTo>
                      <a:pt x="1715" y="366"/>
                    </a:lnTo>
                    <a:lnTo>
                      <a:pt x="1721" y="367"/>
                    </a:lnTo>
                    <a:lnTo>
                      <a:pt x="1727" y="367"/>
                    </a:lnTo>
                    <a:lnTo>
                      <a:pt x="1740" y="367"/>
                    </a:lnTo>
                    <a:lnTo>
                      <a:pt x="1755" y="369"/>
                    </a:lnTo>
                    <a:lnTo>
                      <a:pt x="1769" y="372"/>
                    </a:lnTo>
                    <a:lnTo>
                      <a:pt x="1781" y="375"/>
                    </a:lnTo>
                    <a:lnTo>
                      <a:pt x="1786" y="378"/>
                    </a:lnTo>
                    <a:lnTo>
                      <a:pt x="1791" y="379"/>
                    </a:lnTo>
                    <a:lnTo>
                      <a:pt x="1797" y="379"/>
                    </a:lnTo>
                    <a:lnTo>
                      <a:pt x="1803" y="379"/>
                    </a:lnTo>
                    <a:lnTo>
                      <a:pt x="1807" y="378"/>
                    </a:lnTo>
                    <a:lnTo>
                      <a:pt x="1810" y="375"/>
                    </a:lnTo>
                    <a:lnTo>
                      <a:pt x="1812" y="372"/>
                    </a:lnTo>
                    <a:lnTo>
                      <a:pt x="1810" y="367"/>
                    </a:lnTo>
                    <a:lnTo>
                      <a:pt x="1803" y="357"/>
                    </a:lnTo>
                    <a:lnTo>
                      <a:pt x="1799" y="350"/>
                    </a:lnTo>
                    <a:lnTo>
                      <a:pt x="1796" y="346"/>
                    </a:lnTo>
                    <a:lnTo>
                      <a:pt x="1796" y="340"/>
                    </a:lnTo>
                    <a:lnTo>
                      <a:pt x="1797" y="334"/>
                    </a:lnTo>
                    <a:lnTo>
                      <a:pt x="1802" y="325"/>
                    </a:lnTo>
                    <a:lnTo>
                      <a:pt x="1803" y="322"/>
                    </a:lnTo>
                    <a:lnTo>
                      <a:pt x="1805" y="318"/>
                    </a:lnTo>
                    <a:lnTo>
                      <a:pt x="1807" y="312"/>
                    </a:lnTo>
                    <a:lnTo>
                      <a:pt x="1808" y="308"/>
                    </a:lnTo>
                    <a:lnTo>
                      <a:pt x="1810" y="299"/>
                    </a:lnTo>
                    <a:lnTo>
                      <a:pt x="1812" y="293"/>
                    </a:lnTo>
                    <a:lnTo>
                      <a:pt x="1810" y="291"/>
                    </a:lnTo>
                    <a:lnTo>
                      <a:pt x="1809" y="289"/>
                    </a:lnTo>
                    <a:lnTo>
                      <a:pt x="1808" y="289"/>
                    </a:lnTo>
                    <a:lnTo>
                      <a:pt x="1806" y="287"/>
                    </a:lnTo>
                    <a:lnTo>
                      <a:pt x="1802" y="289"/>
                    </a:lnTo>
                    <a:lnTo>
                      <a:pt x="1797" y="291"/>
                    </a:lnTo>
                    <a:lnTo>
                      <a:pt x="1793" y="294"/>
                    </a:lnTo>
                    <a:lnTo>
                      <a:pt x="1787" y="298"/>
                    </a:lnTo>
                    <a:lnTo>
                      <a:pt x="1776" y="306"/>
                    </a:lnTo>
                    <a:lnTo>
                      <a:pt x="1765" y="312"/>
                    </a:lnTo>
                    <a:lnTo>
                      <a:pt x="1759" y="313"/>
                    </a:lnTo>
                    <a:lnTo>
                      <a:pt x="1755" y="313"/>
                    </a:lnTo>
                    <a:lnTo>
                      <a:pt x="1750" y="312"/>
                    </a:lnTo>
                    <a:lnTo>
                      <a:pt x="1746" y="311"/>
                    </a:lnTo>
                    <a:lnTo>
                      <a:pt x="1744" y="308"/>
                    </a:lnTo>
                    <a:lnTo>
                      <a:pt x="1742" y="304"/>
                    </a:lnTo>
                    <a:lnTo>
                      <a:pt x="1742" y="300"/>
                    </a:lnTo>
                    <a:lnTo>
                      <a:pt x="1743" y="296"/>
                    </a:lnTo>
                    <a:lnTo>
                      <a:pt x="1747" y="291"/>
                    </a:lnTo>
                    <a:lnTo>
                      <a:pt x="1752" y="285"/>
                    </a:lnTo>
                    <a:lnTo>
                      <a:pt x="1759" y="279"/>
                    </a:lnTo>
                    <a:lnTo>
                      <a:pt x="1768" y="273"/>
                    </a:lnTo>
                    <a:lnTo>
                      <a:pt x="1784" y="261"/>
                    </a:lnTo>
                    <a:lnTo>
                      <a:pt x="1797" y="254"/>
                    </a:lnTo>
                    <a:lnTo>
                      <a:pt x="1803" y="252"/>
                    </a:lnTo>
                    <a:lnTo>
                      <a:pt x="1809" y="250"/>
                    </a:lnTo>
                    <a:lnTo>
                      <a:pt x="1815" y="250"/>
                    </a:lnTo>
                    <a:lnTo>
                      <a:pt x="1821" y="250"/>
                    </a:lnTo>
                    <a:lnTo>
                      <a:pt x="1827" y="253"/>
                    </a:lnTo>
                    <a:lnTo>
                      <a:pt x="1833" y="255"/>
                    </a:lnTo>
                    <a:lnTo>
                      <a:pt x="1840" y="259"/>
                    </a:lnTo>
                    <a:lnTo>
                      <a:pt x="1845" y="262"/>
                    </a:lnTo>
                    <a:lnTo>
                      <a:pt x="1856" y="272"/>
                    </a:lnTo>
                    <a:lnTo>
                      <a:pt x="1864" y="279"/>
                    </a:lnTo>
                    <a:lnTo>
                      <a:pt x="1870" y="281"/>
                    </a:lnTo>
                    <a:lnTo>
                      <a:pt x="1876" y="284"/>
                    </a:lnTo>
                    <a:lnTo>
                      <a:pt x="1884" y="285"/>
                    </a:lnTo>
                    <a:lnTo>
                      <a:pt x="1894" y="286"/>
                    </a:lnTo>
                    <a:lnTo>
                      <a:pt x="1903" y="285"/>
                    </a:lnTo>
                    <a:lnTo>
                      <a:pt x="1909" y="284"/>
                    </a:lnTo>
                    <a:lnTo>
                      <a:pt x="1914" y="281"/>
                    </a:lnTo>
                    <a:lnTo>
                      <a:pt x="1916" y="278"/>
                    </a:lnTo>
                    <a:lnTo>
                      <a:pt x="1916" y="274"/>
                    </a:lnTo>
                    <a:lnTo>
                      <a:pt x="1916" y="271"/>
                    </a:lnTo>
                    <a:lnTo>
                      <a:pt x="1914" y="267"/>
                    </a:lnTo>
                    <a:lnTo>
                      <a:pt x="1913" y="264"/>
                    </a:lnTo>
                    <a:lnTo>
                      <a:pt x="1912" y="259"/>
                    </a:lnTo>
                    <a:lnTo>
                      <a:pt x="1912" y="255"/>
                    </a:lnTo>
                    <a:lnTo>
                      <a:pt x="1912" y="250"/>
                    </a:lnTo>
                    <a:lnTo>
                      <a:pt x="1913" y="247"/>
                    </a:lnTo>
                    <a:lnTo>
                      <a:pt x="1915" y="243"/>
                    </a:lnTo>
                    <a:lnTo>
                      <a:pt x="1919" y="239"/>
                    </a:lnTo>
                    <a:lnTo>
                      <a:pt x="1922" y="235"/>
                    </a:lnTo>
                    <a:lnTo>
                      <a:pt x="1927" y="231"/>
                    </a:lnTo>
                    <a:lnTo>
                      <a:pt x="1935" y="224"/>
                    </a:lnTo>
                    <a:lnTo>
                      <a:pt x="1942" y="216"/>
                    </a:lnTo>
                    <a:lnTo>
                      <a:pt x="1945" y="212"/>
                    </a:lnTo>
                    <a:lnTo>
                      <a:pt x="1947" y="208"/>
                    </a:lnTo>
                    <a:lnTo>
                      <a:pt x="1948" y="203"/>
                    </a:lnTo>
                    <a:lnTo>
                      <a:pt x="1950" y="197"/>
                    </a:lnTo>
                    <a:lnTo>
                      <a:pt x="1951" y="189"/>
                    </a:lnTo>
                    <a:lnTo>
                      <a:pt x="1952" y="182"/>
                    </a:lnTo>
                    <a:lnTo>
                      <a:pt x="1956" y="176"/>
                    </a:lnTo>
                    <a:lnTo>
                      <a:pt x="1961" y="170"/>
                    </a:lnTo>
                    <a:lnTo>
                      <a:pt x="1966" y="166"/>
                    </a:lnTo>
                    <a:lnTo>
                      <a:pt x="1969" y="165"/>
                    </a:lnTo>
                    <a:lnTo>
                      <a:pt x="1972" y="164"/>
                    </a:lnTo>
                    <a:lnTo>
                      <a:pt x="1975" y="165"/>
                    </a:lnTo>
                    <a:lnTo>
                      <a:pt x="1979" y="167"/>
                    </a:lnTo>
                    <a:lnTo>
                      <a:pt x="1984" y="171"/>
                    </a:lnTo>
                    <a:lnTo>
                      <a:pt x="1989" y="172"/>
                    </a:lnTo>
                    <a:lnTo>
                      <a:pt x="1995" y="172"/>
                    </a:lnTo>
                    <a:lnTo>
                      <a:pt x="2000" y="172"/>
                    </a:lnTo>
                    <a:lnTo>
                      <a:pt x="2004" y="170"/>
                    </a:lnTo>
                    <a:lnTo>
                      <a:pt x="2014" y="165"/>
                    </a:lnTo>
                    <a:lnTo>
                      <a:pt x="2022" y="161"/>
                    </a:lnTo>
                    <a:lnTo>
                      <a:pt x="2026" y="160"/>
                    </a:lnTo>
                    <a:lnTo>
                      <a:pt x="2030" y="160"/>
                    </a:lnTo>
                    <a:lnTo>
                      <a:pt x="2035" y="160"/>
                    </a:lnTo>
                    <a:lnTo>
                      <a:pt x="2040" y="161"/>
                    </a:lnTo>
                    <a:lnTo>
                      <a:pt x="2051" y="165"/>
                    </a:lnTo>
                    <a:lnTo>
                      <a:pt x="2058" y="170"/>
                    </a:lnTo>
                    <a:lnTo>
                      <a:pt x="2060" y="173"/>
                    </a:lnTo>
                    <a:lnTo>
                      <a:pt x="2061" y="177"/>
                    </a:lnTo>
                    <a:lnTo>
                      <a:pt x="2063" y="180"/>
                    </a:lnTo>
                    <a:lnTo>
                      <a:pt x="2061" y="185"/>
                    </a:lnTo>
                    <a:lnTo>
                      <a:pt x="2060" y="189"/>
                    </a:lnTo>
                    <a:lnTo>
                      <a:pt x="2058" y="193"/>
                    </a:lnTo>
                    <a:lnTo>
                      <a:pt x="2054" y="196"/>
                    </a:lnTo>
                    <a:lnTo>
                      <a:pt x="2051" y="199"/>
                    </a:lnTo>
                    <a:lnTo>
                      <a:pt x="2047" y="203"/>
                    </a:lnTo>
                    <a:lnTo>
                      <a:pt x="2045" y="205"/>
                    </a:lnTo>
                    <a:lnTo>
                      <a:pt x="2042" y="210"/>
                    </a:lnTo>
                    <a:lnTo>
                      <a:pt x="2042" y="215"/>
                    </a:lnTo>
                    <a:lnTo>
                      <a:pt x="2043" y="218"/>
                    </a:lnTo>
                    <a:lnTo>
                      <a:pt x="2047" y="222"/>
                    </a:lnTo>
                    <a:lnTo>
                      <a:pt x="2052" y="226"/>
                    </a:lnTo>
                    <a:lnTo>
                      <a:pt x="2058" y="227"/>
                    </a:lnTo>
                    <a:lnTo>
                      <a:pt x="2064" y="228"/>
                    </a:lnTo>
                    <a:lnTo>
                      <a:pt x="2072" y="229"/>
                    </a:lnTo>
                    <a:lnTo>
                      <a:pt x="2079" y="229"/>
                    </a:lnTo>
                    <a:lnTo>
                      <a:pt x="2085" y="228"/>
                    </a:lnTo>
                    <a:lnTo>
                      <a:pt x="2091" y="227"/>
                    </a:lnTo>
                    <a:lnTo>
                      <a:pt x="2095" y="224"/>
                    </a:lnTo>
                    <a:lnTo>
                      <a:pt x="2097" y="221"/>
                    </a:lnTo>
                    <a:lnTo>
                      <a:pt x="2098" y="217"/>
                    </a:lnTo>
                    <a:lnTo>
                      <a:pt x="2097" y="209"/>
                    </a:lnTo>
                    <a:lnTo>
                      <a:pt x="2093" y="198"/>
                    </a:lnTo>
                    <a:lnTo>
                      <a:pt x="2092" y="193"/>
                    </a:lnTo>
                    <a:lnTo>
                      <a:pt x="2091" y="187"/>
                    </a:lnTo>
                    <a:lnTo>
                      <a:pt x="2090" y="182"/>
                    </a:lnTo>
                    <a:lnTo>
                      <a:pt x="2091" y="177"/>
                    </a:lnTo>
                    <a:lnTo>
                      <a:pt x="2092" y="172"/>
                    </a:lnTo>
                    <a:lnTo>
                      <a:pt x="2095" y="167"/>
                    </a:lnTo>
                    <a:lnTo>
                      <a:pt x="2098" y="164"/>
                    </a:lnTo>
                    <a:lnTo>
                      <a:pt x="2103" y="160"/>
                    </a:lnTo>
                    <a:lnTo>
                      <a:pt x="2111" y="157"/>
                    </a:lnTo>
                    <a:lnTo>
                      <a:pt x="2117" y="153"/>
                    </a:lnTo>
                    <a:lnTo>
                      <a:pt x="2121" y="149"/>
                    </a:lnTo>
                    <a:lnTo>
                      <a:pt x="2123" y="145"/>
                    </a:lnTo>
                    <a:lnTo>
                      <a:pt x="2126" y="138"/>
                    </a:lnTo>
                    <a:lnTo>
                      <a:pt x="2129" y="129"/>
                    </a:lnTo>
                    <a:lnTo>
                      <a:pt x="2135" y="113"/>
                    </a:lnTo>
                    <a:lnTo>
                      <a:pt x="2141" y="102"/>
                    </a:lnTo>
                    <a:lnTo>
                      <a:pt x="2145" y="97"/>
                    </a:lnTo>
                    <a:lnTo>
                      <a:pt x="2148" y="95"/>
                    </a:lnTo>
                    <a:lnTo>
                      <a:pt x="2153" y="94"/>
                    </a:lnTo>
                    <a:lnTo>
                      <a:pt x="2158" y="92"/>
                    </a:lnTo>
                    <a:lnTo>
                      <a:pt x="2172" y="91"/>
                    </a:lnTo>
                    <a:lnTo>
                      <a:pt x="2187" y="92"/>
                    </a:lnTo>
                    <a:lnTo>
                      <a:pt x="2193" y="94"/>
                    </a:lnTo>
                    <a:lnTo>
                      <a:pt x="2199" y="97"/>
                    </a:lnTo>
                    <a:lnTo>
                      <a:pt x="2202" y="98"/>
                    </a:lnTo>
                    <a:lnTo>
                      <a:pt x="2204" y="101"/>
                    </a:lnTo>
                    <a:lnTo>
                      <a:pt x="2205" y="103"/>
                    </a:lnTo>
                    <a:lnTo>
                      <a:pt x="2205" y="105"/>
                    </a:lnTo>
                    <a:lnTo>
                      <a:pt x="2205" y="119"/>
                    </a:lnTo>
                    <a:lnTo>
                      <a:pt x="2204" y="133"/>
                    </a:lnTo>
                    <a:lnTo>
                      <a:pt x="2203" y="140"/>
                    </a:lnTo>
                    <a:lnTo>
                      <a:pt x="2203" y="148"/>
                    </a:lnTo>
                    <a:lnTo>
                      <a:pt x="2203" y="154"/>
                    </a:lnTo>
                    <a:lnTo>
                      <a:pt x="2205" y="160"/>
                    </a:lnTo>
                    <a:lnTo>
                      <a:pt x="2209" y="165"/>
                    </a:lnTo>
                    <a:lnTo>
                      <a:pt x="2211" y="168"/>
                    </a:lnTo>
                    <a:lnTo>
                      <a:pt x="2215" y="171"/>
                    </a:lnTo>
                    <a:lnTo>
                      <a:pt x="2218" y="172"/>
                    </a:lnTo>
                    <a:lnTo>
                      <a:pt x="2222" y="172"/>
                    </a:lnTo>
                    <a:lnTo>
                      <a:pt x="2225" y="170"/>
                    </a:lnTo>
                    <a:lnTo>
                      <a:pt x="2229" y="167"/>
                    </a:lnTo>
                    <a:lnTo>
                      <a:pt x="2233" y="164"/>
                    </a:lnTo>
                    <a:lnTo>
                      <a:pt x="2240" y="155"/>
                    </a:lnTo>
                    <a:lnTo>
                      <a:pt x="2247" y="148"/>
                    </a:lnTo>
                    <a:lnTo>
                      <a:pt x="2253" y="145"/>
                    </a:lnTo>
                    <a:lnTo>
                      <a:pt x="2257" y="144"/>
                    </a:lnTo>
                    <a:lnTo>
                      <a:pt x="2261" y="144"/>
                    </a:lnTo>
                    <a:lnTo>
                      <a:pt x="2262" y="145"/>
                    </a:lnTo>
                    <a:lnTo>
                      <a:pt x="2265" y="148"/>
                    </a:lnTo>
                    <a:lnTo>
                      <a:pt x="2266" y="151"/>
                    </a:lnTo>
                    <a:lnTo>
                      <a:pt x="2268" y="160"/>
                    </a:lnTo>
                    <a:lnTo>
                      <a:pt x="2268" y="170"/>
                    </a:lnTo>
                    <a:lnTo>
                      <a:pt x="2269" y="178"/>
                    </a:lnTo>
                    <a:lnTo>
                      <a:pt x="2272" y="183"/>
                    </a:lnTo>
                    <a:lnTo>
                      <a:pt x="2274" y="184"/>
                    </a:lnTo>
                    <a:lnTo>
                      <a:pt x="2276" y="184"/>
                    </a:lnTo>
                    <a:lnTo>
                      <a:pt x="2280" y="183"/>
                    </a:lnTo>
                    <a:lnTo>
                      <a:pt x="2286" y="180"/>
                    </a:lnTo>
                    <a:lnTo>
                      <a:pt x="2292" y="176"/>
                    </a:lnTo>
                    <a:lnTo>
                      <a:pt x="2297" y="171"/>
                    </a:lnTo>
                    <a:lnTo>
                      <a:pt x="2303" y="164"/>
                    </a:lnTo>
                    <a:lnTo>
                      <a:pt x="2307" y="158"/>
                    </a:lnTo>
                    <a:lnTo>
                      <a:pt x="2316" y="142"/>
                    </a:lnTo>
                    <a:lnTo>
                      <a:pt x="2323" y="129"/>
                    </a:lnTo>
                    <a:lnTo>
                      <a:pt x="2329" y="119"/>
                    </a:lnTo>
                    <a:lnTo>
                      <a:pt x="2335" y="109"/>
                    </a:lnTo>
                    <a:lnTo>
                      <a:pt x="2338" y="105"/>
                    </a:lnTo>
                    <a:lnTo>
                      <a:pt x="2342" y="102"/>
                    </a:lnTo>
                    <a:lnTo>
                      <a:pt x="2347" y="98"/>
                    </a:lnTo>
                    <a:lnTo>
                      <a:pt x="2353" y="96"/>
                    </a:lnTo>
                    <a:lnTo>
                      <a:pt x="2357" y="94"/>
                    </a:lnTo>
                    <a:lnTo>
                      <a:pt x="2362" y="90"/>
                    </a:lnTo>
                    <a:lnTo>
                      <a:pt x="2364" y="88"/>
                    </a:lnTo>
                    <a:lnTo>
                      <a:pt x="2368" y="85"/>
                    </a:lnTo>
                    <a:lnTo>
                      <a:pt x="2370" y="78"/>
                    </a:lnTo>
                    <a:lnTo>
                      <a:pt x="2373" y="70"/>
                    </a:lnTo>
                    <a:lnTo>
                      <a:pt x="2374" y="58"/>
                    </a:lnTo>
                    <a:lnTo>
                      <a:pt x="2378" y="46"/>
                    </a:lnTo>
                    <a:lnTo>
                      <a:pt x="2381" y="40"/>
                    </a:lnTo>
                    <a:lnTo>
                      <a:pt x="2385" y="35"/>
                    </a:lnTo>
                    <a:lnTo>
                      <a:pt x="2388" y="32"/>
                    </a:lnTo>
                    <a:lnTo>
                      <a:pt x="2394" y="29"/>
                    </a:lnTo>
                    <a:lnTo>
                      <a:pt x="2407" y="29"/>
                    </a:lnTo>
                    <a:lnTo>
                      <a:pt x="2424" y="29"/>
                    </a:lnTo>
                    <a:lnTo>
                      <a:pt x="2432" y="31"/>
                    </a:lnTo>
                    <a:lnTo>
                      <a:pt x="2439" y="33"/>
                    </a:lnTo>
                    <a:lnTo>
                      <a:pt x="2445" y="35"/>
                    </a:lnTo>
                    <a:lnTo>
                      <a:pt x="2450" y="40"/>
                    </a:lnTo>
                    <a:lnTo>
                      <a:pt x="2457" y="48"/>
                    </a:lnTo>
                    <a:lnTo>
                      <a:pt x="2464" y="54"/>
                    </a:lnTo>
                    <a:lnTo>
                      <a:pt x="2469" y="57"/>
                    </a:lnTo>
                    <a:lnTo>
                      <a:pt x="2475" y="58"/>
                    </a:lnTo>
                    <a:lnTo>
                      <a:pt x="2482" y="58"/>
                    </a:lnTo>
                    <a:lnTo>
                      <a:pt x="2490" y="57"/>
                    </a:lnTo>
                    <a:lnTo>
                      <a:pt x="2500" y="56"/>
                    </a:lnTo>
                    <a:lnTo>
                      <a:pt x="2507" y="53"/>
                    </a:lnTo>
                    <a:lnTo>
                      <a:pt x="2513" y="50"/>
                    </a:lnTo>
                    <a:lnTo>
                      <a:pt x="2518" y="46"/>
                    </a:lnTo>
                    <a:lnTo>
                      <a:pt x="2520" y="41"/>
                    </a:lnTo>
                    <a:lnTo>
                      <a:pt x="2523" y="37"/>
                    </a:lnTo>
                    <a:lnTo>
                      <a:pt x="2524" y="32"/>
                    </a:lnTo>
                    <a:lnTo>
                      <a:pt x="2525" y="26"/>
                    </a:lnTo>
                    <a:lnTo>
                      <a:pt x="2525" y="20"/>
                    </a:lnTo>
                    <a:lnTo>
                      <a:pt x="2526" y="14"/>
                    </a:lnTo>
                    <a:lnTo>
                      <a:pt x="2528" y="8"/>
                    </a:lnTo>
                    <a:lnTo>
                      <a:pt x="2531" y="3"/>
                    </a:lnTo>
                    <a:lnTo>
                      <a:pt x="2533" y="1"/>
                    </a:lnTo>
                    <a:lnTo>
                      <a:pt x="2537" y="0"/>
                    </a:lnTo>
                    <a:lnTo>
                      <a:pt x="2540" y="1"/>
                    </a:lnTo>
                    <a:lnTo>
                      <a:pt x="2545" y="6"/>
                    </a:lnTo>
                    <a:lnTo>
                      <a:pt x="2553" y="18"/>
                    </a:lnTo>
                    <a:lnTo>
                      <a:pt x="2561" y="27"/>
                    </a:lnTo>
                    <a:lnTo>
                      <a:pt x="2565" y="32"/>
                    </a:lnTo>
                    <a:lnTo>
                      <a:pt x="2570" y="34"/>
                    </a:lnTo>
                    <a:lnTo>
                      <a:pt x="2576" y="37"/>
                    </a:lnTo>
                    <a:lnTo>
                      <a:pt x="2583" y="37"/>
                    </a:lnTo>
                    <a:lnTo>
                      <a:pt x="2597" y="35"/>
                    </a:lnTo>
                    <a:lnTo>
                      <a:pt x="2611" y="34"/>
                    </a:lnTo>
                    <a:lnTo>
                      <a:pt x="2616" y="34"/>
                    </a:lnTo>
                    <a:lnTo>
                      <a:pt x="2622" y="34"/>
                    </a:lnTo>
                    <a:lnTo>
                      <a:pt x="2630" y="37"/>
                    </a:lnTo>
                    <a:lnTo>
                      <a:pt x="2637" y="40"/>
                    </a:lnTo>
                    <a:lnTo>
                      <a:pt x="2650" y="48"/>
                    </a:lnTo>
                    <a:lnTo>
                      <a:pt x="2660" y="56"/>
                    </a:lnTo>
                    <a:lnTo>
                      <a:pt x="2664" y="60"/>
                    </a:lnTo>
                    <a:lnTo>
                      <a:pt x="2666" y="64"/>
                    </a:lnTo>
                    <a:lnTo>
                      <a:pt x="2668" y="67"/>
                    </a:lnTo>
                    <a:lnTo>
                      <a:pt x="2668" y="71"/>
                    </a:lnTo>
                    <a:lnTo>
                      <a:pt x="2665" y="81"/>
                    </a:lnTo>
                    <a:lnTo>
                      <a:pt x="2663" y="90"/>
                    </a:lnTo>
                    <a:lnTo>
                      <a:pt x="2662" y="100"/>
                    </a:lnTo>
                    <a:lnTo>
                      <a:pt x="2660" y="110"/>
                    </a:lnTo>
                    <a:lnTo>
                      <a:pt x="2658" y="122"/>
                    </a:lnTo>
                    <a:lnTo>
                      <a:pt x="2655" y="133"/>
                    </a:lnTo>
                    <a:lnTo>
                      <a:pt x="2650" y="145"/>
                    </a:lnTo>
                    <a:lnTo>
                      <a:pt x="2643" y="155"/>
                    </a:lnTo>
                    <a:lnTo>
                      <a:pt x="2639" y="161"/>
                    </a:lnTo>
                    <a:lnTo>
                      <a:pt x="2637" y="166"/>
                    </a:lnTo>
                    <a:lnTo>
                      <a:pt x="2634" y="171"/>
                    </a:lnTo>
                    <a:lnTo>
                      <a:pt x="2633" y="176"/>
                    </a:lnTo>
                    <a:lnTo>
                      <a:pt x="2633" y="179"/>
                    </a:lnTo>
                    <a:lnTo>
                      <a:pt x="2634" y="183"/>
                    </a:lnTo>
                    <a:lnTo>
                      <a:pt x="2637" y="185"/>
                    </a:lnTo>
                    <a:lnTo>
                      <a:pt x="2639" y="187"/>
                    </a:lnTo>
                    <a:lnTo>
                      <a:pt x="2643" y="190"/>
                    </a:lnTo>
                    <a:lnTo>
                      <a:pt x="2644" y="192"/>
                    </a:lnTo>
                    <a:lnTo>
                      <a:pt x="2645" y="195"/>
                    </a:lnTo>
                    <a:lnTo>
                      <a:pt x="2645" y="197"/>
                    </a:lnTo>
                    <a:lnTo>
                      <a:pt x="2645" y="204"/>
                    </a:lnTo>
                    <a:lnTo>
                      <a:pt x="2645" y="212"/>
                    </a:lnTo>
                    <a:lnTo>
                      <a:pt x="2647" y="222"/>
                    </a:lnTo>
                    <a:lnTo>
                      <a:pt x="2651" y="230"/>
                    </a:lnTo>
                    <a:lnTo>
                      <a:pt x="2653" y="233"/>
                    </a:lnTo>
                    <a:lnTo>
                      <a:pt x="2657" y="233"/>
                    </a:lnTo>
                    <a:lnTo>
                      <a:pt x="2662" y="231"/>
                    </a:lnTo>
                    <a:lnTo>
                      <a:pt x="2668" y="228"/>
                    </a:lnTo>
                    <a:lnTo>
                      <a:pt x="2677" y="217"/>
                    </a:lnTo>
                    <a:lnTo>
                      <a:pt x="2685" y="210"/>
                    </a:lnTo>
                    <a:lnTo>
                      <a:pt x="2690" y="209"/>
                    </a:lnTo>
                    <a:lnTo>
                      <a:pt x="2694" y="208"/>
                    </a:lnTo>
                    <a:lnTo>
                      <a:pt x="2700" y="207"/>
                    </a:lnTo>
                    <a:lnTo>
                      <a:pt x="2707" y="208"/>
                    </a:lnTo>
                    <a:lnTo>
                      <a:pt x="2720" y="211"/>
                    </a:lnTo>
                    <a:lnTo>
                      <a:pt x="2732" y="212"/>
                    </a:lnTo>
                    <a:lnTo>
                      <a:pt x="2740" y="214"/>
                    </a:lnTo>
                    <a:lnTo>
                      <a:pt x="2745" y="217"/>
                    </a:lnTo>
                    <a:lnTo>
                      <a:pt x="2746" y="218"/>
                    </a:lnTo>
                    <a:lnTo>
                      <a:pt x="2746" y="221"/>
                    </a:lnTo>
                    <a:lnTo>
                      <a:pt x="2745" y="223"/>
                    </a:lnTo>
                    <a:lnTo>
                      <a:pt x="2742" y="226"/>
                    </a:lnTo>
                    <a:lnTo>
                      <a:pt x="2735" y="231"/>
                    </a:lnTo>
                    <a:lnTo>
                      <a:pt x="2729" y="237"/>
                    </a:lnTo>
                    <a:lnTo>
                      <a:pt x="2731" y="247"/>
                    </a:lnTo>
                    <a:lnTo>
                      <a:pt x="2732" y="258"/>
                    </a:lnTo>
                    <a:lnTo>
                      <a:pt x="2729" y="261"/>
                    </a:lnTo>
                    <a:lnTo>
                      <a:pt x="2726" y="265"/>
                    </a:lnTo>
                    <a:lnTo>
                      <a:pt x="2722" y="267"/>
                    </a:lnTo>
                    <a:lnTo>
                      <a:pt x="2718" y="270"/>
                    </a:lnTo>
                    <a:lnTo>
                      <a:pt x="2713" y="272"/>
                    </a:lnTo>
                    <a:lnTo>
                      <a:pt x="2707" y="273"/>
                    </a:lnTo>
                    <a:lnTo>
                      <a:pt x="2701" y="273"/>
                    </a:lnTo>
                    <a:lnTo>
                      <a:pt x="2696" y="273"/>
                    </a:lnTo>
                    <a:lnTo>
                      <a:pt x="2688" y="273"/>
                    </a:lnTo>
                    <a:lnTo>
                      <a:pt x="2683" y="274"/>
                    </a:lnTo>
                    <a:lnTo>
                      <a:pt x="2678" y="275"/>
                    </a:lnTo>
                    <a:lnTo>
                      <a:pt x="2676" y="279"/>
                    </a:lnTo>
                    <a:lnTo>
                      <a:pt x="2675" y="283"/>
                    </a:lnTo>
                    <a:lnTo>
                      <a:pt x="2675" y="286"/>
                    </a:lnTo>
                    <a:lnTo>
                      <a:pt x="2675" y="292"/>
                    </a:lnTo>
                    <a:lnTo>
                      <a:pt x="2675" y="298"/>
                    </a:lnTo>
                    <a:lnTo>
                      <a:pt x="2677" y="312"/>
                    </a:lnTo>
                    <a:lnTo>
                      <a:pt x="2681" y="325"/>
                    </a:lnTo>
                    <a:lnTo>
                      <a:pt x="2685" y="337"/>
                    </a:lnTo>
                    <a:lnTo>
                      <a:pt x="2689" y="350"/>
                    </a:lnTo>
                    <a:lnTo>
                      <a:pt x="2690" y="357"/>
                    </a:lnTo>
                    <a:lnTo>
                      <a:pt x="2690" y="363"/>
                    </a:lnTo>
                    <a:lnTo>
                      <a:pt x="2690" y="371"/>
                    </a:lnTo>
                    <a:lnTo>
                      <a:pt x="2689" y="378"/>
                    </a:lnTo>
                    <a:lnTo>
                      <a:pt x="2688" y="385"/>
                    </a:lnTo>
                    <a:lnTo>
                      <a:pt x="2684" y="392"/>
                    </a:lnTo>
                    <a:lnTo>
                      <a:pt x="2682" y="398"/>
                    </a:lnTo>
                    <a:lnTo>
                      <a:pt x="2677" y="403"/>
                    </a:lnTo>
                    <a:lnTo>
                      <a:pt x="2668" y="413"/>
                    </a:lnTo>
                    <a:lnTo>
                      <a:pt x="2657" y="424"/>
                    </a:lnTo>
                    <a:lnTo>
                      <a:pt x="2646" y="436"/>
                    </a:lnTo>
                    <a:lnTo>
                      <a:pt x="2634" y="448"/>
                    </a:lnTo>
                    <a:lnTo>
                      <a:pt x="2622" y="458"/>
                    </a:lnTo>
                    <a:lnTo>
                      <a:pt x="2614" y="468"/>
                    </a:lnTo>
                    <a:lnTo>
                      <a:pt x="2611" y="473"/>
                    </a:lnTo>
                    <a:lnTo>
                      <a:pt x="2609" y="478"/>
                    </a:lnTo>
                    <a:lnTo>
                      <a:pt x="2607" y="482"/>
                    </a:lnTo>
                    <a:lnTo>
                      <a:pt x="2607" y="489"/>
                    </a:lnTo>
                    <a:lnTo>
                      <a:pt x="2606" y="501"/>
                    </a:lnTo>
                    <a:lnTo>
                      <a:pt x="2605" y="508"/>
                    </a:lnTo>
                    <a:lnTo>
                      <a:pt x="2603" y="512"/>
                    </a:lnTo>
                    <a:lnTo>
                      <a:pt x="2601" y="514"/>
                    </a:lnTo>
                    <a:lnTo>
                      <a:pt x="2599" y="517"/>
                    </a:lnTo>
                    <a:lnTo>
                      <a:pt x="2593" y="520"/>
                    </a:lnTo>
                    <a:lnTo>
                      <a:pt x="2582" y="525"/>
                    </a:lnTo>
                    <a:lnTo>
                      <a:pt x="2570" y="531"/>
                    </a:lnTo>
                    <a:lnTo>
                      <a:pt x="2565" y="535"/>
                    </a:lnTo>
                    <a:lnTo>
                      <a:pt x="2561" y="538"/>
                    </a:lnTo>
                    <a:lnTo>
                      <a:pt x="2557" y="543"/>
                    </a:lnTo>
                    <a:lnTo>
                      <a:pt x="2553" y="549"/>
                    </a:lnTo>
                    <a:lnTo>
                      <a:pt x="2551" y="555"/>
                    </a:lnTo>
                    <a:lnTo>
                      <a:pt x="2550" y="562"/>
                    </a:lnTo>
                    <a:lnTo>
                      <a:pt x="2549" y="569"/>
                    </a:lnTo>
                    <a:lnTo>
                      <a:pt x="2549" y="576"/>
                    </a:lnTo>
                    <a:lnTo>
                      <a:pt x="2550" y="592"/>
                    </a:lnTo>
                    <a:lnTo>
                      <a:pt x="2552" y="606"/>
                    </a:lnTo>
                    <a:lnTo>
                      <a:pt x="2555" y="619"/>
                    </a:lnTo>
                    <a:lnTo>
                      <a:pt x="2558" y="628"/>
                    </a:lnTo>
                    <a:lnTo>
                      <a:pt x="2561" y="632"/>
                    </a:lnTo>
                    <a:lnTo>
                      <a:pt x="2564" y="634"/>
                    </a:lnTo>
                    <a:lnTo>
                      <a:pt x="2569" y="637"/>
                    </a:lnTo>
                    <a:lnTo>
                      <a:pt x="2576" y="637"/>
                    </a:lnTo>
                    <a:lnTo>
                      <a:pt x="2582" y="637"/>
                    </a:lnTo>
                    <a:lnTo>
                      <a:pt x="2589" y="637"/>
                    </a:lnTo>
                    <a:lnTo>
                      <a:pt x="2594" y="636"/>
                    </a:lnTo>
                    <a:lnTo>
                      <a:pt x="2599" y="634"/>
                    </a:lnTo>
                    <a:lnTo>
                      <a:pt x="2602" y="632"/>
                    </a:lnTo>
                    <a:lnTo>
                      <a:pt x="2605" y="630"/>
                    </a:lnTo>
                    <a:lnTo>
                      <a:pt x="2607" y="625"/>
                    </a:lnTo>
                    <a:lnTo>
                      <a:pt x="2608" y="619"/>
                    </a:lnTo>
                    <a:lnTo>
                      <a:pt x="2609" y="608"/>
                    </a:lnTo>
                    <a:lnTo>
                      <a:pt x="2612" y="598"/>
                    </a:lnTo>
                    <a:lnTo>
                      <a:pt x="2614" y="593"/>
                    </a:lnTo>
                    <a:lnTo>
                      <a:pt x="2615" y="588"/>
                    </a:lnTo>
                    <a:lnTo>
                      <a:pt x="2619" y="583"/>
                    </a:lnTo>
                    <a:lnTo>
                      <a:pt x="2622" y="580"/>
                    </a:lnTo>
                    <a:lnTo>
                      <a:pt x="2639" y="564"/>
                    </a:lnTo>
                    <a:lnTo>
                      <a:pt x="2655" y="550"/>
                    </a:lnTo>
                    <a:lnTo>
                      <a:pt x="2660" y="544"/>
                    </a:lnTo>
                    <a:lnTo>
                      <a:pt x="2668" y="542"/>
                    </a:lnTo>
                    <a:lnTo>
                      <a:pt x="2670" y="542"/>
                    </a:lnTo>
                    <a:lnTo>
                      <a:pt x="2674" y="542"/>
                    </a:lnTo>
                    <a:lnTo>
                      <a:pt x="2676" y="543"/>
                    </a:lnTo>
                    <a:lnTo>
                      <a:pt x="2679" y="545"/>
                    </a:lnTo>
                    <a:lnTo>
                      <a:pt x="2685" y="550"/>
                    </a:lnTo>
                    <a:lnTo>
                      <a:pt x="2690" y="554"/>
                    </a:lnTo>
                    <a:lnTo>
                      <a:pt x="2693" y="554"/>
                    </a:lnTo>
                    <a:lnTo>
                      <a:pt x="2696" y="554"/>
                    </a:lnTo>
                    <a:lnTo>
                      <a:pt x="2698" y="552"/>
                    </a:lnTo>
                    <a:lnTo>
                      <a:pt x="2702" y="550"/>
                    </a:lnTo>
                    <a:lnTo>
                      <a:pt x="2706" y="548"/>
                    </a:lnTo>
                    <a:lnTo>
                      <a:pt x="2709" y="545"/>
                    </a:lnTo>
                    <a:lnTo>
                      <a:pt x="2713" y="544"/>
                    </a:lnTo>
                    <a:lnTo>
                      <a:pt x="2716" y="544"/>
                    </a:lnTo>
                    <a:lnTo>
                      <a:pt x="2720" y="544"/>
                    </a:lnTo>
                    <a:lnTo>
                      <a:pt x="2723" y="546"/>
                    </a:lnTo>
                    <a:lnTo>
                      <a:pt x="2727" y="549"/>
                    </a:lnTo>
                    <a:lnTo>
                      <a:pt x="2729" y="554"/>
                    </a:lnTo>
                    <a:lnTo>
                      <a:pt x="2729" y="562"/>
                    </a:lnTo>
                    <a:lnTo>
                      <a:pt x="2726" y="575"/>
                    </a:lnTo>
                    <a:lnTo>
                      <a:pt x="2723" y="582"/>
                    </a:lnTo>
                    <a:lnTo>
                      <a:pt x="2723" y="588"/>
                    </a:lnTo>
                    <a:lnTo>
                      <a:pt x="2723" y="592"/>
                    </a:lnTo>
                    <a:lnTo>
                      <a:pt x="2725" y="593"/>
                    </a:lnTo>
                    <a:lnTo>
                      <a:pt x="2726" y="595"/>
                    </a:lnTo>
                    <a:lnTo>
                      <a:pt x="2727" y="595"/>
                    </a:lnTo>
                    <a:lnTo>
                      <a:pt x="2735" y="599"/>
                    </a:lnTo>
                    <a:lnTo>
                      <a:pt x="2741" y="602"/>
                    </a:lnTo>
                    <a:lnTo>
                      <a:pt x="2744" y="605"/>
                    </a:lnTo>
                    <a:lnTo>
                      <a:pt x="2745" y="608"/>
                    </a:lnTo>
                    <a:lnTo>
                      <a:pt x="2745" y="612"/>
                    </a:lnTo>
                    <a:lnTo>
                      <a:pt x="2745" y="617"/>
                    </a:lnTo>
                    <a:lnTo>
                      <a:pt x="2741" y="625"/>
                    </a:lnTo>
                    <a:lnTo>
                      <a:pt x="2738" y="633"/>
                    </a:lnTo>
                    <a:lnTo>
                      <a:pt x="2735" y="638"/>
                    </a:lnTo>
                    <a:lnTo>
                      <a:pt x="2734" y="642"/>
                    </a:lnTo>
                    <a:lnTo>
                      <a:pt x="2733" y="646"/>
                    </a:lnTo>
                    <a:lnTo>
                      <a:pt x="2734" y="651"/>
                    </a:lnTo>
                    <a:lnTo>
                      <a:pt x="2742" y="671"/>
                    </a:lnTo>
                    <a:lnTo>
                      <a:pt x="2750" y="686"/>
                    </a:lnTo>
                    <a:lnTo>
                      <a:pt x="2745" y="702"/>
                    </a:lnTo>
                    <a:lnTo>
                      <a:pt x="2739" y="718"/>
                    </a:lnTo>
                    <a:lnTo>
                      <a:pt x="2738" y="726"/>
                    </a:lnTo>
                    <a:lnTo>
                      <a:pt x="2738" y="732"/>
                    </a:lnTo>
                    <a:lnTo>
                      <a:pt x="2739" y="734"/>
                    </a:lnTo>
                    <a:lnTo>
                      <a:pt x="2741" y="735"/>
                    </a:lnTo>
                    <a:lnTo>
                      <a:pt x="2745" y="738"/>
                    </a:lnTo>
                    <a:lnTo>
                      <a:pt x="2750" y="738"/>
                    </a:lnTo>
                    <a:lnTo>
                      <a:pt x="2760" y="739"/>
                    </a:lnTo>
                    <a:lnTo>
                      <a:pt x="2767" y="741"/>
                    </a:lnTo>
                    <a:lnTo>
                      <a:pt x="2772" y="744"/>
                    </a:lnTo>
                    <a:lnTo>
                      <a:pt x="2777" y="746"/>
                    </a:lnTo>
                    <a:lnTo>
                      <a:pt x="2779" y="749"/>
                    </a:lnTo>
                    <a:lnTo>
                      <a:pt x="2783" y="749"/>
                    </a:lnTo>
                    <a:lnTo>
                      <a:pt x="2785" y="749"/>
                    </a:lnTo>
                    <a:lnTo>
                      <a:pt x="2789" y="747"/>
                    </a:lnTo>
                    <a:lnTo>
                      <a:pt x="2792" y="745"/>
                    </a:lnTo>
                    <a:lnTo>
                      <a:pt x="2796" y="741"/>
                    </a:lnTo>
                    <a:lnTo>
                      <a:pt x="2800" y="738"/>
                    </a:lnTo>
                    <a:lnTo>
                      <a:pt x="2803" y="732"/>
                    </a:lnTo>
                    <a:lnTo>
                      <a:pt x="2807" y="726"/>
                    </a:lnTo>
                    <a:lnTo>
                      <a:pt x="2811" y="719"/>
                    </a:lnTo>
                    <a:lnTo>
                      <a:pt x="2817" y="713"/>
                    </a:lnTo>
                    <a:lnTo>
                      <a:pt x="2824" y="707"/>
                    </a:lnTo>
                    <a:lnTo>
                      <a:pt x="2833" y="702"/>
                    </a:lnTo>
                    <a:lnTo>
                      <a:pt x="2841" y="697"/>
                    </a:lnTo>
                    <a:lnTo>
                      <a:pt x="2851" y="695"/>
                    </a:lnTo>
                    <a:lnTo>
                      <a:pt x="2859" y="694"/>
                    </a:lnTo>
                    <a:lnTo>
                      <a:pt x="2880" y="694"/>
                    </a:lnTo>
                    <a:lnTo>
                      <a:pt x="2903" y="694"/>
                    </a:lnTo>
                    <a:lnTo>
                      <a:pt x="2924" y="695"/>
                    </a:lnTo>
                    <a:lnTo>
                      <a:pt x="2941" y="696"/>
                    </a:lnTo>
                    <a:lnTo>
                      <a:pt x="2953" y="697"/>
                    </a:lnTo>
                    <a:lnTo>
                      <a:pt x="2959" y="700"/>
                    </a:lnTo>
                    <a:lnTo>
                      <a:pt x="2961" y="701"/>
                    </a:lnTo>
                    <a:lnTo>
                      <a:pt x="2961" y="703"/>
                    </a:lnTo>
                    <a:lnTo>
                      <a:pt x="2961" y="705"/>
                    </a:lnTo>
                    <a:lnTo>
                      <a:pt x="2961" y="707"/>
                    </a:lnTo>
                    <a:lnTo>
                      <a:pt x="2955" y="712"/>
                    </a:lnTo>
                    <a:lnTo>
                      <a:pt x="2947" y="715"/>
                    </a:lnTo>
                    <a:lnTo>
                      <a:pt x="2942" y="719"/>
                    </a:lnTo>
                    <a:lnTo>
                      <a:pt x="2937" y="724"/>
                    </a:lnTo>
                    <a:lnTo>
                      <a:pt x="2934" y="729"/>
                    </a:lnTo>
                    <a:lnTo>
                      <a:pt x="2931" y="737"/>
                    </a:lnTo>
                    <a:lnTo>
                      <a:pt x="2929" y="752"/>
                    </a:lnTo>
                    <a:lnTo>
                      <a:pt x="2927" y="765"/>
                    </a:lnTo>
                    <a:lnTo>
                      <a:pt x="2927" y="770"/>
                    </a:lnTo>
                    <a:lnTo>
                      <a:pt x="2928" y="773"/>
                    </a:lnTo>
                    <a:lnTo>
                      <a:pt x="2929" y="777"/>
                    </a:lnTo>
                    <a:lnTo>
                      <a:pt x="2933" y="781"/>
                    </a:lnTo>
                    <a:lnTo>
                      <a:pt x="2941" y="784"/>
                    </a:lnTo>
                    <a:lnTo>
                      <a:pt x="2951" y="788"/>
                    </a:lnTo>
                    <a:lnTo>
                      <a:pt x="2955" y="791"/>
                    </a:lnTo>
                    <a:lnTo>
                      <a:pt x="2959" y="795"/>
                    </a:lnTo>
                    <a:lnTo>
                      <a:pt x="2961" y="800"/>
                    </a:lnTo>
                    <a:lnTo>
                      <a:pt x="2964" y="807"/>
                    </a:lnTo>
                    <a:lnTo>
                      <a:pt x="2965" y="820"/>
                    </a:lnTo>
                    <a:lnTo>
                      <a:pt x="2967" y="832"/>
                    </a:lnTo>
                    <a:lnTo>
                      <a:pt x="2971" y="841"/>
                    </a:lnTo>
                    <a:lnTo>
                      <a:pt x="2974" y="852"/>
                    </a:lnTo>
                    <a:lnTo>
                      <a:pt x="2978" y="863"/>
                    </a:lnTo>
                    <a:lnTo>
                      <a:pt x="2980" y="871"/>
                    </a:lnTo>
                    <a:lnTo>
                      <a:pt x="2979" y="875"/>
                    </a:lnTo>
                    <a:lnTo>
                      <a:pt x="2979" y="879"/>
                    </a:lnTo>
                    <a:lnTo>
                      <a:pt x="2977" y="883"/>
                    </a:lnTo>
                    <a:lnTo>
                      <a:pt x="2974" y="889"/>
                    </a:lnTo>
                    <a:lnTo>
                      <a:pt x="2970" y="894"/>
                    </a:lnTo>
                    <a:lnTo>
                      <a:pt x="2965" y="898"/>
                    </a:lnTo>
                    <a:lnTo>
                      <a:pt x="2959" y="903"/>
                    </a:lnTo>
                    <a:lnTo>
                      <a:pt x="2952" y="908"/>
                    </a:lnTo>
                    <a:lnTo>
                      <a:pt x="2937" y="916"/>
                    </a:lnTo>
                    <a:lnTo>
                      <a:pt x="2923" y="924"/>
                    </a:lnTo>
                    <a:lnTo>
                      <a:pt x="2917" y="929"/>
                    </a:lnTo>
                    <a:lnTo>
                      <a:pt x="2914" y="933"/>
                    </a:lnTo>
                    <a:lnTo>
                      <a:pt x="2910" y="937"/>
                    </a:lnTo>
                    <a:lnTo>
                      <a:pt x="2908" y="941"/>
                    </a:lnTo>
                    <a:lnTo>
                      <a:pt x="2907" y="946"/>
                    </a:lnTo>
                    <a:lnTo>
                      <a:pt x="2907" y="951"/>
                    </a:lnTo>
                    <a:lnTo>
                      <a:pt x="2907" y="955"/>
                    </a:lnTo>
                    <a:lnTo>
                      <a:pt x="2908" y="961"/>
                    </a:lnTo>
                    <a:lnTo>
                      <a:pt x="2914" y="974"/>
                    </a:lnTo>
                    <a:lnTo>
                      <a:pt x="2921" y="989"/>
                    </a:lnTo>
                    <a:lnTo>
                      <a:pt x="2929" y="1003"/>
                    </a:lnTo>
                    <a:lnTo>
                      <a:pt x="2935" y="1012"/>
                    </a:lnTo>
                    <a:lnTo>
                      <a:pt x="2937" y="1017"/>
                    </a:lnTo>
                    <a:lnTo>
                      <a:pt x="2939" y="1021"/>
                    </a:lnTo>
                    <a:lnTo>
                      <a:pt x="2939" y="1025"/>
                    </a:lnTo>
                    <a:lnTo>
                      <a:pt x="2939" y="1029"/>
                    </a:lnTo>
                    <a:lnTo>
                      <a:pt x="2937" y="1034"/>
                    </a:lnTo>
                    <a:lnTo>
                      <a:pt x="2936" y="1037"/>
                    </a:lnTo>
                    <a:lnTo>
                      <a:pt x="2933" y="1041"/>
                    </a:lnTo>
                    <a:lnTo>
                      <a:pt x="2929" y="1043"/>
                    </a:lnTo>
                    <a:lnTo>
                      <a:pt x="2920" y="1048"/>
                    </a:lnTo>
                    <a:lnTo>
                      <a:pt x="2912" y="1053"/>
                    </a:lnTo>
                    <a:lnTo>
                      <a:pt x="2909" y="1055"/>
                    </a:lnTo>
                    <a:lnTo>
                      <a:pt x="2905" y="1059"/>
                    </a:lnTo>
                    <a:lnTo>
                      <a:pt x="2903" y="1063"/>
                    </a:lnTo>
                    <a:lnTo>
                      <a:pt x="2901" y="1071"/>
                    </a:lnTo>
                    <a:lnTo>
                      <a:pt x="2898" y="1083"/>
                    </a:lnTo>
                    <a:lnTo>
                      <a:pt x="2897" y="1090"/>
                    </a:lnTo>
                    <a:lnTo>
                      <a:pt x="2897" y="1092"/>
                    </a:lnTo>
                    <a:lnTo>
                      <a:pt x="2895" y="1094"/>
                    </a:lnTo>
                    <a:lnTo>
                      <a:pt x="2891" y="1097"/>
                    </a:lnTo>
                    <a:lnTo>
                      <a:pt x="2886" y="1098"/>
                    </a:lnTo>
                    <a:lnTo>
                      <a:pt x="2874" y="1100"/>
                    </a:lnTo>
                    <a:lnTo>
                      <a:pt x="2864" y="1100"/>
                    </a:lnTo>
                    <a:lnTo>
                      <a:pt x="2852" y="1100"/>
                    </a:lnTo>
                    <a:lnTo>
                      <a:pt x="2840" y="1100"/>
                    </a:lnTo>
                    <a:lnTo>
                      <a:pt x="2834" y="1102"/>
                    </a:lnTo>
                    <a:lnTo>
                      <a:pt x="2829" y="1104"/>
                    </a:lnTo>
                    <a:lnTo>
                      <a:pt x="2826" y="1106"/>
                    </a:lnTo>
                    <a:lnTo>
                      <a:pt x="2823" y="1109"/>
                    </a:lnTo>
                    <a:lnTo>
                      <a:pt x="2821" y="1113"/>
                    </a:lnTo>
                    <a:lnTo>
                      <a:pt x="2820" y="1117"/>
                    </a:lnTo>
                    <a:lnTo>
                      <a:pt x="2820" y="1122"/>
                    </a:lnTo>
                    <a:lnTo>
                      <a:pt x="2821" y="1126"/>
                    </a:lnTo>
                    <a:lnTo>
                      <a:pt x="2822" y="1138"/>
                    </a:lnTo>
                    <a:lnTo>
                      <a:pt x="2824" y="1151"/>
                    </a:lnTo>
                    <a:lnTo>
                      <a:pt x="2824" y="1159"/>
                    </a:lnTo>
                    <a:lnTo>
                      <a:pt x="2823" y="1165"/>
                    </a:lnTo>
                    <a:lnTo>
                      <a:pt x="2821" y="1169"/>
                    </a:lnTo>
                    <a:lnTo>
                      <a:pt x="2817" y="1174"/>
                    </a:lnTo>
                    <a:lnTo>
                      <a:pt x="2805" y="1179"/>
                    </a:lnTo>
                    <a:lnTo>
                      <a:pt x="2789" y="1185"/>
                    </a:lnTo>
                    <a:lnTo>
                      <a:pt x="2782" y="1188"/>
                    </a:lnTo>
                    <a:lnTo>
                      <a:pt x="2775" y="1192"/>
                    </a:lnTo>
                    <a:lnTo>
                      <a:pt x="2770" y="1197"/>
                    </a:lnTo>
                    <a:lnTo>
                      <a:pt x="2766" y="1201"/>
                    </a:lnTo>
                    <a:lnTo>
                      <a:pt x="2763" y="1213"/>
                    </a:lnTo>
                    <a:lnTo>
                      <a:pt x="2759" y="1224"/>
                    </a:lnTo>
                    <a:lnTo>
                      <a:pt x="2758" y="1230"/>
                    </a:lnTo>
                    <a:lnTo>
                      <a:pt x="2756" y="1235"/>
                    </a:lnTo>
                    <a:lnTo>
                      <a:pt x="2752" y="1239"/>
                    </a:lnTo>
                    <a:lnTo>
                      <a:pt x="2748" y="1244"/>
                    </a:lnTo>
                    <a:lnTo>
                      <a:pt x="2739" y="1252"/>
                    </a:lnTo>
                    <a:lnTo>
                      <a:pt x="2731" y="1258"/>
                    </a:lnTo>
                    <a:lnTo>
                      <a:pt x="2728" y="1261"/>
                    </a:lnTo>
                    <a:lnTo>
                      <a:pt x="2725" y="1266"/>
                    </a:lnTo>
                    <a:lnTo>
                      <a:pt x="2722" y="1270"/>
                    </a:lnTo>
                    <a:lnTo>
                      <a:pt x="2721" y="1276"/>
                    </a:lnTo>
                    <a:lnTo>
                      <a:pt x="2720" y="1293"/>
                    </a:lnTo>
                    <a:lnTo>
                      <a:pt x="2720" y="1315"/>
                    </a:lnTo>
                    <a:lnTo>
                      <a:pt x="2720" y="1338"/>
                    </a:lnTo>
                    <a:lnTo>
                      <a:pt x="2720" y="1356"/>
                    </a:lnTo>
                    <a:lnTo>
                      <a:pt x="2720" y="1370"/>
                    </a:lnTo>
                    <a:lnTo>
                      <a:pt x="2720" y="1382"/>
                    </a:lnTo>
                    <a:lnTo>
                      <a:pt x="2720" y="1393"/>
                    </a:lnTo>
                    <a:lnTo>
                      <a:pt x="2720" y="1403"/>
                    </a:lnTo>
                    <a:lnTo>
                      <a:pt x="2721" y="1413"/>
                    </a:lnTo>
                    <a:lnTo>
                      <a:pt x="2723" y="1419"/>
                    </a:lnTo>
                    <a:lnTo>
                      <a:pt x="2728" y="1422"/>
                    </a:lnTo>
                    <a:lnTo>
                      <a:pt x="2734" y="1427"/>
                    </a:lnTo>
                    <a:lnTo>
                      <a:pt x="2737" y="1430"/>
                    </a:lnTo>
                    <a:lnTo>
                      <a:pt x="2739" y="1433"/>
                    </a:lnTo>
                    <a:lnTo>
                      <a:pt x="2741" y="1437"/>
                    </a:lnTo>
                    <a:lnTo>
                      <a:pt x="2742" y="1441"/>
                    </a:lnTo>
                    <a:lnTo>
                      <a:pt x="2744" y="1446"/>
                    </a:lnTo>
                    <a:lnTo>
                      <a:pt x="2744" y="1451"/>
                    </a:lnTo>
                    <a:lnTo>
                      <a:pt x="2741" y="1456"/>
                    </a:lnTo>
                    <a:lnTo>
                      <a:pt x="2739" y="1460"/>
                    </a:lnTo>
                    <a:lnTo>
                      <a:pt x="2731" y="1474"/>
                    </a:lnTo>
                    <a:lnTo>
                      <a:pt x="2719" y="1491"/>
                    </a:lnTo>
                    <a:lnTo>
                      <a:pt x="2704" y="1512"/>
                    </a:lnTo>
                    <a:lnTo>
                      <a:pt x="2689" y="1531"/>
                    </a:lnTo>
                    <a:lnTo>
                      <a:pt x="2676" y="1546"/>
                    </a:lnTo>
                    <a:lnTo>
                      <a:pt x="2666" y="1557"/>
                    </a:lnTo>
                    <a:lnTo>
                      <a:pt x="2658" y="1565"/>
                    </a:lnTo>
                    <a:lnTo>
                      <a:pt x="2650" y="1570"/>
                    </a:lnTo>
                    <a:lnTo>
                      <a:pt x="2640" y="1572"/>
                    </a:lnTo>
                    <a:lnTo>
                      <a:pt x="2630" y="1573"/>
                    </a:lnTo>
                    <a:lnTo>
                      <a:pt x="2619" y="1575"/>
                    </a:lnTo>
                    <a:lnTo>
                      <a:pt x="2611" y="1575"/>
                    </a:lnTo>
                    <a:lnTo>
                      <a:pt x="2603" y="1576"/>
                    </a:lnTo>
                    <a:lnTo>
                      <a:pt x="2600" y="1578"/>
                    </a:lnTo>
                    <a:lnTo>
                      <a:pt x="2600" y="1579"/>
                    </a:lnTo>
                    <a:lnTo>
                      <a:pt x="2600" y="1582"/>
                    </a:lnTo>
                    <a:lnTo>
                      <a:pt x="2601" y="1585"/>
                    </a:lnTo>
                    <a:lnTo>
                      <a:pt x="2603" y="1589"/>
                    </a:lnTo>
                    <a:lnTo>
                      <a:pt x="2608" y="1596"/>
                    </a:lnTo>
                    <a:lnTo>
                      <a:pt x="2612" y="1603"/>
                    </a:lnTo>
                    <a:lnTo>
                      <a:pt x="2612" y="1605"/>
                    </a:lnTo>
                    <a:lnTo>
                      <a:pt x="2611" y="1608"/>
                    </a:lnTo>
                    <a:lnTo>
                      <a:pt x="2609" y="1610"/>
                    </a:lnTo>
                    <a:lnTo>
                      <a:pt x="2607" y="1611"/>
                    </a:lnTo>
                    <a:lnTo>
                      <a:pt x="2597" y="1613"/>
                    </a:lnTo>
                    <a:lnTo>
                      <a:pt x="2584" y="1614"/>
                    </a:lnTo>
                    <a:lnTo>
                      <a:pt x="2577" y="1614"/>
                    </a:lnTo>
                    <a:lnTo>
                      <a:pt x="2570" y="1615"/>
                    </a:lnTo>
                    <a:lnTo>
                      <a:pt x="2563" y="1617"/>
                    </a:lnTo>
                    <a:lnTo>
                      <a:pt x="2557" y="1621"/>
                    </a:lnTo>
                    <a:lnTo>
                      <a:pt x="2546" y="1628"/>
                    </a:lnTo>
                    <a:lnTo>
                      <a:pt x="2538" y="1634"/>
                    </a:lnTo>
                    <a:lnTo>
                      <a:pt x="2534" y="1638"/>
                    </a:lnTo>
                    <a:lnTo>
                      <a:pt x="2530" y="1640"/>
                    </a:lnTo>
                    <a:lnTo>
                      <a:pt x="2524" y="1641"/>
                    </a:lnTo>
                    <a:lnTo>
                      <a:pt x="2515" y="1642"/>
                    </a:lnTo>
                    <a:lnTo>
                      <a:pt x="2500" y="1644"/>
                    </a:lnTo>
                    <a:lnTo>
                      <a:pt x="2488" y="1644"/>
                    </a:lnTo>
                    <a:lnTo>
                      <a:pt x="2485" y="1644"/>
                    </a:lnTo>
                    <a:lnTo>
                      <a:pt x="2481" y="1645"/>
                    </a:lnTo>
                    <a:lnTo>
                      <a:pt x="2479" y="1647"/>
                    </a:lnTo>
                    <a:lnTo>
                      <a:pt x="2479" y="1651"/>
                    </a:lnTo>
                    <a:lnTo>
                      <a:pt x="2479" y="1660"/>
                    </a:lnTo>
                    <a:lnTo>
                      <a:pt x="2480" y="1670"/>
                    </a:lnTo>
                    <a:lnTo>
                      <a:pt x="2479" y="1678"/>
                    </a:lnTo>
                    <a:lnTo>
                      <a:pt x="2477" y="1685"/>
                    </a:lnTo>
                    <a:lnTo>
                      <a:pt x="2475" y="1686"/>
                    </a:lnTo>
                    <a:lnTo>
                      <a:pt x="2474" y="1687"/>
                    </a:lnTo>
                    <a:lnTo>
                      <a:pt x="2473" y="1687"/>
                    </a:lnTo>
                    <a:lnTo>
                      <a:pt x="2470" y="1687"/>
                    </a:lnTo>
                    <a:lnTo>
                      <a:pt x="2467" y="1686"/>
                    </a:lnTo>
                    <a:lnTo>
                      <a:pt x="2461" y="1685"/>
                    </a:lnTo>
                    <a:lnTo>
                      <a:pt x="2457" y="1685"/>
                    </a:lnTo>
                    <a:lnTo>
                      <a:pt x="2455" y="1686"/>
                    </a:lnTo>
                    <a:lnTo>
                      <a:pt x="2454" y="1689"/>
                    </a:lnTo>
                    <a:lnTo>
                      <a:pt x="2452" y="1691"/>
                    </a:lnTo>
                    <a:lnTo>
                      <a:pt x="2451" y="1697"/>
                    </a:lnTo>
                    <a:lnTo>
                      <a:pt x="2454" y="1704"/>
                    </a:lnTo>
                    <a:lnTo>
                      <a:pt x="2456" y="1714"/>
                    </a:lnTo>
                    <a:lnTo>
                      <a:pt x="2461" y="1728"/>
                    </a:lnTo>
                    <a:lnTo>
                      <a:pt x="2463" y="1735"/>
                    </a:lnTo>
                    <a:lnTo>
                      <a:pt x="2465" y="1742"/>
                    </a:lnTo>
                    <a:lnTo>
                      <a:pt x="2469" y="1748"/>
                    </a:lnTo>
                    <a:lnTo>
                      <a:pt x="2471" y="1753"/>
                    </a:lnTo>
                    <a:lnTo>
                      <a:pt x="2479" y="1759"/>
                    </a:lnTo>
                    <a:lnTo>
                      <a:pt x="2482" y="1765"/>
                    </a:lnTo>
                    <a:lnTo>
                      <a:pt x="2482" y="1767"/>
                    </a:lnTo>
                    <a:lnTo>
                      <a:pt x="2482" y="1770"/>
                    </a:lnTo>
                    <a:lnTo>
                      <a:pt x="2481" y="1772"/>
                    </a:lnTo>
                    <a:lnTo>
                      <a:pt x="2477" y="1774"/>
                    </a:lnTo>
                    <a:lnTo>
                      <a:pt x="2468" y="1777"/>
                    </a:lnTo>
                    <a:lnTo>
                      <a:pt x="2458" y="1777"/>
                    </a:lnTo>
                    <a:lnTo>
                      <a:pt x="2455" y="1778"/>
                    </a:lnTo>
                    <a:lnTo>
                      <a:pt x="2450" y="1778"/>
                    </a:lnTo>
                    <a:lnTo>
                      <a:pt x="2446" y="1780"/>
                    </a:lnTo>
                    <a:lnTo>
                      <a:pt x="2443" y="1783"/>
                    </a:lnTo>
                    <a:lnTo>
                      <a:pt x="2431" y="1799"/>
                    </a:lnTo>
                    <a:lnTo>
                      <a:pt x="2423" y="1812"/>
                    </a:lnTo>
                    <a:lnTo>
                      <a:pt x="2420" y="1815"/>
                    </a:lnTo>
                    <a:lnTo>
                      <a:pt x="2418" y="1816"/>
                    </a:lnTo>
                    <a:lnTo>
                      <a:pt x="2417" y="1817"/>
                    </a:lnTo>
                    <a:lnTo>
                      <a:pt x="2414" y="1817"/>
                    </a:lnTo>
                    <a:lnTo>
                      <a:pt x="2410" y="1816"/>
                    </a:lnTo>
                    <a:lnTo>
                      <a:pt x="2405" y="1813"/>
                    </a:lnTo>
                    <a:lnTo>
                      <a:pt x="2400" y="1810"/>
                    </a:lnTo>
                    <a:lnTo>
                      <a:pt x="2395" y="1809"/>
                    </a:lnTo>
                    <a:lnTo>
                      <a:pt x="2393" y="1809"/>
                    </a:lnTo>
                    <a:lnTo>
                      <a:pt x="2392" y="1810"/>
                    </a:lnTo>
                    <a:lnTo>
                      <a:pt x="2389" y="1811"/>
                    </a:lnTo>
                    <a:lnTo>
                      <a:pt x="2387" y="1815"/>
                    </a:lnTo>
                    <a:lnTo>
                      <a:pt x="2383" y="1822"/>
                    </a:lnTo>
                    <a:lnTo>
                      <a:pt x="2380" y="1827"/>
                    </a:lnTo>
                    <a:lnTo>
                      <a:pt x="2379" y="1828"/>
                    </a:lnTo>
                    <a:lnTo>
                      <a:pt x="2376" y="1828"/>
                    </a:lnTo>
                    <a:lnTo>
                      <a:pt x="2373" y="1827"/>
                    </a:lnTo>
                    <a:lnTo>
                      <a:pt x="2369" y="1824"/>
                    </a:lnTo>
                    <a:lnTo>
                      <a:pt x="2361" y="1818"/>
                    </a:lnTo>
                    <a:lnTo>
                      <a:pt x="2351" y="1813"/>
                    </a:lnTo>
                    <a:lnTo>
                      <a:pt x="2347" y="1811"/>
                    </a:lnTo>
                    <a:lnTo>
                      <a:pt x="2341" y="1810"/>
                    </a:lnTo>
                    <a:lnTo>
                      <a:pt x="2335" y="1809"/>
                    </a:lnTo>
                    <a:lnTo>
                      <a:pt x="2329" y="1809"/>
                    </a:lnTo>
                    <a:lnTo>
                      <a:pt x="2323" y="1810"/>
                    </a:lnTo>
                    <a:lnTo>
                      <a:pt x="2317" y="1811"/>
                    </a:lnTo>
                    <a:lnTo>
                      <a:pt x="2313" y="1813"/>
                    </a:lnTo>
                    <a:lnTo>
                      <a:pt x="2310" y="1816"/>
                    </a:lnTo>
                    <a:lnTo>
                      <a:pt x="2307" y="1818"/>
                    </a:lnTo>
                    <a:lnTo>
                      <a:pt x="2306" y="1822"/>
                    </a:lnTo>
                    <a:lnTo>
                      <a:pt x="2306" y="1827"/>
                    </a:lnTo>
                    <a:lnTo>
                      <a:pt x="2306" y="1831"/>
                    </a:lnTo>
                    <a:lnTo>
                      <a:pt x="2306" y="1842"/>
                    </a:lnTo>
                    <a:lnTo>
                      <a:pt x="2307" y="1854"/>
                    </a:lnTo>
                    <a:lnTo>
                      <a:pt x="2307" y="1865"/>
                    </a:lnTo>
                    <a:lnTo>
                      <a:pt x="2307" y="1874"/>
                    </a:lnTo>
                    <a:lnTo>
                      <a:pt x="2307" y="1884"/>
                    </a:lnTo>
                    <a:lnTo>
                      <a:pt x="2309" y="1892"/>
                    </a:lnTo>
                    <a:lnTo>
                      <a:pt x="2311" y="1899"/>
                    </a:lnTo>
                    <a:lnTo>
                      <a:pt x="2316" y="1906"/>
                    </a:lnTo>
                    <a:lnTo>
                      <a:pt x="2320" y="1912"/>
                    </a:lnTo>
                    <a:lnTo>
                      <a:pt x="2323" y="1918"/>
                    </a:lnTo>
                    <a:lnTo>
                      <a:pt x="2323" y="1925"/>
                    </a:lnTo>
                    <a:lnTo>
                      <a:pt x="2323" y="1931"/>
                    </a:lnTo>
                    <a:lnTo>
                      <a:pt x="2322" y="1935"/>
                    </a:lnTo>
                    <a:lnTo>
                      <a:pt x="2319" y="1936"/>
                    </a:lnTo>
                    <a:lnTo>
                      <a:pt x="2317" y="1936"/>
                    </a:lnTo>
                    <a:lnTo>
                      <a:pt x="2313" y="1936"/>
                    </a:lnTo>
                    <a:lnTo>
                      <a:pt x="2305" y="1932"/>
                    </a:lnTo>
                    <a:lnTo>
                      <a:pt x="2299" y="1929"/>
                    </a:lnTo>
                    <a:lnTo>
                      <a:pt x="2293" y="1925"/>
                    </a:lnTo>
                    <a:lnTo>
                      <a:pt x="2287" y="1924"/>
                    </a:lnTo>
                    <a:lnTo>
                      <a:pt x="2284" y="1925"/>
                    </a:lnTo>
                    <a:lnTo>
                      <a:pt x="2280" y="1926"/>
                    </a:lnTo>
                    <a:lnTo>
                      <a:pt x="2278" y="1928"/>
                    </a:lnTo>
                    <a:lnTo>
                      <a:pt x="2275" y="1931"/>
                    </a:lnTo>
                    <a:lnTo>
                      <a:pt x="2272" y="1934"/>
                    </a:lnTo>
                    <a:lnTo>
                      <a:pt x="2269" y="1936"/>
                    </a:lnTo>
                    <a:lnTo>
                      <a:pt x="2266" y="1937"/>
                    </a:lnTo>
                    <a:lnTo>
                      <a:pt x="2261" y="1938"/>
                    </a:lnTo>
                    <a:lnTo>
                      <a:pt x="2254" y="1938"/>
                    </a:lnTo>
                    <a:lnTo>
                      <a:pt x="2247" y="1936"/>
                    </a:lnTo>
                    <a:lnTo>
                      <a:pt x="2240" y="1934"/>
                    </a:lnTo>
                    <a:lnTo>
                      <a:pt x="2233" y="1931"/>
                    </a:lnTo>
                    <a:lnTo>
                      <a:pt x="2229" y="1930"/>
                    </a:lnTo>
                    <a:lnTo>
                      <a:pt x="2225" y="1931"/>
                    </a:lnTo>
                    <a:lnTo>
                      <a:pt x="2222" y="1932"/>
                    </a:lnTo>
                    <a:lnTo>
                      <a:pt x="2218" y="1936"/>
                    </a:lnTo>
                    <a:lnTo>
                      <a:pt x="2212" y="1943"/>
                    </a:lnTo>
                    <a:lnTo>
                      <a:pt x="2208" y="1948"/>
                    </a:lnTo>
                    <a:lnTo>
                      <a:pt x="2205" y="1950"/>
                    </a:lnTo>
                    <a:lnTo>
                      <a:pt x="2202" y="1951"/>
                    </a:lnTo>
                    <a:lnTo>
                      <a:pt x="2198" y="1951"/>
                    </a:lnTo>
                    <a:lnTo>
                      <a:pt x="2193" y="1951"/>
                    </a:lnTo>
                    <a:lnTo>
                      <a:pt x="2181" y="1949"/>
                    </a:lnTo>
                    <a:lnTo>
                      <a:pt x="2172" y="1947"/>
                    </a:lnTo>
                    <a:lnTo>
                      <a:pt x="2167" y="1947"/>
                    </a:lnTo>
                    <a:lnTo>
                      <a:pt x="2162" y="1948"/>
                    </a:lnTo>
                    <a:lnTo>
                      <a:pt x="2159" y="1949"/>
                    </a:lnTo>
                    <a:lnTo>
                      <a:pt x="2155" y="1953"/>
                    </a:lnTo>
                    <a:lnTo>
                      <a:pt x="2152" y="1958"/>
                    </a:lnTo>
                    <a:lnTo>
                      <a:pt x="2149" y="1963"/>
                    </a:lnTo>
                    <a:lnTo>
                      <a:pt x="2147" y="1969"/>
                    </a:lnTo>
                    <a:lnTo>
                      <a:pt x="2146" y="1976"/>
                    </a:lnTo>
                    <a:lnTo>
                      <a:pt x="2142" y="1988"/>
                    </a:lnTo>
                    <a:lnTo>
                      <a:pt x="2140" y="2000"/>
                    </a:lnTo>
                    <a:lnTo>
                      <a:pt x="2137" y="2010"/>
                    </a:lnTo>
                    <a:lnTo>
                      <a:pt x="2133" y="2019"/>
                    </a:lnTo>
                    <a:lnTo>
                      <a:pt x="2128" y="2027"/>
                    </a:lnTo>
                    <a:lnTo>
                      <a:pt x="2122" y="2035"/>
                    </a:lnTo>
                    <a:lnTo>
                      <a:pt x="2114" y="2039"/>
                    </a:lnTo>
                    <a:lnTo>
                      <a:pt x="2104" y="2043"/>
                    </a:lnTo>
                    <a:lnTo>
                      <a:pt x="2093" y="2044"/>
                    </a:lnTo>
                    <a:lnTo>
                      <a:pt x="2084" y="2048"/>
                    </a:lnTo>
                    <a:lnTo>
                      <a:pt x="2079" y="2050"/>
                    </a:lnTo>
                    <a:lnTo>
                      <a:pt x="2074" y="2052"/>
                    </a:lnTo>
                    <a:lnTo>
                      <a:pt x="2070" y="2057"/>
                    </a:lnTo>
                    <a:lnTo>
                      <a:pt x="2065" y="2062"/>
                    </a:lnTo>
                    <a:lnTo>
                      <a:pt x="2061" y="2070"/>
                    </a:lnTo>
                    <a:lnTo>
                      <a:pt x="2060" y="2079"/>
                    </a:lnTo>
                    <a:lnTo>
                      <a:pt x="2060" y="2087"/>
                    </a:lnTo>
                    <a:lnTo>
                      <a:pt x="2061" y="2094"/>
                    </a:lnTo>
                    <a:lnTo>
                      <a:pt x="2064" y="2099"/>
                    </a:lnTo>
                    <a:lnTo>
                      <a:pt x="2065" y="2104"/>
                    </a:lnTo>
                    <a:lnTo>
                      <a:pt x="2065" y="2109"/>
                    </a:lnTo>
                    <a:lnTo>
                      <a:pt x="2064" y="2115"/>
                    </a:lnTo>
                    <a:lnTo>
                      <a:pt x="2064" y="2117"/>
                    </a:lnTo>
                    <a:lnTo>
                      <a:pt x="2063" y="2118"/>
                    </a:lnTo>
                    <a:lnTo>
                      <a:pt x="2061" y="2118"/>
                    </a:lnTo>
                    <a:lnTo>
                      <a:pt x="2060" y="2118"/>
                    </a:lnTo>
                    <a:lnTo>
                      <a:pt x="2057" y="2117"/>
                    </a:lnTo>
                    <a:lnTo>
                      <a:pt x="2053" y="2113"/>
                    </a:lnTo>
                    <a:lnTo>
                      <a:pt x="2045" y="2106"/>
                    </a:lnTo>
                    <a:lnTo>
                      <a:pt x="2040" y="2101"/>
                    </a:lnTo>
                    <a:lnTo>
                      <a:pt x="2029" y="2092"/>
                    </a:lnTo>
                    <a:lnTo>
                      <a:pt x="2016" y="2082"/>
                    </a:lnTo>
                    <a:lnTo>
                      <a:pt x="2011" y="2077"/>
                    </a:lnTo>
                    <a:lnTo>
                      <a:pt x="2007" y="2073"/>
                    </a:lnTo>
                    <a:lnTo>
                      <a:pt x="2004" y="2068"/>
                    </a:lnTo>
                    <a:lnTo>
                      <a:pt x="2002" y="2063"/>
                    </a:lnTo>
                    <a:lnTo>
                      <a:pt x="1998" y="2051"/>
                    </a:lnTo>
                    <a:lnTo>
                      <a:pt x="1995" y="2038"/>
                    </a:lnTo>
                    <a:lnTo>
                      <a:pt x="1994" y="2033"/>
                    </a:lnTo>
                    <a:lnTo>
                      <a:pt x="1994" y="2029"/>
                    </a:lnTo>
                    <a:lnTo>
                      <a:pt x="1995" y="2024"/>
                    </a:lnTo>
                    <a:lnTo>
                      <a:pt x="1997" y="2019"/>
                    </a:lnTo>
                    <a:lnTo>
                      <a:pt x="2003" y="2011"/>
                    </a:lnTo>
                    <a:lnTo>
                      <a:pt x="2008" y="2005"/>
                    </a:lnTo>
                    <a:lnTo>
                      <a:pt x="2010" y="2001"/>
                    </a:lnTo>
                    <a:lnTo>
                      <a:pt x="2013" y="1998"/>
                    </a:lnTo>
                    <a:lnTo>
                      <a:pt x="2011" y="1994"/>
                    </a:lnTo>
                    <a:lnTo>
                      <a:pt x="2008" y="1991"/>
                    </a:lnTo>
                    <a:lnTo>
                      <a:pt x="2005" y="1988"/>
                    </a:lnTo>
                    <a:lnTo>
                      <a:pt x="2003" y="1989"/>
                    </a:lnTo>
                    <a:lnTo>
                      <a:pt x="2000" y="1991"/>
                    </a:lnTo>
                    <a:lnTo>
                      <a:pt x="1997" y="1993"/>
                    </a:lnTo>
                    <a:lnTo>
                      <a:pt x="1991" y="2001"/>
                    </a:lnTo>
                    <a:lnTo>
                      <a:pt x="1984" y="2012"/>
                    </a:lnTo>
                    <a:lnTo>
                      <a:pt x="1978" y="2021"/>
                    </a:lnTo>
                    <a:lnTo>
                      <a:pt x="1972" y="2026"/>
                    </a:lnTo>
                    <a:lnTo>
                      <a:pt x="1966" y="2029"/>
                    </a:lnTo>
                    <a:lnTo>
                      <a:pt x="1959" y="2029"/>
                    </a:lnTo>
                    <a:lnTo>
                      <a:pt x="1952" y="2027"/>
                    </a:lnTo>
                    <a:lnTo>
                      <a:pt x="1946" y="2027"/>
                    </a:lnTo>
                    <a:lnTo>
                      <a:pt x="1941" y="2029"/>
                    </a:lnTo>
                    <a:lnTo>
                      <a:pt x="1939" y="2031"/>
                    </a:lnTo>
                    <a:lnTo>
                      <a:pt x="1939" y="2032"/>
                    </a:lnTo>
                    <a:lnTo>
                      <a:pt x="1940" y="2035"/>
                    </a:lnTo>
                    <a:lnTo>
                      <a:pt x="1942" y="2036"/>
                    </a:lnTo>
                    <a:lnTo>
                      <a:pt x="1945" y="2038"/>
                    </a:lnTo>
                    <a:lnTo>
                      <a:pt x="1953" y="2042"/>
                    </a:lnTo>
                    <a:lnTo>
                      <a:pt x="1961" y="2043"/>
                    </a:lnTo>
                    <a:lnTo>
                      <a:pt x="1969" y="2045"/>
                    </a:lnTo>
                    <a:lnTo>
                      <a:pt x="1976" y="2050"/>
                    </a:lnTo>
                    <a:lnTo>
                      <a:pt x="1978" y="2052"/>
                    </a:lnTo>
                    <a:lnTo>
                      <a:pt x="1980" y="2055"/>
                    </a:lnTo>
                    <a:lnTo>
                      <a:pt x="1982" y="2058"/>
                    </a:lnTo>
                    <a:lnTo>
                      <a:pt x="1983" y="2062"/>
                    </a:lnTo>
                    <a:lnTo>
                      <a:pt x="1984" y="2073"/>
                    </a:lnTo>
                    <a:lnTo>
                      <a:pt x="1984" y="2083"/>
                    </a:lnTo>
                    <a:lnTo>
                      <a:pt x="1983" y="2089"/>
                    </a:lnTo>
                    <a:lnTo>
                      <a:pt x="1982" y="2094"/>
                    </a:lnTo>
                    <a:lnTo>
                      <a:pt x="1980" y="2099"/>
                    </a:lnTo>
                    <a:lnTo>
                      <a:pt x="1978" y="2102"/>
                    </a:lnTo>
                    <a:lnTo>
                      <a:pt x="1965" y="2109"/>
                    </a:lnTo>
                    <a:lnTo>
                      <a:pt x="1946" y="2118"/>
                    </a:lnTo>
                    <a:lnTo>
                      <a:pt x="1927" y="2125"/>
                    </a:lnTo>
                    <a:lnTo>
                      <a:pt x="1917" y="2127"/>
                    </a:lnTo>
                    <a:lnTo>
                      <a:pt x="1908" y="2127"/>
                    </a:lnTo>
                    <a:lnTo>
                      <a:pt x="1900" y="2127"/>
                    </a:lnTo>
                    <a:lnTo>
                      <a:pt x="1893" y="2128"/>
                    </a:lnTo>
                    <a:lnTo>
                      <a:pt x="1885" y="2131"/>
                    </a:lnTo>
                    <a:lnTo>
                      <a:pt x="1878" y="2132"/>
                    </a:lnTo>
                    <a:lnTo>
                      <a:pt x="1871" y="2132"/>
                    </a:lnTo>
                    <a:lnTo>
                      <a:pt x="1868" y="2132"/>
                    </a:lnTo>
                    <a:lnTo>
                      <a:pt x="1865" y="2130"/>
                    </a:lnTo>
                    <a:lnTo>
                      <a:pt x="1863" y="2128"/>
                    </a:lnTo>
                    <a:lnTo>
                      <a:pt x="1863" y="2125"/>
                    </a:lnTo>
                    <a:lnTo>
                      <a:pt x="1862" y="2120"/>
                    </a:lnTo>
                    <a:lnTo>
                      <a:pt x="1860" y="2115"/>
                    </a:lnTo>
                    <a:lnTo>
                      <a:pt x="1859" y="2113"/>
                    </a:lnTo>
                    <a:lnTo>
                      <a:pt x="1858" y="2113"/>
                    </a:lnTo>
                    <a:lnTo>
                      <a:pt x="1857" y="2112"/>
                    </a:lnTo>
                    <a:lnTo>
                      <a:pt x="1854" y="2112"/>
                    </a:lnTo>
                    <a:lnTo>
                      <a:pt x="1847" y="2123"/>
                    </a:lnTo>
                    <a:lnTo>
                      <a:pt x="1837" y="2140"/>
                    </a:lnTo>
                    <a:lnTo>
                      <a:pt x="1832" y="2143"/>
                    </a:lnTo>
                    <a:lnTo>
                      <a:pt x="1828" y="2145"/>
                    </a:lnTo>
                    <a:lnTo>
                      <a:pt x="1824" y="2145"/>
                    </a:lnTo>
                    <a:lnTo>
                      <a:pt x="1819" y="2144"/>
                    </a:lnTo>
                    <a:lnTo>
                      <a:pt x="1810" y="2140"/>
                    </a:lnTo>
                    <a:lnTo>
                      <a:pt x="1801" y="2137"/>
                    </a:lnTo>
                    <a:lnTo>
                      <a:pt x="1794" y="2133"/>
                    </a:lnTo>
                    <a:lnTo>
                      <a:pt x="1789" y="2128"/>
                    </a:lnTo>
                    <a:lnTo>
                      <a:pt x="1788" y="2126"/>
                    </a:lnTo>
                    <a:lnTo>
                      <a:pt x="1787" y="2123"/>
                    </a:lnTo>
                    <a:lnTo>
                      <a:pt x="1787" y="2120"/>
                    </a:lnTo>
                    <a:lnTo>
                      <a:pt x="1787" y="2117"/>
                    </a:lnTo>
                    <a:lnTo>
                      <a:pt x="1797" y="2111"/>
                    </a:lnTo>
                    <a:lnTo>
                      <a:pt x="1816" y="2098"/>
                    </a:lnTo>
                    <a:lnTo>
                      <a:pt x="1820" y="2094"/>
                    </a:lnTo>
                    <a:lnTo>
                      <a:pt x="1822" y="2090"/>
                    </a:lnTo>
                    <a:lnTo>
                      <a:pt x="1824" y="2087"/>
                    </a:lnTo>
                    <a:lnTo>
                      <a:pt x="1822" y="2083"/>
                    </a:lnTo>
                    <a:lnTo>
                      <a:pt x="1820" y="2081"/>
                    </a:lnTo>
                    <a:lnTo>
                      <a:pt x="1814" y="2079"/>
                    </a:lnTo>
                    <a:lnTo>
                      <a:pt x="1806" y="2075"/>
                    </a:lnTo>
                    <a:lnTo>
                      <a:pt x="1794" y="2074"/>
                    </a:lnTo>
                    <a:lnTo>
                      <a:pt x="1782" y="2071"/>
                    </a:lnTo>
                    <a:lnTo>
                      <a:pt x="1771" y="2068"/>
                    </a:lnTo>
                    <a:lnTo>
                      <a:pt x="1762" y="2065"/>
                    </a:lnTo>
                    <a:lnTo>
                      <a:pt x="1753" y="2061"/>
                    </a:lnTo>
                    <a:lnTo>
                      <a:pt x="1745" y="2057"/>
                    </a:lnTo>
                    <a:lnTo>
                      <a:pt x="1739" y="2052"/>
                    </a:lnTo>
                    <a:lnTo>
                      <a:pt x="1733" y="2048"/>
                    </a:lnTo>
                    <a:lnTo>
                      <a:pt x="1727" y="2043"/>
                    </a:lnTo>
                    <a:lnTo>
                      <a:pt x="1724" y="2037"/>
                    </a:lnTo>
                    <a:lnTo>
                      <a:pt x="1721" y="2032"/>
                    </a:lnTo>
                    <a:lnTo>
                      <a:pt x="1719" y="2025"/>
                    </a:lnTo>
                    <a:lnTo>
                      <a:pt x="1718" y="2018"/>
                    </a:lnTo>
                    <a:lnTo>
                      <a:pt x="1718" y="2011"/>
                    </a:lnTo>
                    <a:lnTo>
                      <a:pt x="1719" y="2004"/>
                    </a:lnTo>
                    <a:lnTo>
                      <a:pt x="1720" y="1998"/>
                    </a:lnTo>
                    <a:lnTo>
                      <a:pt x="1719" y="1991"/>
                    </a:lnTo>
                    <a:lnTo>
                      <a:pt x="1718" y="1985"/>
                    </a:lnTo>
                    <a:lnTo>
                      <a:pt x="1714" y="1980"/>
                    </a:lnTo>
                    <a:lnTo>
                      <a:pt x="1709" y="1975"/>
                    </a:lnTo>
                    <a:lnTo>
                      <a:pt x="1704" y="1970"/>
                    </a:lnTo>
                    <a:lnTo>
                      <a:pt x="1701" y="1969"/>
                    </a:lnTo>
                    <a:lnTo>
                      <a:pt x="1698" y="1969"/>
                    </a:lnTo>
                    <a:lnTo>
                      <a:pt x="1695" y="1969"/>
                    </a:lnTo>
                    <a:lnTo>
                      <a:pt x="1694" y="1969"/>
                    </a:lnTo>
                    <a:lnTo>
                      <a:pt x="1687" y="1978"/>
                    </a:lnTo>
                    <a:lnTo>
                      <a:pt x="1682" y="1986"/>
                    </a:lnTo>
                    <a:lnTo>
                      <a:pt x="1679" y="1995"/>
                    </a:lnTo>
                    <a:lnTo>
                      <a:pt x="1677" y="2005"/>
                    </a:lnTo>
                    <a:lnTo>
                      <a:pt x="1676" y="2014"/>
                    </a:lnTo>
                    <a:lnTo>
                      <a:pt x="1674" y="2020"/>
                    </a:lnTo>
                    <a:lnTo>
                      <a:pt x="1673" y="2024"/>
                    </a:lnTo>
                    <a:lnTo>
                      <a:pt x="1670" y="2025"/>
                    </a:lnTo>
                    <a:lnTo>
                      <a:pt x="1668" y="2026"/>
                    </a:lnTo>
                    <a:lnTo>
                      <a:pt x="1665" y="2026"/>
                    </a:lnTo>
                    <a:lnTo>
                      <a:pt x="1649" y="2025"/>
                    </a:lnTo>
                    <a:lnTo>
                      <a:pt x="1635" y="2020"/>
                    </a:lnTo>
                    <a:lnTo>
                      <a:pt x="1623" y="2016"/>
                    </a:lnTo>
                    <a:lnTo>
                      <a:pt x="1614" y="2010"/>
                    </a:lnTo>
                    <a:lnTo>
                      <a:pt x="1608" y="2002"/>
                    </a:lnTo>
                    <a:lnTo>
                      <a:pt x="1605" y="1995"/>
                    </a:lnTo>
                    <a:lnTo>
                      <a:pt x="1602" y="1987"/>
                    </a:lnTo>
                    <a:lnTo>
                      <a:pt x="1601" y="1980"/>
                    </a:lnTo>
                    <a:lnTo>
                      <a:pt x="1604" y="1966"/>
                    </a:lnTo>
                    <a:lnTo>
                      <a:pt x="1607" y="1953"/>
                    </a:lnTo>
                    <a:lnTo>
                      <a:pt x="1608" y="1947"/>
                    </a:lnTo>
                    <a:lnTo>
                      <a:pt x="1608" y="1942"/>
                    </a:lnTo>
                    <a:lnTo>
                      <a:pt x="1607" y="1937"/>
                    </a:lnTo>
                    <a:lnTo>
                      <a:pt x="1605" y="1934"/>
                    </a:lnTo>
                    <a:lnTo>
                      <a:pt x="1600" y="1930"/>
                    </a:lnTo>
                    <a:lnTo>
                      <a:pt x="1593" y="1928"/>
                    </a:lnTo>
                    <a:lnTo>
                      <a:pt x="1587" y="1928"/>
                    </a:lnTo>
                    <a:lnTo>
                      <a:pt x="1580" y="1929"/>
                    </a:lnTo>
                    <a:lnTo>
                      <a:pt x="1576" y="1930"/>
                    </a:lnTo>
                    <a:lnTo>
                      <a:pt x="1574" y="1932"/>
                    </a:lnTo>
                    <a:lnTo>
                      <a:pt x="1570" y="1935"/>
                    </a:lnTo>
                    <a:lnTo>
                      <a:pt x="1568" y="1938"/>
                    </a:lnTo>
                    <a:lnTo>
                      <a:pt x="1566" y="1943"/>
                    </a:lnTo>
                    <a:lnTo>
                      <a:pt x="1564" y="1948"/>
                    </a:lnTo>
                    <a:lnTo>
                      <a:pt x="1563" y="1953"/>
                    </a:lnTo>
                    <a:lnTo>
                      <a:pt x="1563" y="1960"/>
                    </a:lnTo>
                    <a:lnTo>
                      <a:pt x="1563" y="1972"/>
                    </a:lnTo>
                    <a:lnTo>
                      <a:pt x="1567" y="1985"/>
                    </a:lnTo>
                    <a:lnTo>
                      <a:pt x="1570" y="1995"/>
                    </a:lnTo>
                    <a:lnTo>
                      <a:pt x="1574" y="2006"/>
                    </a:lnTo>
                    <a:lnTo>
                      <a:pt x="1577" y="2017"/>
                    </a:lnTo>
                    <a:lnTo>
                      <a:pt x="1579" y="2026"/>
                    </a:lnTo>
                    <a:lnTo>
                      <a:pt x="1579" y="2031"/>
                    </a:lnTo>
                    <a:lnTo>
                      <a:pt x="1579" y="2036"/>
                    </a:lnTo>
                    <a:lnTo>
                      <a:pt x="1577" y="2042"/>
                    </a:lnTo>
                    <a:lnTo>
                      <a:pt x="1575" y="2046"/>
                    </a:lnTo>
                    <a:lnTo>
                      <a:pt x="1566" y="2055"/>
                    </a:lnTo>
                    <a:lnTo>
                      <a:pt x="1551" y="2069"/>
                    </a:lnTo>
                    <a:lnTo>
                      <a:pt x="1547" y="2070"/>
                    </a:lnTo>
                    <a:lnTo>
                      <a:pt x="1539" y="2071"/>
                    </a:lnTo>
                    <a:lnTo>
                      <a:pt x="1529" y="2074"/>
                    </a:lnTo>
                    <a:lnTo>
                      <a:pt x="1514" y="2076"/>
                    </a:lnTo>
                    <a:lnTo>
                      <a:pt x="1494" y="2081"/>
                    </a:lnTo>
                    <a:lnTo>
                      <a:pt x="1474" y="2086"/>
                    </a:lnTo>
                    <a:lnTo>
                      <a:pt x="1456" y="2089"/>
                    </a:lnTo>
                    <a:lnTo>
                      <a:pt x="1446" y="2090"/>
                    </a:lnTo>
                    <a:lnTo>
                      <a:pt x="1427" y="2088"/>
                    </a:lnTo>
                    <a:lnTo>
                      <a:pt x="1409" y="2083"/>
                    </a:lnTo>
                    <a:lnTo>
                      <a:pt x="1394" y="2080"/>
                    </a:lnTo>
                    <a:lnTo>
                      <a:pt x="1386" y="2076"/>
                    </a:lnTo>
                    <a:lnTo>
                      <a:pt x="1377" y="2074"/>
                    </a:lnTo>
                    <a:lnTo>
                      <a:pt x="1367" y="2074"/>
                    </a:lnTo>
                    <a:lnTo>
                      <a:pt x="1354" y="2070"/>
                    </a:lnTo>
                    <a:lnTo>
                      <a:pt x="1343" y="2065"/>
                    </a:lnTo>
                    <a:lnTo>
                      <a:pt x="1336" y="2062"/>
                    </a:lnTo>
                    <a:lnTo>
                      <a:pt x="1330" y="2058"/>
                    </a:lnTo>
                    <a:lnTo>
                      <a:pt x="1325" y="2055"/>
                    </a:lnTo>
                    <a:lnTo>
                      <a:pt x="1322" y="2050"/>
                    </a:lnTo>
                    <a:lnTo>
                      <a:pt x="1315" y="2041"/>
                    </a:lnTo>
                    <a:lnTo>
                      <a:pt x="1306" y="2033"/>
                    </a:lnTo>
                    <a:lnTo>
                      <a:pt x="1296" y="2026"/>
                    </a:lnTo>
                    <a:lnTo>
                      <a:pt x="1283" y="2020"/>
                    </a:lnTo>
                    <a:lnTo>
                      <a:pt x="1277" y="2019"/>
                    </a:lnTo>
                    <a:lnTo>
                      <a:pt x="1270" y="2019"/>
                    </a:lnTo>
                    <a:lnTo>
                      <a:pt x="1261" y="2020"/>
                    </a:lnTo>
                    <a:lnTo>
                      <a:pt x="1253" y="2023"/>
                    </a:lnTo>
                    <a:lnTo>
                      <a:pt x="1236" y="2030"/>
                    </a:lnTo>
                    <a:lnTo>
                      <a:pt x="1220" y="2038"/>
                    </a:lnTo>
                    <a:lnTo>
                      <a:pt x="1211" y="2041"/>
                    </a:lnTo>
                    <a:lnTo>
                      <a:pt x="1203" y="2044"/>
                    </a:lnTo>
                    <a:lnTo>
                      <a:pt x="1195" y="2045"/>
                    </a:lnTo>
                    <a:lnTo>
                      <a:pt x="1185" y="2046"/>
                    </a:lnTo>
                    <a:lnTo>
                      <a:pt x="1176" y="2046"/>
                    </a:lnTo>
                    <a:lnTo>
                      <a:pt x="1166" y="2044"/>
                    </a:lnTo>
                    <a:lnTo>
                      <a:pt x="1158" y="2041"/>
                    </a:lnTo>
                    <a:lnTo>
                      <a:pt x="1151" y="2037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3" name="云南"/>
              <p:cNvSpPr/>
              <p:nvPr>
                <p:custDataLst>
                  <p:tags r:id="rId40"/>
                </p:custDataLst>
              </p:nvPr>
            </p:nvSpPr>
            <p:spPr bwMode="auto">
              <a:xfrm>
                <a:off x="3135891" y="4487379"/>
                <a:ext cx="1249759" cy="1315535"/>
              </a:xfrm>
              <a:custGeom>
                <a:avLst/>
                <a:gdLst>
                  <a:gd name="T0" fmla="*/ 748 w 3417"/>
                  <a:gd name="T1" fmla="*/ 167 h 3582"/>
                  <a:gd name="T2" fmla="*/ 679 w 3417"/>
                  <a:gd name="T3" fmla="*/ 344 h 3582"/>
                  <a:gd name="T4" fmla="*/ 525 w 3417"/>
                  <a:gd name="T5" fmla="*/ 338 h 3582"/>
                  <a:gd name="T6" fmla="*/ 466 w 3417"/>
                  <a:gd name="T7" fmla="*/ 635 h 3582"/>
                  <a:gd name="T8" fmla="*/ 621 w 3417"/>
                  <a:gd name="T9" fmla="*/ 787 h 3582"/>
                  <a:gd name="T10" fmla="*/ 557 w 3417"/>
                  <a:gd name="T11" fmla="*/ 1327 h 3582"/>
                  <a:gd name="T12" fmla="*/ 437 w 3417"/>
                  <a:gd name="T13" fmla="*/ 1491 h 3582"/>
                  <a:gd name="T14" fmla="*/ 244 w 3417"/>
                  <a:gd name="T15" fmla="*/ 1657 h 3582"/>
                  <a:gd name="T16" fmla="*/ 117 w 3417"/>
                  <a:gd name="T17" fmla="*/ 1845 h 3582"/>
                  <a:gd name="T18" fmla="*/ 75 w 3417"/>
                  <a:gd name="T19" fmla="*/ 2079 h 3582"/>
                  <a:gd name="T20" fmla="*/ 265 w 3417"/>
                  <a:gd name="T21" fmla="*/ 2183 h 3582"/>
                  <a:gd name="T22" fmla="*/ 469 w 3417"/>
                  <a:gd name="T23" fmla="*/ 2250 h 3582"/>
                  <a:gd name="T24" fmla="*/ 503 w 3417"/>
                  <a:gd name="T25" fmla="*/ 2540 h 3582"/>
                  <a:gd name="T26" fmla="*/ 678 w 3417"/>
                  <a:gd name="T27" fmla="*/ 2653 h 3582"/>
                  <a:gd name="T28" fmla="*/ 635 w 3417"/>
                  <a:gd name="T29" fmla="*/ 2829 h 3582"/>
                  <a:gd name="T30" fmla="*/ 705 w 3417"/>
                  <a:gd name="T31" fmla="*/ 3092 h 3582"/>
                  <a:gd name="T32" fmla="*/ 848 w 3417"/>
                  <a:gd name="T33" fmla="*/ 3240 h 3582"/>
                  <a:gd name="T34" fmla="*/ 957 w 3417"/>
                  <a:gd name="T35" fmla="*/ 3387 h 3582"/>
                  <a:gd name="T36" fmla="*/ 1268 w 3417"/>
                  <a:gd name="T37" fmla="*/ 3316 h 3582"/>
                  <a:gd name="T38" fmla="*/ 1355 w 3417"/>
                  <a:gd name="T39" fmla="*/ 3508 h 3582"/>
                  <a:gd name="T40" fmla="*/ 1590 w 3417"/>
                  <a:gd name="T41" fmla="*/ 3549 h 3582"/>
                  <a:gd name="T42" fmla="*/ 1580 w 3417"/>
                  <a:gd name="T43" fmla="*/ 3290 h 3582"/>
                  <a:gd name="T44" fmla="*/ 1613 w 3417"/>
                  <a:gd name="T45" fmla="*/ 3009 h 3582"/>
                  <a:gd name="T46" fmla="*/ 1836 w 3417"/>
                  <a:gd name="T47" fmla="*/ 2998 h 3582"/>
                  <a:gd name="T48" fmla="*/ 2064 w 3417"/>
                  <a:gd name="T49" fmla="*/ 3036 h 3582"/>
                  <a:gd name="T50" fmla="*/ 2289 w 3417"/>
                  <a:gd name="T51" fmla="*/ 2985 h 3582"/>
                  <a:gd name="T52" fmla="*/ 2513 w 3417"/>
                  <a:gd name="T53" fmla="*/ 3069 h 3582"/>
                  <a:gd name="T54" fmla="*/ 2668 w 3417"/>
                  <a:gd name="T55" fmla="*/ 2985 h 3582"/>
                  <a:gd name="T56" fmla="*/ 2896 w 3417"/>
                  <a:gd name="T57" fmla="*/ 2809 h 3582"/>
                  <a:gd name="T58" fmla="*/ 3109 w 3417"/>
                  <a:gd name="T59" fmla="*/ 2790 h 3582"/>
                  <a:gd name="T60" fmla="*/ 3287 w 3417"/>
                  <a:gd name="T61" fmla="*/ 2667 h 3582"/>
                  <a:gd name="T62" fmla="*/ 3360 w 3417"/>
                  <a:gd name="T63" fmla="*/ 2413 h 3582"/>
                  <a:gd name="T64" fmla="*/ 3170 w 3417"/>
                  <a:gd name="T65" fmla="*/ 2399 h 3582"/>
                  <a:gd name="T66" fmla="*/ 3041 w 3417"/>
                  <a:gd name="T67" fmla="*/ 2373 h 3582"/>
                  <a:gd name="T68" fmla="*/ 2824 w 3417"/>
                  <a:gd name="T69" fmla="*/ 2294 h 3582"/>
                  <a:gd name="T70" fmla="*/ 2841 w 3417"/>
                  <a:gd name="T71" fmla="*/ 1988 h 3582"/>
                  <a:gd name="T72" fmla="*/ 2819 w 3417"/>
                  <a:gd name="T73" fmla="*/ 1847 h 3582"/>
                  <a:gd name="T74" fmla="*/ 2739 w 3417"/>
                  <a:gd name="T75" fmla="*/ 1674 h 3582"/>
                  <a:gd name="T76" fmla="*/ 2840 w 3417"/>
                  <a:gd name="T77" fmla="*/ 1326 h 3582"/>
                  <a:gd name="T78" fmla="*/ 2523 w 3417"/>
                  <a:gd name="T79" fmla="*/ 1296 h 3582"/>
                  <a:gd name="T80" fmla="*/ 2496 w 3417"/>
                  <a:gd name="T81" fmla="*/ 1087 h 3582"/>
                  <a:gd name="T82" fmla="*/ 2713 w 3417"/>
                  <a:gd name="T83" fmla="*/ 1013 h 3582"/>
                  <a:gd name="T84" fmla="*/ 2965 w 3417"/>
                  <a:gd name="T85" fmla="*/ 1022 h 3582"/>
                  <a:gd name="T86" fmla="*/ 3136 w 3417"/>
                  <a:gd name="T87" fmla="*/ 817 h 3582"/>
                  <a:gd name="T88" fmla="*/ 3072 w 3417"/>
                  <a:gd name="T89" fmla="*/ 675 h 3582"/>
                  <a:gd name="T90" fmla="*/ 2787 w 3417"/>
                  <a:gd name="T91" fmla="*/ 671 h 3582"/>
                  <a:gd name="T92" fmla="*/ 2759 w 3417"/>
                  <a:gd name="T93" fmla="*/ 542 h 3582"/>
                  <a:gd name="T94" fmla="*/ 2639 w 3417"/>
                  <a:gd name="T95" fmla="*/ 419 h 3582"/>
                  <a:gd name="T96" fmla="*/ 2511 w 3417"/>
                  <a:gd name="T97" fmla="*/ 566 h 3582"/>
                  <a:gd name="T98" fmla="*/ 2306 w 3417"/>
                  <a:gd name="T99" fmla="*/ 913 h 3582"/>
                  <a:gd name="T100" fmla="*/ 2213 w 3417"/>
                  <a:gd name="T101" fmla="*/ 1152 h 3582"/>
                  <a:gd name="T102" fmla="*/ 2184 w 3417"/>
                  <a:gd name="T103" fmla="*/ 1383 h 3582"/>
                  <a:gd name="T104" fmla="*/ 1934 w 3417"/>
                  <a:gd name="T105" fmla="*/ 1416 h 3582"/>
                  <a:gd name="T106" fmla="*/ 1685 w 3417"/>
                  <a:gd name="T107" fmla="*/ 1404 h 3582"/>
                  <a:gd name="T108" fmla="*/ 1619 w 3417"/>
                  <a:gd name="T109" fmla="*/ 1254 h 3582"/>
                  <a:gd name="T110" fmla="*/ 1619 w 3417"/>
                  <a:gd name="T111" fmla="*/ 1116 h 3582"/>
                  <a:gd name="T112" fmla="*/ 1502 w 3417"/>
                  <a:gd name="T113" fmla="*/ 912 h 3582"/>
                  <a:gd name="T114" fmla="*/ 1353 w 3417"/>
                  <a:gd name="T115" fmla="*/ 650 h 3582"/>
                  <a:gd name="T116" fmla="*/ 1215 w 3417"/>
                  <a:gd name="T117" fmla="*/ 634 h 3582"/>
                  <a:gd name="T118" fmla="*/ 1205 w 3417"/>
                  <a:gd name="T119" fmla="*/ 427 h 3582"/>
                  <a:gd name="T120" fmla="*/ 1075 w 3417"/>
                  <a:gd name="T121" fmla="*/ 193 h 3582"/>
                  <a:gd name="T122" fmla="*/ 929 w 3417"/>
                  <a:gd name="T123" fmla="*/ 344 h 3582"/>
                  <a:gd name="T124" fmla="*/ 844 w 3417"/>
                  <a:gd name="T125" fmla="*/ 233 h 3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17" h="3582">
                    <a:moveTo>
                      <a:pt x="856" y="1"/>
                    </a:moveTo>
                    <a:lnTo>
                      <a:pt x="851" y="1"/>
                    </a:lnTo>
                    <a:lnTo>
                      <a:pt x="844" y="1"/>
                    </a:lnTo>
                    <a:lnTo>
                      <a:pt x="828" y="0"/>
                    </a:lnTo>
                    <a:lnTo>
                      <a:pt x="815" y="0"/>
                    </a:lnTo>
                    <a:lnTo>
                      <a:pt x="810" y="3"/>
                    </a:lnTo>
                    <a:lnTo>
                      <a:pt x="807" y="6"/>
                    </a:lnTo>
                    <a:lnTo>
                      <a:pt x="806" y="11"/>
                    </a:lnTo>
                    <a:lnTo>
                      <a:pt x="805" y="17"/>
                    </a:lnTo>
                    <a:lnTo>
                      <a:pt x="806" y="23"/>
                    </a:lnTo>
                    <a:lnTo>
                      <a:pt x="807" y="29"/>
                    </a:lnTo>
                    <a:lnTo>
                      <a:pt x="811" y="34"/>
                    </a:lnTo>
                    <a:lnTo>
                      <a:pt x="813" y="38"/>
                    </a:lnTo>
                    <a:lnTo>
                      <a:pt x="817" y="42"/>
                    </a:lnTo>
                    <a:lnTo>
                      <a:pt x="819" y="47"/>
                    </a:lnTo>
                    <a:lnTo>
                      <a:pt x="821" y="50"/>
                    </a:lnTo>
                    <a:lnTo>
                      <a:pt x="821" y="54"/>
                    </a:lnTo>
                    <a:lnTo>
                      <a:pt x="821" y="59"/>
                    </a:lnTo>
                    <a:lnTo>
                      <a:pt x="819" y="62"/>
                    </a:lnTo>
                    <a:lnTo>
                      <a:pt x="817" y="66"/>
                    </a:lnTo>
                    <a:lnTo>
                      <a:pt x="813" y="69"/>
                    </a:lnTo>
                    <a:lnTo>
                      <a:pt x="804" y="76"/>
                    </a:lnTo>
                    <a:lnTo>
                      <a:pt x="794" y="86"/>
                    </a:lnTo>
                    <a:lnTo>
                      <a:pt x="791" y="91"/>
                    </a:lnTo>
                    <a:lnTo>
                      <a:pt x="786" y="95"/>
                    </a:lnTo>
                    <a:lnTo>
                      <a:pt x="783" y="101"/>
                    </a:lnTo>
                    <a:lnTo>
                      <a:pt x="780" y="108"/>
                    </a:lnTo>
                    <a:lnTo>
                      <a:pt x="779" y="114"/>
                    </a:lnTo>
                    <a:lnTo>
                      <a:pt x="778" y="119"/>
                    </a:lnTo>
                    <a:lnTo>
                      <a:pt x="779" y="125"/>
                    </a:lnTo>
                    <a:lnTo>
                      <a:pt x="780" y="129"/>
                    </a:lnTo>
                    <a:lnTo>
                      <a:pt x="784" y="137"/>
                    </a:lnTo>
                    <a:lnTo>
                      <a:pt x="787" y="144"/>
                    </a:lnTo>
                    <a:lnTo>
                      <a:pt x="788" y="147"/>
                    </a:lnTo>
                    <a:lnTo>
                      <a:pt x="788" y="150"/>
                    </a:lnTo>
                    <a:lnTo>
                      <a:pt x="788" y="152"/>
                    </a:lnTo>
                    <a:lnTo>
                      <a:pt x="786" y="155"/>
                    </a:lnTo>
                    <a:lnTo>
                      <a:pt x="781" y="158"/>
                    </a:lnTo>
                    <a:lnTo>
                      <a:pt x="772" y="164"/>
                    </a:lnTo>
                    <a:lnTo>
                      <a:pt x="767" y="167"/>
                    </a:lnTo>
                    <a:lnTo>
                      <a:pt x="762" y="169"/>
                    </a:lnTo>
                    <a:lnTo>
                      <a:pt x="758" y="170"/>
                    </a:lnTo>
                    <a:lnTo>
                      <a:pt x="754" y="169"/>
                    </a:lnTo>
                    <a:lnTo>
                      <a:pt x="750" y="169"/>
                    </a:lnTo>
                    <a:lnTo>
                      <a:pt x="748" y="167"/>
                    </a:lnTo>
                    <a:lnTo>
                      <a:pt x="746" y="164"/>
                    </a:lnTo>
                    <a:lnTo>
                      <a:pt x="743" y="160"/>
                    </a:lnTo>
                    <a:lnTo>
                      <a:pt x="742" y="148"/>
                    </a:lnTo>
                    <a:lnTo>
                      <a:pt x="741" y="130"/>
                    </a:lnTo>
                    <a:lnTo>
                      <a:pt x="740" y="112"/>
                    </a:lnTo>
                    <a:lnTo>
                      <a:pt x="740" y="97"/>
                    </a:lnTo>
                    <a:lnTo>
                      <a:pt x="739" y="91"/>
                    </a:lnTo>
                    <a:lnTo>
                      <a:pt x="737" y="87"/>
                    </a:lnTo>
                    <a:lnTo>
                      <a:pt x="735" y="84"/>
                    </a:lnTo>
                    <a:lnTo>
                      <a:pt x="733" y="81"/>
                    </a:lnTo>
                    <a:lnTo>
                      <a:pt x="729" y="80"/>
                    </a:lnTo>
                    <a:lnTo>
                      <a:pt x="725" y="80"/>
                    </a:lnTo>
                    <a:lnTo>
                      <a:pt x="721" y="80"/>
                    </a:lnTo>
                    <a:lnTo>
                      <a:pt x="716" y="81"/>
                    </a:lnTo>
                    <a:lnTo>
                      <a:pt x="703" y="84"/>
                    </a:lnTo>
                    <a:lnTo>
                      <a:pt x="690" y="86"/>
                    </a:lnTo>
                    <a:lnTo>
                      <a:pt x="684" y="87"/>
                    </a:lnTo>
                    <a:lnTo>
                      <a:pt x="680" y="89"/>
                    </a:lnTo>
                    <a:lnTo>
                      <a:pt x="678" y="91"/>
                    </a:lnTo>
                    <a:lnTo>
                      <a:pt x="677" y="93"/>
                    </a:lnTo>
                    <a:lnTo>
                      <a:pt x="678" y="100"/>
                    </a:lnTo>
                    <a:lnTo>
                      <a:pt x="680" y="111"/>
                    </a:lnTo>
                    <a:lnTo>
                      <a:pt x="681" y="123"/>
                    </a:lnTo>
                    <a:lnTo>
                      <a:pt x="681" y="139"/>
                    </a:lnTo>
                    <a:lnTo>
                      <a:pt x="680" y="158"/>
                    </a:lnTo>
                    <a:lnTo>
                      <a:pt x="678" y="175"/>
                    </a:lnTo>
                    <a:lnTo>
                      <a:pt x="679" y="195"/>
                    </a:lnTo>
                    <a:lnTo>
                      <a:pt x="678" y="202"/>
                    </a:lnTo>
                    <a:lnTo>
                      <a:pt x="668" y="205"/>
                    </a:lnTo>
                    <a:lnTo>
                      <a:pt x="658" y="209"/>
                    </a:lnTo>
                    <a:lnTo>
                      <a:pt x="655" y="212"/>
                    </a:lnTo>
                    <a:lnTo>
                      <a:pt x="653" y="215"/>
                    </a:lnTo>
                    <a:lnTo>
                      <a:pt x="651" y="220"/>
                    </a:lnTo>
                    <a:lnTo>
                      <a:pt x="649" y="227"/>
                    </a:lnTo>
                    <a:lnTo>
                      <a:pt x="648" y="243"/>
                    </a:lnTo>
                    <a:lnTo>
                      <a:pt x="648" y="262"/>
                    </a:lnTo>
                    <a:lnTo>
                      <a:pt x="648" y="272"/>
                    </a:lnTo>
                    <a:lnTo>
                      <a:pt x="651" y="283"/>
                    </a:lnTo>
                    <a:lnTo>
                      <a:pt x="653" y="293"/>
                    </a:lnTo>
                    <a:lnTo>
                      <a:pt x="655" y="301"/>
                    </a:lnTo>
                    <a:lnTo>
                      <a:pt x="664" y="315"/>
                    </a:lnTo>
                    <a:lnTo>
                      <a:pt x="671" y="326"/>
                    </a:lnTo>
                    <a:lnTo>
                      <a:pt x="674" y="331"/>
                    </a:lnTo>
                    <a:lnTo>
                      <a:pt x="677" y="337"/>
                    </a:lnTo>
                    <a:lnTo>
                      <a:pt x="679" y="344"/>
                    </a:lnTo>
                    <a:lnTo>
                      <a:pt x="681" y="350"/>
                    </a:lnTo>
                    <a:lnTo>
                      <a:pt x="681" y="357"/>
                    </a:lnTo>
                    <a:lnTo>
                      <a:pt x="681" y="363"/>
                    </a:lnTo>
                    <a:lnTo>
                      <a:pt x="679" y="368"/>
                    </a:lnTo>
                    <a:lnTo>
                      <a:pt x="676" y="372"/>
                    </a:lnTo>
                    <a:lnTo>
                      <a:pt x="673" y="376"/>
                    </a:lnTo>
                    <a:lnTo>
                      <a:pt x="671" y="381"/>
                    </a:lnTo>
                    <a:lnTo>
                      <a:pt x="670" y="384"/>
                    </a:lnTo>
                    <a:lnTo>
                      <a:pt x="668" y="390"/>
                    </a:lnTo>
                    <a:lnTo>
                      <a:pt x="667" y="395"/>
                    </a:lnTo>
                    <a:lnTo>
                      <a:pt x="666" y="401"/>
                    </a:lnTo>
                    <a:lnTo>
                      <a:pt x="665" y="407"/>
                    </a:lnTo>
                    <a:lnTo>
                      <a:pt x="661" y="413"/>
                    </a:lnTo>
                    <a:lnTo>
                      <a:pt x="658" y="419"/>
                    </a:lnTo>
                    <a:lnTo>
                      <a:pt x="652" y="423"/>
                    </a:lnTo>
                    <a:lnTo>
                      <a:pt x="647" y="427"/>
                    </a:lnTo>
                    <a:lnTo>
                      <a:pt x="641" y="429"/>
                    </a:lnTo>
                    <a:lnTo>
                      <a:pt x="635" y="429"/>
                    </a:lnTo>
                    <a:lnTo>
                      <a:pt x="629" y="429"/>
                    </a:lnTo>
                    <a:lnTo>
                      <a:pt x="624" y="428"/>
                    </a:lnTo>
                    <a:lnTo>
                      <a:pt x="620" y="426"/>
                    </a:lnTo>
                    <a:lnTo>
                      <a:pt x="616" y="423"/>
                    </a:lnTo>
                    <a:lnTo>
                      <a:pt x="611" y="423"/>
                    </a:lnTo>
                    <a:lnTo>
                      <a:pt x="607" y="423"/>
                    </a:lnTo>
                    <a:lnTo>
                      <a:pt x="602" y="426"/>
                    </a:lnTo>
                    <a:lnTo>
                      <a:pt x="592" y="432"/>
                    </a:lnTo>
                    <a:lnTo>
                      <a:pt x="584" y="439"/>
                    </a:lnTo>
                    <a:lnTo>
                      <a:pt x="580" y="442"/>
                    </a:lnTo>
                    <a:lnTo>
                      <a:pt x="576" y="445"/>
                    </a:lnTo>
                    <a:lnTo>
                      <a:pt x="571" y="447"/>
                    </a:lnTo>
                    <a:lnTo>
                      <a:pt x="567" y="448"/>
                    </a:lnTo>
                    <a:lnTo>
                      <a:pt x="563" y="450"/>
                    </a:lnTo>
                    <a:lnTo>
                      <a:pt x="558" y="448"/>
                    </a:lnTo>
                    <a:lnTo>
                      <a:pt x="554" y="447"/>
                    </a:lnTo>
                    <a:lnTo>
                      <a:pt x="552" y="446"/>
                    </a:lnTo>
                    <a:lnTo>
                      <a:pt x="547" y="439"/>
                    </a:lnTo>
                    <a:lnTo>
                      <a:pt x="545" y="431"/>
                    </a:lnTo>
                    <a:lnTo>
                      <a:pt x="544" y="421"/>
                    </a:lnTo>
                    <a:lnTo>
                      <a:pt x="542" y="409"/>
                    </a:lnTo>
                    <a:lnTo>
                      <a:pt x="544" y="397"/>
                    </a:lnTo>
                    <a:lnTo>
                      <a:pt x="544" y="389"/>
                    </a:lnTo>
                    <a:lnTo>
                      <a:pt x="542" y="381"/>
                    </a:lnTo>
                    <a:lnTo>
                      <a:pt x="540" y="374"/>
                    </a:lnTo>
                    <a:lnTo>
                      <a:pt x="532" y="357"/>
                    </a:lnTo>
                    <a:lnTo>
                      <a:pt x="525" y="338"/>
                    </a:lnTo>
                    <a:lnTo>
                      <a:pt x="523" y="332"/>
                    </a:lnTo>
                    <a:lnTo>
                      <a:pt x="521" y="328"/>
                    </a:lnTo>
                    <a:lnTo>
                      <a:pt x="517" y="325"/>
                    </a:lnTo>
                    <a:lnTo>
                      <a:pt x="515" y="322"/>
                    </a:lnTo>
                    <a:lnTo>
                      <a:pt x="511" y="321"/>
                    </a:lnTo>
                    <a:lnTo>
                      <a:pt x="508" y="322"/>
                    </a:lnTo>
                    <a:lnTo>
                      <a:pt x="504" y="324"/>
                    </a:lnTo>
                    <a:lnTo>
                      <a:pt x="500" y="327"/>
                    </a:lnTo>
                    <a:lnTo>
                      <a:pt x="496" y="332"/>
                    </a:lnTo>
                    <a:lnTo>
                      <a:pt x="494" y="338"/>
                    </a:lnTo>
                    <a:lnTo>
                      <a:pt x="492" y="344"/>
                    </a:lnTo>
                    <a:lnTo>
                      <a:pt x="492" y="351"/>
                    </a:lnTo>
                    <a:lnTo>
                      <a:pt x="495" y="365"/>
                    </a:lnTo>
                    <a:lnTo>
                      <a:pt x="498" y="378"/>
                    </a:lnTo>
                    <a:lnTo>
                      <a:pt x="501" y="383"/>
                    </a:lnTo>
                    <a:lnTo>
                      <a:pt x="500" y="388"/>
                    </a:lnTo>
                    <a:lnTo>
                      <a:pt x="497" y="391"/>
                    </a:lnTo>
                    <a:lnTo>
                      <a:pt x="495" y="394"/>
                    </a:lnTo>
                    <a:lnTo>
                      <a:pt x="485" y="398"/>
                    </a:lnTo>
                    <a:lnTo>
                      <a:pt x="475" y="402"/>
                    </a:lnTo>
                    <a:lnTo>
                      <a:pt x="462" y="406"/>
                    </a:lnTo>
                    <a:lnTo>
                      <a:pt x="453" y="408"/>
                    </a:lnTo>
                    <a:lnTo>
                      <a:pt x="450" y="409"/>
                    </a:lnTo>
                    <a:lnTo>
                      <a:pt x="447" y="410"/>
                    </a:lnTo>
                    <a:lnTo>
                      <a:pt x="446" y="412"/>
                    </a:lnTo>
                    <a:lnTo>
                      <a:pt x="446" y="414"/>
                    </a:lnTo>
                    <a:lnTo>
                      <a:pt x="446" y="420"/>
                    </a:lnTo>
                    <a:lnTo>
                      <a:pt x="447" y="427"/>
                    </a:lnTo>
                    <a:lnTo>
                      <a:pt x="447" y="435"/>
                    </a:lnTo>
                    <a:lnTo>
                      <a:pt x="445" y="445"/>
                    </a:lnTo>
                    <a:lnTo>
                      <a:pt x="441" y="460"/>
                    </a:lnTo>
                    <a:lnTo>
                      <a:pt x="437" y="477"/>
                    </a:lnTo>
                    <a:lnTo>
                      <a:pt x="435" y="484"/>
                    </a:lnTo>
                    <a:lnTo>
                      <a:pt x="435" y="491"/>
                    </a:lnTo>
                    <a:lnTo>
                      <a:pt x="437" y="497"/>
                    </a:lnTo>
                    <a:lnTo>
                      <a:pt x="439" y="503"/>
                    </a:lnTo>
                    <a:lnTo>
                      <a:pt x="441" y="508"/>
                    </a:lnTo>
                    <a:lnTo>
                      <a:pt x="444" y="513"/>
                    </a:lnTo>
                    <a:lnTo>
                      <a:pt x="446" y="519"/>
                    </a:lnTo>
                    <a:lnTo>
                      <a:pt x="447" y="524"/>
                    </a:lnTo>
                    <a:lnTo>
                      <a:pt x="450" y="539"/>
                    </a:lnTo>
                    <a:lnTo>
                      <a:pt x="451" y="554"/>
                    </a:lnTo>
                    <a:lnTo>
                      <a:pt x="454" y="576"/>
                    </a:lnTo>
                    <a:lnTo>
                      <a:pt x="459" y="604"/>
                    </a:lnTo>
                    <a:lnTo>
                      <a:pt x="466" y="635"/>
                    </a:lnTo>
                    <a:lnTo>
                      <a:pt x="472" y="662"/>
                    </a:lnTo>
                    <a:lnTo>
                      <a:pt x="478" y="684"/>
                    </a:lnTo>
                    <a:lnTo>
                      <a:pt x="483" y="699"/>
                    </a:lnTo>
                    <a:lnTo>
                      <a:pt x="487" y="705"/>
                    </a:lnTo>
                    <a:lnTo>
                      <a:pt x="490" y="709"/>
                    </a:lnTo>
                    <a:lnTo>
                      <a:pt x="496" y="710"/>
                    </a:lnTo>
                    <a:lnTo>
                      <a:pt x="502" y="711"/>
                    </a:lnTo>
                    <a:lnTo>
                      <a:pt x="509" y="710"/>
                    </a:lnTo>
                    <a:lnTo>
                      <a:pt x="515" y="708"/>
                    </a:lnTo>
                    <a:lnTo>
                      <a:pt x="520" y="704"/>
                    </a:lnTo>
                    <a:lnTo>
                      <a:pt x="523" y="699"/>
                    </a:lnTo>
                    <a:lnTo>
                      <a:pt x="527" y="693"/>
                    </a:lnTo>
                    <a:lnTo>
                      <a:pt x="529" y="686"/>
                    </a:lnTo>
                    <a:lnTo>
                      <a:pt x="532" y="679"/>
                    </a:lnTo>
                    <a:lnTo>
                      <a:pt x="532" y="671"/>
                    </a:lnTo>
                    <a:lnTo>
                      <a:pt x="533" y="666"/>
                    </a:lnTo>
                    <a:lnTo>
                      <a:pt x="534" y="662"/>
                    </a:lnTo>
                    <a:lnTo>
                      <a:pt x="538" y="659"/>
                    </a:lnTo>
                    <a:lnTo>
                      <a:pt x="540" y="658"/>
                    </a:lnTo>
                    <a:lnTo>
                      <a:pt x="545" y="658"/>
                    </a:lnTo>
                    <a:lnTo>
                      <a:pt x="548" y="659"/>
                    </a:lnTo>
                    <a:lnTo>
                      <a:pt x="553" y="662"/>
                    </a:lnTo>
                    <a:lnTo>
                      <a:pt x="558" y="667"/>
                    </a:lnTo>
                    <a:lnTo>
                      <a:pt x="567" y="667"/>
                    </a:lnTo>
                    <a:lnTo>
                      <a:pt x="580" y="669"/>
                    </a:lnTo>
                    <a:lnTo>
                      <a:pt x="585" y="677"/>
                    </a:lnTo>
                    <a:lnTo>
                      <a:pt x="590" y="685"/>
                    </a:lnTo>
                    <a:lnTo>
                      <a:pt x="592" y="688"/>
                    </a:lnTo>
                    <a:lnTo>
                      <a:pt x="595" y="691"/>
                    </a:lnTo>
                    <a:lnTo>
                      <a:pt x="598" y="693"/>
                    </a:lnTo>
                    <a:lnTo>
                      <a:pt x="602" y="692"/>
                    </a:lnTo>
                    <a:lnTo>
                      <a:pt x="610" y="688"/>
                    </a:lnTo>
                    <a:lnTo>
                      <a:pt x="617" y="686"/>
                    </a:lnTo>
                    <a:lnTo>
                      <a:pt x="621" y="686"/>
                    </a:lnTo>
                    <a:lnTo>
                      <a:pt x="622" y="687"/>
                    </a:lnTo>
                    <a:lnTo>
                      <a:pt x="623" y="690"/>
                    </a:lnTo>
                    <a:lnTo>
                      <a:pt x="623" y="693"/>
                    </a:lnTo>
                    <a:lnTo>
                      <a:pt x="621" y="702"/>
                    </a:lnTo>
                    <a:lnTo>
                      <a:pt x="616" y="711"/>
                    </a:lnTo>
                    <a:lnTo>
                      <a:pt x="613" y="722"/>
                    </a:lnTo>
                    <a:lnTo>
                      <a:pt x="611" y="734"/>
                    </a:lnTo>
                    <a:lnTo>
                      <a:pt x="611" y="747"/>
                    </a:lnTo>
                    <a:lnTo>
                      <a:pt x="615" y="760"/>
                    </a:lnTo>
                    <a:lnTo>
                      <a:pt x="618" y="773"/>
                    </a:lnTo>
                    <a:lnTo>
                      <a:pt x="621" y="787"/>
                    </a:lnTo>
                    <a:lnTo>
                      <a:pt x="622" y="799"/>
                    </a:lnTo>
                    <a:lnTo>
                      <a:pt x="623" y="809"/>
                    </a:lnTo>
                    <a:lnTo>
                      <a:pt x="623" y="818"/>
                    </a:lnTo>
                    <a:lnTo>
                      <a:pt x="622" y="825"/>
                    </a:lnTo>
                    <a:lnTo>
                      <a:pt x="617" y="839"/>
                    </a:lnTo>
                    <a:lnTo>
                      <a:pt x="609" y="855"/>
                    </a:lnTo>
                    <a:lnTo>
                      <a:pt x="605" y="863"/>
                    </a:lnTo>
                    <a:lnTo>
                      <a:pt x="603" y="872"/>
                    </a:lnTo>
                    <a:lnTo>
                      <a:pt x="602" y="880"/>
                    </a:lnTo>
                    <a:lnTo>
                      <a:pt x="602" y="889"/>
                    </a:lnTo>
                    <a:lnTo>
                      <a:pt x="603" y="898"/>
                    </a:lnTo>
                    <a:lnTo>
                      <a:pt x="607" y="906"/>
                    </a:lnTo>
                    <a:lnTo>
                      <a:pt x="611" y="913"/>
                    </a:lnTo>
                    <a:lnTo>
                      <a:pt x="617" y="921"/>
                    </a:lnTo>
                    <a:lnTo>
                      <a:pt x="621" y="925"/>
                    </a:lnTo>
                    <a:lnTo>
                      <a:pt x="622" y="929"/>
                    </a:lnTo>
                    <a:lnTo>
                      <a:pt x="624" y="932"/>
                    </a:lnTo>
                    <a:lnTo>
                      <a:pt x="624" y="935"/>
                    </a:lnTo>
                    <a:lnTo>
                      <a:pt x="624" y="940"/>
                    </a:lnTo>
                    <a:lnTo>
                      <a:pt x="622" y="946"/>
                    </a:lnTo>
                    <a:lnTo>
                      <a:pt x="614" y="958"/>
                    </a:lnTo>
                    <a:lnTo>
                      <a:pt x="608" y="971"/>
                    </a:lnTo>
                    <a:lnTo>
                      <a:pt x="605" y="982"/>
                    </a:lnTo>
                    <a:lnTo>
                      <a:pt x="605" y="998"/>
                    </a:lnTo>
                    <a:lnTo>
                      <a:pt x="605" y="1015"/>
                    </a:lnTo>
                    <a:lnTo>
                      <a:pt x="605" y="1034"/>
                    </a:lnTo>
                    <a:lnTo>
                      <a:pt x="605" y="1075"/>
                    </a:lnTo>
                    <a:lnTo>
                      <a:pt x="603" y="1108"/>
                    </a:lnTo>
                    <a:lnTo>
                      <a:pt x="599" y="1135"/>
                    </a:lnTo>
                    <a:lnTo>
                      <a:pt x="596" y="1164"/>
                    </a:lnTo>
                    <a:lnTo>
                      <a:pt x="594" y="1178"/>
                    </a:lnTo>
                    <a:lnTo>
                      <a:pt x="590" y="1192"/>
                    </a:lnTo>
                    <a:lnTo>
                      <a:pt x="585" y="1207"/>
                    </a:lnTo>
                    <a:lnTo>
                      <a:pt x="579" y="1221"/>
                    </a:lnTo>
                    <a:lnTo>
                      <a:pt x="572" y="1234"/>
                    </a:lnTo>
                    <a:lnTo>
                      <a:pt x="564" y="1246"/>
                    </a:lnTo>
                    <a:lnTo>
                      <a:pt x="557" y="1255"/>
                    </a:lnTo>
                    <a:lnTo>
                      <a:pt x="553" y="1265"/>
                    </a:lnTo>
                    <a:lnTo>
                      <a:pt x="560" y="1279"/>
                    </a:lnTo>
                    <a:lnTo>
                      <a:pt x="569" y="1297"/>
                    </a:lnTo>
                    <a:lnTo>
                      <a:pt x="569" y="1308"/>
                    </a:lnTo>
                    <a:lnTo>
                      <a:pt x="567" y="1315"/>
                    </a:lnTo>
                    <a:lnTo>
                      <a:pt x="564" y="1321"/>
                    </a:lnTo>
                    <a:lnTo>
                      <a:pt x="560" y="1326"/>
                    </a:lnTo>
                    <a:lnTo>
                      <a:pt x="557" y="1327"/>
                    </a:lnTo>
                    <a:lnTo>
                      <a:pt x="553" y="1328"/>
                    </a:lnTo>
                    <a:lnTo>
                      <a:pt x="550" y="1327"/>
                    </a:lnTo>
                    <a:lnTo>
                      <a:pt x="547" y="1324"/>
                    </a:lnTo>
                    <a:lnTo>
                      <a:pt x="542" y="1317"/>
                    </a:lnTo>
                    <a:lnTo>
                      <a:pt x="534" y="1309"/>
                    </a:lnTo>
                    <a:lnTo>
                      <a:pt x="529" y="1305"/>
                    </a:lnTo>
                    <a:lnTo>
                      <a:pt x="525" y="1303"/>
                    </a:lnTo>
                    <a:lnTo>
                      <a:pt x="519" y="1302"/>
                    </a:lnTo>
                    <a:lnTo>
                      <a:pt x="513" y="1302"/>
                    </a:lnTo>
                    <a:lnTo>
                      <a:pt x="510" y="1303"/>
                    </a:lnTo>
                    <a:lnTo>
                      <a:pt x="509" y="1305"/>
                    </a:lnTo>
                    <a:lnTo>
                      <a:pt x="507" y="1308"/>
                    </a:lnTo>
                    <a:lnTo>
                      <a:pt x="506" y="1310"/>
                    </a:lnTo>
                    <a:lnTo>
                      <a:pt x="506" y="1316"/>
                    </a:lnTo>
                    <a:lnTo>
                      <a:pt x="506" y="1323"/>
                    </a:lnTo>
                    <a:lnTo>
                      <a:pt x="509" y="1341"/>
                    </a:lnTo>
                    <a:lnTo>
                      <a:pt x="513" y="1362"/>
                    </a:lnTo>
                    <a:lnTo>
                      <a:pt x="516" y="1373"/>
                    </a:lnTo>
                    <a:lnTo>
                      <a:pt x="521" y="1384"/>
                    </a:lnTo>
                    <a:lnTo>
                      <a:pt x="526" y="1393"/>
                    </a:lnTo>
                    <a:lnTo>
                      <a:pt x="533" y="1403"/>
                    </a:lnTo>
                    <a:lnTo>
                      <a:pt x="538" y="1412"/>
                    </a:lnTo>
                    <a:lnTo>
                      <a:pt x="542" y="1421"/>
                    </a:lnTo>
                    <a:lnTo>
                      <a:pt x="544" y="1425"/>
                    </a:lnTo>
                    <a:lnTo>
                      <a:pt x="544" y="1429"/>
                    </a:lnTo>
                    <a:lnTo>
                      <a:pt x="544" y="1434"/>
                    </a:lnTo>
                    <a:lnTo>
                      <a:pt x="544" y="1437"/>
                    </a:lnTo>
                    <a:lnTo>
                      <a:pt x="541" y="1443"/>
                    </a:lnTo>
                    <a:lnTo>
                      <a:pt x="538" y="1449"/>
                    </a:lnTo>
                    <a:lnTo>
                      <a:pt x="534" y="1453"/>
                    </a:lnTo>
                    <a:lnTo>
                      <a:pt x="529" y="1455"/>
                    </a:lnTo>
                    <a:lnTo>
                      <a:pt x="525" y="1455"/>
                    </a:lnTo>
                    <a:lnTo>
                      <a:pt x="517" y="1454"/>
                    </a:lnTo>
                    <a:lnTo>
                      <a:pt x="509" y="1450"/>
                    </a:lnTo>
                    <a:lnTo>
                      <a:pt x="498" y="1446"/>
                    </a:lnTo>
                    <a:lnTo>
                      <a:pt x="492" y="1443"/>
                    </a:lnTo>
                    <a:lnTo>
                      <a:pt x="487" y="1442"/>
                    </a:lnTo>
                    <a:lnTo>
                      <a:pt x="483" y="1442"/>
                    </a:lnTo>
                    <a:lnTo>
                      <a:pt x="478" y="1442"/>
                    </a:lnTo>
                    <a:lnTo>
                      <a:pt x="475" y="1443"/>
                    </a:lnTo>
                    <a:lnTo>
                      <a:pt x="471" y="1446"/>
                    </a:lnTo>
                    <a:lnTo>
                      <a:pt x="467" y="1448"/>
                    </a:lnTo>
                    <a:lnTo>
                      <a:pt x="464" y="1452"/>
                    </a:lnTo>
                    <a:lnTo>
                      <a:pt x="451" y="1468"/>
                    </a:lnTo>
                    <a:lnTo>
                      <a:pt x="437" y="1491"/>
                    </a:lnTo>
                    <a:lnTo>
                      <a:pt x="422" y="1513"/>
                    </a:lnTo>
                    <a:lnTo>
                      <a:pt x="409" y="1535"/>
                    </a:lnTo>
                    <a:lnTo>
                      <a:pt x="404" y="1544"/>
                    </a:lnTo>
                    <a:lnTo>
                      <a:pt x="400" y="1550"/>
                    </a:lnTo>
                    <a:lnTo>
                      <a:pt x="397" y="1553"/>
                    </a:lnTo>
                    <a:lnTo>
                      <a:pt x="395" y="1555"/>
                    </a:lnTo>
                    <a:lnTo>
                      <a:pt x="393" y="1555"/>
                    </a:lnTo>
                    <a:lnTo>
                      <a:pt x="391" y="1555"/>
                    </a:lnTo>
                    <a:lnTo>
                      <a:pt x="384" y="1553"/>
                    </a:lnTo>
                    <a:lnTo>
                      <a:pt x="374" y="1547"/>
                    </a:lnTo>
                    <a:lnTo>
                      <a:pt x="368" y="1542"/>
                    </a:lnTo>
                    <a:lnTo>
                      <a:pt x="362" y="1537"/>
                    </a:lnTo>
                    <a:lnTo>
                      <a:pt x="356" y="1532"/>
                    </a:lnTo>
                    <a:lnTo>
                      <a:pt x="351" y="1526"/>
                    </a:lnTo>
                    <a:lnTo>
                      <a:pt x="345" y="1510"/>
                    </a:lnTo>
                    <a:lnTo>
                      <a:pt x="339" y="1498"/>
                    </a:lnTo>
                    <a:lnTo>
                      <a:pt x="336" y="1497"/>
                    </a:lnTo>
                    <a:lnTo>
                      <a:pt x="332" y="1497"/>
                    </a:lnTo>
                    <a:lnTo>
                      <a:pt x="330" y="1498"/>
                    </a:lnTo>
                    <a:lnTo>
                      <a:pt x="327" y="1499"/>
                    </a:lnTo>
                    <a:lnTo>
                      <a:pt x="325" y="1506"/>
                    </a:lnTo>
                    <a:lnTo>
                      <a:pt x="322" y="1516"/>
                    </a:lnTo>
                    <a:lnTo>
                      <a:pt x="319" y="1526"/>
                    </a:lnTo>
                    <a:lnTo>
                      <a:pt x="317" y="1537"/>
                    </a:lnTo>
                    <a:lnTo>
                      <a:pt x="315" y="1542"/>
                    </a:lnTo>
                    <a:lnTo>
                      <a:pt x="313" y="1547"/>
                    </a:lnTo>
                    <a:lnTo>
                      <a:pt x="311" y="1550"/>
                    </a:lnTo>
                    <a:lnTo>
                      <a:pt x="307" y="1554"/>
                    </a:lnTo>
                    <a:lnTo>
                      <a:pt x="303" y="1559"/>
                    </a:lnTo>
                    <a:lnTo>
                      <a:pt x="301" y="1563"/>
                    </a:lnTo>
                    <a:lnTo>
                      <a:pt x="301" y="1568"/>
                    </a:lnTo>
                    <a:lnTo>
                      <a:pt x="303" y="1573"/>
                    </a:lnTo>
                    <a:lnTo>
                      <a:pt x="305" y="1576"/>
                    </a:lnTo>
                    <a:lnTo>
                      <a:pt x="307" y="1581"/>
                    </a:lnTo>
                    <a:lnTo>
                      <a:pt x="308" y="1585"/>
                    </a:lnTo>
                    <a:lnTo>
                      <a:pt x="308" y="1588"/>
                    </a:lnTo>
                    <a:lnTo>
                      <a:pt x="305" y="1597"/>
                    </a:lnTo>
                    <a:lnTo>
                      <a:pt x="300" y="1603"/>
                    </a:lnTo>
                    <a:lnTo>
                      <a:pt x="294" y="1607"/>
                    </a:lnTo>
                    <a:lnTo>
                      <a:pt x="287" y="1614"/>
                    </a:lnTo>
                    <a:lnTo>
                      <a:pt x="278" y="1627"/>
                    </a:lnTo>
                    <a:lnTo>
                      <a:pt x="269" y="1639"/>
                    </a:lnTo>
                    <a:lnTo>
                      <a:pt x="262" y="1644"/>
                    </a:lnTo>
                    <a:lnTo>
                      <a:pt x="252" y="1650"/>
                    </a:lnTo>
                    <a:lnTo>
                      <a:pt x="244" y="1657"/>
                    </a:lnTo>
                    <a:lnTo>
                      <a:pt x="238" y="1664"/>
                    </a:lnTo>
                    <a:lnTo>
                      <a:pt x="235" y="1670"/>
                    </a:lnTo>
                    <a:lnTo>
                      <a:pt x="231" y="1675"/>
                    </a:lnTo>
                    <a:lnTo>
                      <a:pt x="226" y="1679"/>
                    </a:lnTo>
                    <a:lnTo>
                      <a:pt x="223" y="1681"/>
                    </a:lnTo>
                    <a:lnTo>
                      <a:pt x="218" y="1681"/>
                    </a:lnTo>
                    <a:lnTo>
                      <a:pt x="213" y="1680"/>
                    </a:lnTo>
                    <a:lnTo>
                      <a:pt x="207" y="1675"/>
                    </a:lnTo>
                    <a:lnTo>
                      <a:pt x="200" y="1670"/>
                    </a:lnTo>
                    <a:lnTo>
                      <a:pt x="195" y="1667"/>
                    </a:lnTo>
                    <a:lnTo>
                      <a:pt x="192" y="1666"/>
                    </a:lnTo>
                    <a:lnTo>
                      <a:pt x="188" y="1666"/>
                    </a:lnTo>
                    <a:lnTo>
                      <a:pt x="186" y="1666"/>
                    </a:lnTo>
                    <a:lnTo>
                      <a:pt x="180" y="1669"/>
                    </a:lnTo>
                    <a:lnTo>
                      <a:pt x="174" y="1676"/>
                    </a:lnTo>
                    <a:lnTo>
                      <a:pt x="163" y="1693"/>
                    </a:lnTo>
                    <a:lnTo>
                      <a:pt x="150" y="1711"/>
                    </a:lnTo>
                    <a:lnTo>
                      <a:pt x="144" y="1717"/>
                    </a:lnTo>
                    <a:lnTo>
                      <a:pt x="137" y="1723"/>
                    </a:lnTo>
                    <a:lnTo>
                      <a:pt x="131" y="1727"/>
                    </a:lnTo>
                    <a:lnTo>
                      <a:pt x="128" y="1729"/>
                    </a:lnTo>
                    <a:lnTo>
                      <a:pt x="125" y="1729"/>
                    </a:lnTo>
                    <a:lnTo>
                      <a:pt x="125" y="1730"/>
                    </a:lnTo>
                    <a:lnTo>
                      <a:pt x="125" y="1731"/>
                    </a:lnTo>
                    <a:lnTo>
                      <a:pt x="125" y="1733"/>
                    </a:lnTo>
                    <a:lnTo>
                      <a:pt x="128" y="1738"/>
                    </a:lnTo>
                    <a:lnTo>
                      <a:pt x="129" y="1745"/>
                    </a:lnTo>
                    <a:lnTo>
                      <a:pt x="129" y="1753"/>
                    </a:lnTo>
                    <a:lnTo>
                      <a:pt x="126" y="1762"/>
                    </a:lnTo>
                    <a:lnTo>
                      <a:pt x="123" y="1770"/>
                    </a:lnTo>
                    <a:lnTo>
                      <a:pt x="120" y="1777"/>
                    </a:lnTo>
                    <a:lnTo>
                      <a:pt x="118" y="1786"/>
                    </a:lnTo>
                    <a:lnTo>
                      <a:pt x="117" y="1794"/>
                    </a:lnTo>
                    <a:lnTo>
                      <a:pt x="118" y="1800"/>
                    </a:lnTo>
                    <a:lnTo>
                      <a:pt x="119" y="1806"/>
                    </a:lnTo>
                    <a:lnTo>
                      <a:pt x="125" y="1815"/>
                    </a:lnTo>
                    <a:lnTo>
                      <a:pt x="130" y="1822"/>
                    </a:lnTo>
                    <a:lnTo>
                      <a:pt x="132" y="1826"/>
                    </a:lnTo>
                    <a:lnTo>
                      <a:pt x="133" y="1830"/>
                    </a:lnTo>
                    <a:lnTo>
                      <a:pt x="133" y="1833"/>
                    </a:lnTo>
                    <a:lnTo>
                      <a:pt x="133" y="1837"/>
                    </a:lnTo>
                    <a:lnTo>
                      <a:pt x="131" y="1841"/>
                    </a:lnTo>
                    <a:lnTo>
                      <a:pt x="126" y="1844"/>
                    </a:lnTo>
                    <a:lnTo>
                      <a:pt x="123" y="1845"/>
                    </a:lnTo>
                    <a:lnTo>
                      <a:pt x="117" y="1845"/>
                    </a:lnTo>
                    <a:lnTo>
                      <a:pt x="105" y="1844"/>
                    </a:lnTo>
                    <a:lnTo>
                      <a:pt x="93" y="1845"/>
                    </a:lnTo>
                    <a:lnTo>
                      <a:pt x="85" y="1850"/>
                    </a:lnTo>
                    <a:lnTo>
                      <a:pt x="75" y="1858"/>
                    </a:lnTo>
                    <a:lnTo>
                      <a:pt x="66" y="1864"/>
                    </a:lnTo>
                    <a:lnTo>
                      <a:pt x="56" y="1870"/>
                    </a:lnTo>
                    <a:lnTo>
                      <a:pt x="51" y="1874"/>
                    </a:lnTo>
                    <a:lnTo>
                      <a:pt x="48" y="1878"/>
                    </a:lnTo>
                    <a:lnTo>
                      <a:pt x="45" y="1883"/>
                    </a:lnTo>
                    <a:lnTo>
                      <a:pt x="44" y="1888"/>
                    </a:lnTo>
                    <a:lnTo>
                      <a:pt x="42" y="1901"/>
                    </a:lnTo>
                    <a:lnTo>
                      <a:pt x="40" y="1916"/>
                    </a:lnTo>
                    <a:lnTo>
                      <a:pt x="36" y="1933"/>
                    </a:lnTo>
                    <a:lnTo>
                      <a:pt x="32" y="1950"/>
                    </a:lnTo>
                    <a:lnTo>
                      <a:pt x="26" y="1967"/>
                    </a:lnTo>
                    <a:lnTo>
                      <a:pt x="22" y="1984"/>
                    </a:lnTo>
                    <a:lnTo>
                      <a:pt x="19" y="1994"/>
                    </a:lnTo>
                    <a:lnTo>
                      <a:pt x="18" y="2001"/>
                    </a:lnTo>
                    <a:lnTo>
                      <a:pt x="19" y="2005"/>
                    </a:lnTo>
                    <a:lnTo>
                      <a:pt x="22" y="2008"/>
                    </a:lnTo>
                    <a:lnTo>
                      <a:pt x="25" y="2010"/>
                    </a:lnTo>
                    <a:lnTo>
                      <a:pt x="30" y="2010"/>
                    </a:lnTo>
                    <a:lnTo>
                      <a:pt x="38" y="2010"/>
                    </a:lnTo>
                    <a:lnTo>
                      <a:pt x="48" y="2009"/>
                    </a:lnTo>
                    <a:lnTo>
                      <a:pt x="53" y="2010"/>
                    </a:lnTo>
                    <a:lnTo>
                      <a:pt x="57" y="2011"/>
                    </a:lnTo>
                    <a:lnTo>
                      <a:pt x="62" y="2013"/>
                    </a:lnTo>
                    <a:lnTo>
                      <a:pt x="66" y="2015"/>
                    </a:lnTo>
                    <a:lnTo>
                      <a:pt x="72" y="2022"/>
                    </a:lnTo>
                    <a:lnTo>
                      <a:pt x="76" y="2029"/>
                    </a:lnTo>
                    <a:lnTo>
                      <a:pt x="79" y="2038"/>
                    </a:lnTo>
                    <a:lnTo>
                      <a:pt x="79" y="2045"/>
                    </a:lnTo>
                    <a:lnTo>
                      <a:pt x="78" y="2048"/>
                    </a:lnTo>
                    <a:lnTo>
                      <a:pt x="76" y="2051"/>
                    </a:lnTo>
                    <a:lnTo>
                      <a:pt x="74" y="2053"/>
                    </a:lnTo>
                    <a:lnTo>
                      <a:pt x="70" y="2055"/>
                    </a:lnTo>
                    <a:lnTo>
                      <a:pt x="65" y="2058"/>
                    </a:lnTo>
                    <a:lnTo>
                      <a:pt x="61" y="2061"/>
                    </a:lnTo>
                    <a:lnTo>
                      <a:pt x="59" y="2065"/>
                    </a:lnTo>
                    <a:lnTo>
                      <a:pt x="59" y="2068"/>
                    </a:lnTo>
                    <a:lnTo>
                      <a:pt x="60" y="2072"/>
                    </a:lnTo>
                    <a:lnTo>
                      <a:pt x="62" y="2074"/>
                    </a:lnTo>
                    <a:lnTo>
                      <a:pt x="66" y="2077"/>
                    </a:lnTo>
                    <a:lnTo>
                      <a:pt x="70" y="2078"/>
                    </a:lnTo>
                    <a:lnTo>
                      <a:pt x="75" y="2079"/>
                    </a:lnTo>
                    <a:lnTo>
                      <a:pt x="79" y="2080"/>
                    </a:lnTo>
                    <a:lnTo>
                      <a:pt x="82" y="2083"/>
                    </a:lnTo>
                    <a:lnTo>
                      <a:pt x="86" y="2087"/>
                    </a:lnTo>
                    <a:lnTo>
                      <a:pt x="88" y="2092"/>
                    </a:lnTo>
                    <a:lnTo>
                      <a:pt x="89" y="2098"/>
                    </a:lnTo>
                    <a:lnTo>
                      <a:pt x="89" y="2106"/>
                    </a:lnTo>
                    <a:lnTo>
                      <a:pt x="88" y="2116"/>
                    </a:lnTo>
                    <a:lnTo>
                      <a:pt x="86" y="2126"/>
                    </a:lnTo>
                    <a:lnTo>
                      <a:pt x="82" y="2134"/>
                    </a:lnTo>
                    <a:lnTo>
                      <a:pt x="78" y="2142"/>
                    </a:lnTo>
                    <a:lnTo>
                      <a:pt x="73" y="2148"/>
                    </a:lnTo>
                    <a:lnTo>
                      <a:pt x="59" y="2161"/>
                    </a:lnTo>
                    <a:lnTo>
                      <a:pt x="40" y="2177"/>
                    </a:lnTo>
                    <a:lnTo>
                      <a:pt x="31" y="2186"/>
                    </a:lnTo>
                    <a:lnTo>
                      <a:pt x="23" y="2194"/>
                    </a:lnTo>
                    <a:lnTo>
                      <a:pt x="12" y="2204"/>
                    </a:lnTo>
                    <a:lnTo>
                      <a:pt x="4" y="2212"/>
                    </a:lnTo>
                    <a:lnTo>
                      <a:pt x="0" y="2219"/>
                    </a:lnTo>
                    <a:lnTo>
                      <a:pt x="0" y="2225"/>
                    </a:lnTo>
                    <a:lnTo>
                      <a:pt x="3" y="2230"/>
                    </a:lnTo>
                    <a:lnTo>
                      <a:pt x="7" y="2236"/>
                    </a:lnTo>
                    <a:lnTo>
                      <a:pt x="13" y="2241"/>
                    </a:lnTo>
                    <a:lnTo>
                      <a:pt x="19" y="2247"/>
                    </a:lnTo>
                    <a:lnTo>
                      <a:pt x="22" y="2250"/>
                    </a:lnTo>
                    <a:lnTo>
                      <a:pt x="24" y="2251"/>
                    </a:lnTo>
                    <a:lnTo>
                      <a:pt x="32" y="2249"/>
                    </a:lnTo>
                    <a:lnTo>
                      <a:pt x="42" y="2246"/>
                    </a:lnTo>
                    <a:lnTo>
                      <a:pt x="56" y="2241"/>
                    </a:lnTo>
                    <a:lnTo>
                      <a:pt x="74" y="2231"/>
                    </a:lnTo>
                    <a:lnTo>
                      <a:pt x="85" y="2224"/>
                    </a:lnTo>
                    <a:lnTo>
                      <a:pt x="95" y="2217"/>
                    </a:lnTo>
                    <a:lnTo>
                      <a:pt x="104" y="2211"/>
                    </a:lnTo>
                    <a:lnTo>
                      <a:pt x="113" y="2206"/>
                    </a:lnTo>
                    <a:lnTo>
                      <a:pt x="128" y="2208"/>
                    </a:lnTo>
                    <a:lnTo>
                      <a:pt x="139" y="2206"/>
                    </a:lnTo>
                    <a:lnTo>
                      <a:pt x="147" y="2202"/>
                    </a:lnTo>
                    <a:lnTo>
                      <a:pt x="160" y="2193"/>
                    </a:lnTo>
                    <a:lnTo>
                      <a:pt x="171" y="2185"/>
                    </a:lnTo>
                    <a:lnTo>
                      <a:pt x="180" y="2179"/>
                    </a:lnTo>
                    <a:lnTo>
                      <a:pt x="185" y="2180"/>
                    </a:lnTo>
                    <a:lnTo>
                      <a:pt x="193" y="2183"/>
                    </a:lnTo>
                    <a:lnTo>
                      <a:pt x="205" y="2184"/>
                    </a:lnTo>
                    <a:lnTo>
                      <a:pt x="220" y="2184"/>
                    </a:lnTo>
                    <a:lnTo>
                      <a:pt x="243" y="2183"/>
                    </a:lnTo>
                    <a:lnTo>
                      <a:pt x="265" y="2183"/>
                    </a:lnTo>
                    <a:lnTo>
                      <a:pt x="276" y="2183"/>
                    </a:lnTo>
                    <a:lnTo>
                      <a:pt x="284" y="2184"/>
                    </a:lnTo>
                    <a:lnTo>
                      <a:pt x="292" y="2186"/>
                    </a:lnTo>
                    <a:lnTo>
                      <a:pt x="296" y="2187"/>
                    </a:lnTo>
                    <a:lnTo>
                      <a:pt x="307" y="2192"/>
                    </a:lnTo>
                    <a:lnTo>
                      <a:pt x="317" y="2193"/>
                    </a:lnTo>
                    <a:lnTo>
                      <a:pt x="325" y="2194"/>
                    </a:lnTo>
                    <a:lnTo>
                      <a:pt x="333" y="2193"/>
                    </a:lnTo>
                    <a:lnTo>
                      <a:pt x="351" y="2190"/>
                    </a:lnTo>
                    <a:lnTo>
                      <a:pt x="369" y="2187"/>
                    </a:lnTo>
                    <a:lnTo>
                      <a:pt x="376" y="2187"/>
                    </a:lnTo>
                    <a:lnTo>
                      <a:pt x="382" y="2188"/>
                    </a:lnTo>
                    <a:lnTo>
                      <a:pt x="388" y="2191"/>
                    </a:lnTo>
                    <a:lnTo>
                      <a:pt x="393" y="2193"/>
                    </a:lnTo>
                    <a:lnTo>
                      <a:pt x="399" y="2197"/>
                    </a:lnTo>
                    <a:lnTo>
                      <a:pt x="404" y="2202"/>
                    </a:lnTo>
                    <a:lnTo>
                      <a:pt x="412" y="2206"/>
                    </a:lnTo>
                    <a:lnTo>
                      <a:pt x="419" y="2208"/>
                    </a:lnTo>
                    <a:lnTo>
                      <a:pt x="426" y="2208"/>
                    </a:lnTo>
                    <a:lnTo>
                      <a:pt x="434" y="2206"/>
                    </a:lnTo>
                    <a:lnTo>
                      <a:pt x="443" y="2205"/>
                    </a:lnTo>
                    <a:lnTo>
                      <a:pt x="448" y="2203"/>
                    </a:lnTo>
                    <a:lnTo>
                      <a:pt x="454" y="2199"/>
                    </a:lnTo>
                    <a:lnTo>
                      <a:pt x="460" y="2198"/>
                    </a:lnTo>
                    <a:lnTo>
                      <a:pt x="466" y="2197"/>
                    </a:lnTo>
                    <a:lnTo>
                      <a:pt x="473" y="2198"/>
                    </a:lnTo>
                    <a:lnTo>
                      <a:pt x="481" y="2199"/>
                    </a:lnTo>
                    <a:lnTo>
                      <a:pt x="489" y="2199"/>
                    </a:lnTo>
                    <a:lnTo>
                      <a:pt x="497" y="2198"/>
                    </a:lnTo>
                    <a:lnTo>
                      <a:pt x="503" y="2197"/>
                    </a:lnTo>
                    <a:lnTo>
                      <a:pt x="511" y="2193"/>
                    </a:lnTo>
                    <a:lnTo>
                      <a:pt x="519" y="2192"/>
                    </a:lnTo>
                    <a:lnTo>
                      <a:pt x="520" y="2193"/>
                    </a:lnTo>
                    <a:lnTo>
                      <a:pt x="522" y="2196"/>
                    </a:lnTo>
                    <a:lnTo>
                      <a:pt x="523" y="2198"/>
                    </a:lnTo>
                    <a:lnTo>
                      <a:pt x="526" y="2203"/>
                    </a:lnTo>
                    <a:lnTo>
                      <a:pt x="527" y="2208"/>
                    </a:lnTo>
                    <a:lnTo>
                      <a:pt x="527" y="2213"/>
                    </a:lnTo>
                    <a:lnTo>
                      <a:pt x="526" y="2218"/>
                    </a:lnTo>
                    <a:lnTo>
                      <a:pt x="522" y="2224"/>
                    </a:lnTo>
                    <a:lnTo>
                      <a:pt x="516" y="2229"/>
                    </a:lnTo>
                    <a:lnTo>
                      <a:pt x="509" y="2234"/>
                    </a:lnTo>
                    <a:lnTo>
                      <a:pt x="500" y="2238"/>
                    </a:lnTo>
                    <a:lnTo>
                      <a:pt x="490" y="2243"/>
                    </a:lnTo>
                    <a:lnTo>
                      <a:pt x="469" y="2250"/>
                    </a:lnTo>
                    <a:lnTo>
                      <a:pt x="451" y="2256"/>
                    </a:lnTo>
                    <a:lnTo>
                      <a:pt x="446" y="2257"/>
                    </a:lnTo>
                    <a:lnTo>
                      <a:pt x="444" y="2260"/>
                    </a:lnTo>
                    <a:lnTo>
                      <a:pt x="440" y="2263"/>
                    </a:lnTo>
                    <a:lnTo>
                      <a:pt x="439" y="2267"/>
                    </a:lnTo>
                    <a:lnTo>
                      <a:pt x="435" y="2276"/>
                    </a:lnTo>
                    <a:lnTo>
                      <a:pt x="434" y="2288"/>
                    </a:lnTo>
                    <a:lnTo>
                      <a:pt x="434" y="2312"/>
                    </a:lnTo>
                    <a:lnTo>
                      <a:pt x="432" y="2330"/>
                    </a:lnTo>
                    <a:lnTo>
                      <a:pt x="431" y="2332"/>
                    </a:lnTo>
                    <a:lnTo>
                      <a:pt x="432" y="2335"/>
                    </a:lnTo>
                    <a:lnTo>
                      <a:pt x="433" y="2337"/>
                    </a:lnTo>
                    <a:lnTo>
                      <a:pt x="435" y="2338"/>
                    </a:lnTo>
                    <a:lnTo>
                      <a:pt x="441" y="2339"/>
                    </a:lnTo>
                    <a:lnTo>
                      <a:pt x="448" y="2341"/>
                    </a:lnTo>
                    <a:lnTo>
                      <a:pt x="457" y="2342"/>
                    </a:lnTo>
                    <a:lnTo>
                      <a:pt x="465" y="2343"/>
                    </a:lnTo>
                    <a:lnTo>
                      <a:pt x="469" y="2343"/>
                    </a:lnTo>
                    <a:lnTo>
                      <a:pt x="472" y="2345"/>
                    </a:lnTo>
                    <a:lnTo>
                      <a:pt x="475" y="2347"/>
                    </a:lnTo>
                    <a:lnTo>
                      <a:pt x="477" y="2349"/>
                    </a:lnTo>
                    <a:lnTo>
                      <a:pt x="479" y="2356"/>
                    </a:lnTo>
                    <a:lnTo>
                      <a:pt x="482" y="2366"/>
                    </a:lnTo>
                    <a:lnTo>
                      <a:pt x="482" y="2377"/>
                    </a:lnTo>
                    <a:lnTo>
                      <a:pt x="483" y="2391"/>
                    </a:lnTo>
                    <a:lnTo>
                      <a:pt x="487" y="2405"/>
                    </a:lnTo>
                    <a:lnTo>
                      <a:pt x="491" y="2418"/>
                    </a:lnTo>
                    <a:lnTo>
                      <a:pt x="492" y="2424"/>
                    </a:lnTo>
                    <a:lnTo>
                      <a:pt x="492" y="2429"/>
                    </a:lnTo>
                    <a:lnTo>
                      <a:pt x="491" y="2433"/>
                    </a:lnTo>
                    <a:lnTo>
                      <a:pt x="488" y="2438"/>
                    </a:lnTo>
                    <a:lnTo>
                      <a:pt x="481" y="2444"/>
                    </a:lnTo>
                    <a:lnTo>
                      <a:pt x="475" y="2451"/>
                    </a:lnTo>
                    <a:lnTo>
                      <a:pt x="472" y="2455"/>
                    </a:lnTo>
                    <a:lnTo>
                      <a:pt x="471" y="2458"/>
                    </a:lnTo>
                    <a:lnTo>
                      <a:pt x="471" y="2462"/>
                    </a:lnTo>
                    <a:lnTo>
                      <a:pt x="472" y="2465"/>
                    </a:lnTo>
                    <a:lnTo>
                      <a:pt x="482" y="2470"/>
                    </a:lnTo>
                    <a:lnTo>
                      <a:pt x="491" y="2473"/>
                    </a:lnTo>
                    <a:lnTo>
                      <a:pt x="495" y="2476"/>
                    </a:lnTo>
                    <a:lnTo>
                      <a:pt x="497" y="2483"/>
                    </a:lnTo>
                    <a:lnTo>
                      <a:pt x="498" y="2492"/>
                    </a:lnTo>
                    <a:lnTo>
                      <a:pt x="501" y="2501"/>
                    </a:lnTo>
                    <a:lnTo>
                      <a:pt x="502" y="2521"/>
                    </a:lnTo>
                    <a:lnTo>
                      <a:pt x="503" y="2540"/>
                    </a:lnTo>
                    <a:lnTo>
                      <a:pt x="510" y="2545"/>
                    </a:lnTo>
                    <a:lnTo>
                      <a:pt x="520" y="2550"/>
                    </a:lnTo>
                    <a:lnTo>
                      <a:pt x="521" y="2553"/>
                    </a:lnTo>
                    <a:lnTo>
                      <a:pt x="520" y="2557"/>
                    </a:lnTo>
                    <a:lnTo>
                      <a:pt x="517" y="2559"/>
                    </a:lnTo>
                    <a:lnTo>
                      <a:pt x="514" y="2563"/>
                    </a:lnTo>
                    <a:lnTo>
                      <a:pt x="507" y="2569"/>
                    </a:lnTo>
                    <a:lnTo>
                      <a:pt x="498" y="2577"/>
                    </a:lnTo>
                    <a:lnTo>
                      <a:pt x="494" y="2583"/>
                    </a:lnTo>
                    <a:lnTo>
                      <a:pt x="492" y="2589"/>
                    </a:lnTo>
                    <a:lnTo>
                      <a:pt x="492" y="2595"/>
                    </a:lnTo>
                    <a:lnTo>
                      <a:pt x="494" y="2600"/>
                    </a:lnTo>
                    <a:lnTo>
                      <a:pt x="496" y="2605"/>
                    </a:lnTo>
                    <a:lnTo>
                      <a:pt x="501" y="2608"/>
                    </a:lnTo>
                    <a:lnTo>
                      <a:pt x="507" y="2610"/>
                    </a:lnTo>
                    <a:lnTo>
                      <a:pt x="513" y="2610"/>
                    </a:lnTo>
                    <a:lnTo>
                      <a:pt x="527" y="2610"/>
                    </a:lnTo>
                    <a:lnTo>
                      <a:pt x="538" y="2613"/>
                    </a:lnTo>
                    <a:lnTo>
                      <a:pt x="542" y="2614"/>
                    </a:lnTo>
                    <a:lnTo>
                      <a:pt x="546" y="2618"/>
                    </a:lnTo>
                    <a:lnTo>
                      <a:pt x="548" y="2621"/>
                    </a:lnTo>
                    <a:lnTo>
                      <a:pt x="550" y="2627"/>
                    </a:lnTo>
                    <a:lnTo>
                      <a:pt x="551" y="2633"/>
                    </a:lnTo>
                    <a:lnTo>
                      <a:pt x="552" y="2638"/>
                    </a:lnTo>
                    <a:lnTo>
                      <a:pt x="555" y="2641"/>
                    </a:lnTo>
                    <a:lnTo>
                      <a:pt x="559" y="2644"/>
                    </a:lnTo>
                    <a:lnTo>
                      <a:pt x="564" y="2645"/>
                    </a:lnTo>
                    <a:lnTo>
                      <a:pt x="570" y="2646"/>
                    </a:lnTo>
                    <a:lnTo>
                      <a:pt x="577" y="2646"/>
                    </a:lnTo>
                    <a:lnTo>
                      <a:pt x="584" y="2646"/>
                    </a:lnTo>
                    <a:lnTo>
                      <a:pt x="591" y="2645"/>
                    </a:lnTo>
                    <a:lnTo>
                      <a:pt x="597" y="2646"/>
                    </a:lnTo>
                    <a:lnTo>
                      <a:pt x="602" y="2646"/>
                    </a:lnTo>
                    <a:lnTo>
                      <a:pt x="605" y="2647"/>
                    </a:lnTo>
                    <a:lnTo>
                      <a:pt x="614" y="2651"/>
                    </a:lnTo>
                    <a:lnTo>
                      <a:pt x="624" y="2654"/>
                    </a:lnTo>
                    <a:lnTo>
                      <a:pt x="629" y="2656"/>
                    </a:lnTo>
                    <a:lnTo>
                      <a:pt x="635" y="2657"/>
                    </a:lnTo>
                    <a:lnTo>
                      <a:pt x="641" y="2658"/>
                    </a:lnTo>
                    <a:lnTo>
                      <a:pt x="646" y="2657"/>
                    </a:lnTo>
                    <a:lnTo>
                      <a:pt x="657" y="2652"/>
                    </a:lnTo>
                    <a:lnTo>
                      <a:pt x="666" y="2650"/>
                    </a:lnTo>
                    <a:lnTo>
                      <a:pt x="670" y="2650"/>
                    </a:lnTo>
                    <a:lnTo>
                      <a:pt x="674" y="2651"/>
                    </a:lnTo>
                    <a:lnTo>
                      <a:pt x="678" y="2653"/>
                    </a:lnTo>
                    <a:lnTo>
                      <a:pt x="683" y="2656"/>
                    </a:lnTo>
                    <a:lnTo>
                      <a:pt x="690" y="2659"/>
                    </a:lnTo>
                    <a:lnTo>
                      <a:pt x="700" y="2662"/>
                    </a:lnTo>
                    <a:lnTo>
                      <a:pt x="712" y="2664"/>
                    </a:lnTo>
                    <a:lnTo>
                      <a:pt x="723" y="2667"/>
                    </a:lnTo>
                    <a:lnTo>
                      <a:pt x="727" y="2670"/>
                    </a:lnTo>
                    <a:lnTo>
                      <a:pt x="729" y="2673"/>
                    </a:lnTo>
                    <a:lnTo>
                      <a:pt x="730" y="2676"/>
                    </a:lnTo>
                    <a:lnTo>
                      <a:pt x="731" y="2679"/>
                    </a:lnTo>
                    <a:lnTo>
                      <a:pt x="733" y="2688"/>
                    </a:lnTo>
                    <a:lnTo>
                      <a:pt x="734" y="2696"/>
                    </a:lnTo>
                    <a:lnTo>
                      <a:pt x="733" y="2714"/>
                    </a:lnTo>
                    <a:lnTo>
                      <a:pt x="733" y="2728"/>
                    </a:lnTo>
                    <a:lnTo>
                      <a:pt x="735" y="2741"/>
                    </a:lnTo>
                    <a:lnTo>
                      <a:pt x="735" y="2751"/>
                    </a:lnTo>
                    <a:lnTo>
                      <a:pt x="734" y="2753"/>
                    </a:lnTo>
                    <a:lnTo>
                      <a:pt x="734" y="2755"/>
                    </a:lnTo>
                    <a:lnTo>
                      <a:pt x="731" y="2757"/>
                    </a:lnTo>
                    <a:lnTo>
                      <a:pt x="730" y="2757"/>
                    </a:lnTo>
                    <a:lnTo>
                      <a:pt x="728" y="2757"/>
                    </a:lnTo>
                    <a:lnTo>
                      <a:pt x="725" y="2755"/>
                    </a:lnTo>
                    <a:lnTo>
                      <a:pt x="723" y="2754"/>
                    </a:lnTo>
                    <a:lnTo>
                      <a:pt x="721" y="2752"/>
                    </a:lnTo>
                    <a:lnTo>
                      <a:pt x="715" y="2744"/>
                    </a:lnTo>
                    <a:lnTo>
                      <a:pt x="709" y="2739"/>
                    </a:lnTo>
                    <a:lnTo>
                      <a:pt x="705" y="2738"/>
                    </a:lnTo>
                    <a:lnTo>
                      <a:pt x="703" y="2739"/>
                    </a:lnTo>
                    <a:lnTo>
                      <a:pt x="700" y="2740"/>
                    </a:lnTo>
                    <a:lnTo>
                      <a:pt x="699" y="2744"/>
                    </a:lnTo>
                    <a:lnTo>
                      <a:pt x="697" y="2751"/>
                    </a:lnTo>
                    <a:lnTo>
                      <a:pt x="695" y="2761"/>
                    </a:lnTo>
                    <a:lnTo>
                      <a:pt x="692" y="2766"/>
                    </a:lnTo>
                    <a:lnTo>
                      <a:pt x="690" y="2771"/>
                    </a:lnTo>
                    <a:lnTo>
                      <a:pt x="686" y="2776"/>
                    </a:lnTo>
                    <a:lnTo>
                      <a:pt x="681" y="2779"/>
                    </a:lnTo>
                    <a:lnTo>
                      <a:pt x="666" y="2788"/>
                    </a:lnTo>
                    <a:lnTo>
                      <a:pt x="648" y="2797"/>
                    </a:lnTo>
                    <a:lnTo>
                      <a:pt x="646" y="2799"/>
                    </a:lnTo>
                    <a:lnTo>
                      <a:pt x="642" y="2803"/>
                    </a:lnTo>
                    <a:lnTo>
                      <a:pt x="641" y="2805"/>
                    </a:lnTo>
                    <a:lnTo>
                      <a:pt x="640" y="2809"/>
                    </a:lnTo>
                    <a:lnTo>
                      <a:pt x="637" y="2814"/>
                    </a:lnTo>
                    <a:lnTo>
                      <a:pt x="635" y="2818"/>
                    </a:lnTo>
                    <a:lnTo>
                      <a:pt x="635" y="2824"/>
                    </a:lnTo>
                    <a:lnTo>
                      <a:pt x="635" y="2829"/>
                    </a:lnTo>
                    <a:lnTo>
                      <a:pt x="639" y="2840"/>
                    </a:lnTo>
                    <a:lnTo>
                      <a:pt x="643" y="2849"/>
                    </a:lnTo>
                    <a:lnTo>
                      <a:pt x="648" y="2860"/>
                    </a:lnTo>
                    <a:lnTo>
                      <a:pt x="652" y="2871"/>
                    </a:lnTo>
                    <a:lnTo>
                      <a:pt x="652" y="2880"/>
                    </a:lnTo>
                    <a:lnTo>
                      <a:pt x="652" y="2890"/>
                    </a:lnTo>
                    <a:lnTo>
                      <a:pt x="652" y="2899"/>
                    </a:lnTo>
                    <a:lnTo>
                      <a:pt x="649" y="2908"/>
                    </a:lnTo>
                    <a:lnTo>
                      <a:pt x="649" y="2912"/>
                    </a:lnTo>
                    <a:lnTo>
                      <a:pt x="647" y="2917"/>
                    </a:lnTo>
                    <a:lnTo>
                      <a:pt x="646" y="2919"/>
                    </a:lnTo>
                    <a:lnTo>
                      <a:pt x="643" y="2923"/>
                    </a:lnTo>
                    <a:lnTo>
                      <a:pt x="637" y="2928"/>
                    </a:lnTo>
                    <a:lnTo>
                      <a:pt x="629" y="2931"/>
                    </a:lnTo>
                    <a:lnTo>
                      <a:pt x="622" y="2935"/>
                    </a:lnTo>
                    <a:lnTo>
                      <a:pt x="616" y="2940"/>
                    </a:lnTo>
                    <a:lnTo>
                      <a:pt x="611" y="2944"/>
                    </a:lnTo>
                    <a:lnTo>
                      <a:pt x="607" y="2950"/>
                    </a:lnTo>
                    <a:lnTo>
                      <a:pt x="602" y="2965"/>
                    </a:lnTo>
                    <a:lnTo>
                      <a:pt x="598" y="2978"/>
                    </a:lnTo>
                    <a:lnTo>
                      <a:pt x="597" y="2985"/>
                    </a:lnTo>
                    <a:lnTo>
                      <a:pt x="594" y="2993"/>
                    </a:lnTo>
                    <a:lnTo>
                      <a:pt x="589" y="3001"/>
                    </a:lnTo>
                    <a:lnTo>
                      <a:pt x="584" y="3010"/>
                    </a:lnTo>
                    <a:lnTo>
                      <a:pt x="574" y="3021"/>
                    </a:lnTo>
                    <a:lnTo>
                      <a:pt x="563" y="3030"/>
                    </a:lnTo>
                    <a:lnTo>
                      <a:pt x="555" y="3040"/>
                    </a:lnTo>
                    <a:lnTo>
                      <a:pt x="548" y="3050"/>
                    </a:lnTo>
                    <a:lnTo>
                      <a:pt x="545" y="3055"/>
                    </a:lnTo>
                    <a:lnTo>
                      <a:pt x="544" y="3060"/>
                    </a:lnTo>
                    <a:lnTo>
                      <a:pt x="542" y="3062"/>
                    </a:lnTo>
                    <a:lnTo>
                      <a:pt x="544" y="3064"/>
                    </a:lnTo>
                    <a:lnTo>
                      <a:pt x="554" y="3070"/>
                    </a:lnTo>
                    <a:lnTo>
                      <a:pt x="567" y="3076"/>
                    </a:lnTo>
                    <a:lnTo>
                      <a:pt x="582" y="3082"/>
                    </a:lnTo>
                    <a:lnTo>
                      <a:pt x="601" y="3087"/>
                    </a:lnTo>
                    <a:lnTo>
                      <a:pt x="611" y="3088"/>
                    </a:lnTo>
                    <a:lnTo>
                      <a:pt x="622" y="3089"/>
                    </a:lnTo>
                    <a:lnTo>
                      <a:pt x="635" y="3089"/>
                    </a:lnTo>
                    <a:lnTo>
                      <a:pt x="648" y="3088"/>
                    </a:lnTo>
                    <a:lnTo>
                      <a:pt x="660" y="3087"/>
                    </a:lnTo>
                    <a:lnTo>
                      <a:pt x="671" y="3086"/>
                    </a:lnTo>
                    <a:lnTo>
                      <a:pt x="681" y="3087"/>
                    </a:lnTo>
                    <a:lnTo>
                      <a:pt x="691" y="3088"/>
                    </a:lnTo>
                    <a:lnTo>
                      <a:pt x="705" y="3092"/>
                    </a:lnTo>
                    <a:lnTo>
                      <a:pt x="717" y="3097"/>
                    </a:lnTo>
                    <a:lnTo>
                      <a:pt x="728" y="3101"/>
                    </a:lnTo>
                    <a:lnTo>
                      <a:pt x="735" y="3105"/>
                    </a:lnTo>
                    <a:lnTo>
                      <a:pt x="746" y="3112"/>
                    </a:lnTo>
                    <a:lnTo>
                      <a:pt x="755" y="3118"/>
                    </a:lnTo>
                    <a:lnTo>
                      <a:pt x="760" y="3119"/>
                    </a:lnTo>
                    <a:lnTo>
                      <a:pt x="763" y="3122"/>
                    </a:lnTo>
                    <a:lnTo>
                      <a:pt x="768" y="3122"/>
                    </a:lnTo>
                    <a:lnTo>
                      <a:pt x="772" y="3122"/>
                    </a:lnTo>
                    <a:lnTo>
                      <a:pt x="780" y="3119"/>
                    </a:lnTo>
                    <a:lnTo>
                      <a:pt x="786" y="3119"/>
                    </a:lnTo>
                    <a:lnTo>
                      <a:pt x="790" y="3119"/>
                    </a:lnTo>
                    <a:lnTo>
                      <a:pt x="793" y="3120"/>
                    </a:lnTo>
                    <a:lnTo>
                      <a:pt x="798" y="3123"/>
                    </a:lnTo>
                    <a:lnTo>
                      <a:pt x="802" y="3126"/>
                    </a:lnTo>
                    <a:lnTo>
                      <a:pt x="806" y="3130"/>
                    </a:lnTo>
                    <a:lnTo>
                      <a:pt x="811" y="3133"/>
                    </a:lnTo>
                    <a:lnTo>
                      <a:pt x="817" y="3136"/>
                    </a:lnTo>
                    <a:lnTo>
                      <a:pt x="823" y="3137"/>
                    </a:lnTo>
                    <a:lnTo>
                      <a:pt x="826" y="3137"/>
                    </a:lnTo>
                    <a:lnTo>
                      <a:pt x="829" y="3136"/>
                    </a:lnTo>
                    <a:lnTo>
                      <a:pt x="830" y="3135"/>
                    </a:lnTo>
                    <a:lnTo>
                      <a:pt x="832" y="3133"/>
                    </a:lnTo>
                    <a:lnTo>
                      <a:pt x="834" y="3132"/>
                    </a:lnTo>
                    <a:lnTo>
                      <a:pt x="837" y="3131"/>
                    </a:lnTo>
                    <a:lnTo>
                      <a:pt x="842" y="3130"/>
                    </a:lnTo>
                    <a:lnTo>
                      <a:pt x="849" y="3130"/>
                    </a:lnTo>
                    <a:lnTo>
                      <a:pt x="851" y="3130"/>
                    </a:lnTo>
                    <a:lnTo>
                      <a:pt x="855" y="3131"/>
                    </a:lnTo>
                    <a:lnTo>
                      <a:pt x="857" y="3133"/>
                    </a:lnTo>
                    <a:lnTo>
                      <a:pt x="860" y="3136"/>
                    </a:lnTo>
                    <a:lnTo>
                      <a:pt x="865" y="3143"/>
                    </a:lnTo>
                    <a:lnTo>
                      <a:pt x="869" y="3151"/>
                    </a:lnTo>
                    <a:lnTo>
                      <a:pt x="875" y="3163"/>
                    </a:lnTo>
                    <a:lnTo>
                      <a:pt x="879" y="3173"/>
                    </a:lnTo>
                    <a:lnTo>
                      <a:pt x="878" y="3176"/>
                    </a:lnTo>
                    <a:lnTo>
                      <a:pt x="876" y="3181"/>
                    </a:lnTo>
                    <a:lnTo>
                      <a:pt x="873" y="3187"/>
                    </a:lnTo>
                    <a:lnTo>
                      <a:pt x="869" y="3193"/>
                    </a:lnTo>
                    <a:lnTo>
                      <a:pt x="861" y="3204"/>
                    </a:lnTo>
                    <a:lnTo>
                      <a:pt x="854" y="3214"/>
                    </a:lnTo>
                    <a:lnTo>
                      <a:pt x="851" y="3220"/>
                    </a:lnTo>
                    <a:lnTo>
                      <a:pt x="849" y="3226"/>
                    </a:lnTo>
                    <a:lnTo>
                      <a:pt x="848" y="3233"/>
                    </a:lnTo>
                    <a:lnTo>
                      <a:pt x="848" y="3240"/>
                    </a:lnTo>
                    <a:lnTo>
                      <a:pt x="848" y="3250"/>
                    </a:lnTo>
                    <a:lnTo>
                      <a:pt x="851" y="3262"/>
                    </a:lnTo>
                    <a:lnTo>
                      <a:pt x="856" y="3271"/>
                    </a:lnTo>
                    <a:lnTo>
                      <a:pt x="860" y="3280"/>
                    </a:lnTo>
                    <a:lnTo>
                      <a:pt x="863" y="3292"/>
                    </a:lnTo>
                    <a:lnTo>
                      <a:pt x="867" y="3301"/>
                    </a:lnTo>
                    <a:lnTo>
                      <a:pt x="869" y="3305"/>
                    </a:lnTo>
                    <a:lnTo>
                      <a:pt x="872" y="3307"/>
                    </a:lnTo>
                    <a:lnTo>
                      <a:pt x="875" y="3308"/>
                    </a:lnTo>
                    <a:lnTo>
                      <a:pt x="879" y="3308"/>
                    </a:lnTo>
                    <a:lnTo>
                      <a:pt x="886" y="3307"/>
                    </a:lnTo>
                    <a:lnTo>
                      <a:pt x="892" y="3305"/>
                    </a:lnTo>
                    <a:lnTo>
                      <a:pt x="897" y="3301"/>
                    </a:lnTo>
                    <a:lnTo>
                      <a:pt x="903" y="3294"/>
                    </a:lnTo>
                    <a:lnTo>
                      <a:pt x="905" y="3293"/>
                    </a:lnTo>
                    <a:lnTo>
                      <a:pt x="909" y="3293"/>
                    </a:lnTo>
                    <a:lnTo>
                      <a:pt x="913" y="3294"/>
                    </a:lnTo>
                    <a:lnTo>
                      <a:pt x="918" y="3296"/>
                    </a:lnTo>
                    <a:lnTo>
                      <a:pt x="922" y="3300"/>
                    </a:lnTo>
                    <a:lnTo>
                      <a:pt x="925" y="3302"/>
                    </a:lnTo>
                    <a:lnTo>
                      <a:pt x="928" y="3306"/>
                    </a:lnTo>
                    <a:lnTo>
                      <a:pt x="928" y="3309"/>
                    </a:lnTo>
                    <a:lnTo>
                      <a:pt x="926" y="3314"/>
                    </a:lnTo>
                    <a:lnTo>
                      <a:pt x="923" y="3319"/>
                    </a:lnTo>
                    <a:lnTo>
                      <a:pt x="918" y="3324"/>
                    </a:lnTo>
                    <a:lnTo>
                      <a:pt x="913" y="3330"/>
                    </a:lnTo>
                    <a:lnTo>
                      <a:pt x="909" y="3335"/>
                    </a:lnTo>
                    <a:lnTo>
                      <a:pt x="906" y="3343"/>
                    </a:lnTo>
                    <a:lnTo>
                      <a:pt x="905" y="3346"/>
                    </a:lnTo>
                    <a:lnTo>
                      <a:pt x="904" y="3350"/>
                    </a:lnTo>
                    <a:lnTo>
                      <a:pt x="904" y="3353"/>
                    </a:lnTo>
                    <a:lnTo>
                      <a:pt x="904" y="3358"/>
                    </a:lnTo>
                    <a:lnTo>
                      <a:pt x="906" y="3368"/>
                    </a:lnTo>
                    <a:lnTo>
                      <a:pt x="909" y="3375"/>
                    </a:lnTo>
                    <a:lnTo>
                      <a:pt x="911" y="3377"/>
                    </a:lnTo>
                    <a:lnTo>
                      <a:pt x="914" y="3378"/>
                    </a:lnTo>
                    <a:lnTo>
                      <a:pt x="918" y="3378"/>
                    </a:lnTo>
                    <a:lnTo>
                      <a:pt x="924" y="3377"/>
                    </a:lnTo>
                    <a:lnTo>
                      <a:pt x="930" y="3376"/>
                    </a:lnTo>
                    <a:lnTo>
                      <a:pt x="937" y="3375"/>
                    </a:lnTo>
                    <a:lnTo>
                      <a:pt x="943" y="3376"/>
                    </a:lnTo>
                    <a:lnTo>
                      <a:pt x="948" y="3378"/>
                    </a:lnTo>
                    <a:lnTo>
                      <a:pt x="951" y="3383"/>
                    </a:lnTo>
                    <a:lnTo>
                      <a:pt x="955" y="3385"/>
                    </a:lnTo>
                    <a:lnTo>
                      <a:pt x="957" y="3387"/>
                    </a:lnTo>
                    <a:lnTo>
                      <a:pt x="960" y="3388"/>
                    </a:lnTo>
                    <a:lnTo>
                      <a:pt x="963" y="3387"/>
                    </a:lnTo>
                    <a:lnTo>
                      <a:pt x="966" y="3385"/>
                    </a:lnTo>
                    <a:lnTo>
                      <a:pt x="968" y="3383"/>
                    </a:lnTo>
                    <a:lnTo>
                      <a:pt x="970" y="3381"/>
                    </a:lnTo>
                    <a:lnTo>
                      <a:pt x="975" y="3375"/>
                    </a:lnTo>
                    <a:lnTo>
                      <a:pt x="981" y="3370"/>
                    </a:lnTo>
                    <a:lnTo>
                      <a:pt x="985" y="3368"/>
                    </a:lnTo>
                    <a:lnTo>
                      <a:pt x="989" y="3365"/>
                    </a:lnTo>
                    <a:lnTo>
                      <a:pt x="994" y="3364"/>
                    </a:lnTo>
                    <a:lnTo>
                      <a:pt x="1001" y="3363"/>
                    </a:lnTo>
                    <a:lnTo>
                      <a:pt x="1008" y="3362"/>
                    </a:lnTo>
                    <a:lnTo>
                      <a:pt x="1016" y="3362"/>
                    </a:lnTo>
                    <a:lnTo>
                      <a:pt x="1021" y="3363"/>
                    </a:lnTo>
                    <a:lnTo>
                      <a:pt x="1026" y="3364"/>
                    </a:lnTo>
                    <a:lnTo>
                      <a:pt x="1031" y="3368"/>
                    </a:lnTo>
                    <a:lnTo>
                      <a:pt x="1035" y="3371"/>
                    </a:lnTo>
                    <a:lnTo>
                      <a:pt x="1037" y="3377"/>
                    </a:lnTo>
                    <a:lnTo>
                      <a:pt x="1039" y="3384"/>
                    </a:lnTo>
                    <a:lnTo>
                      <a:pt x="1042" y="3388"/>
                    </a:lnTo>
                    <a:lnTo>
                      <a:pt x="1044" y="3393"/>
                    </a:lnTo>
                    <a:lnTo>
                      <a:pt x="1049" y="3396"/>
                    </a:lnTo>
                    <a:lnTo>
                      <a:pt x="1054" y="3400"/>
                    </a:lnTo>
                    <a:lnTo>
                      <a:pt x="1065" y="3406"/>
                    </a:lnTo>
                    <a:lnTo>
                      <a:pt x="1076" y="3408"/>
                    </a:lnTo>
                    <a:lnTo>
                      <a:pt x="1087" y="3410"/>
                    </a:lnTo>
                    <a:lnTo>
                      <a:pt x="1095" y="3409"/>
                    </a:lnTo>
                    <a:lnTo>
                      <a:pt x="1103" y="3408"/>
                    </a:lnTo>
                    <a:lnTo>
                      <a:pt x="1112" y="3406"/>
                    </a:lnTo>
                    <a:lnTo>
                      <a:pt x="1122" y="3401"/>
                    </a:lnTo>
                    <a:lnTo>
                      <a:pt x="1133" y="3395"/>
                    </a:lnTo>
                    <a:lnTo>
                      <a:pt x="1144" y="3389"/>
                    </a:lnTo>
                    <a:lnTo>
                      <a:pt x="1153" y="3381"/>
                    </a:lnTo>
                    <a:lnTo>
                      <a:pt x="1164" y="3372"/>
                    </a:lnTo>
                    <a:lnTo>
                      <a:pt x="1174" y="3364"/>
                    </a:lnTo>
                    <a:lnTo>
                      <a:pt x="1184" y="3355"/>
                    </a:lnTo>
                    <a:lnTo>
                      <a:pt x="1194" y="3344"/>
                    </a:lnTo>
                    <a:lnTo>
                      <a:pt x="1202" y="3335"/>
                    </a:lnTo>
                    <a:lnTo>
                      <a:pt x="1208" y="3328"/>
                    </a:lnTo>
                    <a:lnTo>
                      <a:pt x="1213" y="3324"/>
                    </a:lnTo>
                    <a:lnTo>
                      <a:pt x="1218" y="3322"/>
                    </a:lnTo>
                    <a:lnTo>
                      <a:pt x="1229" y="3324"/>
                    </a:lnTo>
                    <a:lnTo>
                      <a:pt x="1250" y="3322"/>
                    </a:lnTo>
                    <a:lnTo>
                      <a:pt x="1258" y="3321"/>
                    </a:lnTo>
                    <a:lnTo>
                      <a:pt x="1268" y="3316"/>
                    </a:lnTo>
                    <a:lnTo>
                      <a:pt x="1277" y="3313"/>
                    </a:lnTo>
                    <a:lnTo>
                      <a:pt x="1287" y="3308"/>
                    </a:lnTo>
                    <a:lnTo>
                      <a:pt x="1306" y="3305"/>
                    </a:lnTo>
                    <a:lnTo>
                      <a:pt x="1320" y="3302"/>
                    </a:lnTo>
                    <a:lnTo>
                      <a:pt x="1322" y="3302"/>
                    </a:lnTo>
                    <a:lnTo>
                      <a:pt x="1323" y="3303"/>
                    </a:lnTo>
                    <a:lnTo>
                      <a:pt x="1325" y="3306"/>
                    </a:lnTo>
                    <a:lnTo>
                      <a:pt x="1323" y="3309"/>
                    </a:lnTo>
                    <a:lnTo>
                      <a:pt x="1322" y="3315"/>
                    </a:lnTo>
                    <a:lnTo>
                      <a:pt x="1321" y="3320"/>
                    </a:lnTo>
                    <a:lnTo>
                      <a:pt x="1321" y="3324"/>
                    </a:lnTo>
                    <a:lnTo>
                      <a:pt x="1322" y="3327"/>
                    </a:lnTo>
                    <a:lnTo>
                      <a:pt x="1325" y="3332"/>
                    </a:lnTo>
                    <a:lnTo>
                      <a:pt x="1327" y="3335"/>
                    </a:lnTo>
                    <a:lnTo>
                      <a:pt x="1331" y="3340"/>
                    </a:lnTo>
                    <a:lnTo>
                      <a:pt x="1334" y="3346"/>
                    </a:lnTo>
                    <a:lnTo>
                      <a:pt x="1336" y="3351"/>
                    </a:lnTo>
                    <a:lnTo>
                      <a:pt x="1338" y="3358"/>
                    </a:lnTo>
                    <a:lnTo>
                      <a:pt x="1335" y="3370"/>
                    </a:lnTo>
                    <a:lnTo>
                      <a:pt x="1335" y="3382"/>
                    </a:lnTo>
                    <a:lnTo>
                      <a:pt x="1339" y="3384"/>
                    </a:lnTo>
                    <a:lnTo>
                      <a:pt x="1346" y="3385"/>
                    </a:lnTo>
                    <a:lnTo>
                      <a:pt x="1350" y="3387"/>
                    </a:lnTo>
                    <a:lnTo>
                      <a:pt x="1353" y="3388"/>
                    </a:lnTo>
                    <a:lnTo>
                      <a:pt x="1355" y="3389"/>
                    </a:lnTo>
                    <a:lnTo>
                      <a:pt x="1357" y="3393"/>
                    </a:lnTo>
                    <a:lnTo>
                      <a:pt x="1352" y="3401"/>
                    </a:lnTo>
                    <a:lnTo>
                      <a:pt x="1345" y="3414"/>
                    </a:lnTo>
                    <a:lnTo>
                      <a:pt x="1344" y="3429"/>
                    </a:lnTo>
                    <a:lnTo>
                      <a:pt x="1344" y="3441"/>
                    </a:lnTo>
                    <a:lnTo>
                      <a:pt x="1334" y="3447"/>
                    </a:lnTo>
                    <a:lnTo>
                      <a:pt x="1325" y="3453"/>
                    </a:lnTo>
                    <a:lnTo>
                      <a:pt x="1325" y="3458"/>
                    </a:lnTo>
                    <a:lnTo>
                      <a:pt x="1326" y="3463"/>
                    </a:lnTo>
                    <a:lnTo>
                      <a:pt x="1328" y="3469"/>
                    </a:lnTo>
                    <a:lnTo>
                      <a:pt x="1331" y="3473"/>
                    </a:lnTo>
                    <a:lnTo>
                      <a:pt x="1338" y="3482"/>
                    </a:lnTo>
                    <a:lnTo>
                      <a:pt x="1345" y="3488"/>
                    </a:lnTo>
                    <a:lnTo>
                      <a:pt x="1351" y="3491"/>
                    </a:lnTo>
                    <a:lnTo>
                      <a:pt x="1357" y="3494"/>
                    </a:lnTo>
                    <a:lnTo>
                      <a:pt x="1358" y="3495"/>
                    </a:lnTo>
                    <a:lnTo>
                      <a:pt x="1359" y="3497"/>
                    </a:lnTo>
                    <a:lnTo>
                      <a:pt x="1359" y="3500"/>
                    </a:lnTo>
                    <a:lnTo>
                      <a:pt x="1358" y="3502"/>
                    </a:lnTo>
                    <a:lnTo>
                      <a:pt x="1355" y="3508"/>
                    </a:lnTo>
                    <a:lnTo>
                      <a:pt x="1351" y="3514"/>
                    </a:lnTo>
                    <a:lnTo>
                      <a:pt x="1350" y="3516"/>
                    </a:lnTo>
                    <a:lnTo>
                      <a:pt x="1348" y="3520"/>
                    </a:lnTo>
                    <a:lnTo>
                      <a:pt x="1347" y="3523"/>
                    </a:lnTo>
                    <a:lnTo>
                      <a:pt x="1348" y="3527"/>
                    </a:lnTo>
                    <a:lnTo>
                      <a:pt x="1352" y="3534"/>
                    </a:lnTo>
                    <a:lnTo>
                      <a:pt x="1357" y="3541"/>
                    </a:lnTo>
                    <a:lnTo>
                      <a:pt x="1361" y="3543"/>
                    </a:lnTo>
                    <a:lnTo>
                      <a:pt x="1365" y="3546"/>
                    </a:lnTo>
                    <a:lnTo>
                      <a:pt x="1370" y="3548"/>
                    </a:lnTo>
                    <a:lnTo>
                      <a:pt x="1375" y="3548"/>
                    </a:lnTo>
                    <a:lnTo>
                      <a:pt x="1384" y="3547"/>
                    </a:lnTo>
                    <a:lnTo>
                      <a:pt x="1396" y="3546"/>
                    </a:lnTo>
                    <a:lnTo>
                      <a:pt x="1407" y="3543"/>
                    </a:lnTo>
                    <a:lnTo>
                      <a:pt x="1417" y="3540"/>
                    </a:lnTo>
                    <a:lnTo>
                      <a:pt x="1428" y="3536"/>
                    </a:lnTo>
                    <a:lnTo>
                      <a:pt x="1440" y="3534"/>
                    </a:lnTo>
                    <a:lnTo>
                      <a:pt x="1451" y="3533"/>
                    </a:lnTo>
                    <a:lnTo>
                      <a:pt x="1461" y="3533"/>
                    </a:lnTo>
                    <a:lnTo>
                      <a:pt x="1478" y="3534"/>
                    </a:lnTo>
                    <a:lnTo>
                      <a:pt x="1491" y="3538"/>
                    </a:lnTo>
                    <a:lnTo>
                      <a:pt x="1493" y="3541"/>
                    </a:lnTo>
                    <a:lnTo>
                      <a:pt x="1495" y="3548"/>
                    </a:lnTo>
                    <a:lnTo>
                      <a:pt x="1496" y="3552"/>
                    </a:lnTo>
                    <a:lnTo>
                      <a:pt x="1497" y="3554"/>
                    </a:lnTo>
                    <a:lnTo>
                      <a:pt x="1498" y="3557"/>
                    </a:lnTo>
                    <a:lnTo>
                      <a:pt x="1502" y="3558"/>
                    </a:lnTo>
                    <a:lnTo>
                      <a:pt x="1514" y="3557"/>
                    </a:lnTo>
                    <a:lnTo>
                      <a:pt x="1525" y="3558"/>
                    </a:lnTo>
                    <a:lnTo>
                      <a:pt x="1529" y="3567"/>
                    </a:lnTo>
                    <a:lnTo>
                      <a:pt x="1530" y="3577"/>
                    </a:lnTo>
                    <a:lnTo>
                      <a:pt x="1535" y="3579"/>
                    </a:lnTo>
                    <a:lnTo>
                      <a:pt x="1541" y="3580"/>
                    </a:lnTo>
                    <a:lnTo>
                      <a:pt x="1546" y="3582"/>
                    </a:lnTo>
                    <a:lnTo>
                      <a:pt x="1552" y="3582"/>
                    </a:lnTo>
                    <a:lnTo>
                      <a:pt x="1556" y="3580"/>
                    </a:lnTo>
                    <a:lnTo>
                      <a:pt x="1561" y="3579"/>
                    </a:lnTo>
                    <a:lnTo>
                      <a:pt x="1565" y="3576"/>
                    </a:lnTo>
                    <a:lnTo>
                      <a:pt x="1567" y="3572"/>
                    </a:lnTo>
                    <a:lnTo>
                      <a:pt x="1568" y="3565"/>
                    </a:lnTo>
                    <a:lnTo>
                      <a:pt x="1571" y="3559"/>
                    </a:lnTo>
                    <a:lnTo>
                      <a:pt x="1578" y="3558"/>
                    </a:lnTo>
                    <a:lnTo>
                      <a:pt x="1585" y="3555"/>
                    </a:lnTo>
                    <a:lnTo>
                      <a:pt x="1587" y="3553"/>
                    </a:lnTo>
                    <a:lnTo>
                      <a:pt x="1590" y="3549"/>
                    </a:lnTo>
                    <a:lnTo>
                      <a:pt x="1591" y="3545"/>
                    </a:lnTo>
                    <a:lnTo>
                      <a:pt x="1592" y="3539"/>
                    </a:lnTo>
                    <a:lnTo>
                      <a:pt x="1591" y="3532"/>
                    </a:lnTo>
                    <a:lnTo>
                      <a:pt x="1588" y="3527"/>
                    </a:lnTo>
                    <a:lnTo>
                      <a:pt x="1585" y="3523"/>
                    </a:lnTo>
                    <a:lnTo>
                      <a:pt x="1579" y="3520"/>
                    </a:lnTo>
                    <a:lnTo>
                      <a:pt x="1568" y="3517"/>
                    </a:lnTo>
                    <a:lnTo>
                      <a:pt x="1559" y="3515"/>
                    </a:lnTo>
                    <a:lnTo>
                      <a:pt x="1555" y="3511"/>
                    </a:lnTo>
                    <a:lnTo>
                      <a:pt x="1554" y="3507"/>
                    </a:lnTo>
                    <a:lnTo>
                      <a:pt x="1553" y="3501"/>
                    </a:lnTo>
                    <a:lnTo>
                      <a:pt x="1553" y="3492"/>
                    </a:lnTo>
                    <a:lnTo>
                      <a:pt x="1554" y="3477"/>
                    </a:lnTo>
                    <a:lnTo>
                      <a:pt x="1556" y="3461"/>
                    </a:lnTo>
                    <a:lnTo>
                      <a:pt x="1558" y="3453"/>
                    </a:lnTo>
                    <a:lnTo>
                      <a:pt x="1560" y="3441"/>
                    </a:lnTo>
                    <a:lnTo>
                      <a:pt x="1566" y="3432"/>
                    </a:lnTo>
                    <a:lnTo>
                      <a:pt x="1569" y="3422"/>
                    </a:lnTo>
                    <a:lnTo>
                      <a:pt x="1568" y="3415"/>
                    </a:lnTo>
                    <a:lnTo>
                      <a:pt x="1566" y="3410"/>
                    </a:lnTo>
                    <a:lnTo>
                      <a:pt x="1565" y="3407"/>
                    </a:lnTo>
                    <a:lnTo>
                      <a:pt x="1565" y="3404"/>
                    </a:lnTo>
                    <a:lnTo>
                      <a:pt x="1565" y="3402"/>
                    </a:lnTo>
                    <a:lnTo>
                      <a:pt x="1566" y="3398"/>
                    </a:lnTo>
                    <a:lnTo>
                      <a:pt x="1567" y="3396"/>
                    </a:lnTo>
                    <a:lnTo>
                      <a:pt x="1569" y="3395"/>
                    </a:lnTo>
                    <a:lnTo>
                      <a:pt x="1573" y="3395"/>
                    </a:lnTo>
                    <a:lnTo>
                      <a:pt x="1575" y="3394"/>
                    </a:lnTo>
                    <a:lnTo>
                      <a:pt x="1581" y="3394"/>
                    </a:lnTo>
                    <a:lnTo>
                      <a:pt x="1585" y="3394"/>
                    </a:lnTo>
                    <a:lnTo>
                      <a:pt x="1592" y="3393"/>
                    </a:lnTo>
                    <a:lnTo>
                      <a:pt x="1596" y="3391"/>
                    </a:lnTo>
                    <a:lnTo>
                      <a:pt x="1598" y="3389"/>
                    </a:lnTo>
                    <a:lnTo>
                      <a:pt x="1599" y="3385"/>
                    </a:lnTo>
                    <a:lnTo>
                      <a:pt x="1596" y="3377"/>
                    </a:lnTo>
                    <a:lnTo>
                      <a:pt x="1588" y="3366"/>
                    </a:lnTo>
                    <a:lnTo>
                      <a:pt x="1583" y="3356"/>
                    </a:lnTo>
                    <a:lnTo>
                      <a:pt x="1577" y="3345"/>
                    </a:lnTo>
                    <a:lnTo>
                      <a:pt x="1575" y="3340"/>
                    </a:lnTo>
                    <a:lnTo>
                      <a:pt x="1573" y="3334"/>
                    </a:lnTo>
                    <a:lnTo>
                      <a:pt x="1573" y="3328"/>
                    </a:lnTo>
                    <a:lnTo>
                      <a:pt x="1572" y="3322"/>
                    </a:lnTo>
                    <a:lnTo>
                      <a:pt x="1577" y="3311"/>
                    </a:lnTo>
                    <a:lnTo>
                      <a:pt x="1580" y="3296"/>
                    </a:lnTo>
                    <a:lnTo>
                      <a:pt x="1580" y="3290"/>
                    </a:lnTo>
                    <a:lnTo>
                      <a:pt x="1578" y="3286"/>
                    </a:lnTo>
                    <a:lnTo>
                      <a:pt x="1575" y="3281"/>
                    </a:lnTo>
                    <a:lnTo>
                      <a:pt x="1572" y="3275"/>
                    </a:lnTo>
                    <a:lnTo>
                      <a:pt x="1567" y="3268"/>
                    </a:lnTo>
                    <a:lnTo>
                      <a:pt x="1562" y="3259"/>
                    </a:lnTo>
                    <a:lnTo>
                      <a:pt x="1558" y="3253"/>
                    </a:lnTo>
                    <a:lnTo>
                      <a:pt x="1552" y="3248"/>
                    </a:lnTo>
                    <a:lnTo>
                      <a:pt x="1543" y="3239"/>
                    </a:lnTo>
                    <a:lnTo>
                      <a:pt x="1535" y="3229"/>
                    </a:lnTo>
                    <a:lnTo>
                      <a:pt x="1534" y="3225"/>
                    </a:lnTo>
                    <a:lnTo>
                      <a:pt x="1533" y="3220"/>
                    </a:lnTo>
                    <a:lnTo>
                      <a:pt x="1533" y="3215"/>
                    </a:lnTo>
                    <a:lnTo>
                      <a:pt x="1533" y="3209"/>
                    </a:lnTo>
                    <a:lnTo>
                      <a:pt x="1533" y="3199"/>
                    </a:lnTo>
                    <a:lnTo>
                      <a:pt x="1530" y="3189"/>
                    </a:lnTo>
                    <a:lnTo>
                      <a:pt x="1524" y="3177"/>
                    </a:lnTo>
                    <a:lnTo>
                      <a:pt x="1521" y="3164"/>
                    </a:lnTo>
                    <a:lnTo>
                      <a:pt x="1524" y="3151"/>
                    </a:lnTo>
                    <a:lnTo>
                      <a:pt x="1525" y="3142"/>
                    </a:lnTo>
                    <a:lnTo>
                      <a:pt x="1525" y="3135"/>
                    </a:lnTo>
                    <a:lnTo>
                      <a:pt x="1522" y="3127"/>
                    </a:lnTo>
                    <a:lnTo>
                      <a:pt x="1516" y="3116"/>
                    </a:lnTo>
                    <a:lnTo>
                      <a:pt x="1512" y="3105"/>
                    </a:lnTo>
                    <a:lnTo>
                      <a:pt x="1514" y="3100"/>
                    </a:lnTo>
                    <a:lnTo>
                      <a:pt x="1515" y="3097"/>
                    </a:lnTo>
                    <a:lnTo>
                      <a:pt x="1520" y="3094"/>
                    </a:lnTo>
                    <a:lnTo>
                      <a:pt x="1525" y="3092"/>
                    </a:lnTo>
                    <a:lnTo>
                      <a:pt x="1533" y="3091"/>
                    </a:lnTo>
                    <a:lnTo>
                      <a:pt x="1539" y="3089"/>
                    </a:lnTo>
                    <a:lnTo>
                      <a:pt x="1542" y="3087"/>
                    </a:lnTo>
                    <a:lnTo>
                      <a:pt x="1546" y="3084"/>
                    </a:lnTo>
                    <a:lnTo>
                      <a:pt x="1552" y="3070"/>
                    </a:lnTo>
                    <a:lnTo>
                      <a:pt x="1555" y="3061"/>
                    </a:lnTo>
                    <a:lnTo>
                      <a:pt x="1556" y="3045"/>
                    </a:lnTo>
                    <a:lnTo>
                      <a:pt x="1560" y="3028"/>
                    </a:lnTo>
                    <a:lnTo>
                      <a:pt x="1564" y="3021"/>
                    </a:lnTo>
                    <a:lnTo>
                      <a:pt x="1567" y="3015"/>
                    </a:lnTo>
                    <a:lnTo>
                      <a:pt x="1573" y="3010"/>
                    </a:lnTo>
                    <a:lnTo>
                      <a:pt x="1579" y="3005"/>
                    </a:lnTo>
                    <a:lnTo>
                      <a:pt x="1587" y="3003"/>
                    </a:lnTo>
                    <a:lnTo>
                      <a:pt x="1593" y="3000"/>
                    </a:lnTo>
                    <a:lnTo>
                      <a:pt x="1599" y="3000"/>
                    </a:lnTo>
                    <a:lnTo>
                      <a:pt x="1605" y="3001"/>
                    </a:lnTo>
                    <a:lnTo>
                      <a:pt x="1610" y="3005"/>
                    </a:lnTo>
                    <a:lnTo>
                      <a:pt x="1613" y="3009"/>
                    </a:lnTo>
                    <a:lnTo>
                      <a:pt x="1617" y="3013"/>
                    </a:lnTo>
                    <a:lnTo>
                      <a:pt x="1621" y="3021"/>
                    </a:lnTo>
                    <a:lnTo>
                      <a:pt x="1623" y="3028"/>
                    </a:lnTo>
                    <a:lnTo>
                      <a:pt x="1625" y="3035"/>
                    </a:lnTo>
                    <a:lnTo>
                      <a:pt x="1627" y="3038"/>
                    </a:lnTo>
                    <a:lnTo>
                      <a:pt x="1629" y="3042"/>
                    </a:lnTo>
                    <a:lnTo>
                      <a:pt x="1631" y="3044"/>
                    </a:lnTo>
                    <a:lnTo>
                      <a:pt x="1635" y="3047"/>
                    </a:lnTo>
                    <a:lnTo>
                      <a:pt x="1642" y="3049"/>
                    </a:lnTo>
                    <a:lnTo>
                      <a:pt x="1649" y="3049"/>
                    </a:lnTo>
                    <a:lnTo>
                      <a:pt x="1651" y="3049"/>
                    </a:lnTo>
                    <a:lnTo>
                      <a:pt x="1654" y="3048"/>
                    </a:lnTo>
                    <a:lnTo>
                      <a:pt x="1656" y="3047"/>
                    </a:lnTo>
                    <a:lnTo>
                      <a:pt x="1657" y="3045"/>
                    </a:lnTo>
                    <a:lnTo>
                      <a:pt x="1660" y="3040"/>
                    </a:lnTo>
                    <a:lnTo>
                      <a:pt x="1662" y="3036"/>
                    </a:lnTo>
                    <a:lnTo>
                      <a:pt x="1665" y="3034"/>
                    </a:lnTo>
                    <a:lnTo>
                      <a:pt x="1668" y="3031"/>
                    </a:lnTo>
                    <a:lnTo>
                      <a:pt x="1672" y="3030"/>
                    </a:lnTo>
                    <a:lnTo>
                      <a:pt x="1674" y="3031"/>
                    </a:lnTo>
                    <a:lnTo>
                      <a:pt x="1678" y="3032"/>
                    </a:lnTo>
                    <a:lnTo>
                      <a:pt x="1684" y="3035"/>
                    </a:lnTo>
                    <a:lnTo>
                      <a:pt x="1694" y="3035"/>
                    </a:lnTo>
                    <a:lnTo>
                      <a:pt x="1704" y="3032"/>
                    </a:lnTo>
                    <a:lnTo>
                      <a:pt x="1717" y="3031"/>
                    </a:lnTo>
                    <a:lnTo>
                      <a:pt x="1728" y="3032"/>
                    </a:lnTo>
                    <a:lnTo>
                      <a:pt x="1735" y="3035"/>
                    </a:lnTo>
                    <a:lnTo>
                      <a:pt x="1743" y="3040"/>
                    </a:lnTo>
                    <a:lnTo>
                      <a:pt x="1750" y="3050"/>
                    </a:lnTo>
                    <a:lnTo>
                      <a:pt x="1757" y="3056"/>
                    </a:lnTo>
                    <a:lnTo>
                      <a:pt x="1761" y="3050"/>
                    </a:lnTo>
                    <a:lnTo>
                      <a:pt x="1764" y="3044"/>
                    </a:lnTo>
                    <a:lnTo>
                      <a:pt x="1775" y="3045"/>
                    </a:lnTo>
                    <a:lnTo>
                      <a:pt x="1786" y="3048"/>
                    </a:lnTo>
                    <a:lnTo>
                      <a:pt x="1792" y="3048"/>
                    </a:lnTo>
                    <a:lnTo>
                      <a:pt x="1797" y="3048"/>
                    </a:lnTo>
                    <a:lnTo>
                      <a:pt x="1800" y="3047"/>
                    </a:lnTo>
                    <a:lnTo>
                      <a:pt x="1802" y="3044"/>
                    </a:lnTo>
                    <a:lnTo>
                      <a:pt x="1807" y="3032"/>
                    </a:lnTo>
                    <a:lnTo>
                      <a:pt x="1812" y="3021"/>
                    </a:lnTo>
                    <a:lnTo>
                      <a:pt x="1817" y="3015"/>
                    </a:lnTo>
                    <a:lnTo>
                      <a:pt x="1821" y="3009"/>
                    </a:lnTo>
                    <a:lnTo>
                      <a:pt x="1827" y="3004"/>
                    </a:lnTo>
                    <a:lnTo>
                      <a:pt x="1831" y="3000"/>
                    </a:lnTo>
                    <a:lnTo>
                      <a:pt x="1836" y="2998"/>
                    </a:lnTo>
                    <a:lnTo>
                      <a:pt x="1842" y="2994"/>
                    </a:lnTo>
                    <a:lnTo>
                      <a:pt x="1848" y="2991"/>
                    </a:lnTo>
                    <a:lnTo>
                      <a:pt x="1851" y="2986"/>
                    </a:lnTo>
                    <a:lnTo>
                      <a:pt x="1855" y="2981"/>
                    </a:lnTo>
                    <a:lnTo>
                      <a:pt x="1858" y="2973"/>
                    </a:lnTo>
                    <a:lnTo>
                      <a:pt x="1861" y="2959"/>
                    </a:lnTo>
                    <a:lnTo>
                      <a:pt x="1863" y="2947"/>
                    </a:lnTo>
                    <a:lnTo>
                      <a:pt x="1864" y="2943"/>
                    </a:lnTo>
                    <a:lnTo>
                      <a:pt x="1867" y="2942"/>
                    </a:lnTo>
                    <a:lnTo>
                      <a:pt x="1869" y="2942"/>
                    </a:lnTo>
                    <a:lnTo>
                      <a:pt x="1871" y="2942"/>
                    </a:lnTo>
                    <a:lnTo>
                      <a:pt x="1875" y="2942"/>
                    </a:lnTo>
                    <a:lnTo>
                      <a:pt x="1880" y="2942"/>
                    </a:lnTo>
                    <a:lnTo>
                      <a:pt x="1884" y="2938"/>
                    </a:lnTo>
                    <a:lnTo>
                      <a:pt x="1889" y="2933"/>
                    </a:lnTo>
                    <a:lnTo>
                      <a:pt x="1894" y="2922"/>
                    </a:lnTo>
                    <a:lnTo>
                      <a:pt x="1898" y="2912"/>
                    </a:lnTo>
                    <a:lnTo>
                      <a:pt x="1901" y="2911"/>
                    </a:lnTo>
                    <a:lnTo>
                      <a:pt x="1904" y="2910"/>
                    </a:lnTo>
                    <a:lnTo>
                      <a:pt x="1906" y="2910"/>
                    </a:lnTo>
                    <a:lnTo>
                      <a:pt x="1909" y="2910"/>
                    </a:lnTo>
                    <a:lnTo>
                      <a:pt x="1912" y="2911"/>
                    </a:lnTo>
                    <a:lnTo>
                      <a:pt x="1915" y="2914"/>
                    </a:lnTo>
                    <a:lnTo>
                      <a:pt x="1919" y="2917"/>
                    </a:lnTo>
                    <a:lnTo>
                      <a:pt x="1921" y="2922"/>
                    </a:lnTo>
                    <a:lnTo>
                      <a:pt x="1926" y="2929"/>
                    </a:lnTo>
                    <a:lnTo>
                      <a:pt x="1931" y="2934"/>
                    </a:lnTo>
                    <a:lnTo>
                      <a:pt x="1937" y="2936"/>
                    </a:lnTo>
                    <a:lnTo>
                      <a:pt x="1947" y="2938"/>
                    </a:lnTo>
                    <a:lnTo>
                      <a:pt x="1959" y="2942"/>
                    </a:lnTo>
                    <a:lnTo>
                      <a:pt x="1967" y="2946"/>
                    </a:lnTo>
                    <a:lnTo>
                      <a:pt x="1983" y="2949"/>
                    </a:lnTo>
                    <a:lnTo>
                      <a:pt x="1995" y="2954"/>
                    </a:lnTo>
                    <a:lnTo>
                      <a:pt x="2008" y="2966"/>
                    </a:lnTo>
                    <a:lnTo>
                      <a:pt x="2025" y="2981"/>
                    </a:lnTo>
                    <a:lnTo>
                      <a:pt x="2035" y="2988"/>
                    </a:lnTo>
                    <a:lnTo>
                      <a:pt x="2047" y="2994"/>
                    </a:lnTo>
                    <a:lnTo>
                      <a:pt x="2053" y="2998"/>
                    </a:lnTo>
                    <a:lnTo>
                      <a:pt x="2056" y="3004"/>
                    </a:lnTo>
                    <a:lnTo>
                      <a:pt x="2058" y="3010"/>
                    </a:lnTo>
                    <a:lnTo>
                      <a:pt x="2059" y="3021"/>
                    </a:lnTo>
                    <a:lnTo>
                      <a:pt x="2059" y="3024"/>
                    </a:lnTo>
                    <a:lnTo>
                      <a:pt x="2060" y="3029"/>
                    </a:lnTo>
                    <a:lnTo>
                      <a:pt x="2062" y="3032"/>
                    </a:lnTo>
                    <a:lnTo>
                      <a:pt x="2064" y="3036"/>
                    </a:lnTo>
                    <a:lnTo>
                      <a:pt x="2070" y="3042"/>
                    </a:lnTo>
                    <a:lnTo>
                      <a:pt x="2079" y="3048"/>
                    </a:lnTo>
                    <a:lnTo>
                      <a:pt x="2091" y="3055"/>
                    </a:lnTo>
                    <a:lnTo>
                      <a:pt x="2097" y="3062"/>
                    </a:lnTo>
                    <a:lnTo>
                      <a:pt x="2102" y="3064"/>
                    </a:lnTo>
                    <a:lnTo>
                      <a:pt x="2107" y="3067"/>
                    </a:lnTo>
                    <a:lnTo>
                      <a:pt x="2112" y="3068"/>
                    </a:lnTo>
                    <a:lnTo>
                      <a:pt x="2116" y="3069"/>
                    </a:lnTo>
                    <a:lnTo>
                      <a:pt x="2121" y="3068"/>
                    </a:lnTo>
                    <a:lnTo>
                      <a:pt x="2125" y="3067"/>
                    </a:lnTo>
                    <a:lnTo>
                      <a:pt x="2128" y="3064"/>
                    </a:lnTo>
                    <a:lnTo>
                      <a:pt x="2129" y="3062"/>
                    </a:lnTo>
                    <a:lnTo>
                      <a:pt x="2132" y="3057"/>
                    </a:lnTo>
                    <a:lnTo>
                      <a:pt x="2135" y="3053"/>
                    </a:lnTo>
                    <a:lnTo>
                      <a:pt x="2139" y="3049"/>
                    </a:lnTo>
                    <a:lnTo>
                      <a:pt x="2142" y="3045"/>
                    </a:lnTo>
                    <a:lnTo>
                      <a:pt x="2152" y="3042"/>
                    </a:lnTo>
                    <a:lnTo>
                      <a:pt x="2161" y="3037"/>
                    </a:lnTo>
                    <a:lnTo>
                      <a:pt x="2166" y="3034"/>
                    </a:lnTo>
                    <a:lnTo>
                      <a:pt x="2169" y="3030"/>
                    </a:lnTo>
                    <a:lnTo>
                      <a:pt x="2171" y="3025"/>
                    </a:lnTo>
                    <a:lnTo>
                      <a:pt x="2171" y="3022"/>
                    </a:lnTo>
                    <a:lnTo>
                      <a:pt x="2172" y="3013"/>
                    </a:lnTo>
                    <a:lnTo>
                      <a:pt x="2173" y="3006"/>
                    </a:lnTo>
                    <a:lnTo>
                      <a:pt x="2176" y="3001"/>
                    </a:lnTo>
                    <a:lnTo>
                      <a:pt x="2179" y="2998"/>
                    </a:lnTo>
                    <a:lnTo>
                      <a:pt x="2184" y="2994"/>
                    </a:lnTo>
                    <a:lnTo>
                      <a:pt x="2190" y="2990"/>
                    </a:lnTo>
                    <a:lnTo>
                      <a:pt x="2203" y="2980"/>
                    </a:lnTo>
                    <a:lnTo>
                      <a:pt x="2215" y="2969"/>
                    </a:lnTo>
                    <a:lnTo>
                      <a:pt x="2224" y="2958"/>
                    </a:lnTo>
                    <a:lnTo>
                      <a:pt x="2232" y="2946"/>
                    </a:lnTo>
                    <a:lnTo>
                      <a:pt x="2239" y="2935"/>
                    </a:lnTo>
                    <a:lnTo>
                      <a:pt x="2245" y="2929"/>
                    </a:lnTo>
                    <a:lnTo>
                      <a:pt x="2247" y="2928"/>
                    </a:lnTo>
                    <a:lnTo>
                      <a:pt x="2249" y="2927"/>
                    </a:lnTo>
                    <a:lnTo>
                      <a:pt x="2253" y="2927"/>
                    </a:lnTo>
                    <a:lnTo>
                      <a:pt x="2255" y="2927"/>
                    </a:lnTo>
                    <a:lnTo>
                      <a:pt x="2260" y="2929"/>
                    </a:lnTo>
                    <a:lnTo>
                      <a:pt x="2265" y="2933"/>
                    </a:lnTo>
                    <a:lnTo>
                      <a:pt x="2271" y="2940"/>
                    </a:lnTo>
                    <a:lnTo>
                      <a:pt x="2276" y="2947"/>
                    </a:lnTo>
                    <a:lnTo>
                      <a:pt x="2279" y="2956"/>
                    </a:lnTo>
                    <a:lnTo>
                      <a:pt x="2283" y="2966"/>
                    </a:lnTo>
                    <a:lnTo>
                      <a:pt x="2289" y="2985"/>
                    </a:lnTo>
                    <a:lnTo>
                      <a:pt x="2296" y="3004"/>
                    </a:lnTo>
                    <a:lnTo>
                      <a:pt x="2299" y="3011"/>
                    </a:lnTo>
                    <a:lnTo>
                      <a:pt x="2304" y="3017"/>
                    </a:lnTo>
                    <a:lnTo>
                      <a:pt x="2305" y="3018"/>
                    </a:lnTo>
                    <a:lnTo>
                      <a:pt x="2308" y="3021"/>
                    </a:lnTo>
                    <a:lnTo>
                      <a:pt x="2310" y="3021"/>
                    </a:lnTo>
                    <a:lnTo>
                      <a:pt x="2312" y="3021"/>
                    </a:lnTo>
                    <a:lnTo>
                      <a:pt x="2316" y="3019"/>
                    </a:lnTo>
                    <a:lnTo>
                      <a:pt x="2320" y="3017"/>
                    </a:lnTo>
                    <a:lnTo>
                      <a:pt x="2322" y="3015"/>
                    </a:lnTo>
                    <a:lnTo>
                      <a:pt x="2326" y="3011"/>
                    </a:lnTo>
                    <a:lnTo>
                      <a:pt x="2331" y="3003"/>
                    </a:lnTo>
                    <a:lnTo>
                      <a:pt x="2337" y="2992"/>
                    </a:lnTo>
                    <a:lnTo>
                      <a:pt x="2339" y="2985"/>
                    </a:lnTo>
                    <a:lnTo>
                      <a:pt x="2339" y="2977"/>
                    </a:lnTo>
                    <a:lnTo>
                      <a:pt x="2341" y="2971"/>
                    </a:lnTo>
                    <a:lnTo>
                      <a:pt x="2343" y="2965"/>
                    </a:lnTo>
                    <a:lnTo>
                      <a:pt x="2346" y="2959"/>
                    </a:lnTo>
                    <a:lnTo>
                      <a:pt x="2349" y="2953"/>
                    </a:lnTo>
                    <a:lnTo>
                      <a:pt x="2356" y="2943"/>
                    </a:lnTo>
                    <a:lnTo>
                      <a:pt x="2364" y="2936"/>
                    </a:lnTo>
                    <a:lnTo>
                      <a:pt x="2367" y="2935"/>
                    </a:lnTo>
                    <a:lnTo>
                      <a:pt x="2369" y="2935"/>
                    </a:lnTo>
                    <a:lnTo>
                      <a:pt x="2373" y="2936"/>
                    </a:lnTo>
                    <a:lnTo>
                      <a:pt x="2375" y="2937"/>
                    </a:lnTo>
                    <a:lnTo>
                      <a:pt x="2380" y="2944"/>
                    </a:lnTo>
                    <a:lnTo>
                      <a:pt x="2384" y="2950"/>
                    </a:lnTo>
                    <a:lnTo>
                      <a:pt x="2390" y="2958"/>
                    </a:lnTo>
                    <a:lnTo>
                      <a:pt x="2397" y="2966"/>
                    </a:lnTo>
                    <a:lnTo>
                      <a:pt x="2406" y="2975"/>
                    </a:lnTo>
                    <a:lnTo>
                      <a:pt x="2417" y="2982"/>
                    </a:lnTo>
                    <a:lnTo>
                      <a:pt x="2428" y="2992"/>
                    </a:lnTo>
                    <a:lnTo>
                      <a:pt x="2440" y="3003"/>
                    </a:lnTo>
                    <a:lnTo>
                      <a:pt x="2450" y="3013"/>
                    </a:lnTo>
                    <a:lnTo>
                      <a:pt x="2457" y="3022"/>
                    </a:lnTo>
                    <a:lnTo>
                      <a:pt x="2466" y="3030"/>
                    </a:lnTo>
                    <a:lnTo>
                      <a:pt x="2475" y="3042"/>
                    </a:lnTo>
                    <a:lnTo>
                      <a:pt x="2486" y="3054"/>
                    </a:lnTo>
                    <a:lnTo>
                      <a:pt x="2496" y="3066"/>
                    </a:lnTo>
                    <a:lnTo>
                      <a:pt x="2501" y="3074"/>
                    </a:lnTo>
                    <a:lnTo>
                      <a:pt x="2505" y="3079"/>
                    </a:lnTo>
                    <a:lnTo>
                      <a:pt x="2507" y="3080"/>
                    </a:lnTo>
                    <a:lnTo>
                      <a:pt x="2509" y="3079"/>
                    </a:lnTo>
                    <a:lnTo>
                      <a:pt x="2511" y="3075"/>
                    </a:lnTo>
                    <a:lnTo>
                      <a:pt x="2513" y="3069"/>
                    </a:lnTo>
                    <a:lnTo>
                      <a:pt x="2516" y="3060"/>
                    </a:lnTo>
                    <a:lnTo>
                      <a:pt x="2517" y="3054"/>
                    </a:lnTo>
                    <a:lnTo>
                      <a:pt x="2518" y="3049"/>
                    </a:lnTo>
                    <a:lnTo>
                      <a:pt x="2518" y="3042"/>
                    </a:lnTo>
                    <a:lnTo>
                      <a:pt x="2519" y="3035"/>
                    </a:lnTo>
                    <a:lnTo>
                      <a:pt x="2519" y="3029"/>
                    </a:lnTo>
                    <a:lnTo>
                      <a:pt x="2518" y="3012"/>
                    </a:lnTo>
                    <a:lnTo>
                      <a:pt x="2518" y="2998"/>
                    </a:lnTo>
                    <a:lnTo>
                      <a:pt x="2520" y="2988"/>
                    </a:lnTo>
                    <a:lnTo>
                      <a:pt x="2523" y="2980"/>
                    </a:lnTo>
                    <a:lnTo>
                      <a:pt x="2526" y="2972"/>
                    </a:lnTo>
                    <a:lnTo>
                      <a:pt x="2531" y="2963"/>
                    </a:lnTo>
                    <a:lnTo>
                      <a:pt x="2537" y="2956"/>
                    </a:lnTo>
                    <a:lnTo>
                      <a:pt x="2544" y="2950"/>
                    </a:lnTo>
                    <a:lnTo>
                      <a:pt x="2553" y="2944"/>
                    </a:lnTo>
                    <a:lnTo>
                      <a:pt x="2563" y="2940"/>
                    </a:lnTo>
                    <a:lnTo>
                      <a:pt x="2570" y="2936"/>
                    </a:lnTo>
                    <a:lnTo>
                      <a:pt x="2581" y="2934"/>
                    </a:lnTo>
                    <a:lnTo>
                      <a:pt x="2591" y="2930"/>
                    </a:lnTo>
                    <a:lnTo>
                      <a:pt x="2601" y="2928"/>
                    </a:lnTo>
                    <a:lnTo>
                      <a:pt x="2612" y="2927"/>
                    </a:lnTo>
                    <a:lnTo>
                      <a:pt x="2618" y="2925"/>
                    </a:lnTo>
                    <a:lnTo>
                      <a:pt x="2620" y="2927"/>
                    </a:lnTo>
                    <a:lnTo>
                      <a:pt x="2622" y="2927"/>
                    </a:lnTo>
                    <a:lnTo>
                      <a:pt x="2622" y="2928"/>
                    </a:lnTo>
                    <a:lnTo>
                      <a:pt x="2620" y="2930"/>
                    </a:lnTo>
                    <a:lnTo>
                      <a:pt x="2619" y="2933"/>
                    </a:lnTo>
                    <a:lnTo>
                      <a:pt x="2617" y="2940"/>
                    </a:lnTo>
                    <a:lnTo>
                      <a:pt x="2617" y="2950"/>
                    </a:lnTo>
                    <a:lnTo>
                      <a:pt x="2617" y="2963"/>
                    </a:lnTo>
                    <a:lnTo>
                      <a:pt x="2617" y="2974"/>
                    </a:lnTo>
                    <a:lnTo>
                      <a:pt x="2617" y="2980"/>
                    </a:lnTo>
                    <a:lnTo>
                      <a:pt x="2617" y="2982"/>
                    </a:lnTo>
                    <a:lnTo>
                      <a:pt x="2618" y="2984"/>
                    </a:lnTo>
                    <a:lnTo>
                      <a:pt x="2619" y="2984"/>
                    </a:lnTo>
                    <a:lnTo>
                      <a:pt x="2622" y="2984"/>
                    </a:lnTo>
                    <a:lnTo>
                      <a:pt x="2626" y="2985"/>
                    </a:lnTo>
                    <a:lnTo>
                      <a:pt x="2632" y="2986"/>
                    </a:lnTo>
                    <a:lnTo>
                      <a:pt x="2641" y="2990"/>
                    </a:lnTo>
                    <a:lnTo>
                      <a:pt x="2645" y="2993"/>
                    </a:lnTo>
                    <a:lnTo>
                      <a:pt x="2648" y="2994"/>
                    </a:lnTo>
                    <a:lnTo>
                      <a:pt x="2649" y="2994"/>
                    </a:lnTo>
                    <a:lnTo>
                      <a:pt x="2651" y="2994"/>
                    </a:lnTo>
                    <a:lnTo>
                      <a:pt x="2654" y="2993"/>
                    </a:lnTo>
                    <a:lnTo>
                      <a:pt x="2668" y="2985"/>
                    </a:lnTo>
                    <a:lnTo>
                      <a:pt x="2685" y="2972"/>
                    </a:lnTo>
                    <a:lnTo>
                      <a:pt x="2701" y="2961"/>
                    </a:lnTo>
                    <a:lnTo>
                      <a:pt x="2718" y="2953"/>
                    </a:lnTo>
                    <a:lnTo>
                      <a:pt x="2724" y="2947"/>
                    </a:lnTo>
                    <a:lnTo>
                      <a:pt x="2728" y="2941"/>
                    </a:lnTo>
                    <a:lnTo>
                      <a:pt x="2731" y="2937"/>
                    </a:lnTo>
                    <a:lnTo>
                      <a:pt x="2734" y="2935"/>
                    </a:lnTo>
                    <a:lnTo>
                      <a:pt x="2738" y="2933"/>
                    </a:lnTo>
                    <a:lnTo>
                      <a:pt x="2744" y="2931"/>
                    </a:lnTo>
                    <a:lnTo>
                      <a:pt x="2750" y="2935"/>
                    </a:lnTo>
                    <a:lnTo>
                      <a:pt x="2767" y="2941"/>
                    </a:lnTo>
                    <a:lnTo>
                      <a:pt x="2781" y="2942"/>
                    </a:lnTo>
                    <a:lnTo>
                      <a:pt x="2790" y="2941"/>
                    </a:lnTo>
                    <a:lnTo>
                      <a:pt x="2797" y="2937"/>
                    </a:lnTo>
                    <a:lnTo>
                      <a:pt x="2805" y="2934"/>
                    </a:lnTo>
                    <a:lnTo>
                      <a:pt x="2818" y="2922"/>
                    </a:lnTo>
                    <a:lnTo>
                      <a:pt x="2833" y="2910"/>
                    </a:lnTo>
                    <a:lnTo>
                      <a:pt x="2838" y="2906"/>
                    </a:lnTo>
                    <a:lnTo>
                      <a:pt x="2843" y="2905"/>
                    </a:lnTo>
                    <a:lnTo>
                      <a:pt x="2847" y="2904"/>
                    </a:lnTo>
                    <a:lnTo>
                      <a:pt x="2851" y="2904"/>
                    </a:lnTo>
                    <a:lnTo>
                      <a:pt x="2853" y="2904"/>
                    </a:lnTo>
                    <a:lnTo>
                      <a:pt x="2856" y="2904"/>
                    </a:lnTo>
                    <a:lnTo>
                      <a:pt x="2857" y="2902"/>
                    </a:lnTo>
                    <a:lnTo>
                      <a:pt x="2858" y="2898"/>
                    </a:lnTo>
                    <a:lnTo>
                      <a:pt x="2858" y="2892"/>
                    </a:lnTo>
                    <a:lnTo>
                      <a:pt x="2858" y="2886"/>
                    </a:lnTo>
                    <a:lnTo>
                      <a:pt x="2857" y="2881"/>
                    </a:lnTo>
                    <a:lnTo>
                      <a:pt x="2856" y="2877"/>
                    </a:lnTo>
                    <a:lnTo>
                      <a:pt x="2852" y="2868"/>
                    </a:lnTo>
                    <a:lnTo>
                      <a:pt x="2847" y="2860"/>
                    </a:lnTo>
                    <a:lnTo>
                      <a:pt x="2845" y="2854"/>
                    </a:lnTo>
                    <a:lnTo>
                      <a:pt x="2843" y="2848"/>
                    </a:lnTo>
                    <a:lnTo>
                      <a:pt x="2843" y="2843"/>
                    </a:lnTo>
                    <a:lnTo>
                      <a:pt x="2843" y="2839"/>
                    </a:lnTo>
                    <a:lnTo>
                      <a:pt x="2843" y="2835"/>
                    </a:lnTo>
                    <a:lnTo>
                      <a:pt x="2844" y="2833"/>
                    </a:lnTo>
                    <a:lnTo>
                      <a:pt x="2845" y="2829"/>
                    </a:lnTo>
                    <a:lnTo>
                      <a:pt x="2847" y="2827"/>
                    </a:lnTo>
                    <a:lnTo>
                      <a:pt x="2855" y="2822"/>
                    </a:lnTo>
                    <a:lnTo>
                      <a:pt x="2865" y="2817"/>
                    </a:lnTo>
                    <a:lnTo>
                      <a:pt x="2874" y="2813"/>
                    </a:lnTo>
                    <a:lnTo>
                      <a:pt x="2881" y="2807"/>
                    </a:lnTo>
                    <a:lnTo>
                      <a:pt x="2889" y="2808"/>
                    </a:lnTo>
                    <a:lnTo>
                      <a:pt x="2896" y="2809"/>
                    </a:lnTo>
                    <a:lnTo>
                      <a:pt x="2903" y="2805"/>
                    </a:lnTo>
                    <a:lnTo>
                      <a:pt x="2912" y="2801"/>
                    </a:lnTo>
                    <a:lnTo>
                      <a:pt x="2920" y="2795"/>
                    </a:lnTo>
                    <a:lnTo>
                      <a:pt x="2926" y="2790"/>
                    </a:lnTo>
                    <a:lnTo>
                      <a:pt x="2931" y="2785"/>
                    </a:lnTo>
                    <a:lnTo>
                      <a:pt x="2938" y="2779"/>
                    </a:lnTo>
                    <a:lnTo>
                      <a:pt x="2945" y="2774"/>
                    </a:lnTo>
                    <a:lnTo>
                      <a:pt x="2953" y="2771"/>
                    </a:lnTo>
                    <a:lnTo>
                      <a:pt x="2972" y="2770"/>
                    </a:lnTo>
                    <a:lnTo>
                      <a:pt x="2983" y="2769"/>
                    </a:lnTo>
                    <a:lnTo>
                      <a:pt x="2988" y="2766"/>
                    </a:lnTo>
                    <a:lnTo>
                      <a:pt x="2994" y="2764"/>
                    </a:lnTo>
                    <a:lnTo>
                      <a:pt x="2997" y="2764"/>
                    </a:lnTo>
                    <a:lnTo>
                      <a:pt x="3002" y="2764"/>
                    </a:lnTo>
                    <a:lnTo>
                      <a:pt x="3007" y="2766"/>
                    </a:lnTo>
                    <a:lnTo>
                      <a:pt x="3011" y="2767"/>
                    </a:lnTo>
                    <a:lnTo>
                      <a:pt x="3014" y="2767"/>
                    </a:lnTo>
                    <a:lnTo>
                      <a:pt x="3015" y="2766"/>
                    </a:lnTo>
                    <a:lnTo>
                      <a:pt x="3017" y="2765"/>
                    </a:lnTo>
                    <a:lnTo>
                      <a:pt x="3019" y="2761"/>
                    </a:lnTo>
                    <a:lnTo>
                      <a:pt x="3021" y="2757"/>
                    </a:lnTo>
                    <a:lnTo>
                      <a:pt x="3024" y="2751"/>
                    </a:lnTo>
                    <a:lnTo>
                      <a:pt x="3029" y="2746"/>
                    </a:lnTo>
                    <a:lnTo>
                      <a:pt x="3034" y="2741"/>
                    </a:lnTo>
                    <a:lnTo>
                      <a:pt x="3042" y="2734"/>
                    </a:lnTo>
                    <a:lnTo>
                      <a:pt x="3051" y="2728"/>
                    </a:lnTo>
                    <a:lnTo>
                      <a:pt x="3052" y="2727"/>
                    </a:lnTo>
                    <a:lnTo>
                      <a:pt x="3054" y="2728"/>
                    </a:lnTo>
                    <a:lnTo>
                      <a:pt x="3055" y="2729"/>
                    </a:lnTo>
                    <a:lnTo>
                      <a:pt x="3058" y="2730"/>
                    </a:lnTo>
                    <a:lnTo>
                      <a:pt x="3061" y="2736"/>
                    </a:lnTo>
                    <a:lnTo>
                      <a:pt x="3066" y="2744"/>
                    </a:lnTo>
                    <a:lnTo>
                      <a:pt x="3074" y="2755"/>
                    </a:lnTo>
                    <a:lnTo>
                      <a:pt x="3084" y="2765"/>
                    </a:lnTo>
                    <a:lnTo>
                      <a:pt x="3086" y="2767"/>
                    </a:lnTo>
                    <a:lnTo>
                      <a:pt x="3088" y="2767"/>
                    </a:lnTo>
                    <a:lnTo>
                      <a:pt x="3089" y="2766"/>
                    </a:lnTo>
                    <a:lnTo>
                      <a:pt x="3090" y="2765"/>
                    </a:lnTo>
                    <a:lnTo>
                      <a:pt x="3091" y="2764"/>
                    </a:lnTo>
                    <a:lnTo>
                      <a:pt x="3093" y="2763"/>
                    </a:lnTo>
                    <a:lnTo>
                      <a:pt x="3095" y="2761"/>
                    </a:lnTo>
                    <a:lnTo>
                      <a:pt x="3098" y="2763"/>
                    </a:lnTo>
                    <a:lnTo>
                      <a:pt x="3101" y="2771"/>
                    </a:lnTo>
                    <a:lnTo>
                      <a:pt x="3103" y="2783"/>
                    </a:lnTo>
                    <a:lnTo>
                      <a:pt x="3109" y="2790"/>
                    </a:lnTo>
                    <a:lnTo>
                      <a:pt x="3115" y="2795"/>
                    </a:lnTo>
                    <a:lnTo>
                      <a:pt x="3121" y="2799"/>
                    </a:lnTo>
                    <a:lnTo>
                      <a:pt x="3126" y="2801"/>
                    </a:lnTo>
                    <a:lnTo>
                      <a:pt x="3128" y="2802"/>
                    </a:lnTo>
                    <a:lnTo>
                      <a:pt x="3130" y="2801"/>
                    </a:lnTo>
                    <a:lnTo>
                      <a:pt x="3131" y="2799"/>
                    </a:lnTo>
                    <a:lnTo>
                      <a:pt x="3134" y="2797"/>
                    </a:lnTo>
                    <a:lnTo>
                      <a:pt x="3137" y="2790"/>
                    </a:lnTo>
                    <a:lnTo>
                      <a:pt x="3142" y="2784"/>
                    </a:lnTo>
                    <a:lnTo>
                      <a:pt x="3155" y="2767"/>
                    </a:lnTo>
                    <a:lnTo>
                      <a:pt x="3165" y="2755"/>
                    </a:lnTo>
                    <a:lnTo>
                      <a:pt x="3168" y="2752"/>
                    </a:lnTo>
                    <a:lnTo>
                      <a:pt x="3172" y="2748"/>
                    </a:lnTo>
                    <a:lnTo>
                      <a:pt x="3175" y="2747"/>
                    </a:lnTo>
                    <a:lnTo>
                      <a:pt x="3179" y="2745"/>
                    </a:lnTo>
                    <a:lnTo>
                      <a:pt x="3187" y="2744"/>
                    </a:lnTo>
                    <a:lnTo>
                      <a:pt x="3194" y="2742"/>
                    </a:lnTo>
                    <a:lnTo>
                      <a:pt x="3198" y="2742"/>
                    </a:lnTo>
                    <a:lnTo>
                      <a:pt x="3200" y="2742"/>
                    </a:lnTo>
                    <a:lnTo>
                      <a:pt x="3203" y="2741"/>
                    </a:lnTo>
                    <a:lnTo>
                      <a:pt x="3204" y="2739"/>
                    </a:lnTo>
                    <a:lnTo>
                      <a:pt x="3204" y="2735"/>
                    </a:lnTo>
                    <a:lnTo>
                      <a:pt x="3200" y="2727"/>
                    </a:lnTo>
                    <a:lnTo>
                      <a:pt x="3198" y="2723"/>
                    </a:lnTo>
                    <a:lnTo>
                      <a:pt x="3197" y="2720"/>
                    </a:lnTo>
                    <a:lnTo>
                      <a:pt x="3197" y="2716"/>
                    </a:lnTo>
                    <a:lnTo>
                      <a:pt x="3198" y="2714"/>
                    </a:lnTo>
                    <a:lnTo>
                      <a:pt x="3199" y="2710"/>
                    </a:lnTo>
                    <a:lnTo>
                      <a:pt x="3203" y="2709"/>
                    </a:lnTo>
                    <a:lnTo>
                      <a:pt x="3206" y="2707"/>
                    </a:lnTo>
                    <a:lnTo>
                      <a:pt x="3212" y="2706"/>
                    </a:lnTo>
                    <a:lnTo>
                      <a:pt x="3225" y="2703"/>
                    </a:lnTo>
                    <a:lnTo>
                      <a:pt x="3238" y="2700"/>
                    </a:lnTo>
                    <a:lnTo>
                      <a:pt x="3246" y="2697"/>
                    </a:lnTo>
                    <a:lnTo>
                      <a:pt x="3250" y="2692"/>
                    </a:lnTo>
                    <a:lnTo>
                      <a:pt x="3255" y="2689"/>
                    </a:lnTo>
                    <a:lnTo>
                      <a:pt x="3259" y="2683"/>
                    </a:lnTo>
                    <a:lnTo>
                      <a:pt x="3261" y="2677"/>
                    </a:lnTo>
                    <a:lnTo>
                      <a:pt x="3263" y="2673"/>
                    </a:lnTo>
                    <a:lnTo>
                      <a:pt x="3266" y="2670"/>
                    </a:lnTo>
                    <a:lnTo>
                      <a:pt x="3269" y="2667"/>
                    </a:lnTo>
                    <a:lnTo>
                      <a:pt x="3273" y="2665"/>
                    </a:lnTo>
                    <a:lnTo>
                      <a:pt x="3277" y="2665"/>
                    </a:lnTo>
                    <a:lnTo>
                      <a:pt x="3281" y="2665"/>
                    </a:lnTo>
                    <a:lnTo>
                      <a:pt x="3287" y="2667"/>
                    </a:lnTo>
                    <a:lnTo>
                      <a:pt x="3300" y="2671"/>
                    </a:lnTo>
                    <a:lnTo>
                      <a:pt x="3312" y="2675"/>
                    </a:lnTo>
                    <a:lnTo>
                      <a:pt x="3318" y="2676"/>
                    </a:lnTo>
                    <a:lnTo>
                      <a:pt x="3322" y="2678"/>
                    </a:lnTo>
                    <a:lnTo>
                      <a:pt x="3325" y="2682"/>
                    </a:lnTo>
                    <a:lnTo>
                      <a:pt x="3326" y="2684"/>
                    </a:lnTo>
                    <a:lnTo>
                      <a:pt x="3329" y="2691"/>
                    </a:lnTo>
                    <a:lnTo>
                      <a:pt x="3332" y="2695"/>
                    </a:lnTo>
                    <a:lnTo>
                      <a:pt x="3335" y="2696"/>
                    </a:lnTo>
                    <a:lnTo>
                      <a:pt x="3337" y="2696"/>
                    </a:lnTo>
                    <a:lnTo>
                      <a:pt x="3341" y="2695"/>
                    </a:lnTo>
                    <a:lnTo>
                      <a:pt x="3345" y="2691"/>
                    </a:lnTo>
                    <a:lnTo>
                      <a:pt x="3357" y="2685"/>
                    </a:lnTo>
                    <a:lnTo>
                      <a:pt x="3367" y="2679"/>
                    </a:lnTo>
                    <a:lnTo>
                      <a:pt x="3372" y="2677"/>
                    </a:lnTo>
                    <a:lnTo>
                      <a:pt x="3376" y="2673"/>
                    </a:lnTo>
                    <a:lnTo>
                      <a:pt x="3380" y="2670"/>
                    </a:lnTo>
                    <a:lnTo>
                      <a:pt x="3382" y="2664"/>
                    </a:lnTo>
                    <a:lnTo>
                      <a:pt x="3386" y="2650"/>
                    </a:lnTo>
                    <a:lnTo>
                      <a:pt x="3389" y="2632"/>
                    </a:lnTo>
                    <a:lnTo>
                      <a:pt x="3392" y="2613"/>
                    </a:lnTo>
                    <a:lnTo>
                      <a:pt x="3394" y="2595"/>
                    </a:lnTo>
                    <a:lnTo>
                      <a:pt x="3397" y="2580"/>
                    </a:lnTo>
                    <a:lnTo>
                      <a:pt x="3398" y="2565"/>
                    </a:lnTo>
                    <a:lnTo>
                      <a:pt x="3399" y="2559"/>
                    </a:lnTo>
                    <a:lnTo>
                      <a:pt x="3400" y="2553"/>
                    </a:lnTo>
                    <a:lnTo>
                      <a:pt x="3403" y="2549"/>
                    </a:lnTo>
                    <a:lnTo>
                      <a:pt x="3405" y="2544"/>
                    </a:lnTo>
                    <a:lnTo>
                      <a:pt x="3411" y="2537"/>
                    </a:lnTo>
                    <a:lnTo>
                      <a:pt x="3416" y="2528"/>
                    </a:lnTo>
                    <a:lnTo>
                      <a:pt x="3416" y="2525"/>
                    </a:lnTo>
                    <a:lnTo>
                      <a:pt x="3417" y="2520"/>
                    </a:lnTo>
                    <a:lnTo>
                      <a:pt x="3416" y="2514"/>
                    </a:lnTo>
                    <a:lnTo>
                      <a:pt x="3414" y="2508"/>
                    </a:lnTo>
                    <a:lnTo>
                      <a:pt x="3412" y="2501"/>
                    </a:lnTo>
                    <a:lnTo>
                      <a:pt x="3411" y="2494"/>
                    </a:lnTo>
                    <a:lnTo>
                      <a:pt x="3407" y="2488"/>
                    </a:lnTo>
                    <a:lnTo>
                      <a:pt x="3404" y="2483"/>
                    </a:lnTo>
                    <a:lnTo>
                      <a:pt x="3395" y="2471"/>
                    </a:lnTo>
                    <a:lnTo>
                      <a:pt x="3387" y="2458"/>
                    </a:lnTo>
                    <a:lnTo>
                      <a:pt x="3382" y="2450"/>
                    </a:lnTo>
                    <a:lnTo>
                      <a:pt x="3374" y="2436"/>
                    </a:lnTo>
                    <a:lnTo>
                      <a:pt x="3369" y="2427"/>
                    </a:lnTo>
                    <a:lnTo>
                      <a:pt x="3362" y="2417"/>
                    </a:lnTo>
                    <a:lnTo>
                      <a:pt x="3360" y="2413"/>
                    </a:lnTo>
                    <a:lnTo>
                      <a:pt x="3356" y="2411"/>
                    </a:lnTo>
                    <a:lnTo>
                      <a:pt x="3351" y="2410"/>
                    </a:lnTo>
                    <a:lnTo>
                      <a:pt x="3347" y="2410"/>
                    </a:lnTo>
                    <a:lnTo>
                      <a:pt x="3336" y="2410"/>
                    </a:lnTo>
                    <a:lnTo>
                      <a:pt x="3323" y="2412"/>
                    </a:lnTo>
                    <a:lnTo>
                      <a:pt x="3317" y="2412"/>
                    </a:lnTo>
                    <a:lnTo>
                      <a:pt x="3312" y="2414"/>
                    </a:lnTo>
                    <a:lnTo>
                      <a:pt x="3309" y="2416"/>
                    </a:lnTo>
                    <a:lnTo>
                      <a:pt x="3305" y="2419"/>
                    </a:lnTo>
                    <a:lnTo>
                      <a:pt x="3303" y="2421"/>
                    </a:lnTo>
                    <a:lnTo>
                      <a:pt x="3301" y="2425"/>
                    </a:lnTo>
                    <a:lnTo>
                      <a:pt x="3300" y="2430"/>
                    </a:lnTo>
                    <a:lnTo>
                      <a:pt x="3300" y="2436"/>
                    </a:lnTo>
                    <a:lnTo>
                      <a:pt x="3300" y="2438"/>
                    </a:lnTo>
                    <a:lnTo>
                      <a:pt x="3299" y="2440"/>
                    </a:lnTo>
                    <a:lnTo>
                      <a:pt x="3298" y="2443"/>
                    </a:lnTo>
                    <a:lnTo>
                      <a:pt x="3296" y="2445"/>
                    </a:lnTo>
                    <a:lnTo>
                      <a:pt x="3290" y="2449"/>
                    </a:lnTo>
                    <a:lnTo>
                      <a:pt x="3282" y="2451"/>
                    </a:lnTo>
                    <a:lnTo>
                      <a:pt x="3275" y="2452"/>
                    </a:lnTo>
                    <a:lnTo>
                      <a:pt x="3268" y="2452"/>
                    </a:lnTo>
                    <a:lnTo>
                      <a:pt x="3265" y="2451"/>
                    </a:lnTo>
                    <a:lnTo>
                      <a:pt x="3262" y="2450"/>
                    </a:lnTo>
                    <a:lnTo>
                      <a:pt x="3261" y="2448"/>
                    </a:lnTo>
                    <a:lnTo>
                      <a:pt x="3260" y="2445"/>
                    </a:lnTo>
                    <a:lnTo>
                      <a:pt x="3255" y="2436"/>
                    </a:lnTo>
                    <a:lnTo>
                      <a:pt x="3252" y="2430"/>
                    </a:lnTo>
                    <a:lnTo>
                      <a:pt x="3248" y="2427"/>
                    </a:lnTo>
                    <a:lnTo>
                      <a:pt x="3244" y="2426"/>
                    </a:lnTo>
                    <a:lnTo>
                      <a:pt x="3240" y="2426"/>
                    </a:lnTo>
                    <a:lnTo>
                      <a:pt x="3235" y="2429"/>
                    </a:lnTo>
                    <a:lnTo>
                      <a:pt x="3224" y="2431"/>
                    </a:lnTo>
                    <a:lnTo>
                      <a:pt x="3215" y="2431"/>
                    </a:lnTo>
                    <a:lnTo>
                      <a:pt x="3210" y="2430"/>
                    </a:lnTo>
                    <a:lnTo>
                      <a:pt x="3206" y="2429"/>
                    </a:lnTo>
                    <a:lnTo>
                      <a:pt x="3204" y="2425"/>
                    </a:lnTo>
                    <a:lnTo>
                      <a:pt x="3202" y="2420"/>
                    </a:lnTo>
                    <a:lnTo>
                      <a:pt x="3199" y="2414"/>
                    </a:lnTo>
                    <a:lnTo>
                      <a:pt x="3197" y="2411"/>
                    </a:lnTo>
                    <a:lnTo>
                      <a:pt x="3194" y="2408"/>
                    </a:lnTo>
                    <a:lnTo>
                      <a:pt x="3193" y="2407"/>
                    </a:lnTo>
                    <a:lnTo>
                      <a:pt x="3187" y="2405"/>
                    </a:lnTo>
                    <a:lnTo>
                      <a:pt x="3181" y="2404"/>
                    </a:lnTo>
                    <a:lnTo>
                      <a:pt x="3175" y="2401"/>
                    </a:lnTo>
                    <a:lnTo>
                      <a:pt x="3170" y="2399"/>
                    </a:lnTo>
                    <a:lnTo>
                      <a:pt x="3167" y="2399"/>
                    </a:lnTo>
                    <a:lnTo>
                      <a:pt x="3165" y="2399"/>
                    </a:lnTo>
                    <a:lnTo>
                      <a:pt x="3162" y="2400"/>
                    </a:lnTo>
                    <a:lnTo>
                      <a:pt x="3160" y="2402"/>
                    </a:lnTo>
                    <a:lnTo>
                      <a:pt x="3158" y="2408"/>
                    </a:lnTo>
                    <a:lnTo>
                      <a:pt x="3156" y="2416"/>
                    </a:lnTo>
                    <a:lnTo>
                      <a:pt x="3156" y="2423"/>
                    </a:lnTo>
                    <a:lnTo>
                      <a:pt x="3158" y="2427"/>
                    </a:lnTo>
                    <a:lnTo>
                      <a:pt x="3158" y="2437"/>
                    </a:lnTo>
                    <a:lnTo>
                      <a:pt x="3158" y="2443"/>
                    </a:lnTo>
                    <a:lnTo>
                      <a:pt x="3156" y="2444"/>
                    </a:lnTo>
                    <a:lnTo>
                      <a:pt x="3154" y="2445"/>
                    </a:lnTo>
                    <a:lnTo>
                      <a:pt x="3151" y="2446"/>
                    </a:lnTo>
                    <a:lnTo>
                      <a:pt x="3146" y="2448"/>
                    </a:lnTo>
                    <a:lnTo>
                      <a:pt x="3137" y="2448"/>
                    </a:lnTo>
                    <a:lnTo>
                      <a:pt x="3128" y="2448"/>
                    </a:lnTo>
                    <a:lnTo>
                      <a:pt x="3123" y="2446"/>
                    </a:lnTo>
                    <a:lnTo>
                      <a:pt x="3120" y="2445"/>
                    </a:lnTo>
                    <a:lnTo>
                      <a:pt x="3115" y="2442"/>
                    </a:lnTo>
                    <a:lnTo>
                      <a:pt x="3112" y="2438"/>
                    </a:lnTo>
                    <a:lnTo>
                      <a:pt x="3104" y="2426"/>
                    </a:lnTo>
                    <a:lnTo>
                      <a:pt x="3099" y="2417"/>
                    </a:lnTo>
                    <a:lnTo>
                      <a:pt x="3096" y="2413"/>
                    </a:lnTo>
                    <a:lnTo>
                      <a:pt x="3093" y="2411"/>
                    </a:lnTo>
                    <a:lnTo>
                      <a:pt x="3090" y="2408"/>
                    </a:lnTo>
                    <a:lnTo>
                      <a:pt x="3086" y="2407"/>
                    </a:lnTo>
                    <a:lnTo>
                      <a:pt x="3082" y="2408"/>
                    </a:lnTo>
                    <a:lnTo>
                      <a:pt x="3079" y="2410"/>
                    </a:lnTo>
                    <a:lnTo>
                      <a:pt x="3076" y="2412"/>
                    </a:lnTo>
                    <a:lnTo>
                      <a:pt x="3073" y="2414"/>
                    </a:lnTo>
                    <a:lnTo>
                      <a:pt x="3070" y="2417"/>
                    </a:lnTo>
                    <a:lnTo>
                      <a:pt x="3065" y="2419"/>
                    </a:lnTo>
                    <a:lnTo>
                      <a:pt x="3060" y="2418"/>
                    </a:lnTo>
                    <a:lnTo>
                      <a:pt x="3053" y="2417"/>
                    </a:lnTo>
                    <a:lnTo>
                      <a:pt x="3038" y="2410"/>
                    </a:lnTo>
                    <a:lnTo>
                      <a:pt x="3024" y="2401"/>
                    </a:lnTo>
                    <a:lnTo>
                      <a:pt x="3020" y="2398"/>
                    </a:lnTo>
                    <a:lnTo>
                      <a:pt x="3017" y="2393"/>
                    </a:lnTo>
                    <a:lnTo>
                      <a:pt x="3016" y="2392"/>
                    </a:lnTo>
                    <a:lnTo>
                      <a:pt x="3016" y="2389"/>
                    </a:lnTo>
                    <a:lnTo>
                      <a:pt x="3017" y="2387"/>
                    </a:lnTo>
                    <a:lnTo>
                      <a:pt x="3019" y="2386"/>
                    </a:lnTo>
                    <a:lnTo>
                      <a:pt x="3027" y="2379"/>
                    </a:lnTo>
                    <a:lnTo>
                      <a:pt x="3036" y="2375"/>
                    </a:lnTo>
                    <a:lnTo>
                      <a:pt x="3041" y="2373"/>
                    </a:lnTo>
                    <a:lnTo>
                      <a:pt x="3045" y="2369"/>
                    </a:lnTo>
                    <a:lnTo>
                      <a:pt x="3046" y="2367"/>
                    </a:lnTo>
                    <a:lnTo>
                      <a:pt x="3047" y="2362"/>
                    </a:lnTo>
                    <a:lnTo>
                      <a:pt x="3039" y="2350"/>
                    </a:lnTo>
                    <a:lnTo>
                      <a:pt x="3027" y="2335"/>
                    </a:lnTo>
                    <a:lnTo>
                      <a:pt x="3024" y="2323"/>
                    </a:lnTo>
                    <a:lnTo>
                      <a:pt x="3024" y="2311"/>
                    </a:lnTo>
                    <a:lnTo>
                      <a:pt x="3024" y="2306"/>
                    </a:lnTo>
                    <a:lnTo>
                      <a:pt x="3024" y="2301"/>
                    </a:lnTo>
                    <a:lnTo>
                      <a:pt x="3022" y="2297"/>
                    </a:lnTo>
                    <a:lnTo>
                      <a:pt x="3020" y="2292"/>
                    </a:lnTo>
                    <a:lnTo>
                      <a:pt x="3009" y="2281"/>
                    </a:lnTo>
                    <a:lnTo>
                      <a:pt x="2997" y="2272"/>
                    </a:lnTo>
                    <a:lnTo>
                      <a:pt x="2985" y="2263"/>
                    </a:lnTo>
                    <a:lnTo>
                      <a:pt x="2976" y="2259"/>
                    </a:lnTo>
                    <a:lnTo>
                      <a:pt x="2969" y="2257"/>
                    </a:lnTo>
                    <a:lnTo>
                      <a:pt x="2964" y="2257"/>
                    </a:lnTo>
                    <a:lnTo>
                      <a:pt x="2958" y="2261"/>
                    </a:lnTo>
                    <a:lnTo>
                      <a:pt x="2953" y="2265"/>
                    </a:lnTo>
                    <a:lnTo>
                      <a:pt x="2951" y="2266"/>
                    </a:lnTo>
                    <a:lnTo>
                      <a:pt x="2947" y="2267"/>
                    </a:lnTo>
                    <a:lnTo>
                      <a:pt x="2944" y="2268"/>
                    </a:lnTo>
                    <a:lnTo>
                      <a:pt x="2939" y="2268"/>
                    </a:lnTo>
                    <a:lnTo>
                      <a:pt x="2928" y="2266"/>
                    </a:lnTo>
                    <a:lnTo>
                      <a:pt x="2915" y="2261"/>
                    </a:lnTo>
                    <a:lnTo>
                      <a:pt x="2902" y="2255"/>
                    </a:lnTo>
                    <a:lnTo>
                      <a:pt x="2888" y="2249"/>
                    </a:lnTo>
                    <a:lnTo>
                      <a:pt x="2874" y="2243"/>
                    </a:lnTo>
                    <a:lnTo>
                      <a:pt x="2863" y="2241"/>
                    </a:lnTo>
                    <a:lnTo>
                      <a:pt x="2857" y="2241"/>
                    </a:lnTo>
                    <a:lnTo>
                      <a:pt x="2852" y="2243"/>
                    </a:lnTo>
                    <a:lnTo>
                      <a:pt x="2847" y="2246"/>
                    </a:lnTo>
                    <a:lnTo>
                      <a:pt x="2843" y="2250"/>
                    </a:lnTo>
                    <a:lnTo>
                      <a:pt x="2839" y="2255"/>
                    </a:lnTo>
                    <a:lnTo>
                      <a:pt x="2837" y="2260"/>
                    </a:lnTo>
                    <a:lnTo>
                      <a:pt x="2835" y="2266"/>
                    </a:lnTo>
                    <a:lnTo>
                      <a:pt x="2835" y="2271"/>
                    </a:lnTo>
                    <a:lnTo>
                      <a:pt x="2838" y="2281"/>
                    </a:lnTo>
                    <a:lnTo>
                      <a:pt x="2839" y="2288"/>
                    </a:lnTo>
                    <a:lnTo>
                      <a:pt x="2839" y="2291"/>
                    </a:lnTo>
                    <a:lnTo>
                      <a:pt x="2838" y="2293"/>
                    </a:lnTo>
                    <a:lnTo>
                      <a:pt x="2835" y="2294"/>
                    </a:lnTo>
                    <a:lnTo>
                      <a:pt x="2832" y="2294"/>
                    </a:lnTo>
                    <a:lnTo>
                      <a:pt x="2828" y="2294"/>
                    </a:lnTo>
                    <a:lnTo>
                      <a:pt x="2824" y="2294"/>
                    </a:lnTo>
                    <a:lnTo>
                      <a:pt x="2819" y="2292"/>
                    </a:lnTo>
                    <a:lnTo>
                      <a:pt x="2814" y="2288"/>
                    </a:lnTo>
                    <a:lnTo>
                      <a:pt x="2808" y="2282"/>
                    </a:lnTo>
                    <a:lnTo>
                      <a:pt x="2801" y="2274"/>
                    </a:lnTo>
                    <a:lnTo>
                      <a:pt x="2794" y="2263"/>
                    </a:lnTo>
                    <a:lnTo>
                      <a:pt x="2788" y="2253"/>
                    </a:lnTo>
                    <a:lnTo>
                      <a:pt x="2782" y="2243"/>
                    </a:lnTo>
                    <a:lnTo>
                      <a:pt x="2777" y="2236"/>
                    </a:lnTo>
                    <a:lnTo>
                      <a:pt x="2775" y="2222"/>
                    </a:lnTo>
                    <a:lnTo>
                      <a:pt x="2771" y="2203"/>
                    </a:lnTo>
                    <a:lnTo>
                      <a:pt x="2767" y="2192"/>
                    </a:lnTo>
                    <a:lnTo>
                      <a:pt x="2763" y="2181"/>
                    </a:lnTo>
                    <a:lnTo>
                      <a:pt x="2759" y="2171"/>
                    </a:lnTo>
                    <a:lnTo>
                      <a:pt x="2758" y="2159"/>
                    </a:lnTo>
                    <a:lnTo>
                      <a:pt x="2757" y="2147"/>
                    </a:lnTo>
                    <a:lnTo>
                      <a:pt x="2757" y="2137"/>
                    </a:lnTo>
                    <a:lnTo>
                      <a:pt x="2758" y="2134"/>
                    </a:lnTo>
                    <a:lnTo>
                      <a:pt x="2761" y="2130"/>
                    </a:lnTo>
                    <a:lnTo>
                      <a:pt x="2763" y="2129"/>
                    </a:lnTo>
                    <a:lnTo>
                      <a:pt x="2767" y="2127"/>
                    </a:lnTo>
                    <a:lnTo>
                      <a:pt x="2771" y="2127"/>
                    </a:lnTo>
                    <a:lnTo>
                      <a:pt x="2774" y="2126"/>
                    </a:lnTo>
                    <a:lnTo>
                      <a:pt x="2776" y="2124"/>
                    </a:lnTo>
                    <a:lnTo>
                      <a:pt x="2777" y="2122"/>
                    </a:lnTo>
                    <a:lnTo>
                      <a:pt x="2777" y="2115"/>
                    </a:lnTo>
                    <a:lnTo>
                      <a:pt x="2777" y="2104"/>
                    </a:lnTo>
                    <a:lnTo>
                      <a:pt x="2778" y="2099"/>
                    </a:lnTo>
                    <a:lnTo>
                      <a:pt x="2778" y="2095"/>
                    </a:lnTo>
                    <a:lnTo>
                      <a:pt x="2780" y="2089"/>
                    </a:lnTo>
                    <a:lnTo>
                      <a:pt x="2782" y="2083"/>
                    </a:lnTo>
                    <a:lnTo>
                      <a:pt x="2786" y="2072"/>
                    </a:lnTo>
                    <a:lnTo>
                      <a:pt x="2790" y="2063"/>
                    </a:lnTo>
                    <a:lnTo>
                      <a:pt x="2794" y="2057"/>
                    </a:lnTo>
                    <a:lnTo>
                      <a:pt x="2797" y="2052"/>
                    </a:lnTo>
                    <a:lnTo>
                      <a:pt x="2801" y="2047"/>
                    </a:lnTo>
                    <a:lnTo>
                      <a:pt x="2808" y="2038"/>
                    </a:lnTo>
                    <a:lnTo>
                      <a:pt x="2821" y="2023"/>
                    </a:lnTo>
                    <a:lnTo>
                      <a:pt x="2833" y="2009"/>
                    </a:lnTo>
                    <a:lnTo>
                      <a:pt x="2837" y="2003"/>
                    </a:lnTo>
                    <a:lnTo>
                      <a:pt x="2840" y="1998"/>
                    </a:lnTo>
                    <a:lnTo>
                      <a:pt x="2840" y="1995"/>
                    </a:lnTo>
                    <a:lnTo>
                      <a:pt x="2841" y="1992"/>
                    </a:lnTo>
                    <a:lnTo>
                      <a:pt x="2841" y="1990"/>
                    </a:lnTo>
                    <a:lnTo>
                      <a:pt x="2841" y="1989"/>
                    </a:lnTo>
                    <a:lnTo>
                      <a:pt x="2841" y="1988"/>
                    </a:lnTo>
                    <a:lnTo>
                      <a:pt x="2839" y="1986"/>
                    </a:lnTo>
                    <a:lnTo>
                      <a:pt x="2837" y="1986"/>
                    </a:lnTo>
                    <a:lnTo>
                      <a:pt x="2833" y="1983"/>
                    </a:lnTo>
                    <a:lnTo>
                      <a:pt x="2828" y="1980"/>
                    </a:lnTo>
                    <a:lnTo>
                      <a:pt x="2821" y="1978"/>
                    </a:lnTo>
                    <a:lnTo>
                      <a:pt x="2818" y="1975"/>
                    </a:lnTo>
                    <a:lnTo>
                      <a:pt x="2815" y="1972"/>
                    </a:lnTo>
                    <a:lnTo>
                      <a:pt x="2815" y="1969"/>
                    </a:lnTo>
                    <a:lnTo>
                      <a:pt x="2816" y="1963"/>
                    </a:lnTo>
                    <a:lnTo>
                      <a:pt x="2820" y="1958"/>
                    </a:lnTo>
                    <a:lnTo>
                      <a:pt x="2837" y="1956"/>
                    </a:lnTo>
                    <a:lnTo>
                      <a:pt x="2855" y="1952"/>
                    </a:lnTo>
                    <a:lnTo>
                      <a:pt x="2859" y="1934"/>
                    </a:lnTo>
                    <a:lnTo>
                      <a:pt x="2864" y="1923"/>
                    </a:lnTo>
                    <a:lnTo>
                      <a:pt x="2868" y="1922"/>
                    </a:lnTo>
                    <a:lnTo>
                      <a:pt x="2875" y="1925"/>
                    </a:lnTo>
                    <a:lnTo>
                      <a:pt x="2881" y="1927"/>
                    </a:lnTo>
                    <a:lnTo>
                      <a:pt x="2887" y="1931"/>
                    </a:lnTo>
                    <a:lnTo>
                      <a:pt x="2889" y="1932"/>
                    </a:lnTo>
                    <a:lnTo>
                      <a:pt x="2891" y="1932"/>
                    </a:lnTo>
                    <a:lnTo>
                      <a:pt x="2893" y="1931"/>
                    </a:lnTo>
                    <a:lnTo>
                      <a:pt x="2894" y="1929"/>
                    </a:lnTo>
                    <a:lnTo>
                      <a:pt x="2896" y="1923"/>
                    </a:lnTo>
                    <a:lnTo>
                      <a:pt x="2896" y="1916"/>
                    </a:lnTo>
                    <a:lnTo>
                      <a:pt x="2897" y="1908"/>
                    </a:lnTo>
                    <a:lnTo>
                      <a:pt x="2898" y="1901"/>
                    </a:lnTo>
                    <a:lnTo>
                      <a:pt x="2898" y="1897"/>
                    </a:lnTo>
                    <a:lnTo>
                      <a:pt x="2898" y="1894"/>
                    </a:lnTo>
                    <a:lnTo>
                      <a:pt x="2897" y="1890"/>
                    </a:lnTo>
                    <a:lnTo>
                      <a:pt x="2896" y="1888"/>
                    </a:lnTo>
                    <a:lnTo>
                      <a:pt x="2893" y="1885"/>
                    </a:lnTo>
                    <a:lnTo>
                      <a:pt x="2887" y="1884"/>
                    </a:lnTo>
                    <a:lnTo>
                      <a:pt x="2881" y="1883"/>
                    </a:lnTo>
                    <a:lnTo>
                      <a:pt x="2874" y="1882"/>
                    </a:lnTo>
                    <a:lnTo>
                      <a:pt x="2859" y="1883"/>
                    </a:lnTo>
                    <a:lnTo>
                      <a:pt x="2845" y="1884"/>
                    </a:lnTo>
                    <a:lnTo>
                      <a:pt x="2839" y="1885"/>
                    </a:lnTo>
                    <a:lnTo>
                      <a:pt x="2835" y="1885"/>
                    </a:lnTo>
                    <a:lnTo>
                      <a:pt x="2832" y="1885"/>
                    </a:lnTo>
                    <a:lnTo>
                      <a:pt x="2831" y="1884"/>
                    </a:lnTo>
                    <a:lnTo>
                      <a:pt x="2828" y="1878"/>
                    </a:lnTo>
                    <a:lnTo>
                      <a:pt x="2827" y="1869"/>
                    </a:lnTo>
                    <a:lnTo>
                      <a:pt x="2826" y="1859"/>
                    </a:lnTo>
                    <a:lnTo>
                      <a:pt x="2824" y="1853"/>
                    </a:lnTo>
                    <a:lnTo>
                      <a:pt x="2819" y="1847"/>
                    </a:lnTo>
                    <a:lnTo>
                      <a:pt x="2813" y="1843"/>
                    </a:lnTo>
                    <a:lnTo>
                      <a:pt x="2809" y="1839"/>
                    </a:lnTo>
                    <a:lnTo>
                      <a:pt x="2806" y="1833"/>
                    </a:lnTo>
                    <a:lnTo>
                      <a:pt x="2803" y="1827"/>
                    </a:lnTo>
                    <a:lnTo>
                      <a:pt x="2802" y="1820"/>
                    </a:lnTo>
                    <a:lnTo>
                      <a:pt x="2801" y="1812"/>
                    </a:lnTo>
                    <a:lnTo>
                      <a:pt x="2801" y="1802"/>
                    </a:lnTo>
                    <a:lnTo>
                      <a:pt x="2802" y="1794"/>
                    </a:lnTo>
                    <a:lnTo>
                      <a:pt x="2803" y="1786"/>
                    </a:lnTo>
                    <a:lnTo>
                      <a:pt x="2805" y="1782"/>
                    </a:lnTo>
                    <a:lnTo>
                      <a:pt x="2803" y="1778"/>
                    </a:lnTo>
                    <a:lnTo>
                      <a:pt x="2801" y="1775"/>
                    </a:lnTo>
                    <a:lnTo>
                      <a:pt x="2797" y="1772"/>
                    </a:lnTo>
                    <a:lnTo>
                      <a:pt x="2794" y="1770"/>
                    </a:lnTo>
                    <a:lnTo>
                      <a:pt x="2792" y="1769"/>
                    </a:lnTo>
                    <a:lnTo>
                      <a:pt x="2789" y="1769"/>
                    </a:lnTo>
                    <a:lnTo>
                      <a:pt x="2788" y="1769"/>
                    </a:lnTo>
                    <a:lnTo>
                      <a:pt x="2781" y="1777"/>
                    </a:lnTo>
                    <a:lnTo>
                      <a:pt x="2772" y="1783"/>
                    </a:lnTo>
                    <a:lnTo>
                      <a:pt x="2765" y="1788"/>
                    </a:lnTo>
                    <a:lnTo>
                      <a:pt x="2759" y="1790"/>
                    </a:lnTo>
                    <a:lnTo>
                      <a:pt x="2756" y="1792"/>
                    </a:lnTo>
                    <a:lnTo>
                      <a:pt x="2753" y="1792"/>
                    </a:lnTo>
                    <a:lnTo>
                      <a:pt x="2751" y="1789"/>
                    </a:lnTo>
                    <a:lnTo>
                      <a:pt x="2751" y="1787"/>
                    </a:lnTo>
                    <a:lnTo>
                      <a:pt x="2751" y="1778"/>
                    </a:lnTo>
                    <a:lnTo>
                      <a:pt x="2752" y="1767"/>
                    </a:lnTo>
                    <a:lnTo>
                      <a:pt x="2751" y="1763"/>
                    </a:lnTo>
                    <a:lnTo>
                      <a:pt x="2751" y="1761"/>
                    </a:lnTo>
                    <a:lnTo>
                      <a:pt x="2749" y="1757"/>
                    </a:lnTo>
                    <a:lnTo>
                      <a:pt x="2748" y="1755"/>
                    </a:lnTo>
                    <a:lnTo>
                      <a:pt x="2742" y="1750"/>
                    </a:lnTo>
                    <a:lnTo>
                      <a:pt x="2736" y="1745"/>
                    </a:lnTo>
                    <a:lnTo>
                      <a:pt x="2723" y="1738"/>
                    </a:lnTo>
                    <a:lnTo>
                      <a:pt x="2715" y="1731"/>
                    </a:lnTo>
                    <a:lnTo>
                      <a:pt x="2713" y="1727"/>
                    </a:lnTo>
                    <a:lnTo>
                      <a:pt x="2712" y="1723"/>
                    </a:lnTo>
                    <a:lnTo>
                      <a:pt x="2712" y="1718"/>
                    </a:lnTo>
                    <a:lnTo>
                      <a:pt x="2712" y="1712"/>
                    </a:lnTo>
                    <a:lnTo>
                      <a:pt x="2713" y="1707"/>
                    </a:lnTo>
                    <a:lnTo>
                      <a:pt x="2714" y="1702"/>
                    </a:lnTo>
                    <a:lnTo>
                      <a:pt x="2717" y="1698"/>
                    </a:lnTo>
                    <a:lnTo>
                      <a:pt x="2719" y="1694"/>
                    </a:lnTo>
                    <a:lnTo>
                      <a:pt x="2727" y="1686"/>
                    </a:lnTo>
                    <a:lnTo>
                      <a:pt x="2739" y="1674"/>
                    </a:lnTo>
                    <a:lnTo>
                      <a:pt x="2744" y="1667"/>
                    </a:lnTo>
                    <a:lnTo>
                      <a:pt x="2749" y="1660"/>
                    </a:lnTo>
                    <a:lnTo>
                      <a:pt x="2752" y="1654"/>
                    </a:lnTo>
                    <a:lnTo>
                      <a:pt x="2755" y="1648"/>
                    </a:lnTo>
                    <a:lnTo>
                      <a:pt x="2755" y="1637"/>
                    </a:lnTo>
                    <a:lnTo>
                      <a:pt x="2756" y="1624"/>
                    </a:lnTo>
                    <a:lnTo>
                      <a:pt x="2758" y="1612"/>
                    </a:lnTo>
                    <a:lnTo>
                      <a:pt x="2762" y="1603"/>
                    </a:lnTo>
                    <a:lnTo>
                      <a:pt x="2767" y="1592"/>
                    </a:lnTo>
                    <a:lnTo>
                      <a:pt x="2771" y="1581"/>
                    </a:lnTo>
                    <a:lnTo>
                      <a:pt x="2775" y="1568"/>
                    </a:lnTo>
                    <a:lnTo>
                      <a:pt x="2777" y="1556"/>
                    </a:lnTo>
                    <a:lnTo>
                      <a:pt x="2777" y="1550"/>
                    </a:lnTo>
                    <a:lnTo>
                      <a:pt x="2780" y="1547"/>
                    </a:lnTo>
                    <a:lnTo>
                      <a:pt x="2781" y="1544"/>
                    </a:lnTo>
                    <a:lnTo>
                      <a:pt x="2784" y="1543"/>
                    </a:lnTo>
                    <a:lnTo>
                      <a:pt x="2790" y="1541"/>
                    </a:lnTo>
                    <a:lnTo>
                      <a:pt x="2795" y="1538"/>
                    </a:lnTo>
                    <a:lnTo>
                      <a:pt x="2797" y="1536"/>
                    </a:lnTo>
                    <a:lnTo>
                      <a:pt x="2800" y="1532"/>
                    </a:lnTo>
                    <a:lnTo>
                      <a:pt x="2801" y="1528"/>
                    </a:lnTo>
                    <a:lnTo>
                      <a:pt x="2803" y="1522"/>
                    </a:lnTo>
                    <a:lnTo>
                      <a:pt x="2806" y="1511"/>
                    </a:lnTo>
                    <a:lnTo>
                      <a:pt x="2808" y="1500"/>
                    </a:lnTo>
                    <a:lnTo>
                      <a:pt x="2811" y="1486"/>
                    </a:lnTo>
                    <a:lnTo>
                      <a:pt x="2814" y="1469"/>
                    </a:lnTo>
                    <a:lnTo>
                      <a:pt x="2816" y="1462"/>
                    </a:lnTo>
                    <a:lnTo>
                      <a:pt x="2821" y="1456"/>
                    </a:lnTo>
                    <a:lnTo>
                      <a:pt x="2827" y="1452"/>
                    </a:lnTo>
                    <a:lnTo>
                      <a:pt x="2833" y="1446"/>
                    </a:lnTo>
                    <a:lnTo>
                      <a:pt x="2840" y="1438"/>
                    </a:lnTo>
                    <a:lnTo>
                      <a:pt x="2850" y="1433"/>
                    </a:lnTo>
                    <a:lnTo>
                      <a:pt x="2857" y="1427"/>
                    </a:lnTo>
                    <a:lnTo>
                      <a:pt x="2864" y="1423"/>
                    </a:lnTo>
                    <a:lnTo>
                      <a:pt x="2872" y="1419"/>
                    </a:lnTo>
                    <a:lnTo>
                      <a:pt x="2876" y="1416"/>
                    </a:lnTo>
                    <a:lnTo>
                      <a:pt x="2876" y="1411"/>
                    </a:lnTo>
                    <a:lnTo>
                      <a:pt x="2876" y="1404"/>
                    </a:lnTo>
                    <a:lnTo>
                      <a:pt x="2874" y="1393"/>
                    </a:lnTo>
                    <a:lnTo>
                      <a:pt x="2871" y="1384"/>
                    </a:lnTo>
                    <a:lnTo>
                      <a:pt x="2866" y="1373"/>
                    </a:lnTo>
                    <a:lnTo>
                      <a:pt x="2860" y="1361"/>
                    </a:lnTo>
                    <a:lnTo>
                      <a:pt x="2855" y="1348"/>
                    </a:lnTo>
                    <a:lnTo>
                      <a:pt x="2847" y="1336"/>
                    </a:lnTo>
                    <a:lnTo>
                      <a:pt x="2840" y="1326"/>
                    </a:lnTo>
                    <a:lnTo>
                      <a:pt x="2832" y="1317"/>
                    </a:lnTo>
                    <a:lnTo>
                      <a:pt x="2822" y="1310"/>
                    </a:lnTo>
                    <a:lnTo>
                      <a:pt x="2813" y="1303"/>
                    </a:lnTo>
                    <a:lnTo>
                      <a:pt x="2805" y="1296"/>
                    </a:lnTo>
                    <a:lnTo>
                      <a:pt x="2800" y="1290"/>
                    </a:lnTo>
                    <a:lnTo>
                      <a:pt x="2796" y="1282"/>
                    </a:lnTo>
                    <a:lnTo>
                      <a:pt x="2792" y="1273"/>
                    </a:lnTo>
                    <a:lnTo>
                      <a:pt x="2789" y="1267"/>
                    </a:lnTo>
                    <a:lnTo>
                      <a:pt x="2786" y="1264"/>
                    </a:lnTo>
                    <a:lnTo>
                      <a:pt x="2781" y="1261"/>
                    </a:lnTo>
                    <a:lnTo>
                      <a:pt x="2777" y="1259"/>
                    </a:lnTo>
                    <a:lnTo>
                      <a:pt x="2774" y="1258"/>
                    </a:lnTo>
                    <a:lnTo>
                      <a:pt x="2770" y="1258"/>
                    </a:lnTo>
                    <a:lnTo>
                      <a:pt x="2768" y="1258"/>
                    </a:lnTo>
                    <a:lnTo>
                      <a:pt x="2765" y="1259"/>
                    </a:lnTo>
                    <a:lnTo>
                      <a:pt x="2751" y="1274"/>
                    </a:lnTo>
                    <a:lnTo>
                      <a:pt x="2736" y="1290"/>
                    </a:lnTo>
                    <a:lnTo>
                      <a:pt x="2732" y="1292"/>
                    </a:lnTo>
                    <a:lnTo>
                      <a:pt x="2727" y="1293"/>
                    </a:lnTo>
                    <a:lnTo>
                      <a:pt x="2723" y="1295"/>
                    </a:lnTo>
                    <a:lnTo>
                      <a:pt x="2717" y="1295"/>
                    </a:lnTo>
                    <a:lnTo>
                      <a:pt x="2707" y="1293"/>
                    </a:lnTo>
                    <a:lnTo>
                      <a:pt x="2698" y="1291"/>
                    </a:lnTo>
                    <a:lnTo>
                      <a:pt x="2689" y="1288"/>
                    </a:lnTo>
                    <a:lnTo>
                      <a:pt x="2681" y="1286"/>
                    </a:lnTo>
                    <a:lnTo>
                      <a:pt x="2673" y="1288"/>
                    </a:lnTo>
                    <a:lnTo>
                      <a:pt x="2664" y="1290"/>
                    </a:lnTo>
                    <a:lnTo>
                      <a:pt x="2660" y="1292"/>
                    </a:lnTo>
                    <a:lnTo>
                      <a:pt x="2656" y="1297"/>
                    </a:lnTo>
                    <a:lnTo>
                      <a:pt x="2652" y="1302"/>
                    </a:lnTo>
                    <a:lnTo>
                      <a:pt x="2649" y="1307"/>
                    </a:lnTo>
                    <a:lnTo>
                      <a:pt x="2645" y="1314"/>
                    </a:lnTo>
                    <a:lnTo>
                      <a:pt x="2643" y="1317"/>
                    </a:lnTo>
                    <a:lnTo>
                      <a:pt x="2639" y="1321"/>
                    </a:lnTo>
                    <a:lnTo>
                      <a:pt x="2637" y="1323"/>
                    </a:lnTo>
                    <a:lnTo>
                      <a:pt x="2629" y="1326"/>
                    </a:lnTo>
                    <a:lnTo>
                      <a:pt x="2616" y="1327"/>
                    </a:lnTo>
                    <a:lnTo>
                      <a:pt x="2601" y="1328"/>
                    </a:lnTo>
                    <a:lnTo>
                      <a:pt x="2587" y="1328"/>
                    </a:lnTo>
                    <a:lnTo>
                      <a:pt x="2574" y="1326"/>
                    </a:lnTo>
                    <a:lnTo>
                      <a:pt x="2564" y="1323"/>
                    </a:lnTo>
                    <a:lnTo>
                      <a:pt x="2556" y="1318"/>
                    </a:lnTo>
                    <a:lnTo>
                      <a:pt x="2545" y="1311"/>
                    </a:lnTo>
                    <a:lnTo>
                      <a:pt x="2534" y="1304"/>
                    </a:lnTo>
                    <a:lnTo>
                      <a:pt x="2523" y="1296"/>
                    </a:lnTo>
                    <a:lnTo>
                      <a:pt x="2522" y="1292"/>
                    </a:lnTo>
                    <a:lnTo>
                      <a:pt x="2522" y="1289"/>
                    </a:lnTo>
                    <a:lnTo>
                      <a:pt x="2522" y="1285"/>
                    </a:lnTo>
                    <a:lnTo>
                      <a:pt x="2523" y="1283"/>
                    </a:lnTo>
                    <a:lnTo>
                      <a:pt x="2526" y="1272"/>
                    </a:lnTo>
                    <a:lnTo>
                      <a:pt x="2528" y="1259"/>
                    </a:lnTo>
                    <a:lnTo>
                      <a:pt x="2528" y="1253"/>
                    </a:lnTo>
                    <a:lnTo>
                      <a:pt x="2526" y="1246"/>
                    </a:lnTo>
                    <a:lnTo>
                      <a:pt x="2524" y="1239"/>
                    </a:lnTo>
                    <a:lnTo>
                      <a:pt x="2522" y="1232"/>
                    </a:lnTo>
                    <a:lnTo>
                      <a:pt x="2517" y="1217"/>
                    </a:lnTo>
                    <a:lnTo>
                      <a:pt x="2513" y="1207"/>
                    </a:lnTo>
                    <a:lnTo>
                      <a:pt x="2512" y="1201"/>
                    </a:lnTo>
                    <a:lnTo>
                      <a:pt x="2512" y="1196"/>
                    </a:lnTo>
                    <a:lnTo>
                      <a:pt x="2513" y="1190"/>
                    </a:lnTo>
                    <a:lnTo>
                      <a:pt x="2515" y="1185"/>
                    </a:lnTo>
                    <a:lnTo>
                      <a:pt x="2518" y="1177"/>
                    </a:lnTo>
                    <a:lnTo>
                      <a:pt x="2524" y="1170"/>
                    </a:lnTo>
                    <a:lnTo>
                      <a:pt x="2529" y="1165"/>
                    </a:lnTo>
                    <a:lnTo>
                      <a:pt x="2534" y="1160"/>
                    </a:lnTo>
                    <a:lnTo>
                      <a:pt x="2535" y="1157"/>
                    </a:lnTo>
                    <a:lnTo>
                      <a:pt x="2536" y="1153"/>
                    </a:lnTo>
                    <a:lnTo>
                      <a:pt x="2536" y="1148"/>
                    </a:lnTo>
                    <a:lnTo>
                      <a:pt x="2535" y="1143"/>
                    </a:lnTo>
                    <a:lnTo>
                      <a:pt x="2532" y="1131"/>
                    </a:lnTo>
                    <a:lnTo>
                      <a:pt x="2529" y="1119"/>
                    </a:lnTo>
                    <a:lnTo>
                      <a:pt x="2524" y="1109"/>
                    </a:lnTo>
                    <a:lnTo>
                      <a:pt x="2518" y="1102"/>
                    </a:lnTo>
                    <a:lnTo>
                      <a:pt x="2513" y="1097"/>
                    </a:lnTo>
                    <a:lnTo>
                      <a:pt x="2509" y="1094"/>
                    </a:lnTo>
                    <a:lnTo>
                      <a:pt x="2505" y="1093"/>
                    </a:lnTo>
                    <a:lnTo>
                      <a:pt x="2500" y="1094"/>
                    </a:lnTo>
                    <a:lnTo>
                      <a:pt x="2496" y="1095"/>
                    </a:lnTo>
                    <a:lnTo>
                      <a:pt x="2491" y="1100"/>
                    </a:lnTo>
                    <a:lnTo>
                      <a:pt x="2487" y="1105"/>
                    </a:lnTo>
                    <a:lnTo>
                      <a:pt x="2485" y="1106"/>
                    </a:lnTo>
                    <a:lnTo>
                      <a:pt x="2482" y="1105"/>
                    </a:lnTo>
                    <a:lnTo>
                      <a:pt x="2480" y="1100"/>
                    </a:lnTo>
                    <a:lnTo>
                      <a:pt x="2479" y="1097"/>
                    </a:lnTo>
                    <a:lnTo>
                      <a:pt x="2479" y="1094"/>
                    </a:lnTo>
                    <a:lnTo>
                      <a:pt x="2480" y="1091"/>
                    </a:lnTo>
                    <a:lnTo>
                      <a:pt x="2481" y="1091"/>
                    </a:lnTo>
                    <a:lnTo>
                      <a:pt x="2488" y="1090"/>
                    </a:lnTo>
                    <a:lnTo>
                      <a:pt x="2494" y="1088"/>
                    </a:lnTo>
                    <a:lnTo>
                      <a:pt x="2496" y="1087"/>
                    </a:lnTo>
                    <a:lnTo>
                      <a:pt x="2497" y="1084"/>
                    </a:lnTo>
                    <a:lnTo>
                      <a:pt x="2496" y="1081"/>
                    </a:lnTo>
                    <a:lnTo>
                      <a:pt x="2492" y="1076"/>
                    </a:lnTo>
                    <a:lnTo>
                      <a:pt x="2490" y="1074"/>
                    </a:lnTo>
                    <a:lnTo>
                      <a:pt x="2488" y="1071"/>
                    </a:lnTo>
                    <a:lnTo>
                      <a:pt x="2488" y="1070"/>
                    </a:lnTo>
                    <a:lnTo>
                      <a:pt x="2488" y="1068"/>
                    </a:lnTo>
                    <a:lnTo>
                      <a:pt x="2491" y="1064"/>
                    </a:lnTo>
                    <a:lnTo>
                      <a:pt x="2496" y="1062"/>
                    </a:lnTo>
                    <a:lnTo>
                      <a:pt x="2507" y="1055"/>
                    </a:lnTo>
                    <a:lnTo>
                      <a:pt x="2519" y="1046"/>
                    </a:lnTo>
                    <a:lnTo>
                      <a:pt x="2532" y="1032"/>
                    </a:lnTo>
                    <a:lnTo>
                      <a:pt x="2547" y="1018"/>
                    </a:lnTo>
                    <a:lnTo>
                      <a:pt x="2562" y="1001"/>
                    </a:lnTo>
                    <a:lnTo>
                      <a:pt x="2575" y="987"/>
                    </a:lnTo>
                    <a:lnTo>
                      <a:pt x="2586" y="974"/>
                    </a:lnTo>
                    <a:lnTo>
                      <a:pt x="2593" y="962"/>
                    </a:lnTo>
                    <a:lnTo>
                      <a:pt x="2598" y="951"/>
                    </a:lnTo>
                    <a:lnTo>
                      <a:pt x="2600" y="940"/>
                    </a:lnTo>
                    <a:lnTo>
                      <a:pt x="2601" y="936"/>
                    </a:lnTo>
                    <a:lnTo>
                      <a:pt x="2604" y="931"/>
                    </a:lnTo>
                    <a:lnTo>
                      <a:pt x="2606" y="929"/>
                    </a:lnTo>
                    <a:lnTo>
                      <a:pt x="2608" y="926"/>
                    </a:lnTo>
                    <a:lnTo>
                      <a:pt x="2611" y="926"/>
                    </a:lnTo>
                    <a:lnTo>
                      <a:pt x="2613" y="926"/>
                    </a:lnTo>
                    <a:lnTo>
                      <a:pt x="2617" y="926"/>
                    </a:lnTo>
                    <a:lnTo>
                      <a:pt x="2620" y="927"/>
                    </a:lnTo>
                    <a:lnTo>
                      <a:pt x="2629" y="932"/>
                    </a:lnTo>
                    <a:lnTo>
                      <a:pt x="2638" y="937"/>
                    </a:lnTo>
                    <a:lnTo>
                      <a:pt x="2643" y="939"/>
                    </a:lnTo>
                    <a:lnTo>
                      <a:pt x="2646" y="943"/>
                    </a:lnTo>
                    <a:lnTo>
                      <a:pt x="2650" y="945"/>
                    </a:lnTo>
                    <a:lnTo>
                      <a:pt x="2651" y="948"/>
                    </a:lnTo>
                    <a:lnTo>
                      <a:pt x="2652" y="955"/>
                    </a:lnTo>
                    <a:lnTo>
                      <a:pt x="2656" y="961"/>
                    </a:lnTo>
                    <a:lnTo>
                      <a:pt x="2660" y="967"/>
                    </a:lnTo>
                    <a:lnTo>
                      <a:pt x="2663" y="970"/>
                    </a:lnTo>
                    <a:lnTo>
                      <a:pt x="2675" y="979"/>
                    </a:lnTo>
                    <a:lnTo>
                      <a:pt x="2686" y="989"/>
                    </a:lnTo>
                    <a:lnTo>
                      <a:pt x="2692" y="999"/>
                    </a:lnTo>
                    <a:lnTo>
                      <a:pt x="2698" y="1008"/>
                    </a:lnTo>
                    <a:lnTo>
                      <a:pt x="2701" y="1012"/>
                    </a:lnTo>
                    <a:lnTo>
                      <a:pt x="2706" y="1014"/>
                    </a:lnTo>
                    <a:lnTo>
                      <a:pt x="2709" y="1014"/>
                    </a:lnTo>
                    <a:lnTo>
                      <a:pt x="2713" y="1013"/>
                    </a:lnTo>
                    <a:lnTo>
                      <a:pt x="2719" y="1007"/>
                    </a:lnTo>
                    <a:lnTo>
                      <a:pt x="2725" y="1001"/>
                    </a:lnTo>
                    <a:lnTo>
                      <a:pt x="2737" y="987"/>
                    </a:lnTo>
                    <a:lnTo>
                      <a:pt x="2749" y="973"/>
                    </a:lnTo>
                    <a:lnTo>
                      <a:pt x="2758" y="959"/>
                    </a:lnTo>
                    <a:lnTo>
                      <a:pt x="2767" y="949"/>
                    </a:lnTo>
                    <a:lnTo>
                      <a:pt x="2770" y="944"/>
                    </a:lnTo>
                    <a:lnTo>
                      <a:pt x="2775" y="940"/>
                    </a:lnTo>
                    <a:lnTo>
                      <a:pt x="2778" y="938"/>
                    </a:lnTo>
                    <a:lnTo>
                      <a:pt x="2783" y="936"/>
                    </a:lnTo>
                    <a:lnTo>
                      <a:pt x="2787" y="935"/>
                    </a:lnTo>
                    <a:lnTo>
                      <a:pt x="2792" y="935"/>
                    </a:lnTo>
                    <a:lnTo>
                      <a:pt x="2796" y="937"/>
                    </a:lnTo>
                    <a:lnTo>
                      <a:pt x="2801" y="939"/>
                    </a:lnTo>
                    <a:lnTo>
                      <a:pt x="2812" y="946"/>
                    </a:lnTo>
                    <a:lnTo>
                      <a:pt x="2822" y="957"/>
                    </a:lnTo>
                    <a:lnTo>
                      <a:pt x="2827" y="964"/>
                    </a:lnTo>
                    <a:lnTo>
                      <a:pt x="2831" y="970"/>
                    </a:lnTo>
                    <a:lnTo>
                      <a:pt x="2834" y="977"/>
                    </a:lnTo>
                    <a:lnTo>
                      <a:pt x="2835" y="984"/>
                    </a:lnTo>
                    <a:lnTo>
                      <a:pt x="2838" y="996"/>
                    </a:lnTo>
                    <a:lnTo>
                      <a:pt x="2840" y="1003"/>
                    </a:lnTo>
                    <a:lnTo>
                      <a:pt x="2843" y="1006"/>
                    </a:lnTo>
                    <a:lnTo>
                      <a:pt x="2845" y="1007"/>
                    </a:lnTo>
                    <a:lnTo>
                      <a:pt x="2847" y="1008"/>
                    </a:lnTo>
                    <a:lnTo>
                      <a:pt x="2851" y="1008"/>
                    </a:lnTo>
                    <a:lnTo>
                      <a:pt x="2860" y="1009"/>
                    </a:lnTo>
                    <a:lnTo>
                      <a:pt x="2876" y="1009"/>
                    </a:lnTo>
                    <a:lnTo>
                      <a:pt x="2895" y="1008"/>
                    </a:lnTo>
                    <a:lnTo>
                      <a:pt x="2914" y="1007"/>
                    </a:lnTo>
                    <a:lnTo>
                      <a:pt x="2928" y="1006"/>
                    </a:lnTo>
                    <a:lnTo>
                      <a:pt x="2934" y="1005"/>
                    </a:lnTo>
                    <a:lnTo>
                      <a:pt x="2939" y="1002"/>
                    </a:lnTo>
                    <a:lnTo>
                      <a:pt x="2947" y="1001"/>
                    </a:lnTo>
                    <a:lnTo>
                      <a:pt x="2950" y="1001"/>
                    </a:lnTo>
                    <a:lnTo>
                      <a:pt x="2952" y="1001"/>
                    </a:lnTo>
                    <a:lnTo>
                      <a:pt x="2953" y="1002"/>
                    </a:lnTo>
                    <a:lnTo>
                      <a:pt x="2956" y="1003"/>
                    </a:lnTo>
                    <a:lnTo>
                      <a:pt x="2957" y="1007"/>
                    </a:lnTo>
                    <a:lnTo>
                      <a:pt x="2958" y="1012"/>
                    </a:lnTo>
                    <a:lnTo>
                      <a:pt x="2959" y="1017"/>
                    </a:lnTo>
                    <a:lnTo>
                      <a:pt x="2960" y="1020"/>
                    </a:lnTo>
                    <a:lnTo>
                      <a:pt x="2961" y="1021"/>
                    </a:lnTo>
                    <a:lnTo>
                      <a:pt x="2963" y="1022"/>
                    </a:lnTo>
                    <a:lnTo>
                      <a:pt x="2965" y="1022"/>
                    </a:lnTo>
                    <a:lnTo>
                      <a:pt x="2967" y="1022"/>
                    </a:lnTo>
                    <a:lnTo>
                      <a:pt x="2975" y="1021"/>
                    </a:lnTo>
                    <a:lnTo>
                      <a:pt x="2981" y="1018"/>
                    </a:lnTo>
                    <a:lnTo>
                      <a:pt x="2988" y="1012"/>
                    </a:lnTo>
                    <a:lnTo>
                      <a:pt x="2997" y="1002"/>
                    </a:lnTo>
                    <a:lnTo>
                      <a:pt x="3009" y="993"/>
                    </a:lnTo>
                    <a:lnTo>
                      <a:pt x="3021" y="984"/>
                    </a:lnTo>
                    <a:lnTo>
                      <a:pt x="3034" y="976"/>
                    </a:lnTo>
                    <a:lnTo>
                      <a:pt x="3046" y="971"/>
                    </a:lnTo>
                    <a:lnTo>
                      <a:pt x="3052" y="970"/>
                    </a:lnTo>
                    <a:lnTo>
                      <a:pt x="3058" y="971"/>
                    </a:lnTo>
                    <a:lnTo>
                      <a:pt x="3064" y="973"/>
                    </a:lnTo>
                    <a:lnTo>
                      <a:pt x="3068" y="975"/>
                    </a:lnTo>
                    <a:lnTo>
                      <a:pt x="3079" y="982"/>
                    </a:lnTo>
                    <a:lnTo>
                      <a:pt x="3088" y="989"/>
                    </a:lnTo>
                    <a:lnTo>
                      <a:pt x="3091" y="992"/>
                    </a:lnTo>
                    <a:lnTo>
                      <a:pt x="3093" y="993"/>
                    </a:lnTo>
                    <a:lnTo>
                      <a:pt x="3096" y="994"/>
                    </a:lnTo>
                    <a:lnTo>
                      <a:pt x="3098" y="993"/>
                    </a:lnTo>
                    <a:lnTo>
                      <a:pt x="3101" y="987"/>
                    </a:lnTo>
                    <a:lnTo>
                      <a:pt x="3104" y="974"/>
                    </a:lnTo>
                    <a:lnTo>
                      <a:pt x="3108" y="959"/>
                    </a:lnTo>
                    <a:lnTo>
                      <a:pt x="3111" y="945"/>
                    </a:lnTo>
                    <a:lnTo>
                      <a:pt x="3114" y="931"/>
                    </a:lnTo>
                    <a:lnTo>
                      <a:pt x="3116" y="916"/>
                    </a:lnTo>
                    <a:lnTo>
                      <a:pt x="3117" y="908"/>
                    </a:lnTo>
                    <a:lnTo>
                      <a:pt x="3120" y="902"/>
                    </a:lnTo>
                    <a:lnTo>
                      <a:pt x="3123" y="898"/>
                    </a:lnTo>
                    <a:lnTo>
                      <a:pt x="3128" y="893"/>
                    </a:lnTo>
                    <a:lnTo>
                      <a:pt x="3136" y="885"/>
                    </a:lnTo>
                    <a:lnTo>
                      <a:pt x="3142" y="876"/>
                    </a:lnTo>
                    <a:lnTo>
                      <a:pt x="3145" y="872"/>
                    </a:lnTo>
                    <a:lnTo>
                      <a:pt x="3145" y="867"/>
                    </a:lnTo>
                    <a:lnTo>
                      <a:pt x="3146" y="862"/>
                    </a:lnTo>
                    <a:lnTo>
                      <a:pt x="3145" y="858"/>
                    </a:lnTo>
                    <a:lnTo>
                      <a:pt x="3143" y="854"/>
                    </a:lnTo>
                    <a:lnTo>
                      <a:pt x="3142" y="850"/>
                    </a:lnTo>
                    <a:lnTo>
                      <a:pt x="3140" y="847"/>
                    </a:lnTo>
                    <a:lnTo>
                      <a:pt x="3137" y="844"/>
                    </a:lnTo>
                    <a:lnTo>
                      <a:pt x="3135" y="841"/>
                    </a:lnTo>
                    <a:lnTo>
                      <a:pt x="3134" y="836"/>
                    </a:lnTo>
                    <a:lnTo>
                      <a:pt x="3133" y="831"/>
                    </a:lnTo>
                    <a:lnTo>
                      <a:pt x="3133" y="826"/>
                    </a:lnTo>
                    <a:lnTo>
                      <a:pt x="3134" y="822"/>
                    </a:lnTo>
                    <a:lnTo>
                      <a:pt x="3136" y="817"/>
                    </a:lnTo>
                    <a:lnTo>
                      <a:pt x="3139" y="813"/>
                    </a:lnTo>
                    <a:lnTo>
                      <a:pt x="3141" y="810"/>
                    </a:lnTo>
                    <a:lnTo>
                      <a:pt x="3143" y="807"/>
                    </a:lnTo>
                    <a:lnTo>
                      <a:pt x="3145" y="805"/>
                    </a:lnTo>
                    <a:lnTo>
                      <a:pt x="3146" y="803"/>
                    </a:lnTo>
                    <a:lnTo>
                      <a:pt x="3146" y="801"/>
                    </a:lnTo>
                    <a:lnTo>
                      <a:pt x="3145" y="800"/>
                    </a:lnTo>
                    <a:lnTo>
                      <a:pt x="3142" y="799"/>
                    </a:lnTo>
                    <a:lnTo>
                      <a:pt x="3139" y="798"/>
                    </a:lnTo>
                    <a:lnTo>
                      <a:pt x="3135" y="798"/>
                    </a:lnTo>
                    <a:lnTo>
                      <a:pt x="3131" y="798"/>
                    </a:lnTo>
                    <a:lnTo>
                      <a:pt x="3128" y="798"/>
                    </a:lnTo>
                    <a:lnTo>
                      <a:pt x="3124" y="797"/>
                    </a:lnTo>
                    <a:lnTo>
                      <a:pt x="3122" y="794"/>
                    </a:lnTo>
                    <a:lnTo>
                      <a:pt x="3121" y="792"/>
                    </a:lnTo>
                    <a:lnTo>
                      <a:pt x="3120" y="788"/>
                    </a:lnTo>
                    <a:lnTo>
                      <a:pt x="3120" y="785"/>
                    </a:lnTo>
                    <a:lnTo>
                      <a:pt x="3120" y="780"/>
                    </a:lnTo>
                    <a:lnTo>
                      <a:pt x="3122" y="771"/>
                    </a:lnTo>
                    <a:lnTo>
                      <a:pt x="3126" y="762"/>
                    </a:lnTo>
                    <a:lnTo>
                      <a:pt x="3130" y="754"/>
                    </a:lnTo>
                    <a:lnTo>
                      <a:pt x="3134" y="742"/>
                    </a:lnTo>
                    <a:lnTo>
                      <a:pt x="3134" y="736"/>
                    </a:lnTo>
                    <a:lnTo>
                      <a:pt x="3134" y="730"/>
                    </a:lnTo>
                    <a:lnTo>
                      <a:pt x="3133" y="727"/>
                    </a:lnTo>
                    <a:lnTo>
                      <a:pt x="3131" y="723"/>
                    </a:lnTo>
                    <a:lnTo>
                      <a:pt x="3129" y="721"/>
                    </a:lnTo>
                    <a:lnTo>
                      <a:pt x="3127" y="719"/>
                    </a:lnTo>
                    <a:lnTo>
                      <a:pt x="3123" y="718"/>
                    </a:lnTo>
                    <a:lnTo>
                      <a:pt x="3118" y="718"/>
                    </a:lnTo>
                    <a:lnTo>
                      <a:pt x="3110" y="718"/>
                    </a:lnTo>
                    <a:lnTo>
                      <a:pt x="3104" y="718"/>
                    </a:lnTo>
                    <a:lnTo>
                      <a:pt x="3101" y="718"/>
                    </a:lnTo>
                    <a:lnTo>
                      <a:pt x="3099" y="717"/>
                    </a:lnTo>
                    <a:lnTo>
                      <a:pt x="3097" y="716"/>
                    </a:lnTo>
                    <a:lnTo>
                      <a:pt x="3096" y="713"/>
                    </a:lnTo>
                    <a:lnTo>
                      <a:pt x="3095" y="706"/>
                    </a:lnTo>
                    <a:lnTo>
                      <a:pt x="3095" y="699"/>
                    </a:lnTo>
                    <a:lnTo>
                      <a:pt x="3093" y="694"/>
                    </a:lnTo>
                    <a:lnTo>
                      <a:pt x="3092" y="691"/>
                    </a:lnTo>
                    <a:lnTo>
                      <a:pt x="3090" y="687"/>
                    </a:lnTo>
                    <a:lnTo>
                      <a:pt x="3088" y="685"/>
                    </a:lnTo>
                    <a:lnTo>
                      <a:pt x="3084" y="681"/>
                    </a:lnTo>
                    <a:lnTo>
                      <a:pt x="3079" y="678"/>
                    </a:lnTo>
                    <a:lnTo>
                      <a:pt x="3072" y="675"/>
                    </a:lnTo>
                    <a:lnTo>
                      <a:pt x="3065" y="674"/>
                    </a:lnTo>
                    <a:lnTo>
                      <a:pt x="3057" y="674"/>
                    </a:lnTo>
                    <a:lnTo>
                      <a:pt x="3048" y="675"/>
                    </a:lnTo>
                    <a:lnTo>
                      <a:pt x="3039" y="679"/>
                    </a:lnTo>
                    <a:lnTo>
                      <a:pt x="3028" y="685"/>
                    </a:lnTo>
                    <a:lnTo>
                      <a:pt x="3019" y="693"/>
                    </a:lnTo>
                    <a:lnTo>
                      <a:pt x="3010" y="702"/>
                    </a:lnTo>
                    <a:lnTo>
                      <a:pt x="3003" y="711"/>
                    </a:lnTo>
                    <a:lnTo>
                      <a:pt x="2997" y="721"/>
                    </a:lnTo>
                    <a:lnTo>
                      <a:pt x="2989" y="738"/>
                    </a:lnTo>
                    <a:lnTo>
                      <a:pt x="2984" y="753"/>
                    </a:lnTo>
                    <a:lnTo>
                      <a:pt x="2983" y="755"/>
                    </a:lnTo>
                    <a:lnTo>
                      <a:pt x="2981" y="756"/>
                    </a:lnTo>
                    <a:lnTo>
                      <a:pt x="2978" y="759"/>
                    </a:lnTo>
                    <a:lnTo>
                      <a:pt x="2976" y="759"/>
                    </a:lnTo>
                    <a:lnTo>
                      <a:pt x="2967" y="760"/>
                    </a:lnTo>
                    <a:lnTo>
                      <a:pt x="2959" y="760"/>
                    </a:lnTo>
                    <a:lnTo>
                      <a:pt x="2941" y="757"/>
                    </a:lnTo>
                    <a:lnTo>
                      <a:pt x="2926" y="755"/>
                    </a:lnTo>
                    <a:lnTo>
                      <a:pt x="2919" y="755"/>
                    </a:lnTo>
                    <a:lnTo>
                      <a:pt x="2913" y="757"/>
                    </a:lnTo>
                    <a:lnTo>
                      <a:pt x="2907" y="760"/>
                    </a:lnTo>
                    <a:lnTo>
                      <a:pt x="2900" y="765"/>
                    </a:lnTo>
                    <a:lnTo>
                      <a:pt x="2894" y="768"/>
                    </a:lnTo>
                    <a:lnTo>
                      <a:pt x="2888" y="771"/>
                    </a:lnTo>
                    <a:lnTo>
                      <a:pt x="2882" y="772"/>
                    </a:lnTo>
                    <a:lnTo>
                      <a:pt x="2875" y="772"/>
                    </a:lnTo>
                    <a:lnTo>
                      <a:pt x="2869" y="771"/>
                    </a:lnTo>
                    <a:lnTo>
                      <a:pt x="2863" y="767"/>
                    </a:lnTo>
                    <a:lnTo>
                      <a:pt x="2858" y="765"/>
                    </a:lnTo>
                    <a:lnTo>
                      <a:pt x="2852" y="760"/>
                    </a:lnTo>
                    <a:lnTo>
                      <a:pt x="2840" y="749"/>
                    </a:lnTo>
                    <a:lnTo>
                      <a:pt x="2826" y="736"/>
                    </a:lnTo>
                    <a:lnTo>
                      <a:pt x="2808" y="722"/>
                    </a:lnTo>
                    <a:lnTo>
                      <a:pt x="2789" y="709"/>
                    </a:lnTo>
                    <a:lnTo>
                      <a:pt x="2781" y="703"/>
                    </a:lnTo>
                    <a:lnTo>
                      <a:pt x="2775" y="697"/>
                    </a:lnTo>
                    <a:lnTo>
                      <a:pt x="2769" y="692"/>
                    </a:lnTo>
                    <a:lnTo>
                      <a:pt x="2767" y="688"/>
                    </a:lnTo>
                    <a:lnTo>
                      <a:pt x="2765" y="684"/>
                    </a:lnTo>
                    <a:lnTo>
                      <a:pt x="2765" y="681"/>
                    </a:lnTo>
                    <a:lnTo>
                      <a:pt x="2767" y="679"/>
                    </a:lnTo>
                    <a:lnTo>
                      <a:pt x="2769" y="677"/>
                    </a:lnTo>
                    <a:lnTo>
                      <a:pt x="2776" y="674"/>
                    </a:lnTo>
                    <a:lnTo>
                      <a:pt x="2787" y="671"/>
                    </a:lnTo>
                    <a:lnTo>
                      <a:pt x="2792" y="669"/>
                    </a:lnTo>
                    <a:lnTo>
                      <a:pt x="2796" y="667"/>
                    </a:lnTo>
                    <a:lnTo>
                      <a:pt x="2801" y="665"/>
                    </a:lnTo>
                    <a:lnTo>
                      <a:pt x="2805" y="662"/>
                    </a:lnTo>
                    <a:lnTo>
                      <a:pt x="2811" y="656"/>
                    </a:lnTo>
                    <a:lnTo>
                      <a:pt x="2815" y="649"/>
                    </a:lnTo>
                    <a:lnTo>
                      <a:pt x="2819" y="642"/>
                    </a:lnTo>
                    <a:lnTo>
                      <a:pt x="2821" y="636"/>
                    </a:lnTo>
                    <a:lnTo>
                      <a:pt x="2821" y="633"/>
                    </a:lnTo>
                    <a:lnTo>
                      <a:pt x="2820" y="630"/>
                    </a:lnTo>
                    <a:lnTo>
                      <a:pt x="2818" y="628"/>
                    </a:lnTo>
                    <a:lnTo>
                      <a:pt x="2815" y="624"/>
                    </a:lnTo>
                    <a:lnTo>
                      <a:pt x="2812" y="622"/>
                    </a:lnTo>
                    <a:lnTo>
                      <a:pt x="2809" y="620"/>
                    </a:lnTo>
                    <a:lnTo>
                      <a:pt x="2809" y="617"/>
                    </a:lnTo>
                    <a:lnTo>
                      <a:pt x="2809" y="615"/>
                    </a:lnTo>
                    <a:lnTo>
                      <a:pt x="2814" y="610"/>
                    </a:lnTo>
                    <a:lnTo>
                      <a:pt x="2821" y="604"/>
                    </a:lnTo>
                    <a:lnTo>
                      <a:pt x="2825" y="602"/>
                    </a:lnTo>
                    <a:lnTo>
                      <a:pt x="2827" y="598"/>
                    </a:lnTo>
                    <a:lnTo>
                      <a:pt x="2828" y="596"/>
                    </a:lnTo>
                    <a:lnTo>
                      <a:pt x="2828" y="592"/>
                    </a:lnTo>
                    <a:lnTo>
                      <a:pt x="2825" y="587"/>
                    </a:lnTo>
                    <a:lnTo>
                      <a:pt x="2820" y="582"/>
                    </a:lnTo>
                    <a:lnTo>
                      <a:pt x="2814" y="577"/>
                    </a:lnTo>
                    <a:lnTo>
                      <a:pt x="2811" y="572"/>
                    </a:lnTo>
                    <a:lnTo>
                      <a:pt x="2807" y="567"/>
                    </a:lnTo>
                    <a:lnTo>
                      <a:pt x="2806" y="559"/>
                    </a:lnTo>
                    <a:lnTo>
                      <a:pt x="2805" y="555"/>
                    </a:lnTo>
                    <a:lnTo>
                      <a:pt x="2803" y="553"/>
                    </a:lnTo>
                    <a:lnTo>
                      <a:pt x="2801" y="552"/>
                    </a:lnTo>
                    <a:lnTo>
                      <a:pt x="2799" y="551"/>
                    </a:lnTo>
                    <a:lnTo>
                      <a:pt x="2795" y="551"/>
                    </a:lnTo>
                    <a:lnTo>
                      <a:pt x="2790" y="552"/>
                    </a:lnTo>
                    <a:lnTo>
                      <a:pt x="2787" y="554"/>
                    </a:lnTo>
                    <a:lnTo>
                      <a:pt x="2783" y="557"/>
                    </a:lnTo>
                    <a:lnTo>
                      <a:pt x="2778" y="559"/>
                    </a:lnTo>
                    <a:lnTo>
                      <a:pt x="2774" y="561"/>
                    </a:lnTo>
                    <a:lnTo>
                      <a:pt x="2769" y="561"/>
                    </a:lnTo>
                    <a:lnTo>
                      <a:pt x="2765" y="560"/>
                    </a:lnTo>
                    <a:lnTo>
                      <a:pt x="2762" y="559"/>
                    </a:lnTo>
                    <a:lnTo>
                      <a:pt x="2759" y="557"/>
                    </a:lnTo>
                    <a:lnTo>
                      <a:pt x="2758" y="554"/>
                    </a:lnTo>
                    <a:lnTo>
                      <a:pt x="2758" y="551"/>
                    </a:lnTo>
                    <a:lnTo>
                      <a:pt x="2759" y="542"/>
                    </a:lnTo>
                    <a:lnTo>
                      <a:pt x="2762" y="532"/>
                    </a:lnTo>
                    <a:lnTo>
                      <a:pt x="2763" y="520"/>
                    </a:lnTo>
                    <a:lnTo>
                      <a:pt x="2764" y="504"/>
                    </a:lnTo>
                    <a:lnTo>
                      <a:pt x="2764" y="497"/>
                    </a:lnTo>
                    <a:lnTo>
                      <a:pt x="2765" y="489"/>
                    </a:lnTo>
                    <a:lnTo>
                      <a:pt x="2768" y="482"/>
                    </a:lnTo>
                    <a:lnTo>
                      <a:pt x="2771" y="473"/>
                    </a:lnTo>
                    <a:lnTo>
                      <a:pt x="2775" y="467"/>
                    </a:lnTo>
                    <a:lnTo>
                      <a:pt x="2780" y="461"/>
                    </a:lnTo>
                    <a:lnTo>
                      <a:pt x="2786" y="456"/>
                    </a:lnTo>
                    <a:lnTo>
                      <a:pt x="2792" y="452"/>
                    </a:lnTo>
                    <a:lnTo>
                      <a:pt x="2802" y="446"/>
                    </a:lnTo>
                    <a:lnTo>
                      <a:pt x="2813" y="440"/>
                    </a:lnTo>
                    <a:lnTo>
                      <a:pt x="2822" y="434"/>
                    </a:lnTo>
                    <a:lnTo>
                      <a:pt x="2831" y="427"/>
                    </a:lnTo>
                    <a:lnTo>
                      <a:pt x="2834" y="423"/>
                    </a:lnTo>
                    <a:lnTo>
                      <a:pt x="2835" y="422"/>
                    </a:lnTo>
                    <a:lnTo>
                      <a:pt x="2834" y="421"/>
                    </a:lnTo>
                    <a:lnTo>
                      <a:pt x="2832" y="420"/>
                    </a:lnTo>
                    <a:lnTo>
                      <a:pt x="2828" y="419"/>
                    </a:lnTo>
                    <a:lnTo>
                      <a:pt x="2825" y="417"/>
                    </a:lnTo>
                    <a:lnTo>
                      <a:pt x="2816" y="417"/>
                    </a:lnTo>
                    <a:lnTo>
                      <a:pt x="2808" y="417"/>
                    </a:lnTo>
                    <a:lnTo>
                      <a:pt x="2802" y="417"/>
                    </a:lnTo>
                    <a:lnTo>
                      <a:pt x="2796" y="417"/>
                    </a:lnTo>
                    <a:lnTo>
                      <a:pt x="2790" y="416"/>
                    </a:lnTo>
                    <a:lnTo>
                      <a:pt x="2787" y="415"/>
                    </a:lnTo>
                    <a:lnTo>
                      <a:pt x="2782" y="413"/>
                    </a:lnTo>
                    <a:lnTo>
                      <a:pt x="2776" y="410"/>
                    </a:lnTo>
                    <a:lnTo>
                      <a:pt x="2770" y="410"/>
                    </a:lnTo>
                    <a:lnTo>
                      <a:pt x="2763" y="410"/>
                    </a:lnTo>
                    <a:lnTo>
                      <a:pt x="2755" y="413"/>
                    </a:lnTo>
                    <a:lnTo>
                      <a:pt x="2745" y="416"/>
                    </a:lnTo>
                    <a:lnTo>
                      <a:pt x="2736" y="421"/>
                    </a:lnTo>
                    <a:lnTo>
                      <a:pt x="2725" y="423"/>
                    </a:lnTo>
                    <a:lnTo>
                      <a:pt x="2714" y="426"/>
                    </a:lnTo>
                    <a:lnTo>
                      <a:pt x="2704" y="426"/>
                    </a:lnTo>
                    <a:lnTo>
                      <a:pt x="2694" y="425"/>
                    </a:lnTo>
                    <a:lnTo>
                      <a:pt x="2687" y="422"/>
                    </a:lnTo>
                    <a:lnTo>
                      <a:pt x="2680" y="420"/>
                    </a:lnTo>
                    <a:lnTo>
                      <a:pt x="2671" y="419"/>
                    </a:lnTo>
                    <a:lnTo>
                      <a:pt x="2663" y="420"/>
                    </a:lnTo>
                    <a:lnTo>
                      <a:pt x="2654" y="421"/>
                    </a:lnTo>
                    <a:lnTo>
                      <a:pt x="2646" y="421"/>
                    </a:lnTo>
                    <a:lnTo>
                      <a:pt x="2639" y="419"/>
                    </a:lnTo>
                    <a:lnTo>
                      <a:pt x="2635" y="416"/>
                    </a:lnTo>
                    <a:lnTo>
                      <a:pt x="2631" y="412"/>
                    </a:lnTo>
                    <a:lnTo>
                      <a:pt x="2629" y="408"/>
                    </a:lnTo>
                    <a:lnTo>
                      <a:pt x="2625" y="404"/>
                    </a:lnTo>
                    <a:lnTo>
                      <a:pt x="2622" y="402"/>
                    </a:lnTo>
                    <a:lnTo>
                      <a:pt x="2618" y="401"/>
                    </a:lnTo>
                    <a:lnTo>
                      <a:pt x="2614" y="402"/>
                    </a:lnTo>
                    <a:lnTo>
                      <a:pt x="2611" y="403"/>
                    </a:lnTo>
                    <a:lnTo>
                      <a:pt x="2608" y="407"/>
                    </a:lnTo>
                    <a:lnTo>
                      <a:pt x="2607" y="413"/>
                    </a:lnTo>
                    <a:lnTo>
                      <a:pt x="2606" y="420"/>
                    </a:lnTo>
                    <a:lnTo>
                      <a:pt x="2602" y="426"/>
                    </a:lnTo>
                    <a:lnTo>
                      <a:pt x="2599" y="432"/>
                    </a:lnTo>
                    <a:lnTo>
                      <a:pt x="2595" y="438"/>
                    </a:lnTo>
                    <a:lnTo>
                      <a:pt x="2592" y="444"/>
                    </a:lnTo>
                    <a:lnTo>
                      <a:pt x="2591" y="451"/>
                    </a:lnTo>
                    <a:lnTo>
                      <a:pt x="2591" y="459"/>
                    </a:lnTo>
                    <a:lnTo>
                      <a:pt x="2592" y="466"/>
                    </a:lnTo>
                    <a:lnTo>
                      <a:pt x="2595" y="473"/>
                    </a:lnTo>
                    <a:lnTo>
                      <a:pt x="2599" y="483"/>
                    </a:lnTo>
                    <a:lnTo>
                      <a:pt x="2604" y="492"/>
                    </a:lnTo>
                    <a:lnTo>
                      <a:pt x="2607" y="502"/>
                    </a:lnTo>
                    <a:lnTo>
                      <a:pt x="2612" y="511"/>
                    </a:lnTo>
                    <a:lnTo>
                      <a:pt x="2614" y="521"/>
                    </a:lnTo>
                    <a:lnTo>
                      <a:pt x="2616" y="529"/>
                    </a:lnTo>
                    <a:lnTo>
                      <a:pt x="2616" y="538"/>
                    </a:lnTo>
                    <a:lnTo>
                      <a:pt x="2613" y="546"/>
                    </a:lnTo>
                    <a:lnTo>
                      <a:pt x="2610" y="552"/>
                    </a:lnTo>
                    <a:lnTo>
                      <a:pt x="2605" y="558"/>
                    </a:lnTo>
                    <a:lnTo>
                      <a:pt x="2598" y="563"/>
                    </a:lnTo>
                    <a:lnTo>
                      <a:pt x="2587" y="571"/>
                    </a:lnTo>
                    <a:lnTo>
                      <a:pt x="2576" y="580"/>
                    </a:lnTo>
                    <a:lnTo>
                      <a:pt x="2570" y="586"/>
                    </a:lnTo>
                    <a:lnTo>
                      <a:pt x="2566" y="590"/>
                    </a:lnTo>
                    <a:lnTo>
                      <a:pt x="2560" y="592"/>
                    </a:lnTo>
                    <a:lnTo>
                      <a:pt x="2555" y="592"/>
                    </a:lnTo>
                    <a:lnTo>
                      <a:pt x="2550" y="591"/>
                    </a:lnTo>
                    <a:lnTo>
                      <a:pt x="2545" y="589"/>
                    </a:lnTo>
                    <a:lnTo>
                      <a:pt x="2541" y="584"/>
                    </a:lnTo>
                    <a:lnTo>
                      <a:pt x="2536" y="578"/>
                    </a:lnTo>
                    <a:lnTo>
                      <a:pt x="2531" y="572"/>
                    </a:lnTo>
                    <a:lnTo>
                      <a:pt x="2526" y="568"/>
                    </a:lnTo>
                    <a:lnTo>
                      <a:pt x="2522" y="566"/>
                    </a:lnTo>
                    <a:lnTo>
                      <a:pt x="2517" y="565"/>
                    </a:lnTo>
                    <a:lnTo>
                      <a:pt x="2511" y="566"/>
                    </a:lnTo>
                    <a:lnTo>
                      <a:pt x="2507" y="570"/>
                    </a:lnTo>
                    <a:lnTo>
                      <a:pt x="2501" y="576"/>
                    </a:lnTo>
                    <a:lnTo>
                      <a:pt x="2494" y="583"/>
                    </a:lnTo>
                    <a:lnTo>
                      <a:pt x="2475" y="598"/>
                    </a:lnTo>
                    <a:lnTo>
                      <a:pt x="2459" y="610"/>
                    </a:lnTo>
                    <a:lnTo>
                      <a:pt x="2453" y="615"/>
                    </a:lnTo>
                    <a:lnTo>
                      <a:pt x="2448" y="621"/>
                    </a:lnTo>
                    <a:lnTo>
                      <a:pt x="2446" y="628"/>
                    </a:lnTo>
                    <a:lnTo>
                      <a:pt x="2446" y="634"/>
                    </a:lnTo>
                    <a:lnTo>
                      <a:pt x="2448" y="641"/>
                    </a:lnTo>
                    <a:lnTo>
                      <a:pt x="2452" y="648"/>
                    </a:lnTo>
                    <a:lnTo>
                      <a:pt x="2457" y="656"/>
                    </a:lnTo>
                    <a:lnTo>
                      <a:pt x="2465" y="664"/>
                    </a:lnTo>
                    <a:lnTo>
                      <a:pt x="2468" y="667"/>
                    </a:lnTo>
                    <a:lnTo>
                      <a:pt x="2471" y="671"/>
                    </a:lnTo>
                    <a:lnTo>
                      <a:pt x="2473" y="675"/>
                    </a:lnTo>
                    <a:lnTo>
                      <a:pt x="2473" y="679"/>
                    </a:lnTo>
                    <a:lnTo>
                      <a:pt x="2473" y="686"/>
                    </a:lnTo>
                    <a:lnTo>
                      <a:pt x="2472" y="694"/>
                    </a:lnTo>
                    <a:lnTo>
                      <a:pt x="2469" y="705"/>
                    </a:lnTo>
                    <a:lnTo>
                      <a:pt x="2466" y="719"/>
                    </a:lnTo>
                    <a:lnTo>
                      <a:pt x="2463" y="735"/>
                    </a:lnTo>
                    <a:lnTo>
                      <a:pt x="2460" y="747"/>
                    </a:lnTo>
                    <a:lnTo>
                      <a:pt x="2457" y="751"/>
                    </a:lnTo>
                    <a:lnTo>
                      <a:pt x="2455" y="757"/>
                    </a:lnTo>
                    <a:lnTo>
                      <a:pt x="2452" y="762"/>
                    </a:lnTo>
                    <a:lnTo>
                      <a:pt x="2447" y="767"/>
                    </a:lnTo>
                    <a:lnTo>
                      <a:pt x="2435" y="778"/>
                    </a:lnTo>
                    <a:lnTo>
                      <a:pt x="2422" y="787"/>
                    </a:lnTo>
                    <a:lnTo>
                      <a:pt x="2410" y="798"/>
                    </a:lnTo>
                    <a:lnTo>
                      <a:pt x="2400" y="807"/>
                    </a:lnTo>
                    <a:lnTo>
                      <a:pt x="2392" y="818"/>
                    </a:lnTo>
                    <a:lnTo>
                      <a:pt x="2381" y="831"/>
                    </a:lnTo>
                    <a:lnTo>
                      <a:pt x="2371" y="842"/>
                    </a:lnTo>
                    <a:lnTo>
                      <a:pt x="2360" y="849"/>
                    </a:lnTo>
                    <a:lnTo>
                      <a:pt x="2349" y="856"/>
                    </a:lnTo>
                    <a:lnTo>
                      <a:pt x="2339" y="862"/>
                    </a:lnTo>
                    <a:lnTo>
                      <a:pt x="2335" y="866"/>
                    </a:lnTo>
                    <a:lnTo>
                      <a:pt x="2331" y="869"/>
                    </a:lnTo>
                    <a:lnTo>
                      <a:pt x="2328" y="874"/>
                    </a:lnTo>
                    <a:lnTo>
                      <a:pt x="2327" y="880"/>
                    </a:lnTo>
                    <a:lnTo>
                      <a:pt x="2322" y="889"/>
                    </a:lnTo>
                    <a:lnTo>
                      <a:pt x="2318" y="900"/>
                    </a:lnTo>
                    <a:lnTo>
                      <a:pt x="2312" y="908"/>
                    </a:lnTo>
                    <a:lnTo>
                      <a:pt x="2306" y="913"/>
                    </a:lnTo>
                    <a:lnTo>
                      <a:pt x="2301" y="917"/>
                    </a:lnTo>
                    <a:lnTo>
                      <a:pt x="2292" y="920"/>
                    </a:lnTo>
                    <a:lnTo>
                      <a:pt x="2286" y="923"/>
                    </a:lnTo>
                    <a:lnTo>
                      <a:pt x="2280" y="927"/>
                    </a:lnTo>
                    <a:lnTo>
                      <a:pt x="2276" y="931"/>
                    </a:lnTo>
                    <a:lnTo>
                      <a:pt x="2271" y="936"/>
                    </a:lnTo>
                    <a:lnTo>
                      <a:pt x="2268" y="938"/>
                    </a:lnTo>
                    <a:lnTo>
                      <a:pt x="2265" y="939"/>
                    </a:lnTo>
                    <a:lnTo>
                      <a:pt x="2264" y="939"/>
                    </a:lnTo>
                    <a:lnTo>
                      <a:pt x="2261" y="939"/>
                    </a:lnTo>
                    <a:lnTo>
                      <a:pt x="2257" y="936"/>
                    </a:lnTo>
                    <a:lnTo>
                      <a:pt x="2253" y="931"/>
                    </a:lnTo>
                    <a:lnTo>
                      <a:pt x="2249" y="926"/>
                    </a:lnTo>
                    <a:lnTo>
                      <a:pt x="2246" y="923"/>
                    </a:lnTo>
                    <a:lnTo>
                      <a:pt x="2242" y="921"/>
                    </a:lnTo>
                    <a:lnTo>
                      <a:pt x="2239" y="921"/>
                    </a:lnTo>
                    <a:lnTo>
                      <a:pt x="2236" y="921"/>
                    </a:lnTo>
                    <a:lnTo>
                      <a:pt x="2235" y="923"/>
                    </a:lnTo>
                    <a:lnTo>
                      <a:pt x="2234" y="925"/>
                    </a:lnTo>
                    <a:lnTo>
                      <a:pt x="2233" y="927"/>
                    </a:lnTo>
                    <a:lnTo>
                      <a:pt x="2232" y="933"/>
                    </a:lnTo>
                    <a:lnTo>
                      <a:pt x="2230" y="942"/>
                    </a:lnTo>
                    <a:lnTo>
                      <a:pt x="2228" y="949"/>
                    </a:lnTo>
                    <a:lnTo>
                      <a:pt x="2226" y="954"/>
                    </a:lnTo>
                    <a:lnTo>
                      <a:pt x="2223" y="958"/>
                    </a:lnTo>
                    <a:lnTo>
                      <a:pt x="2219" y="964"/>
                    </a:lnTo>
                    <a:lnTo>
                      <a:pt x="2217" y="968"/>
                    </a:lnTo>
                    <a:lnTo>
                      <a:pt x="2216" y="974"/>
                    </a:lnTo>
                    <a:lnTo>
                      <a:pt x="2215" y="982"/>
                    </a:lnTo>
                    <a:lnTo>
                      <a:pt x="2215" y="989"/>
                    </a:lnTo>
                    <a:lnTo>
                      <a:pt x="2215" y="1006"/>
                    </a:lnTo>
                    <a:lnTo>
                      <a:pt x="2215" y="1021"/>
                    </a:lnTo>
                    <a:lnTo>
                      <a:pt x="2214" y="1034"/>
                    </a:lnTo>
                    <a:lnTo>
                      <a:pt x="2210" y="1046"/>
                    </a:lnTo>
                    <a:lnTo>
                      <a:pt x="2207" y="1056"/>
                    </a:lnTo>
                    <a:lnTo>
                      <a:pt x="2203" y="1065"/>
                    </a:lnTo>
                    <a:lnTo>
                      <a:pt x="2201" y="1078"/>
                    </a:lnTo>
                    <a:lnTo>
                      <a:pt x="2200" y="1096"/>
                    </a:lnTo>
                    <a:lnTo>
                      <a:pt x="2200" y="1114"/>
                    </a:lnTo>
                    <a:lnTo>
                      <a:pt x="2201" y="1127"/>
                    </a:lnTo>
                    <a:lnTo>
                      <a:pt x="2201" y="1132"/>
                    </a:lnTo>
                    <a:lnTo>
                      <a:pt x="2203" y="1135"/>
                    </a:lnTo>
                    <a:lnTo>
                      <a:pt x="2204" y="1140"/>
                    </a:lnTo>
                    <a:lnTo>
                      <a:pt x="2207" y="1144"/>
                    </a:lnTo>
                    <a:lnTo>
                      <a:pt x="2213" y="1152"/>
                    </a:lnTo>
                    <a:lnTo>
                      <a:pt x="2220" y="1160"/>
                    </a:lnTo>
                    <a:lnTo>
                      <a:pt x="2227" y="1171"/>
                    </a:lnTo>
                    <a:lnTo>
                      <a:pt x="2232" y="1183"/>
                    </a:lnTo>
                    <a:lnTo>
                      <a:pt x="2234" y="1194"/>
                    </a:lnTo>
                    <a:lnTo>
                      <a:pt x="2235" y="1203"/>
                    </a:lnTo>
                    <a:lnTo>
                      <a:pt x="2235" y="1213"/>
                    </a:lnTo>
                    <a:lnTo>
                      <a:pt x="2233" y="1222"/>
                    </a:lnTo>
                    <a:lnTo>
                      <a:pt x="2232" y="1233"/>
                    </a:lnTo>
                    <a:lnTo>
                      <a:pt x="2229" y="1244"/>
                    </a:lnTo>
                    <a:lnTo>
                      <a:pt x="2229" y="1248"/>
                    </a:lnTo>
                    <a:lnTo>
                      <a:pt x="2229" y="1253"/>
                    </a:lnTo>
                    <a:lnTo>
                      <a:pt x="2229" y="1258"/>
                    </a:lnTo>
                    <a:lnTo>
                      <a:pt x="2230" y="1263"/>
                    </a:lnTo>
                    <a:lnTo>
                      <a:pt x="2232" y="1266"/>
                    </a:lnTo>
                    <a:lnTo>
                      <a:pt x="2234" y="1270"/>
                    </a:lnTo>
                    <a:lnTo>
                      <a:pt x="2236" y="1272"/>
                    </a:lnTo>
                    <a:lnTo>
                      <a:pt x="2239" y="1274"/>
                    </a:lnTo>
                    <a:lnTo>
                      <a:pt x="2243" y="1278"/>
                    </a:lnTo>
                    <a:lnTo>
                      <a:pt x="2247" y="1284"/>
                    </a:lnTo>
                    <a:lnTo>
                      <a:pt x="2249" y="1290"/>
                    </a:lnTo>
                    <a:lnTo>
                      <a:pt x="2251" y="1298"/>
                    </a:lnTo>
                    <a:lnTo>
                      <a:pt x="2249" y="1302"/>
                    </a:lnTo>
                    <a:lnTo>
                      <a:pt x="2248" y="1305"/>
                    </a:lnTo>
                    <a:lnTo>
                      <a:pt x="2247" y="1308"/>
                    </a:lnTo>
                    <a:lnTo>
                      <a:pt x="2246" y="1309"/>
                    </a:lnTo>
                    <a:lnTo>
                      <a:pt x="2241" y="1311"/>
                    </a:lnTo>
                    <a:lnTo>
                      <a:pt x="2235" y="1314"/>
                    </a:lnTo>
                    <a:lnTo>
                      <a:pt x="2233" y="1315"/>
                    </a:lnTo>
                    <a:lnTo>
                      <a:pt x="2230" y="1316"/>
                    </a:lnTo>
                    <a:lnTo>
                      <a:pt x="2228" y="1318"/>
                    </a:lnTo>
                    <a:lnTo>
                      <a:pt x="2227" y="1322"/>
                    </a:lnTo>
                    <a:lnTo>
                      <a:pt x="2226" y="1328"/>
                    </a:lnTo>
                    <a:lnTo>
                      <a:pt x="2226" y="1336"/>
                    </a:lnTo>
                    <a:lnTo>
                      <a:pt x="2224" y="1347"/>
                    </a:lnTo>
                    <a:lnTo>
                      <a:pt x="2224" y="1359"/>
                    </a:lnTo>
                    <a:lnTo>
                      <a:pt x="2222" y="1371"/>
                    </a:lnTo>
                    <a:lnTo>
                      <a:pt x="2219" y="1380"/>
                    </a:lnTo>
                    <a:lnTo>
                      <a:pt x="2216" y="1383"/>
                    </a:lnTo>
                    <a:lnTo>
                      <a:pt x="2214" y="1385"/>
                    </a:lnTo>
                    <a:lnTo>
                      <a:pt x="2210" y="1386"/>
                    </a:lnTo>
                    <a:lnTo>
                      <a:pt x="2207" y="1386"/>
                    </a:lnTo>
                    <a:lnTo>
                      <a:pt x="2200" y="1386"/>
                    </a:lnTo>
                    <a:lnTo>
                      <a:pt x="2191" y="1384"/>
                    </a:lnTo>
                    <a:lnTo>
                      <a:pt x="2188" y="1383"/>
                    </a:lnTo>
                    <a:lnTo>
                      <a:pt x="2184" y="1383"/>
                    </a:lnTo>
                    <a:lnTo>
                      <a:pt x="2180" y="1384"/>
                    </a:lnTo>
                    <a:lnTo>
                      <a:pt x="2177" y="1385"/>
                    </a:lnTo>
                    <a:lnTo>
                      <a:pt x="2170" y="1389"/>
                    </a:lnTo>
                    <a:lnTo>
                      <a:pt x="2163" y="1395"/>
                    </a:lnTo>
                    <a:lnTo>
                      <a:pt x="2159" y="1398"/>
                    </a:lnTo>
                    <a:lnTo>
                      <a:pt x="2157" y="1400"/>
                    </a:lnTo>
                    <a:lnTo>
                      <a:pt x="2153" y="1402"/>
                    </a:lnTo>
                    <a:lnTo>
                      <a:pt x="2150" y="1402"/>
                    </a:lnTo>
                    <a:lnTo>
                      <a:pt x="2142" y="1403"/>
                    </a:lnTo>
                    <a:lnTo>
                      <a:pt x="2135" y="1403"/>
                    </a:lnTo>
                    <a:lnTo>
                      <a:pt x="2132" y="1404"/>
                    </a:lnTo>
                    <a:lnTo>
                      <a:pt x="2127" y="1406"/>
                    </a:lnTo>
                    <a:lnTo>
                      <a:pt x="2123" y="1410"/>
                    </a:lnTo>
                    <a:lnTo>
                      <a:pt x="2119" y="1414"/>
                    </a:lnTo>
                    <a:lnTo>
                      <a:pt x="2112" y="1423"/>
                    </a:lnTo>
                    <a:lnTo>
                      <a:pt x="2106" y="1429"/>
                    </a:lnTo>
                    <a:lnTo>
                      <a:pt x="2102" y="1431"/>
                    </a:lnTo>
                    <a:lnTo>
                      <a:pt x="2098" y="1431"/>
                    </a:lnTo>
                    <a:lnTo>
                      <a:pt x="2095" y="1433"/>
                    </a:lnTo>
                    <a:lnTo>
                      <a:pt x="2091" y="1431"/>
                    </a:lnTo>
                    <a:lnTo>
                      <a:pt x="2084" y="1429"/>
                    </a:lnTo>
                    <a:lnTo>
                      <a:pt x="2077" y="1423"/>
                    </a:lnTo>
                    <a:lnTo>
                      <a:pt x="2072" y="1417"/>
                    </a:lnTo>
                    <a:lnTo>
                      <a:pt x="2071" y="1412"/>
                    </a:lnTo>
                    <a:lnTo>
                      <a:pt x="2070" y="1406"/>
                    </a:lnTo>
                    <a:lnTo>
                      <a:pt x="2071" y="1402"/>
                    </a:lnTo>
                    <a:lnTo>
                      <a:pt x="2072" y="1396"/>
                    </a:lnTo>
                    <a:lnTo>
                      <a:pt x="2073" y="1389"/>
                    </a:lnTo>
                    <a:lnTo>
                      <a:pt x="2073" y="1380"/>
                    </a:lnTo>
                    <a:lnTo>
                      <a:pt x="2072" y="1374"/>
                    </a:lnTo>
                    <a:lnTo>
                      <a:pt x="2071" y="1371"/>
                    </a:lnTo>
                    <a:lnTo>
                      <a:pt x="2069" y="1368"/>
                    </a:lnTo>
                    <a:lnTo>
                      <a:pt x="2065" y="1367"/>
                    </a:lnTo>
                    <a:lnTo>
                      <a:pt x="2062" y="1367"/>
                    </a:lnTo>
                    <a:lnTo>
                      <a:pt x="2053" y="1367"/>
                    </a:lnTo>
                    <a:lnTo>
                      <a:pt x="2045" y="1368"/>
                    </a:lnTo>
                    <a:lnTo>
                      <a:pt x="2033" y="1374"/>
                    </a:lnTo>
                    <a:lnTo>
                      <a:pt x="2019" y="1381"/>
                    </a:lnTo>
                    <a:lnTo>
                      <a:pt x="2002" y="1391"/>
                    </a:lnTo>
                    <a:lnTo>
                      <a:pt x="1987" y="1399"/>
                    </a:lnTo>
                    <a:lnTo>
                      <a:pt x="1975" y="1405"/>
                    </a:lnTo>
                    <a:lnTo>
                      <a:pt x="1964" y="1410"/>
                    </a:lnTo>
                    <a:lnTo>
                      <a:pt x="1953" y="1412"/>
                    </a:lnTo>
                    <a:lnTo>
                      <a:pt x="1942" y="1414"/>
                    </a:lnTo>
                    <a:lnTo>
                      <a:pt x="1934" y="1416"/>
                    </a:lnTo>
                    <a:lnTo>
                      <a:pt x="1926" y="1419"/>
                    </a:lnTo>
                    <a:lnTo>
                      <a:pt x="1919" y="1425"/>
                    </a:lnTo>
                    <a:lnTo>
                      <a:pt x="1911" y="1431"/>
                    </a:lnTo>
                    <a:lnTo>
                      <a:pt x="1896" y="1446"/>
                    </a:lnTo>
                    <a:lnTo>
                      <a:pt x="1886" y="1458"/>
                    </a:lnTo>
                    <a:lnTo>
                      <a:pt x="1880" y="1466"/>
                    </a:lnTo>
                    <a:lnTo>
                      <a:pt x="1876" y="1472"/>
                    </a:lnTo>
                    <a:lnTo>
                      <a:pt x="1874" y="1473"/>
                    </a:lnTo>
                    <a:lnTo>
                      <a:pt x="1870" y="1475"/>
                    </a:lnTo>
                    <a:lnTo>
                      <a:pt x="1865" y="1475"/>
                    </a:lnTo>
                    <a:lnTo>
                      <a:pt x="1860" y="1475"/>
                    </a:lnTo>
                    <a:lnTo>
                      <a:pt x="1850" y="1474"/>
                    </a:lnTo>
                    <a:lnTo>
                      <a:pt x="1842" y="1472"/>
                    </a:lnTo>
                    <a:lnTo>
                      <a:pt x="1835" y="1468"/>
                    </a:lnTo>
                    <a:lnTo>
                      <a:pt x="1826" y="1463"/>
                    </a:lnTo>
                    <a:lnTo>
                      <a:pt x="1820" y="1460"/>
                    </a:lnTo>
                    <a:lnTo>
                      <a:pt x="1816" y="1458"/>
                    </a:lnTo>
                    <a:lnTo>
                      <a:pt x="1810" y="1458"/>
                    </a:lnTo>
                    <a:lnTo>
                      <a:pt x="1805" y="1458"/>
                    </a:lnTo>
                    <a:lnTo>
                      <a:pt x="1800" y="1459"/>
                    </a:lnTo>
                    <a:lnTo>
                      <a:pt x="1797" y="1461"/>
                    </a:lnTo>
                    <a:lnTo>
                      <a:pt x="1792" y="1465"/>
                    </a:lnTo>
                    <a:lnTo>
                      <a:pt x="1789" y="1469"/>
                    </a:lnTo>
                    <a:lnTo>
                      <a:pt x="1786" y="1473"/>
                    </a:lnTo>
                    <a:lnTo>
                      <a:pt x="1782" y="1477"/>
                    </a:lnTo>
                    <a:lnTo>
                      <a:pt x="1779" y="1479"/>
                    </a:lnTo>
                    <a:lnTo>
                      <a:pt x="1775" y="1480"/>
                    </a:lnTo>
                    <a:lnTo>
                      <a:pt x="1770" y="1480"/>
                    </a:lnTo>
                    <a:lnTo>
                      <a:pt x="1767" y="1479"/>
                    </a:lnTo>
                    <a:lnTo>
                      <a:pt x="1763" y="1477"/>
                    </a:lnTo>
                    <a:lnTo>
                      <a:pt x="1758" y="1473"/>
                    </a:lnTo>
                    <a:lnTo>
                      <a:pt x="1755" y="1468"/>
                    </a:lnTo>
                    <a:lnTo>
                      <a:pt x="1751" y="1461"/>
                    </a:lnTo>
                    <a:lnTo>
                      <a:pt x="1748" y="1452"/>
                    </a:lnTo>
                    <a:lnTo>
                      <a:pt x="1744" y="1443"/>
                    </a:lnTo>
                    <a:lnTo>
                      <a:pt x="1738" y="1424"/>
                    </a:lnTo>
                    <a:lnTo>
                      <a:pt x="1732" y="1411"/>
                    </a:lnTo>
                    <a:lnTo>
                      <a:pt x="1730" y="1408"/>
                    </a:lnTo>
                    <a:lnTo>
                      <a:pt x="1728" y="1404"/>
                    </a:lnTo>
                    <a:lnTo>
                      <a:pt x="1724" y="1403"/>
                    </a:lnTo>
                    <a:lnTo>
                      <a:pt x="1720" y="1402"/>
                    </a:lnTo>
                    <a:lnTo>
                      <a:pt x="1710" y="1402"/>
                    </a:lnTo>
                    <a:lnTo>
                      <a:pt x="1697" y="1404"/>
                    </a:lnTo>
                    <a:lnTo>
                      <a:pt x="1690" y="1404"/>
                    </a:lnTo>
                    <a:lnTo>
                      <a:pt x="1685" y="1404"/>
                    </a:lnTo>
                    <a:lnTo>
                      <a:pt x="1681" y="1403"/>
                    </a:lnTo>
                    <a:lnTo>
                      <a:pt x="1678" y="1400"/>
                    </a:lnTo>
                    <a:lnTo>
                      <a:pt x="1674" y="1392"/>
                    </a:lnTo>
                    <a:lnTo>
                      <a:pt x="1671" y="1383"/>
                    </a:lnTo>
                    <a:lnTo>
                      <a:pt x="1667" y="1372"/>
                    </a:lnTo>
                    <a:lnTo>
                      <a:pt x="1665" y="1362"/>
                    </a:lnTo>
                    <a:lnTo>
                      <a:pt x="1665" y="1359"/>
                    </a:lnTo>
                    <a:lnTo>
                      <a:pt x="1666" y="1356"/>
                    </a:lnTo>
                    <a:lnTo>
                      <a:pt x="1667" y="1354"/>
                    </a:lnTo>
                    <a:lnTo>
                      <a:pt x="1671" y="1353"/>
                    </a:lnTo>
                    <a:lnTo>
                      <a:pt x="1675" y="1353"/>
                    </a:lnTo>
                    <a:lnTo>
                      <a:pt x="1680" y="1355"/>
                    </a:lnTo>
                    <a:lnTo>
                      <a:pt x="1685" y="1358"/>
                    </a:lnTo>
                    <a:lnTo>
                      <a:pt x="1690" y="1361"/>
                    </a:lnTo>
                    <a:lnTo>
                      <a:pt x="1693" y="1362"/>
                    </a:lnTo>
                    <a:lnTo>
                      <a:pt x="1697" y="1364"/>
                    </a:lnTo>
                    <a:lnTo>
                      <a:pt x="1698" y="1362"/>
                    </a:lnTo>
                    <a:lnTo>
                      <a:pt x="1700" y="1361"/>
                    </a:lnTo>
                    <a:lnTo>
                      <a:pt x="1700" y="1359"/>
                    </a:lnTo>
                    <a:lnTo>
                      <a:pt x="1701" y="1355"/>
                    </a:lnTo>
                    <a:lnTo>
                      <a:pt x="1703" y="1348"/>
                    </a:lnTo>
                    <a:lnTo>
                      <a:pt x="1701" y="1342"/>
                    </a:lnTo>
                    <a:lnTo>
                      <a:pt x="1698" y="1336"/>
                    </a:lnTo>
                    <a:lnTo>
                      <a:pt x="1694" y="1332"/>
                    </a:lnTo>
                    <a:lnTo>
                      <a:pt x="1685" y="1321"/>
                    </a:lnTo>
                    <a:lnTo>
                      <a:pt x="1673" y="1310"/>
                    </a:lnTo>
                    <a:lnTo>
                      <a:pt x="1668" y="1303"/>
                    </a:lnTo>
                    <a:lnTo>
                      <a:pt x="1663" y="1295"/>
                    </a:lnTo>
                    <a:lnTo>
                      <a:pt x="1661" y="1291"/>
                    </a:lnTo>
                    <a:lnTo>
                      <a:pt x="1659" y="1288"/>
                    </a:lnTo>
                    <a:lnTo>
                      <a:pt x="1654" y="1284"/>
                    </a:lnTo>
                    <a:lnTo>
                      <a:pt x="1648" y="1282"/>
                    </a:lnTo>
                    <a:lnTo>
                      <a:pt x="1646" y="1282"/>
                    </a:lnTo>
                    <a:lnTo>
                      <a:pt x="1644" y="1279"/>
                    </a:lnTo>
                    <a:lnTo>
                      <a:pt x="1643" y="1278"/>
                    </a:lnTo>
                    <a:lnTo>
                      <a:pt x="1642" y="1276"/>
                    </a:lnTo>
                    <a:lnTo>
                      <a:pt x="1642" y="1269"/>
                    </a:lnTo>
                    <a:lnTo>
                      <a:pt x="1644" y="1261"/>
                    </a:lnTo>
                    <a:lnTo>
                      <a:pt x="1644" y="1260"/>
                    </a:lnTo>
                    <a:lnTo>
                      <a:pt x="1642" y="1259"/>
                    </a:lnTo>
                    <a:lnTo>
                      <a:pt x="1640" y="1258"/>
                    </a:lnTo>
                    <a:lnTo>
                      <a:pt x="1636" y="1257"/>
                    </a:lnTo>
                    <a:lnTo>
                      <a:pt x="1629" y="1257"/>
                    </a:lnTo>
                    <a:lnTo>
                      <a:pt x="1624" y="1255"/>
                    </a:lnTo>
                    <a:lnTo>
                      <a:pt x="1619" y="1254"/>
                    </a:lnTo>
                    <a:lnTo>
                      <a:pt x="1616" y="1252"/>
                    </a:lnTo>
                    <a:lnTo>
                      <a:pt x="1613" y="1250"/>
                    </a:lnTo>
                    <a:lnTo>
                      <a:pt x="1612" y="1247"/>
                    </a:lnTo>
                    <a:lnTo>
                      <a:pt x="1612" y="1244"/>
                    </a:lnTo>
                    <a:lnTo>
                      <a:pt x="1615" y="1240"/>
                    </a:lnTo>
                    <a:lnTo>
                      <a:pt x="1617" y="1236"/>
                    </a:lnTo>
                    <a:lnTo>
                      <a:pt x="1622" y="1232"/>
                    </a:lnTo>
                    <a:lnTo>
                      <a:pt x="1627" y="1227"/>
                    </a:lnTo>
                    <a:lnTo>
                      <a:pt x="1631" y="1222"/>
                    </a:lnTo>
                    <a:lnTo>
                      <a:pt x="1635" y="1216"/>
                    </a:lnTo>
                    <a:lnTo>
                      <a:pt x="1638" y="1210"/>
                    </a:lnTo>
                    <a:lnTo>
                      <a:pt x="1643" y="1198"/>
                    </a:lnTo>
                    <a:lnTo>
                      <a:pt x="1648" y="1185"/>
                    </a:lnTo>
                    <a:lnTo>
                      <a:pt x="1660" y="1170"/>
                    </a:lnTo>
                    <a:lnTo>
                      <a:pt x="1668" y="1163"/>
                    </a:lnTo>
                    <a:lnTo>
                      <a:pt x="1668" y="1159"/>
                    </a:lnTo>
                    <a:lnTo>
                      <a:pt x="1667" y="1157"/>
                    </a:lnTo>
                    <a:lnTo>
                      <a:pt x="1666" y="1154"/>
                    </a:lnTo>
                    <a:lnTo>
                      <a:pt x="1663" y="1152"/>
                    </a:lnTo>
                    <a:lnTo>
                      <a:pt x="1660" y="1150"/>
                    </a:lnTo>
                    <a:lnTo>
                      <a:pt x="1656" y="1148"/>
                    </a:lnTo>
                    <a:lnTo>
                      <a:pt x="1653" y="1147"/>
                    </a:lnTo>
                    <a:lnTo>
                      <a:pt x="1648" y="1147"/>
                    </a:lnTo>
                    <a:lnTo>
                      <a:pt x="1644" y="1148"/>
                    </a:lnTo>
                    <a:lnTo>
                      <a:pt x="1643" y="1151"/>
                    </a:lnTo>
                    <a:lnTo>
                      <a:pt x="1641" y="1154"/>
                    </a:lnTo>
                    <a:lnTo>
                      <a:pt x="1641" y="1158"/>
                    </a:lnTo>
                    <a:lnTo>
                      <a:pt x="1640" y="1163"/>
                    </a:lnTo>
                    <a:lnTo>
                      <a:pt x="1638" y="1166"/>
                    </a:lnTo>
                    <a:lnTo>
                      <a:pt x="1636" y="1169"/>
                    </a:lnTo>
                    <a:lnTo>
                      <a:pt x="1634" y="1171"/>
                    </a:lnTo>
                    <a:lnTo>
                      <a:pt x="1630" y="1172"/>
                    </a:lnTo>
                    <a:lnTo>
                      <a:pt x="1627" y="1173"/>
                    </a:lnTo>
                    <a:lnTo>
                      <a:pt x="1623" y="1173"/>
                    </a:lnTo>
                    <a:lnTo>
                      <a:pt x="1619" y="1172"/>
                    </a:lnTo>
                    <a:lnTo>
                      <a:pt x="1617" y="1170"/>
                    </a:lnTo>
                    <a:lnTo>
                      <a:pt x="1615" y="1167"/>
                    </a:lnTo>
                    <a:lnTo>
                      <a:pt x="1613" y="1165"/>
                    </a:lnTo>
                    <a:lnTo>
                      <a:pt x="1612" y="1160"/>
                    </a:lnTo>
                    <a:lnTo>
                      <a:pt x="1615" y="1150"/>
                    </a:lnTo>
                    <a:lnTo>
                      <a:pt x="1617" y="1139"/>
                    </a:lnTo>
                    <a:lnTo>
                      <a:pt x="1618" y="1133"/>
                    </a:lnTo>
                    <a:lnTo>
                      <a:pt x="1619" y="1127"/>
                    </a:lnTo>
                    <a:lnTo>
                      <a:pt x="1619" y="1122"/>
                    </a:lnTo>
                    <a:lnTo>
                      <a:pt x="1619" y="1116"/>
                    </a:lnTo>
                    <a:lnTo>
                      <a:pt x="1617" y="1113"/>
                    </a:lnTo>
                    <a:lnTo>
                      <a:pt x="1615" y="1108"/>
                    </a:lnTo>
                    <a:lnTo>
                      <a:pt x="1611" y="1106"/>
                    </a:lnTo>
                    <a:lnTo>
                      <a:pt x="1606" y="1103"/>
                    </a:lnTo>
                    <a:lnTo>
                      <a:pt x="1598" y="1100"/>
                    </a:lnTo>
                    <a:lnTo>
                      <a:pt x="1590" y="1099"/>
                    </a:lnTo>
                    <a:lnTo>
                      <a:pt x="1584" y="1097"/>
                    </a:lnTo>
                    <a:lnTo>
                      <a:pt x="1580" y="1095"/>
                    </a:lnTo>
                    <a:lnTo>
                      <a:pt x="1578" y="1093"/>
                    </a:lnTo>
                    <a:lnTo>
                      <a:pt x="1577" y="1089"/>
                    </a:lnTo>
                    <a:lnTo>
                      <a:pt x="1577" y="1085"/>
                    </a:lnTo>
                    <a:lnTo>
                      <a:pt x="1577" y="1082"/>
                    </a:lnTo>
                    <a:lnTo>
                      <a:pt x="1575" y="1074"/>
                    </a:lnTo>
                    <a:lnTo>
                      <a:pt x="1574" y="1069"/>
                    </a:lnTo>
                    <a:lnTo>
                      <a:pt x="1571" y="1065"/>
                    </a:lnTo>
                    <a:lnTo>
                      <a:pt x="1566" y="1061"/>
                    </a:lnTo>
                    <a:lnTo>
                      <a:pt x="1560" y="1056"/>
                    </a:lnTo>
                    <a:lnTo>
                      <a:pt x="1552" y="1051"/>
                    </a:lnTo>
                    <a:lnTo>
                      <a:pt x="1548" y="1047"/>
                    </a:lnTo>
                    <a:lnTo>
                      <a:pt x="1545" y="1044"/>
                    </a:lnTo>
                    <a:lnTo>
                      <a:pt x="1541" y="1039"/>
                    </a:lnTo>
                    <a:lnTo>
                      <a:pt x="1539" y="1033"/>
                    </a:lnTo>
                    <a:lnTo>
                      <a:pt x="1536" y="1027"/>
                    </a:lnTo>
                    <a:lnTo>
                      <a:pt x="1536" y="1021"/>
                    </a:lnTo>
                    <a:lnTo>
                      <a:pt x="1537" y="1015"/>
                    </a:lnTo>
                    <a:lnTo>
                      <a:pt x="1539" y="1011"/>
                    </a:lnTo>
                    <a:lnTo>
                      <a:pt x="1542" y="999"/>
                    </a:lnTo>
                    <a:lnTo>
                      <a:pt x="1547" y="984"/>
                    </a:lnTo>
                    <a:lnTo>
                      <a:pt x="1547" y="977"/>
                    </a:lnTo>
                    <a:lnTo>
                      <a:pt x="1547" y="971"/>
                    </a:lnTo>
                    <a:lnTo>
                      <a:pt x="1545" y="968"/>
                    </a:lnTo>
                    <a:lnTo>
                      <a:pt x="1542" y="964"/>
                    </a:lnTo>
                    <a:lnTo>
                      <a:pt x="1537" y="963"/>
                    </a:lnTo>
                    <a:lnTo>
                      <a:pt x="1533" y="961"/>
                    </a:lnTo>
                    <a:lnTo>
                      <a:pt x="1527" y="961"/>
                    </a:lnTo>
                    <a:lnTo>
                      <a:pt x="1521" y="961"/>
                    </a:lnTo>
                    <a:lnTo>
                      <a:pt x="1515" y="959"/>
                    </a:lnTo>
                    <a:lnTo>
                      <a:pt x="1510" y="959"/>
                    </a:lnTo>
                    <a:lnTo>
                      <a:pt x="1508" y="958"/>
                    </a:lnTo>
                    <a:lnTo>
                      <a:pt x="1505" y="956"/>
                    </a:lnTo>
                    <a:lnTo>
                      <a:pt x="1504" y="950"/>
                    </a:lnTo>
                    <a:lnTo>
                      <a:pt x="1504" y="940"/>
                    </a:lnTo>
                    <a:lnTo>
                      <a:pt x="1505" y="931"/>
                    </a:lnTo>
                    <a:lnTo>
                      <a:pt x="1504" y="921"/>
                    </a:lnTo>
                    <a:lnTo>
                      <a:pt x="1502" y="912"/>
                    </a:lnTo>
                    <a:lnTo>
                      <a:pt x="1498" y="901"/>
                    </a:lnTo>
                    <a:lnTo>
                      <a:pt x="1491" y="889"/>
                    </a:lnTo>
                    <a:lnTo>
                      <a:pt x="1484" y="877"/>
                    </a:lnTo>
                    <a:lnTo>
                      <a:pt x="1480" y="872"/>
                    </a:lnTo>
                    <a:lnTo>
                      <a:pt x="1478" y="866"/>
                    </a:lnTo>
                    <a:lnTo>
                      <a:pt x="1476" y="861"/>
                    </a:lnTo>
                    <a:lnTo>
                      <a:pt x="1476" y="855"/>
                    </a:lnTo>
                    <a:lnTo>
                      <a:pt x="1474" y="850"/>
                    </a:lnTo>
                    <a:lnTo>
                      <a:pt x="1473" y="845"/>
                    </a:lnTo>
                    <a:lnTo>
                      <a:pt x="1471" y="842"/>
                    </a:lnTo>
                    <a:lnTo>
                      <a:pt x="1468" y="839"/>
                    </a:lnTo>
                    <a:lnTo>
                      <a:pt x="1462" y="836"/>
                    </a:lnTo>
                    <a:lnTo>
                      <a:pt x="1457" y="834"/>
                    </a:lnTo>
                    <a:lnTo>
                      <a:pt x="1452" y="831"/>
                    </a:lnTo>
                    <a:lnTo>
                      <a:pt x="1448" y="828"/>
                    </a:lnTo>
                    <a:lnTo>
                      <a:pt x="1447" y="822"/>
                    </a:lnTo>
                    <a:lnTo>
                      <a:pt x="1447" y="813"/>
                    </a:lnTo>
                    <a:lnTo>
                      <a:pt x="1447" y="805"/>
                    </a:lnTo>
                    <a:lnTo>
                      <a:pt x="1447" y="797"/>
                    </a:lnTo>
                    <a:lnTo>
                      <a:pt x="1447" y="786"/>
                    </a:lnTo>
                    <a:lnTo>
                      <a:pt x="1447" y="776"/>
                    </a:lnTo>
                    <a:lnTo>
                      <a:pt x="1447" y="767"/>
                    </a:lnTo>
                    <a:lnTo>
                      <a:pt x="1446" y="759"/>
                    </a:lnTo>
                    <a:lnTo>
                      <a:pt x="1445" y="755"/>
                    </a:lnTo>
                    <a:lnTo>
                      <a:pt x="1442" y="750"/>
                    </a:lnTo>
                    <a:lnTo>
                      <a:pt x="1440" y="747"/>
                    </a:lnTo>
                    <a:lnTo>
                      <a:pt x="1436" y="742"/>
                    </a:lnTo>
                    <a:lnTo>
                      <a:pt x="1424" y="730"/>
                    </a:lnTo>
                    <a:lnTo>
                      <a:pt x="1413" y="717"/>
                    </a:lnTo>
                    <a:lnTo>
                      <a:pt x="1408" y="709"/>
                    </a:lnTo>
                    <a:lnTo>
                      <a:pt x="1404" y="700"/>
                    </a:lnTo>
                    <a:lnTo>
                      <a:pt x="1403" y="692"/>
                    </a:lnTo>
                    <a:lnTo>
                      <a:pt x="1402" y="683"/>
                    </a:lnTo>
                    <a:lnTo>
                      <a:pt x="1398" y="668"/>
                    </a:lnTo>
                    <a:lnTo>
                      <a:pt x="1394" y="654"/>
                    </a:lnTo>
                    <a:lnTo>
                      <a:pt x="1390" y="642"/>
                    </a:lnTo>
                    <a:lnTo>
                      <a:pt x="1385" y="635"/>
                    </a:lnTo>
                    <a:lnTo>
                      <a:pt x="1382" y="633"/>
                    </a:lnTo>
                    <a:lnTo>
                      <a:pt x="1377" y="631"/>
                    </a:lnTo>
                    <a:lnTo>
                      <a:pt x="1372" y="631"/>
                    </a:lnTo>
                    <a:lnTo>
                      <a:pt x="1369" y="633"/>
                    </a:lnTo>
                    <a:lnTo>
                      <a:pt x="1364" y="635"/>
                    </a:lnTo>
                    <a:lnTo>
                      <a:pt x="1359" y="640"/>
                    </a:lnTo>
                    <a:lnTo>
                      <a:pt x="1355" y="645"/>
                    </a:lnTo>
                    <a:lnTo>
                      <a:pt x="1353" y="650"/>
                    </a:lnTo>
                    <a:lnTo>
                      <a:pt x="1351" y="656"/>
                    </a:lnTo>
                    <a:lnTo>
                      <a:pt x="1347" y="661"/>
                    </a:lnTo>
                    <a:lnTo>
                      <a:pt x="1342" y="665"/>
                    </a:lnTo>
                    <a:lnTo>
                      <a:pt x="1339" y="667"/>
                    </a:lnTo>
                    <a:lnTo>
                      <a:pt x="1334" y="668"/>
                    </a:lnTo>
                    <a:lnTo>
                      <a:pt x="1331" y="668"/>
                    </a:lnTo>
                    <a:lnTo>
                      <a:pt x="1326" y="666"/>
                    </a:lnTo>
                    <a:lnTo>
                      <a:pt x="1322" y="664"/>
                    </a:lnTo>
                    <a:lnTo>
                      <a:pt x="1316" y="652"/>
                    </a:lnTo>
                    <a:lnTo>
                      <a:pt x="1312" y="639"/>
                    </a:lnTo>
                    <a:lnTo>
                      <a:pt x="1310" y="637"/>
                    </a:lnTo>
                    <a:lnTo>
                      <a:pt x="1309" y="636"/>
                    </a:lnTo>
                    <a:lnTo>
                      <a:pt x="1308" y="635"/>
                    </a:lnTo>
                    <a:lnTo>
                      <a:pt x="1307" y="636"/>
                    </a:lnTo>
                    <a:lnTo>
                      <a:pt x="1304" y="639"/>
                    </a:lnTo>
                    <a:lnTo>
                      <a:pt x="1302" y="642"/>
                    </a:lnTo>
                    <a:lnTo>
                      <a:pt x="1294" y="654"/>
                    </a:lnTo>
                    <a:lnTo>
                      <a:pt x="1287" y="667"/>
                    </a:lnTo>
                    <a:lnTo>
                      <a:pt x="1283" y="675"/>
                    </a:lnTo>
                    <a:lnTo>
                      <a:pt x="1281" y="685"/>
                    </a:lnTo>
                    <a:lnTo>
                      <a:pt x="1279" y="687"/>
                    </a:lnTo>
                    <a:lnTo>
                      <a:pt x="1278" y="688"/>
                    </a:lnTo>
                    <a:lnTo>
                      <a:pt x="1277" y="688"/>
                    </a:lnTo>
                    <a:lnTo>
                      <a:pt x="1275" y="688"/>
                    </a:lnTo>
                    <a:lnTo>
                      <a:pt x="1269" y="690"/>
                    </a:lnTo>
                    <a:lnTo>
                      <a:pt x="1263" y="692"/>
                    </a:lnTo>
                    <a:lnTo>
                      <a:pt x="1257" y="696"/>
                    </a:lnTo>
                    <a:lnTo>
                      <a:pt x="1250" y="697"/>
                    </a:lnTo>
                    <a:lnTo>
                      <a:pt x="1246" y="698"/>
                    </a:lnTo>
                    <a:lnTo>
                      <a:pt x="1243" y="698"/>
                    </a:lnTo>
                    <a:lnTo>
                      <a:pt x="1240" y="697"/>
                    </a:lnTo>
                    <a:lnTo>
                      <a:pt x="1238" y="696"/>
                    </a:lnTo>
                    <a:lnTo>
                      <a:pt x="1237" y="691"/>
                    </a:lnTo>
                    <a:lnTo>
                      <a:pt x="1235" y="684"/>
                    </a:lnTo>
                    <a:lnTo>
                      <a:pt x="1237" y="672"/>
                    </a:lnTo>
                    <a:lnTo>
                      <a:pt x="1240" y="662"/>
                    </a:lnTo>
                    <a:lnTo>
                      <a:pt x="1241" y="658"/>
                    </a:lnTo>
                    <a:lnTo>
                      <a:pt x="1243" y="654"/>
                    </a:lnTo>
                    <a:lnTo>
                      <a:pt x="1243" y="650"/>
                    </a:lnTo>
                    <a:lnTo>
                      <a:pt x="1243" y="647"/>
                    </a:lnTo>
                    <a:lnTo>
                      <a:pt x="1240" y="643"/>
                    </a:lnTo>
                    <a:lnTo>
                      <a:pt x="1238" y="640"/>
                    </a:lnTo>
                    <a:lnTo>
                      <a:pt x="1233" y="639"/>
                    </a:lnTo>
                    <a:lnTo>
                      <a:pt x="1227" y="636"/>
                    </a:lnTo>
                    <a:lnTo>
                      <a:pt x="1215" y="634"/>
                    </a:lnTo>
                    <a:lnTo>
                      <a:pt x="1202" y="629"/>
                    </a:lnTo>
                    <a:lnTo>
                      <a:pt x="1197" y="626"/>
                    </a:lnTo>
                    <a:lnTo>
                      <a:pt x="1195" y="623"/>
                    </a:lnTo>
                    <a:lnTo>
                      <a:pt x="1194" y="621"/>
                    </a:lnTo>
                    <a:lnTo>
                      <a:pt x="1195" y="617"/>
                    </a:lnTo>
                    <a:lnTo>
                      <a:pt x="1199" y="612"/>
                    </a:lnTo>
                    <a:lnTo>
                      <a:pt x="1206" y="606"/>
                    </a:lnTo>
                    <a:lnTo>
                      <a:pt x="1208" y="603"/>
                    </a:lnTo>
                    <a:lnTo>
                      <a:pt x="1208" y="601"/>
                    </a:lnTo>
                    <a:lnTo>
                      <a:pt x="1208" y="598"/>
                    </a:lnTo>
                    <a:lnTo>
                      <a:pt x="1206" y="596"/>
                    </a:lnTo>
                    <a:lnTo>
                      <a:pt x="1200" y="589"/>
                    </a:lnTo>
                    <a:lnTo>
                      <a:pt x="1193" y="578"/>
                    </a:lnTo>
                    <a:lnTo>
                      <a:pt x="1184" y="564"/>
                    </a:lnTo>
                    <a:lnTo>
                      <a:pt x="1174" y="546"/>
                    </a:lnTo>
                    <a:lnTo>
                      <a:pt x="1164" y="528"/>
                    </a:lnTo>
                    <a:lnTo>
                      <a:pt x="1157" y="514"/>
                    </a:lnTo>
                    <a:lnTo>
                      <a:pt x="1156" y="508"/>
                    </a:lnTo>
                    <a:lnTo>
                      <a:pt x="1155" y="503"/>
                    </a:lnTo>
                    <a:lnTo>
                      <a:pt x="1156" y="500"/>
                    </a:lnTo>
                    <a:lnTo>
                      <a:pt x="1158" y="496"/>
                    </a:lnTo>
                    <a:lnTo>
                      <a:pt x="1162" y="494"/>
                    </a:lnTo>
                    <a:lnTo>
                      <a:pt x="1165" y="491"/>
                    </a:lnTo>
                    <a:lnTo>
                      <a:pt x="1170" y="490"/>
                    </a:lnTo>
                    <a:lnTo>
                      <a:pt x="1175" y="490"/>
                    </a:lnTo>
                    <a:lnTo>
                      <a:pt x="1184" y="490"/>
                    </a:lnTo>
                    <a:lnTo>
                      <a:pt x="1194" y="489"/>
                    </a:lnTo>
                    <a:lnTo>
                      <a:pt x="1199" y="488"/>
                    </a:lnTo>
                    <a:lnTo>
                      <a:pt x="1202" y="486"/>
                    </a:lnTo>
                    <a:lnTo>
                      <a:pt x="1205" y="485"/>
                    </a:lnTo>
                    <a:lnTo>
                      <a:pt x="1207" y="483"/>
                    </a:lnTo>
                    <a:lnTo>
                      <a:pt x="1209" y="477"/>
                    </a:lnTo>
                    <a:lnTo>
                      <a:pt x="1209" y="471"/>
                    </a:lnTo>
                    <a:lnTo>
                      <a:pt x="1208" y="465"/>
                    </a:lnTo>
                    <a:lnTo>
                      <a:pt x="1205" y="459"/>
                    </a:lnTo>
                    <a:lnTo>
                      <a:pt x="1203" y="457"/>
                    </a:lnTo>
                    <a:lnTo>
                      <a:pt x="1202" y="454"/>
                    </a:lnTo>
                    <a:lnTo>
                      <a:pt x="1202" y="452"/>
                    </a:lnTo>
                    <a:lnTo>
                      <a:pt x="1203" y="451"/>
                    </a:lnTo>
                    <a:lnTo>
                      <a:pt x="1207" y="446"/>
                    </a:lnTo>
                    <a:lnTo>
                      <a:pt x="1210" y="439"/>
                    </a:lnTo>
                    <a:lnTo>
                      <a:pt x="1210" y="435"/>
                    </a:lnTo>
                    <a:lnTo>
                      <a:pt x="1209" y="432"/>
                    </a:lnTo>
                    <a:lnTo>
                      <a:pt x="1208" y="429"/>
                    </a:lnTo>
                    <a:lnTo>
                      <a:pt x="1205" y="427"/>
                    </a:lnTo>
                    <a:lnTo>
                      <a:pt x="1196" y="423"/>
                    </a:lnTo>
                    <a:lnTo>
                      <a:pt x="1189" y="420"/>
                    </a:lnTo>
                    <a:lnTo>
                      <a:pt x="1186" y="417"/>
                    </a:lnTo>
                    <a:lnTo>
                      <a:pt x="1183" y="414"/>
                    </a:lnTo>
                    <a:lnTo>
                      <a:pt x="1181" y="412"/>
                    </a:lnTo>
                    <a:lnTo>
                      <a:pt x="1180" y="408"/>
                    </a:lnTo>
                    <a:lnTo>
                      <a:pt x="1178" y="400"/>
                    </a:lnTo>
                    <a:lnTo>
                      <a:pt x="1178" y="391"/>
                    </a:lnTo>
                    <a:lnTo>
                      <a:pt x="1176" y="382"/>
                    </a:lnTo>
                    <a:lnTo>
                      <a:pt x="1172" y="374"/>
                    </a:lnTo>
                    <a:lnTo>
                      <a:pt x="1166" y="364"/>
                    </a:lnTo>
                    <a:lnTo>
                      <a:pt x="1161" y="353"/>
                    </a:lnTo>
                    <a:lnTo>
                      <a:pt x="1155" y="340"/>
                    </a:lnTo>
                    <a:lnTo>
                      <a:pt x="1149" y="325"/>
                    </a:lnTo>
                    <a:lnTo>
                      <a:pt x="1146" y="319"/>
                    </a:lnTo>
                    <a:lnTo>
                      <a:pt x="1144" y="313"/>
                    </a:lnTo>
                    <a:lnTo>
                      <a:pt x="1140" y="308"/>
                    </a:lnTo>
                    <a:lnTo>
                      <a:pt x="1138" y="305"/>
                    </a:lnTo>
                    <a:lnTo>
                      <a:pt x="1120" y="306"/>
                    </a:lnTo>
                    <a:lnTo>
                      <a:pt x="1107" y="307"/>
                    </a:lnTo>
                    <a:lnTo>
                      <a:pt x="1106" y="305"/>
                    </a:lnTo>
                    <a:lnTo>
                      <a:pt x="1108" y="302"/>
                    </a:lnTo>
                    <a:lnTo>
                      <a:pt x="1111" y="300"/>
                    </a:lnTo>
                    <a:lnTo>
                      <a:pt x="1113" y="296"/>
                    </a:lnTo>
                    <a:lnTo>
                      <a:pt x="1117" y="293"/>
                    </a:lnTo>
                    <a:lnTo>
                      <a:pt x="1120" y="287"/>
                    </a:lnTo>
                    <a:lnTo>
                      <a:pt x="1121" y="281"/>
                    </a:lnTo>
                    <a:lnTo>
                      <a:pt x="1121" y="274"/>
                    </a:lnTo>
                    <a:lnTo>
                      <a:pt x="1121" y="270"/>
                    </a:lnTo>
                    <a:lnTo>
                      <a:pt x="1119" y="267"/>
                    </a:lnTo>
                    <a:lnTo>
                      <a:pt x="1118" y="263"/>
                    </a:lnTo>
                    <a:lnTo>
                      <a:pt x="1114" y="261"/>
                    </a:lnTo>
                    <a:lnTo>
                      <a:pt x="1108" y="256"/>
                    </a:lnTo>
                    <a:lnTo>
                      <a:pt x="1101" y="251"/>
                    </a:lnTo>
                    <a:lnTo>
                      <a:pt x="1086" y="245"/>
                    </a:lnTo>
                    <a:lnTo>
                      <a:pt x="1075" y="238"/>
                    </a:lnTo>
                    <a:lnTo>
                      <a:pt x="1071" y="236"/>
                    </a:lnTo>
                    <a:lnTo>
                      <a:pt x="1069" y="232"/>
                    </a:lnTo>
                    <a:lnTo>
                      <a:pt x="1068" y="227"/>
                    </a:lnTo>
                    <a:lnTo>
                      <a:pt x="1068" y="224"/>
                    </a:lnTo>
                    <a:lnTo>
                      <a:pt x="1069" y="215"/>
                    </a:lnTo>
                    <a:lnTo>
                      <a:pt x="1073" y="206"/>
                    </a:lnTo>
                    <a:lnTo>
                      <a:pt x="1075" y="201"/>
                    </a:lnTo>
                    <a:lnTo>
                      <a:pt x="1075" y="196"/>
                    </a:lnTo>
                    <a:lnTo>
                      <a:pt x="1075" y="193"/>
                    </a:lnTo>
                    <a:lnTo>
                      <a:pt x="1074" y="189"/>
                    </a:lnTo>
                    <a:lnTo>
                      <a:pt x="1073" y="187"/>
                    </a:lnTo>
                    <a:lnTo>
                      <a:pt x="1069" y="186"/>
                    </a:lnTo>
                    <a:lnTo>
                      <a:pt x="1065" y="185"/>
                    </a:lnTo>
                    <a:lnTo>
                      <a:pt x="1062" y="186"/>
                    </a:lnTo>
                    <a:lnTo>
                      <a:pt x="1051" y="189"/>
                    </a:lnTo>
                    <a:lnTo>
                      <a:pt x="1042" y="194"/>
                    </a:lnTo>
                    <a:lnTo>
                      <a:pt x="1038" y="198"/>
                    </a:lnTo>
                    <a:lnTo>
                      <a:pt x="1035" y="202"/>
                    </a:lnTo>
                    <a:lnTo>
                      <a:pt x="1032" y="206"/>
                    </a:lnTo>
                    <a:lnTo>
                      <a:pt x="1031" y="211"/>
                    </a:lnTo>
                    <a:lnTo>
                      <a:pt x="1030" y="220"/>
                    </a:lnTo>
                    <a:lnTo>
                      <a:pt x="1027" y="226"/>
                    </a:lnTo>
                    <a:lnTo>
                      <a:pt x="1025" y="229"/>
                    </a:lnTo>
                    <a:lnTo>
                      <a:pt x="1021" y="231"/>
                    </a:lnTo>
                    <a:lnTo>
                      <a:pt x="1018" y="233"/>
                    </a:lnTo>
                    <a:lnTo>
                      <a:pt x="1013" y="233"/>
                    </a:lnTo>
                    <a:lnTo>
                      <a:pt x="1008" y="234"/>
                    </a:lnTo>
                    <a:lnTo>
                      <a:pt x="1005" y="237"/>
                    </a:lnTo>
                    <a:lnTo>
                      <a:pt x="1001" y="239"/>
                    </a:lnTo>
                    <a:lnTo>
                      <a:pt x="999" y="242"/>
                    </a:lnTo>
                    <a:lnTo>
                      <a:pt x="996" y="248"/>
                    </a:lnTo>
                    <a:lnTo>
                      <a:pt x="995" y="256"/>
                    </a:lnTo>
                    <a:lnTo>
                      <a:pt x="995" y="263"/>
                    </a:lnTo>
                    <a:lnTo>
                      <a:pt x="995" y="272"/>
                    </a:lnTo>
                    <a:lnTo>
                      <a:pt x="994" y="277"/>
                    </a:lnTo>
                    <a:lnTo>
                      <a:pt x="993" y="281"/>
                    </a:lnTo>
                    <a:lnTo>
                      <a:pt x="989" y="286"/>
                    </a:lnTo>
                    <a:lnTo>
                      <a:pt x="986" y="290"/>
                    </a:lnTo>
                    <a:lnTo>
                      <a:pt x="981" y="294"/>
                    </a:lnTo>
                    <a:lnTo>
                      <a:pt x="975" y="296"/>
                    </a:lnTo>
                    <a:lnTo>
                      <a:pt x="970" y="299"/>
                    </a:lnTo>
                    <a:lnTo>
                      <a:pt x="966" y="300"/>
                    </a:lnTo>
                    <a:lnTo>
                      <a:pt x="954" y="301"/>
                    </a:lnTo>
                    <a:lnTo>
                      <a:pt x="942" y="301"/>
                    </a:lnTo>
                    <a:lnTo>
                      <a:pt x="936" y="301"/>
                    </a:lnTo>
                    <a:lnTo>
                      <a:pt x="931" y="303"/>
                    </a:lnTo>
                    <a:lnTo>
                      <a:pt x="928" y="306"/>
                    </a:lnTo>
                    <a:lnTo>
                      <a:pt x="924" y="309"/>
                    </a:lnTo>
                    <a:lnTo>
                      <a:pt x="922" y="313"/>
                    </a:lnTo>
                    <a:lnTo>
                      <a:pt x="920" y="318"/>
                    </a:lnTo>
                    <a:lnTo>
                      <a:pt x="920" y="321"/>
                    </a:lnTo>
                    <a:lnTo>
                      <a:pt x="922" y="325"/>
                    </a:lnTo>
                    <a:lnTo>
                      <a:pt x="925" y="333"/>
                    </a:lnTo>
                    <a:lnTo>
                      <a:pt x="929" y="344"/>
                    </a:lnTo>
                    <a:lnTo>
                      <a:pt x="931" y="357"/>
                    </a:lnTo>
                    <a:lnTo>
                      <a:pt x="931" y="372"/>
                    </a:lnTo>
                    <a:lnTo>
                      <a:pt x="931" y="389"/>
                    </a:lnTo>
                    <a:lnTo>
                      <a:pt x="929" y="404"/>
                    </a:lnTo>
                    <a:lnTo>
                      <a:pt x="926" y="410"/>
                    </a:lnTo>
                    <a:lnTo>
                      <a:pt x="924" y="417"/>
                    </a:lnTo>
                    <a:lnTo>
                      <a:pt x="922" y="422"/>
                    </a:lnTo>
                    <a:lnTo>
                      <a:pt x="919" y="426"/>
                    </a:lnTo>
                    <a:lnTo>
                      <a:pt x="917" y="431"/>
                    </a:lnTo>
                    <a:lnTo>
                      <a:pt x="913" y="435"/>
                    </a:lnTo>
                    <a:lnTo>
                      <a:pt x="911" y="441"/>
                    </a:lnTo>
                    <a:lnTo>
                      <a:pt x="910" y="448"/>
                    </a:lnTo>
                    <a:lnTo>
                      <a:pt x="909" y="456"/>
                    </a:lnTo>
                    <a:lnTo>
                      <a:pt x="907" y="460"/>
                    </a:lnTo>
                    <a:lnTo>
                      <a:pt x="906" y="461"/>
                    </a:lnTo>
                    <a:lnTo>
                      <a:pt x="904" y="460"/>
                    </a:lnTo>
                    <a:lnTo>
                      <a:pt x="901" y="459"/>
                    </a:lnTo>
                    <a:lnTo>
                      <a:pt x="898" y="454"/>
                    </a:lnTo>
                    <a:lnTo>
                      <a:pt x="893" y="447"/>
                    </a:lnTo>
                    <a:lnTo>
                      <a:pt x="890" y="439"/>
                    </a:lnTo>
                    <a:lnTo>
                      <a:pt x="886" y="431"/>
                    </a:lnTo>
                    <a:lnTo>
                      <a:pt x="884" y="420"/>
                    </a:lnTo>
                    <a:lnTo>
                      <a:pt x="882" y="415"/>
                    </a:lnTo>
                    <a:lnTo>
                      <a:pt x="880" y="409"/>
                    </a:lnTo>
                    <a:lnTo>
                      <a:pt x="876" y="404"/>
                    </a:lnTo>
                    <a:lnTo>
                      <a:pt x="873" y="400"/>
                    </a:lnTo>
                    <a:lnTo>
                      <a:pt x="866" y="391"/>
                    </a:lnTo>
                    <a:lnTo>
                      <a:pt x="860" y="384"/>
                    </a:lnTo>
                    <a:lnTo>
                      <a:pt x="855" y="377"/>
                    </a:lnTo>
                    <a:lnTo>
                      <a:pt x="851" y="369"/>
                    </a:lnTo>
                    <a:lnTo>
                      <a:pt x="848" y="359"/>
                    </a:lnTo>
                    <a:lnTo>
                      <a:pt x="848" y="350"/>
                    </a:lnTo>
                    <a:lnTo>
                      <a:pt x="849" y="343"/>
                    </a:lnTo>
                    <a:lnTo>
                      <a:pt x="851" y="335"/>
                    </a:lnTo>
                    <a:lnTo>
                      <a:pt x="855" y="330"/>
                    </a:lnTo>
                    <a:lnTo>
                      <a:pt x="857" y="325"/>
                    </a:lnTo>
                    <a:lnTo>
                      <a:pt x="860" y="316"/>
                    </a:lnTo>
                    <a:lnTo>
                      <a:pt x="860" y="307"/>
                    </a:lnTo>
                    <a:lnTo>
                      <a:pt x="860" y="296"/>
                    </a:lnTo>
                    <a:lnTo>
                      <a:pt x="859" y="287"/>
                    </a:lnTo>
                    <a:lnTo>
                      <a:pt x="856" y="276"/>
                    </a:lnTo>
                    <a:lnTo>
                      <a:pt x="854" y="265"/>
                    </a:lnTo>
                    <a:lnTo>
                      <a:pt x="850" y="255"/>
                    </a:lnTo>
                    <a:lnTo>
                      <a:pt x="847" y="244"/>
                    </a:lnTo>
                    <a:lnTo>
                      <a:pt x="844" y="233"/>
                    </a:lnTo>
                    <a:lnTo>
                      <a:pt x="842" y="220"/>
                    </a:lnTo>
                    <a:lnTo>
                      <a:pt x="840" y="206"/>
                    </a:lnTo>
                    <a:lnTo>
                      <a:pt x="840" y="193"/>
                    </a:lnTo>
                    <a:lnTo>
                      <a:pt x="841" y="181"/>
                    </a:lnTo>
                    <a:lnTo>
                      <a:pt x="843" y="169"/>
                    </a:lnTo>
                    <a:lnTo>
                      <a:pt x="846" y="160"/>
                    </a:lnTo>
                    <a:lnTo>
                      <a:pt x="848" y="152"/>
                    </a:lnTo>
                    <a:lnTo>
                      <a:pt x="850" y="137"/>
                    </a:lnTo>
                    <a:lnTo>
                      <a:pt x="850" y="118"/>
                    </a:lnTo>
                    <a:lnTo>
                      <a:pt x="853" y="107"/>
                    </a:lnTo>
                    <a:lnTo>
                      <a:pt x="856" y="95"/>
                    </a:lnTo>
                    <a:lnTo>
                      <a:pt x="860" y="84"/>
                    </a:lnTo>
                    <a:lnTo>
                      <a:pt x="862" y="74"/>
                    </a:lnTo>
                    <a:lnTo>
                      <a:pt x="862" y="63"/>
                    </a:lnTo>
                    <a:lnTo>
                      <a:pt x="862" y="50"/>
                    </a:lnTo>
                    <a:lnTo>
                      <a:pt x="863" y="34"/>
                    </a:lnTo>
                    <a:lnTo>
                      <a:pt x="863" y="13"/>
                    </a:lnTo>
                    <a:lnTo>
                      <a:pt x="863" y="6"/>
                    </a:lnTo>
                    <a:lnTo>
                      <a:pt x="863" y="4"/>
                    </a:lnTo>
                    <a:lnTo>
                      <a:pt x="862" y="3"/>
                    </a:lnTo>
                    <a:lnTo>
                      <a:pt x="856" y="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4" name="青海"/>
              <p:cNvSpPr/>
              <p:nvPr>
                <p:custDataLst>
                  <p:tags r:id="rId41"/>
                </p:custDataLst>
              </p:nvPr>
            </p:nvSpPr>
            <p:spPr bwMode="auto">
              <a:xfrm>
                <a:off x="2323888" y="2803493"/>
                <a:ext cx="1736507" cy="1262914"/>
              </a:xfrm>
              <a:custGeom>
                <a:avLst/>
                <a:gdLst>
                  <a:gd name="T0" fmla="*/ 4484 w 4767"/>
                  <a:gd name="T1" fmla="*/ 1080 h 3475"/>
                  <a:gd name="T2" fmla="*/ 4267 w 4767"/>
                  <a:gd name="T3" fmla="*/ 940 h 3475"/>
                  <a:gd name="T4" fmla="*/ 3970 w 4767"/>
                  <a:gd name="T5" fmla="*/ 724 h 3475"/>
                  <a:gd name="T6" fmla="*/ 3855 w 4767"/>
                  <a:gd name="T7" fmla="*/ 686 h 3475"/>
                  <a:gd name="T8" fmla="*/ 3520 w 4767"/>
                  <a:gd name="T9" fmla="*/ 407 h 3475"/>
                  <a:gd name="T10" fmla="*/ 3316 w 4767"/>
                  <a:gd name="T11" fmla="*/ 341 h 3475"/>
                  <a:gd name="T12" fmla="*/ 3107 w 4767"/>
                  <a:gd name="T13" fmla="*/ 338 h 3475"/>
                  <a:gd name="T14" fmla="*/ 2841 w 4767"/>
                  <a:gd name="T15" fmla="*/ 214 h 3475"/>
                  <a:gd name="T16" fmla="*/ 2741 w 4767"/>
                  <a:gd name="T17" fmla="*/ 462 h 3475"/>
                  <a:gd name="T18" fmla="*/ 2572 w 4767"/>
                  <a:gd name="T19" fmla="*/ 613 h 3475"/>
                  <a:gd name="T20" fmla="*/ 2258 w 4767"/>
                  <a:gd name="T21" fmla="*/ 510 h 3475"/>
                  <a:gd name="T22" fmla="*/ 1977 w 4767"/>
                  <a:gd name="T23" fmla="*/ 266 h 3475"/>
                  <a:gd name="T24" fmla="*/ 1714 w 4767"/>
                  <a:gd name="T25" fmla="*/ 140 h 3475"/>
                  <a:gd name="T26" fmla="*/ 1379 w 4767"/>
                  <a:gd name="T27" fmla="*/ 13 h 3475"/>
                  <a:gd name="T28" fmla="*/ 995 w 4767"/>
                  <a:gd name="T29" fmla="*/ 77 h 3475"/>
                  <a:gd name="T30" fmla="*/ 575 w 4767"/>
                  <a:gd name="T31" fmla="*/ 226 h 3475"/>
                  <a:gd name="T32" fmla="*/ 747 w 4767"/>
                  <a:gd name="T33" fmla="*/ 602 h 3475"/>
                  <a:gd name="T34" fmla="*/ 637 w 4767"/>
                  <a:gd name="T35" fmla="*/ 872 h 3475"/>
                  <a:gd name="T36" fmla="*/ 684 w 4767"/>
                  <a:gd name="T37" fmla="*/ 1099 h 3475"/>
                  <a:gd name="T38" fmla="*/ 620 w 4767"/>
                  <a:gd name="T39" fmla="*/ 1228 h 3475"/>
                  <a:gd name="T40" fmla="*/ 297 w 4767"/>
                  <a:gd name="T41" fmla="*/ 1142 h 3475"/>
                  <a:gd name="T42" fmla="*/ 151 w 4767"/>
                  <a:gd name="T43" fmla="*/ 1229 h 3475"/>
                  <a:gd name="T44" fmla="*/ 160 w 4767"/>
                  <a:gd name="T45" fmla="*/ 1402 h 3475"/>
                  <a:gd name="T46" fmla="*/ 48 w 4767"/>
                  <a:gd name="T47" fmla="*/ 1621 h 3475"/>
                  <a:gd name="T48" fmla="*/ 102 w 4767"/>
                  <a:gd name="T49" fmla="*/ 1783 h 3475"/>
                  <a:gd name="T50" fmla="*/ 25 w 4767"/>
                  <a:gd name="T51" fmla="*/ 2058 h 3475"/>
                  <a:gd name="T52" fmla="*/ 154 w 4767"/>
                  <a:gd name="T53" fmla="*/ 2283 h 3475"/>
                  <a:gd name="T54" fmla="*/ 349 w 4767"/>
                  <a:gd name="T55" fmla="*/ 2480 h 3475"/>
                  <a:gd name="T56" fmla="*/ 535 w 4767"/>
                  <a:gd name="T57" fmla="*/ 2458 h 3475"/>
                  <a:gd name="T58" fmla="*/ 805 w 4767"/>
                  <a:gd name="T59" fmla="*/ 2695 h 3475"/>
                  <a:gd name="T60" fmla="*/ 1068 w 4767"/>
                  <a:gd name="T61" fmla="*/ 2800 h 3475"/>
                  <a:gd name="T62" fmla="*/ 1293 w 4767"/>
                  <a:gd name="T63" fmla="*/ 2908 h 3475"/>
                  <a:gd name="T64" fmla="*/ 1575 w 4767"/>
                  <a:gd name="T65" fmla="*/ 2940 h 3475"/>
                  <a:gd name="T66" fmla="*/ 1799 w 4767"/>
                  <a:gd name="T67" fmla="*/ 3128 h 3475"/>
                  <a:gd name="T68" fmla="*/ 1898 w 4767"/>
                  <a:gd name="T69" fmla="*/ 3362 h 3475"/>
                  <a:gd name="T70" fmla="*/ 2118 w 4767"/>
                  <a:gd name="T71" fmla="*/ 3459 h 3475"/>
                  <a:gd name="T72" fmla="*/ 2153 w 4767"/>
                  <a:gd name="T73" fmla="*/ 3342 h 3475"/>
                  <a:gd name="T74" fmla="*/ 2363 w 4767"/>
                  <a:gd name="T75" fmla="*/ 3450 h 3475"/>
                  <a:gd name="T76" fmla="*/ 2490 w 4767"/>
                  <a:gd name="T77" fmla="*/ 3308 h 3475"/>
                  <a:gd name="T78" fmla="*/ 2607 w 4767"/>
                  <a:gd name="T79" fmla="*/ 3183 h 3475"/>
                  <a:gd name="T80" fmla="*/ 2667 w 4767"/>
                  <a:gd name="T81" fmla="*/ 3041 h 3475"/>
                  <a:gd name="T82" fmla="*/ 2714 w 4767"/>
                  <a:gd name="T83" fmla="*/ 2824 h 3475"/>
                  <a:gd name="T84" fmla="*/ 2705 w 4767"/>
                  <a:gd name="T85" fmla="*/ 2666 h 3475"/>
                  <a:gd name="T86" fmla="*/ 2815 w 4767"/>
                  <a:gd name="T87" fmla="*/ 2484 h 3475"/>
                  <a:gd name="T88" fmla="*/ 3033 w 4767"/>
                  <a:gd name="T89" fmla="*/ 2568 h 3475"/>
                  <a:gd name="T90" fmla="*/ 3163 w 4767"/>
                  <a:gd name="T91" fmla="*/ 2858 h 3475"/>
                  <a:gd name="T92" fmla="*/ 3390 w 4767"/>
                  <a:gd name="T93" fmla="*/ 3058 h 3475"/>
                  <a:gd name="T94" fmla="*/ 3562 w 4767"/>
                  <a:gd name="T95" fmla="*/ 3006 h 3475"/>
                  <a:gd name="T96" fmla="*/ 3656 w 4767"/>
                  <a:gd name="T97" fmla="*/ 3139 h 3475"/>
                  <a:gd name="T98" fmla="*/ 3791 w 4767"/>
                  <a:gd name="T99" fmla="*/ 3233 h 3475"/>
                  <a:gd name="T100" fmla="*/ 3971 w 4767"/>
                  <a:gd name="T101" fmla="*/ 3197 h 3475"/>
                  <a:gd name="T102" fmla="*/ 4081 w 4767"/>
                  <a:gd name="T103" fmla="*/ 2974 h 3475"/>
                  <a:gd name="T104" fmla="*/ 4211 w 4767"/>
                  <a:gd name="T105" fmla="*/ 2888 h 3475"/>
                  <a:gd name="T106" fmla="*/ 4101 w 4767"/>
                  <a:gd name="T107" fmla="*/ 2763 h 3475"/>
                  <a:gd name="T108" fmla="*/ 3917 w 4767"/>
                  <a:gd name="T109" fmla="*/ 2548 h 3475"/>
                  <a:gd name="T110" fmla="*/ 4074 w 4767"/>
                  <a:gd name="T111" fmla="*/ 2490 h 3475"/>
                  <a:gd name="T112" fmla="*/ 4310 w 4767"/>
                  <a:gd name="T113" fmla="*/ 2584 h 3475"/>
                  <a:gd name="T114" fmla="*/ 4414 w 4767"/>
                  <a:gd name="T115" fmla="*/ 2449 h 3475"/>
                  <a:gd name="T116" fmla="*/ 4499 w 4767"/>
                  <a:gd name="T117" fmla="*/ 2126 h 3475"/>
                  <a:gd name="T118" fmla="*/ 4622 w 4767"/>
                  <a:gd name="T119" fmla="*/ 1986 h 3475"/>
                  <a:gd name="T120" fmla="*/ 4720 w 4767"/>
                  <a:gd name="T121" fmla="*/ 1784 h 3475"/>
                  <a:gd name="T122" fmla="*/ 4623 w 4767"/>
                  <a:gd name="T123" fmla="*/ 1483 h 3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67" h="3475">
                    <a:moveTo>
                      <a:pt x="4599" y="1319"/>
                    </a:moveTo>
                    <a:lnTo>
                      <a:pt x="4599" y="1311"/>
                    </a:lnTo>
                    <a:lnTo>
                      <a:pt x="4599" y="1304"/>
                    </a:lnTo>
                    <a:lnTo>
                      <a:pt x="4600" y="1301"/>
                    </a:lnTo>
                    <a:lnTo>
                      <a:pt x="4601" y="1299"/>
                    </a:lnTo>
                    <a:lnTo>
                      <a:pt x="4603" y="1298"/>
                    </a:lnTo>
                    <a:lnTo>
                      <a:pt x="4605" y="1297"/>
                    </a:lnTo>
                    <a:lnTo>
                      <a:pt x="4611" y="1297"/>
                    </a:lnTo>
                    <a:lnTo>
                      <a:pt x="4617" y="1297"/>
                    </a:lnTo>
                    <a:lnTo>
                      <a:pt x="4622" y="1295"/>
                    </a:lnTo>
                    <a:lnTo>
                      <a:pt x="4626" y="1293"/>
                    </a:lnTo>
                    <a:lnTo>
                      <a:pt x="4630" y="1288"/>
                    </a:lnTo>
                    <a:lnTo>
                      <a:pt x="4631" y="1281"/>
                    </a:lnTo>
                    <a:lnTo>
                      <a:pt x="4631" y="1277"/>
                    </a:lnTo>
                    <a:lnTo>
                      <a:pt x="4630" y="1273"/>
                    </a:lnTo>
                    <a:lnTo>
                      <a:pt x="4629" y="1269"/>
                    </a:lnTo>
                    <a:lnTo>
                      <a:pt x="4626" y="1263"/>
                    </a:lnTo>
                    <a:lnTo>
                      <a:pt x="4612" y="1253"/>
                    </a:lnTo>
                    <a:lnTo>
                      <a:pt x="4600" y="1241"/>
                    </a:lnTo>
                    <a:lnTo>
                      <a:pt x="4597" y="1231"/>
                    </a:lnTo>
                    <a:lnTo>
                      <a:pt x="4592" y="1224"/>
                    </a:lnTo>
                    <a:lnTo>
                      <a:pt x="4588" y="1220"/>
                    </a:lnTo>
                    <a:lnTo>
                      <a:pt x="4586" y="1217"/>
                    </a:lnTo>
                    <a:lnTo>
                      <a:pt x="4581" y="1214"/>
                    </a:lnTo>
                    <a:lnTo>
                      <a:pt x="4576" y="1212"/>
                    </a:lnTo>
                    <a:lnTo>
                      <a:pt x="4568" y="1207"/>
                    </a:lnTo>
                    <a:lnTo>
                      <a:pt x="4561" y="1203"/>
                    </a:lnTo>
                    <a:lnTo>
                      <a:pt x="4556" y="1197"/>
                    </a:lnTo>
                    <a:lnTo>
                      <a:pt x="4550" y="1188"/>
                    </a:lnTo>
                    <a:lnTo>
                      <a:pt x="4542" y="1179"/>
                    </a:lnTo>
                    <a:lnTo>
                      <a:pt x="4530" y="1168"/>
                    </a:lnTo>
                    <a:lnTo>
                      <a:pt x="4517" y="1159"/>
                    </a:lnTo>
                    <a:lnTo>
                      <a:pt x="4505" y="1150"/>
                    </a:lnTo>
                    <a:lnTo>
                      <a:pt x="4493" y="1141"/>
                    </a:lnTo>
                    <a:lnTo>
                      <a:pt x="4486" y="1134"/>
                    </a:lnTo>
                    <a:lnTo>
                      <a:pt x="4484" y="1130"/>
                    </a:lnTo>
                    <a:lnTo>
                      <a:pt x="4483" y="1128"/>
                    </a:lnTo>
                    <a:lnTo>
                      <a:pt x="4483" y="1123"/>
                    </a:lnTo>
                    <a:lnTo>
                      <a:pt x="4483" y="1119"/>
                    </a:lnTo>
                    <a:lnTo>
                      <a:pt x="4485" y="1109"/>
                    </a:lnTo>
                    <a:lnTo>
                      <a:pt x="4487" y="1098"/>
                    </a:lnTo>
                    <a:lnTo>
                      <a:pt x="4487" y="1093"/>
                    </a:lnTo>
                    <a:lnTo>
                      <a:pt x="4487" y="1088"/>
                    </a:lnTo>
                    <a:lnTo>
                      <a:pt x="4486" y="1084"/>
                    </a:lnTo>
                    <a:lnTo>
                      <a:pt x="4484" y="1080"/>
                    </a:lnTo>
                    <a:lnTo>
                      <a:pt x="4479" y="1073"/>
                    </a:lnTo>
                    <a:lnTo>
                      <a:pt x="4475" y="1066"/>
                    </a:lnTo>
                    <a:lnTo>
                      <a:pt x="4469" y="1055"/>
                    </a:lnTo>
                    <a:lnTo>
                      <a:pt x="4463" y="1042"/>
                    </a:lnTo>
                    <a:lnTo>
                      <a:pt x="4460" y="1036"/>
                    </a:lnTo>
                    <a:lnTo>
                      <a:pt x="4458" y="1029"/>
                    </a:lnTo>
                    <a:lnTo>
                      <a:pt x="4456" y="1023"/>
                    </a:lnTo>
                    <a:lnTo>
                      <a:pt x="4455" y="1017"/>
                    </a:lnTo>
                    <a:lnTo>
                      <a:pt x="4455" y="1009"/>
                    </a:lnTo>
                    <a:lnTo>
                      <a:pt x="4453" y="1002"/>
                    </a:lnTo>
                    <a:lnTo>
                      <a:pt x="4452" y="998"/>
                    </a:lnTo>
                    <a:lnTo>
                      <a:pt x="4450" y="996"/>
                    </a:lnTo>
                    <a:lnTo>
                      <a:pt x="4448" y="995"/>
                    </a:lnTo>
                    <a:lnTo>
                      <a:pt x="4446" y="995"/>
                    </a:lnTo>
                    <a:lnTo>
                      <a:pt x="4443" y="995"/>
                    </a:lnTo>
                    <a:lnTo>
                      <a:pt x="4441" y="996"/>
                    </a:lnTo>
                    <a:lnTo>
                      <a:pt x="4439" y="997"/>
                    </a:lnTo>
                    <a:lnTo>
                      <a:pt x="4436" y="999"/>
                    </a:lnTo>
                    <a:lnTo>
                      <a:pt x="4430" y="1006"/>
                    </a:lnTo>
                    <a:lnTo>
                      <a:pt x="4421" y="1017"/>
                    </a:lnTo>
                    <a:lnTo>
                      <a:pt x="4406" y="1030"/>
                    </a:lnTo>
                    <a:lnTo>
                      <a:pt x="4396" y="1037"/>
                    </a:lnTo>
                    <a:lnTo>
                      <a:pt x="4391" y="1043"/>
                    </a:lnTo>
                    <a:lnTo>
                      <a:pt x="4389" y="1045"/>
                    </a:lnTo>
                    <a:lnTo>
                      <a:pt x="4385" y="1043"/>
                    </a:lnTo>
                    <a:lnTo>
                      <a:pt x="4380" y="1040"/>
                    </a:lnTo>
                    <a:lnTo>
                      <a:pt x="4371" y="1033"/>
                    </a:lnTo>
                    <a:lnTo>
                      <a:pt x="4357" y="1020"/>
                    </a:lnTo>
                    <a:lnTo>
                      <a:pt x="4349" y="1014"/>
                    </a:lnTo>
                    <a:lnTo>
                      <a:pt x="4346" y="1012"/>
                    </a:lnTo>
                    <a:lnTo>
                      <a:pt x="4343" y="1010"/>
                    </a:lnTo>
                    <a:lnTo>
                      <a:pt x="4336" y="1004"/>
                    </a:lnTo>
                    <a:lnTo>
                      <a:pt x="4337" y="998"/>
                    </a:lnTo>
                    <a:lnTo>
                      <a:pt x="4340" y="987"/>
                    </a:lnTo>
                    <a:lnTo>
                      <a:pt x="4333" y="976"/>
                    </a:lnTo>
                    <a:lnTo>
                      <a:pt x="4323" y="965"/>
                    </a:lnTo>
                    <a:lnTo>
                      <a:pt x="4318" y="959"/>
                    </a:lnTo>
                    <a:lnTo>
                      <a:pt x="4314" y="954"/>
                    </a:lnTo>
                    <a:lnTo>
                      <a:pt x="4307" y="951"/>
                    </a:lnTo>
                    <a:lnTo>
                      <a:pt x="4301" y="946"/>
                    </a:lnTo>
                    <a:lnTo>
                      <a:pt x="4289" y="940"/>
                    </a:lnTo>
                    <a:lnTo>
                      <a:pt x="4282" y="935"/>
                    </a:lnTo>
                    <a:lnTo>
                      <a:pt x="4278" y="935"/>
                    </a:lnTo>
                    <a:lnTo>
                      <a:pt x="4273" y="936"/>
                    </a:lnTo>
                    <a:lnTo>
                      <a:pt x="4267" y="940"/>
                    </a:lnTo>
                    <a:lnTo>
                      <a:pt x="4260" y="943"/>
                    </a:lnTo>
                    <a:lnTo>
                      <a:pt x="4253" y="948"/>
                    </a:lnTo>
                    <a:lnTo>
                      <a:pt x="4247" y="952"/>
                    </a:lnTo>
                    <a:lnTo>
                      <a:pt x="4241" y="953"/>
                    </a:lnTo>
                    <a:lnTo>
                      <a:pt x="4236" y="953"/>
                    </a:lnTo>
                    <a:lnTo>
                      <a:pt x="4222" y="943"/>
                    </a:lnTo>
                    <a:lnTo>
                      <a:pt x="4208" y="936"/>
                    </a:lnTo>
                    <a:lnTo>
                      <a:pt x="4200" y="932"/>
                    </a:lnTo>
                    <a:lnTo>
                      <a:pt x="4194" y="926"/>
                    </a:lnTo>
                    <a:lnTo>
                      <a:pt x="4188" y="919"/>
                    </a:lnTo>
                    <a:lnTo>
                      <a:pt x="4181" y="907"/>
                    </a:lnTo>
                    <a:lnTo>
                      <a:pt x="4172" y="895"/>
                    </a:lnTo>
                    <a:lnTo>
                      <a:pt x="4164" y="886"/>
                    </a:lnTo>
                    <a:lnTo>
                      <a:pt x="4156" y="879"/>
                    </a:lnTo>
                    <a:lnTo>
                      <a:pt x="4144" y="871"/>
                    </a:lnTo>
                    <a:lnTo>
                      <a:pt x="4133" y="864"/>
                    </a:lnTo>
                    <a:lnTo>
                      <a:pt x="4122" y="859"/>
                    </a:lnTo>
                    <a:lnTo>
                      <a:pt x="4114" y="857"/>
                    </a:lnTo>
                    <a:lnTo>
                      <a:pt x="4108" y="856"/>
                    </a:lnTo>
                    <a:lnTo>
                      <a:pt x="4101" y="854"/>
                    </a:lnTo>
                    <a:lnTo>
                      <a:pt x="4093" y="850"/>
                    </a:lnTo>
                    <a:lnTo>
                      <a:pt x="4082" y="844"/>
                    </a:lnTo>
                    <a:lnTo>
                      <a:pt x="4071" y="833"/>
                    </a:lnTo>
                    <a:lnTo>
                      <a:pt x="4065" y="828"/>
                    </a:lnTo>
                    <a:lnTo>
                      <a:pt x="4059" y="823"/>
                    </a:lnTo>
                    <a:lnTo>
                      <a:pt x="4052" y="819"/>
                    </a:lnTo>
                    <a:lnTo>
                      <a:pt x="4046" y="815"/>
                    </a:lnTo>
                    <a:lnTo>
                      <a:pt x="4033" y="809"/>
                    </a:lnTo>
                    <a:lnTo>
                      <a:pt x="4024" y="806"/>
                    </a:lnTo>
                    <a:lnTo>
                      <a:pt x="4020" y="803"/>
                    </a:lnTo>
                    <a:lnTo>
                      <a:pt x="4017" y="800"/>
                    </a:lnTo>
                    <a:lnTo>
                      <a:pt x="4015" y="796"/>
                    </a:lnTo>
                    <a:lnTo>
                      <a:pt x="4014" y="793"/>
                    </a:lnTo>
                    <a:lnTo>
                      <a:pt x="4013" y="784"/>
                    </a:lnTo>
                    <a:lnTo>
                      <a:pt x="4013" y="775"/>
                    </a:lnTo>
                    <a:lnTo>
                      <a:pt x="4013" y="764"/>
                    </a:lnTo>
                    <a:lnTo>
                      <a:pt x="4011" y="753"/>
                    </a:lnTo>
                    <a:lnTo>
                      <a:pt x="4008" y="747"/>
                    </a:lnTo>
                    <a:lnTo>
                      <a:pt x="4006" y="743"/>
                    </a:lnTo>
                    <a:lnTo>
                      <a:pt x="4001" y="737"/>
                    </a:lnTo>
                    <a:lnTo>
                      <a:pt x="3996" y="732"/>
                    </a:lnTo>
                    <a:lnTo>
                      <a:pt x="3989" y="728"/>
                    </a:lnTo>
                    <a:lnTo>
                      <a:pt x="3983" y="726"/>
                    </a:lnTo>
                    <a:lnTo>
                      <a:pt x="3976" y="725"/>
                    </a:lnTo>
                    <a:lnTo>
                      <a:pt x="3970" y="724"/>
                    </a:lnTo>
                    <a:lnTo>
                      <a:pt x="3957" y="724"/>
                    </a:lnTo>
                    <a:lnTo>
                      <a:pt x="3946" y="722"/>
                    </a:lnTo>
                    <a:lnTo>
                      <a:pt x="3942" y="720"/>
                    </a:lnTo>
                    <a:lnTo>
                      <a:pt x="3937" y="716"/>
                    </a:lnTo>
                    <a:lnTo>
                      <a:pt x="3932" y="712"/>
                    </a:lnTo>
                    <a:lnTo>
                      <a:pt x="3927" y="707"/>
                    </a:lnTo>
                    <a:lnTo>
                      <a:pt x="3924" y="702"/>
                    </a:lnTo>
                    <a:lnTo>
                      <a:pt x="3921" y="697"/>
                    </a:lnTo>
                    <a:lnTo>
                      <a:pt x="3919" y="693"/>
                    </a:lnTo>
                    <a:lnTo>
                      <a:pt x="3918" y="688"/>
                    </a:lnTo>
                    <a:lnTo>
                      <a:pt x="3917" y="681"/>
                    </a:lnTo>
                    <a:lnTo>
                      <a:pt x="3914" y="675"/>
                    </a:lnTo>
                    <a:lnTo>
                      <a:pt x="3913" y="674"/>
                    </a:lnTo>
                    <a:lnTo>
                      <a:pt x="3911" y="671"/>
                    </a:lnTo>
                    <a:lnTo>
                      <a:pt x="3908" y="671"/>
                    </a:lnTo>
                    <a:lnTo>
                      <a:pt x="3905" y="671"/>
                    </a:lnTo>
                    <a:lnTo>
                      <a:pt x="3901" y="671"/>
                    </a:lnTo>
                    <a:lnTo>
                      <a:pt x="3898" y="670"/>
                    </a:lnTo>
                    <a:lnTo>
                      <a:pt x="3896" y="669"/>
                    </a:lnTo>
                    <a:lnTo>
                      <a:pt x="3895" y="667"/>
                    </a:lnTo>
                    <a:lnTo>
                      <a:pt x="3894" y="661"/>
                    </a:lnTo>
                    <a:lnTo>
                      <a:pt x="3894" y="651"/>
                    </a:lnTo>
                    <a:lnTo>
                      <a:pt x="3893" y="646"/>
                    </a:lnTo>
                    <a:lnTo>
                      <a:pt x="3892" y="642"/>
                    </a:lnTo>
                    <a:lnTo>
                      <a:pt x="3891" y="637"/>
                    </a:lnTo>
                    <a:lnTo>
                      <a:pt x="3888" y="633"/>
                    </a:lnTo>
                    <a:lnTo>
                      <a:pt x="3882" y="626"/>
                    </a:lnTo>
                    <a:lnTo>
                      <a:pt x="3874" y="619"/>
                    </a:lnTo>
                    <a:lnTo>
                      <a:pt x="3869" y="615"/>
                    </a:lnTo>
                    <a:lnTo>
                      <a:pt x="3863" y="613"/>
                    </a:lnTo>
                    <a:lnTo>
                      <a:pt x="3857" y="609"/>
                    </a:lnTo>
                    <a:lnTo>
                      <a:pt x="3850" y="608"/>
                    </a:lnTo>
                    <a:lnTo>
                      <a:pt x="3844" y="607"/>
                    </a:lnTo>
                    <a:lnTo>
                      <a:pt x="3839" y="608"/>
                    </a:lnTo>
                    <a:lnTo>
                      <a:pt x="3837" y="608"/>
                    </a:lnTo>
                    <a:lnTo>
                      <a:pt x="3835" y="609"/>
                    </a:lnTo>
                    <a:lnTo>
                      <a:pt x="3835" y="612"/>
                    </a:lnTo>
                    <a:lnTo>
                      <a:pt x="3833" y="614"/>
                    </a:lnTo>
                    <a:lnTo>
                      <a:pt x="3833" y="624"/>
                    </a:lnTo>
                    <a:lnTo>
                      <a:pt x="3832" y="633"/>
                    </a:lnTo>
                    <a:lnTo>
                      <a:pt x="3832" y="640"/>
                    </a:lnTo>
                    <a:lnTo>
                      <a:pt x="3837" y="651"/>
                    </a:lnTo>
                    <a:lnTo>
                      <a:pt x="3842" y="662"/>
                    </a:lnTo>
                    <a:lnTo>
                      <a:pt x="3847" y="671"/>
                    </a:lnTo>
                    <a:lnTo>
                      <a:pt x="3855" y="686"/>
                    </a:lnTo>
                    <a:lnTo>
                      <a:pt x="3862" y="701"/>
                    </a:lnTo>
                    <a:lnTo>
                      <a:pt x="3864" y="708"/>
                    </a:lnTo>
                    <a:lnTo>
                      <a:pt x="3866" y="713"/>
                    </a:lnTo>
                    <a:lnTo>
                      <a:pt x="3866" y="718"/>
                    </a:lnTo>
                    <a:lnTo>
                      <a:pt x="3864" y="720"/>
                    </a:lnTo>
                    <a:lnTo>
                      <a:pt x="3863" y="721"/>
                    </a:lnTo>
                    <a:lnTo>
                      <a:pt x="3860" y="721"/>
                    </a:lnTo>
                    <a:lnTo>
                      <a:pt x="3856" y="720"/>
                    </a:lnTo>
                    <a:lnTo>
                      <a:pt x="3850" y="718"/>
                    </a:lnTo>
                    <a:lnTo>
                      <a:pt x="3838" y="711"/>
                    </a:lnTo>
                    <a:lnTo>
                      <a:pt x="3826" y="705"/>
                    </a:lnTo>
                    <a:lnTo>
                      <a:pt x="3814" y="697"/>
                    </a:lnTo>
                    <a:lnTo>
                      <a:pt x="3804" y="690"/>
                    </a:lnTo>
                    <a:lnTo>
                      <a:pt x="3789" y="682"/>
                    </a:lnTo>
                    <a:lnTo>
                      <a:pt x="3773" y="672"/>
                    </a:lnTo>
                    <a:lnTo>
                      <a:pt x="3757" y="663"/>
                    </a:lnTo>
                    <a:lnTo>
                      <a:pt x="3744" y="655"/>
                    </a:lnTo>
                    <a:lnTo>
                      <a:pt x="3731" y="645"/>
                    </a:lnTo>
                    <a:lnTo>
                      <a:pt x="3716" y="633"/>
                    </a:lnTo>
                    <a:lnTo>
                      <a:pt x="3700" y="621"/>
                    </a:lnTo>
                    <a:lnTo>
                      <a:pt x="3690" y="612"/>
                    </a:lnTo>
                    <a:lnTo>
                      <a:pt x="3682" y="602"/>
                    </a:lnTo>
                    <a:lnTo>
                      <a:pt x="3675" y="590"/>
                    </a:lnTo>
                    <a:lnTo>
                      <a:pt x="3669" y="579"/>
                    </a:lnTo>
                    <a:lnTo>
                      <a:pt x="3666" y="569"/>
                    </a:lnTo>
                    <a:lnTo>
                      <a:pt x="3665" y="563"/>
                    </a:lnTo>
                    <a:lnTo>
                      <a:pt x="3663" y="558"/>
                    </a:lnTo>
                    <a:lnTo>
                      <a:pt x="3660" y="554"/>
                    </a:lnTo>
                    <a:lnTo>
                      <a:pt x="3653" y="547"/>
                    </a:lnTo>
                    <a:lnTo>
                      <a:pt x="3644" y="538"/>
                    </a:lnTo>
                    <a:lnTo>
                      <a:pt x="3637" y="529"/>
                    </a:lnTo>
                    <a:lnTo>
                      <a:pt x="3631" y="518"/>
                    </a:lnTo>
                    <a:lnTo>
                      <a:pt x="3624" y="505"/>
                    </a:lnTo>
                    <a:lnTo>
                      <a:pt x="3621" y="499"/>
                    </a:lnTo>
                    <a:lnTo>
                      <a:pt x="3616" y="492"/>
                    </a:lnTo>
                    <a:lnTo>
                      <a:pt x="3610" y="486"/>
                    </a:lnTo>
                    <a:lnTo>
                      <a:pt x="3603" y="479"/>
                    </a:lnTo>
                    <a:lnTo>
                      <a:pt x="3589" y="467"/>
                    </a:lnTo>
                    <a:lnTo>
                      <a:pt x="3575" y="456"/>
                    </a:lnTo>
                    <a:lnTo>
                      <a:pt x="3562" y="445"/>
                    </a:lnTo>
                    <a:lnTo>
                      <a:pt x="3547" y="434"/>
                    </a:lnTo>
                    <a:lnTo>
                      <a:pt x="3534" y="423"/>
                    </a:lnTo>
                    <a:lnTo>
                      <a:pt x="3524" y="415"/>
                    </a:lnTo>
                    <a:lnTo>
                      <a:pt x="3521" y="411"/>
                    </a:lnTo>
                    <a:lnTo>
                      <a:pt x="3520" y="407"/>
                    </a:lnTo>
                    <a:lnTo>
                      <a:pt x="3520" y="405"/>
                    </a:lnTo>
                    <a:lnTo>
                      <a:pt x="3520" y="403"/>
                    </a:lnTo>
                    <a:lnTo>
                      <a:pt x="3521" y="398"/>
                    </a:lnTo>
                    <a:lnTo>
                      <a:pt x="3524" y="392"/>
                    </a:lnTo>
                    <a:lnTo>
                      <a:pt x="3526" y="390"/>
                    </a:lnTo>
                    <a:lnTo>
                      <a:pt x="3524" y="386"/>
                    </a:lnTo>
                    <a:lnTo>
                      <a:pt x="3523" y="384"/>
                    </a:lnTo>
                    <a:lnTo>
                      <a:pt x="3522" y="381"/>
                    </a:lnTo>
                    <a:lnTo>
                      <a:pt x="3516" y="378"/>
                    </a:lnTo>
                    <a:lnTo>
                      <a:pt x="3508" y="375"/>
                    </a:lnTo>
                    <a:lnTo>
                      <a:pt x="3497" y="373"/>
                    </a:lnTo>
                    <a:lnTo>
                      <a:pt x="3486" y="369"/>
                    </a:lnTo>
                    <a:lnTo>
                      <a:pt x="3480" y="366"/>
                    </a:lnTo>
                    <a:lnTo>
                      <a:pt x="3476" y="363"/>
                    </a:lnTo>
                    <a:lnTo>
                      <a:pt x="3470" y="360"/>
                    </a:lnTo>
                    <a:lnTo>
                      <a:pt x="3465" y="355"/>
                    </a:lnTo>
                    <a:lnTo>
                      <a:pt x="3461" y="350"/>
                    </a:lnTo>
                    <a:lnTo>
                      <a:pt x="3459" y="346"/>
                    </a:lnTo>
                    <a:lnTo>
                      <a:pt x="3457" y="341"/>
                    </a:lnTo>
                    <a:lnTo>
                      <a:pt x="3455" y="335"/>
                    </a:lnTo>
                    <a:lnTo>
                      <a:pt x="3452" y="325"/>
                    </a:lnTo>
                    <a:lnTo>
                      <a:pt x="3447" y="316"/>
                    </a:lnTo>
                    <a:lnTo>
                      <a:pt x="3444" y="312"/>
                    </a:lnTo>
                    <a:lnTo>
                      <a:pt x="3440" y="310"/>
                    </a:lnTo>
                    <a:lnTo>
                      <a:pt x="3435" y="309"/>
                    </a:lnTo>
                    <a:lnTo>
                      <a:pt x="3432" y="308"/>
                    </a:lnTo>
                    <a:lnTo>
                      <a:pt x="3427" y="309"/>
                    </a:lnTo>
                    <a:lnTo>
                      <a:pt x="3422" y="311"/>
                    </a:lnTo>
                    <a:lnTo>
                      <a:pt x="3417" y="314"/>
                    </a:lnTo>
                    <a:lnTo>
                      <a:pt x="3413" y="318"/>
                    </a:lnTo>
                    <a:lnTo>
                      <a:pt x="3403" y="330"/>
                    </a:lnTo>
                    <a:lnTo>
                      <a:pt x="3392" y="344"/>
                    </a:lnTo>
                    <a:lnTo>
                      <a:pt x="3382" y="356"/>
                    </a:lnTo>
                    <a:lnTo>
                      <a:pt x="3372" y="366"/>
                    </a:lnTo>
                    <a:lnTo>
                      <a:pt x="3367" y="368"/>
                    </a:lnTo>
                    <a:lnTo>
                      <a:pt x="3363" y="368"/>
                    </a:lnTo>
                    <a:lnTo>
                      <a:pt x="3357" y="368"/>
                    </a:lnTo>
                    <a:lnTo>
                      <a:pt x="3350" y="367"/>
                    </a:lnTo>
                    <a:lnTo>
                      <a:pt x="3338" y="363"/>
                    </a:lnTo>
                    <a:lnTo>
                      <a:pt x="3327" y="359"/>
                    </a:lnTo>
                    <a:lnTo>
                      <a:pt x="3323" y="358"/>
                    </a:lnTo>
                    <a:lnTo>
                      <a:pt x="3321" y="355"/>
                    </a:lnTo>
                    <a:lnTo>
                      <a:pt x="3319" y="352"/>
                    </a:lnTo>
                    <a:lnTo>
                      <a:pt x="3318" y="349"/>
                    </a:lnTo>
                    <a:lnTo>
                      <a:pt x="3316" y="341"/>
                    </a:lnTo>
                    <a:lnTo>
                      <a:pt x="3316" y="330"/>
                    </a:lnTo>
                    <a:lnTo>
                      <a:pt x="3315" y="324"/>
                    </a:lnTo>
                    <a:lnTo>
                      <a:pt x="3312" y="321"/>
                    </a:lnTo>
                    <a:lnTo>
                      <a:pt x="3307" y="317"/>
                    </a:lnTo>
                    <a:lnTo>
                      <a:pt x="3301" y="315"/>
                    </a:lnTo>
                    <a:lnTo>
                      <a:pt x="3294" y="314"/>
                    </a:lnTo>
                    <a:lnTo>
                      <a:pt x="3288" y="314"/>
                    </a:lnTo>
                    <a:lnTo>
                      <a:pt x="3281" y="314"/>
                    </a:lnTo>
                    <a:lnTo>
                      <a:pt x="3276" y="315"/>
                    </a:lnTo>
                    <a:lnTo>
                      <a:pt x="3271" y="317"/>
                    </a:lnTo>
                    <a:lnTo>
                      <a:pt x="3269" y="319"/>
                    </a:lnTo>
                    <a:lnTo>
                      <a:pt x="3266" y="323"/>
                    </a:lnTo>
                    <a:lnTo>
                      <a:pt x="3266" y="327"/>
                    </a:lnTo>
                    <a:lnTo>
                      <a:pt x="3266" y="336"/>
                    </a:lnTo>
                    <a:lnTo>
                      <a:pt x="3266" y="346"/>
                    </a:lnTo>
                    <a:lnTo>
                      <a:pt x="3265" y="350"/>
                    </a:lnTo>
                    <a:lnTo>
                      <a:pt x="3264" y="354"/>
                    </a:lnTo>
                    <a:lnTo>
                      <a:pt x="3260" y="358"/>
                    </a:lnTo>
                    <a:lnTo>
                      <a:pt x="3256" y="362"/>
                    </a:lnTo>
                    <a:lnTo>
                      <a:pt x="3243" y="371"/>
                    </a:lnTo>
                    <a:lnTo>
                      <a:pt x="3227" y="381"/>
                    </a:lnTo>
                    <a:lnTo>
                      <a:pt x="3220" y="386"/>
                    </a:lnTo>
                    <a:lnTo>
                      <a:pt x="3214" y="391"/>
                    </a:lnTo>
                    <a:lnTo>
                      <a:pt x="3211" y="394"/>
                    </a:lnTo>
                    <a:lnTo>
                      <a:pt x="3208" y="398"/>
                    </a:lnTo>
                    <a:lnTo>
                      <a:pt x="3207" y="404"/>
                    </a:lnTo>
                    <a:lnTo>
                      <a:pt x="3205" y="410"/>
                    </a:lnTo>
                    <a:lnTo>
                      <a:pt x="3202" y="413"/>
                    </a:lnTo>
                    <a:lnTo>
                      <a:pt x="3200" y="416"/>
                    </a:lnTo>
                    <a:lnTo>
                      <a:pt x="3197" y="417"/>
                    </a:lnTo>
                    <a:lnTo>
                      <a:pt x="3196" y="417"/>
                    </a:lnTo>
                    <a:lnTo>
                      <a:pt x="3194" y="417"/>
                    </a:lnTo>
                    <a:lnTo>
                      <a:pt x="3192" y="415"/>
                    </a:lnTo>
                    <a:lnTo>
                      <a:pt x="3189" y="412"/>
                    </a:lnTo>
                    <a:lnTo>
                      <a:pt x="3187" y="409"/>
                    </a:lnTo>
                    <a:lnTo>
                      <a:pt x="3183" y="401"/>
                    </a:lnTo>
                    <a:lnTo>
                      <a:pt x="3178" y="393"/>
                    </a:lnTo>
                    <a:lnTo>
                      <a:pt x="3174" y="386"/>
                    </a:lnTo>
                    <a:lnTo>
                      <a:pt x="3165" y="380"/>
                    </a:lnTo>
                    <a:lnTo>
                      <a:pt x="3156" y="374"/>
                    </a:lnTo>
                    <a:lnTo>
                      <a:pt x="3146" y="368"/>
                    </a:lnTo>
                    <a:lnTo>
                      <a:pt x="3137" y="361"/>
                    </a:lnTo>
                    <a:lnTo>
                      <a:pt x="3127" y="354"/>
                    </a:lnTo>
                    <a:lnTo>
                      <a:pt x="3118" y="346"/>
                    </a:lnTo>
                    <a:lnTo>
                      <a:pt x="3107" y="338"/>
                    </a:lnTo>
                    <a:lnTo>
                      <a:pt x="3101" y="336"/>
                    </a:lnTo>
                    <a:lnTo>
                      <a:pt x="3095" y="334"/>
                    </a:lnTo>
                    <a:lnTo>
                      <a:pt x="3090" y="331"/>
                    </a:lnTo>
                    <a:lnTo>
                      <a:pt x="3086" y="331"/>
                    </a:lnTo>
                    <a:lnTo>
                      <a:pt x="3081" y="330"/>
                    </a:lnTo>
                    <a:lnTo>
                      <a:pt x="3079" y="330"/>
                    </a:lnTo>
                    <a:lnTo>
                      <a:pt x="3076" y="329"/>
                    </a:lnTo>
                    <a:lnTo>
                      <a:pt x="3074" y="328"/>
                    </a:lnTo>
                    <a:lnTo>
                      <a:pt x="3073" y="323"/>
                    </a:lnTo>
                    <a:lnTo>
                      <a:pt x="3073" y="316"/>
                    </a:lnTo>
                    <a:lnTo>
                      <a:pt x="3071" y="311"/>
                    </a:lnTo>
                    <a:lnTo>
                      <a:pt x="3069" y="308"/>
                    </a:lnTo>
                    <a:lnTo>
                      <a:pt x="3067" y="304"/>
                    </a:lnTo>
                    <a:lnTo>
                      <a:pt x="3063" y="300"/>
                    </a:lnTo>
                    <a:lnTo>
                      <a:pt x="3054" y="292"/>
                    </a:lnTo>
                    <a:lnTo>
                      <a:pt x="3044" y="284"/>
                    </a:lnTo>
                    <a:lnTo>
                      <a:pt x="3036" y="274"/>
                    </a:lnTo>
                    <a:lnTo>
                      <a:pt x="3025" y="264"/>
                    </a:lnTo>
                    <a:lnTo>
                      <a:pt x="3016" y="254"/>
                    </a:lnTo>
                    <a:lnTo>
                      <a:pt x="3007" y="246"/>
                    </a:lnTo>
                    <a:lnTo>
                      <a:pt x="3001" y="239"/>
                    </a:lnTo>
                    <a:lnTo>
                      <a:pt x="2995" y="232"/>
                    </a:lnTo>
                    <a:lnTo>
                      <a:pt x="2991" y="227"/>
                    </a:lnTo>
                    <a:lnTo>
                      <a:pt x="2985" y="224"/>
                    </a:lnTo>
                    <a:lnTo>
                      <a:pt x="2980" y="224"/>
                    </a:lnTo>
                    <a:lnTo>
                      <a:pt x="2976" y="223"/>
                    </a:lnTo>
                    <a:lnTo>
                      <a:pt x="2972" y="221"/>
                    </a:lnTo>
                    <a:lnTo>
                      <a:pt x="2967" y="214"/>
                    </a:lnTo>
                    <a:lnTo>
                      <a:pt x="2963" y="210"/>
                    </a:lnTo>
                    <a:lnTo>
                      <a:pt x="2957" y="207"/>
                    </a:lnTo>
                    <a:lnTo>
                      <a:pt x="2950" y="203"/>
                    </a:lnTo>
                    <a:lnTo>
                      <a:pt x="2943" y="199"/>
                    </a:lnTo>
                    <a:lnTo>
                      <a:pt x="2926" y="195"/>
                    </a:lnTo>
                    <a:lnTo>
                      <a:pt x="2912" y="189"/>
                    </a:lnTo>
                    <a:lnTo>
                      <a:pt x="2905" y="186"/>
                    </a:lnTo>
                    <a:lnTo>
                      <a:pt x="2898" y="185"/>
                    </a:lnTo>
                    <a:lnTo>
                      <a:pt x="2890" y="185"/>
                    </a:lnTo>
                    <a:lnTo>
                      <a:pt x="2882" y="185"/>
                    </a:lnTo>
                    <a:lnTo>
                      <a:pt x="2874" y="186"/>
                    </a:lnTo>
                    <a:lnTo>
                      <a:pt x="2867" y="189"/>
                    </a:lnTo>
                    <a:lnTo>
                      <a:pt x="2860" y="192"/>
                    </a:lnTo>
                    <a:lnTo>
                      <a:pt x="2854" y="197"/>
                    </a:lnTo>
                    <a:lnTo>
                      <a:pt x="2849" y="203"/>
                    </a:lnTo>
                    <a:lnTo>
                      <a:pt x="2844" y="209"/>
                    </a:lnTo>
                    <a:lnTo>
                      <a:pt x="2841" y="214"/>
                    </a:lnTo>
                    <a:lnTo>
                      <a:pt x="2838" y="220"/>
                    </a:lnTo>
                    <a:lnTo>
                      <a:pt x="2837" y="226"/>
                    </a:lnTo>
                    <a:lnTo>
                      <a:pt x="2837" y="232"/>
                    </a:lnTo>
                    <a:lnTo>
                      <a:pt x="2838" y="236"/>
                    </a:lnTo>
                    <a:lnTo>
                      <a:pt x="2840" y="242"/>
                    </a:lnTo>
                    <a:lnTo>
                      <a:pt x="2842" y="248"/>
                    </a:lnTo>
                    <a:lnTo>
                      <a:pt x="2844" y="255"/>
                    </a:lnTo>
                    <a:lnTo>
                      <a:pt x="2846" y="264"/>
                    </a:lnTo>
                    <a:lnTo>
                      <a:pt x="2846" y="272"/>
                    </a:lnTo>
                    <a:lnTo>
                      <a:pt x="2846" y="280"/>
                    </a:lnTo>
                    <a:lnTo>
                      <a:pt x="2844" y="287"/>
                    </a:lnTo>
                    <a:lnTo>
                      <a:pt x="2843" y="295"/>
                    </a:lnTo>
                    <a:lnTo>
                      <a:pt x="2841" y="302"/>
                    </a:lnTo>
                    <a:lnTo>
                      <a:pt x="2838" y="308"/>
                    </a:lnTo>
                    <a:lnTo>
                      <a:pt x="2836" y="316"/>
                    </a:lnTo>
                    <a:lnTo>
                      <a:pt x="2835" y="324"/>
                    </a:lnTo>
                    <a:lnTo>
                      <a:pt x="2835" y="335"/>
                    </a:lnTo>
                    <a:lnTo>
                      <a:pt x="2835" y="355"/>
                    </a:lnTo>
                    <a:lnTo>
                      <a:pt x="2836" y="375"/>
                    </a:lnTo>
                    <a:lnTo>
                      <a:pt x="2837" y="391"/>
                    </a:lnTo>
                    <a:lnTo>
                      <a:pt x="2840" y="404"/>
                    </a:lnTo>
                    <a:lnTo>
                      <a:pt x="2843" y="415"/>
                    </a:lnTo>
                    <a:lnTo>
                      <a:pt x="2847" y="422"/>
                    </a:lnTo>
                    <a:lnTo>
                      <a:pt x="2848" y="436"/>
                    </a:lnTo>
                    <a:lnTo>
                      <a:pt x="2847" y="449"/>
                    </a:lnTo>
                    <a:lnTo>
                      <a:pt x="2846" y="454"/>
                    </a:lnTo>
                    <a:lnTo>
                      <a:pt x="2843" y="460"/>
                    </a:lnTo>
                    <a:lnTo>
                      <a:pt x="2840" y="464"/>
                    </a:lnTo>
                    <a:lnTo>
                      <a:pt x="2834" y="469"/>
                    </a:lnTo>
                    <a:lnTo>
                      <a:pt x="2827" y="472"/>
                    </a:lnTo>
                    <a:lnTo>
                      <a:pt x="2819" y="472"/>
                    </a:lnTo>
                    <a:lnTo>
                      <a:pt x="2815" y="472"/>
                    </a:lnTo>
                    <a:lnTo>
                      <a:pt x="2810" y="470"/>
                    </a:lnTo>
                    <a:lnTo>
                      <a:pt x="2806" y="468"/>
                    </a:lnTo>
                    <a:lnTo>
                      <a:pt x="2802" y="466"/>
                    </a:lnTo>
                    <a:lnTo>
                      <a:pt x="2787" y="457"/>
                    </a:lnTo>
                    <a:lnTo>
                      <a:pt x="2775" y="453"/>
                    </a:lnTo>
                    <a:lnTo>
                      <a:pt x="2764" y="448"/>
                    </a:lnTo>
                    <a:lnTo>
                      <a:pt x="2753" y="444"/>
                    </a:lnTo>
                    <a:lnTo>
                      <a:pt x="2750" y="444"/>
                    </a:lnTo>
                    <a:lnTo>
                      <a:pt x="2748" y="444"/>
                    </a:lnTo>
                    <a:lnTo>
                      <a:pt x="2747" y="445"/>
                    </a:lnTo>
                    <a:lnTo>
                      <a:pt x="2746" y="448"/>
                    </a:lnTo>
                    <a:lnTo>
                      <a:pt x="2743" y="454"/>
                    </a:lnTo>
                    <a:lnTo>
                      <a:pt x="2741" y="462"/>
                    </a:lnTo>
                    <a:lnTo>
                      <a:pt x="2740" y="469"/>
                    </a:lnTo>
                    <a:lnTo>
                      <a:pt x="2739" y="476"/>
                    </a:lnTo>
                    <a:lnTo>
                      <a:pt x="2737" y="482"/>
                    </a:lnTo>
                    <a:lnTo>
                      <a:pt x="2735" y="486"/>
                    </a:lnTo>
                    <a:lnTo>
                      <a:pt x="2728" y="487"/>
                    </a:lnTo>
                    <a:lnTo>
                      <a:pt x="2720" y="489"/>
                    </a:lnTo>
                    <a:lnTo>
                      <a:pt x="2716" y="491"/>
                    </a:lnTo>
                    <a:lnTo>
                      <a:pt x="2712" y="493"/>
                    </a:lnTo>
                    <a:lnTo>
                      <a:pt x="2710" y="495"/>
                    </a:lnTo>
                    <a:lnTo>
                      <a:pt x="2709" y="499"/>
                    </a:lnTo>
                    <a:lnTo>
                      <a:pt x="2710" y="510"/>
                    </a:lnTo>
                    <a:lnTo>
                      <a:pt x="2712" y="519"/>
                    </a:lnTo>
                    <a:lnTo>
                      <a:pt x="2714" y="524"/>
                    </a:lnTo>
                    <a:lnTo>
                      <a:pt x="2714" y="527"/>
                    </a:lnTo>
                    <a:lnTo>
                      <a:pt x="2712" y="531"/>
                    </a:lnTo>
                    <a:lnTo>
                      <a:pt x="2710" y="533"/>
                    </a:lnTo>
                    <a:lnTo>
                      <a:pt x="2705" y="536"/>
                    </a:lnTo>
                    <a:lnTo>
                      <a:pt x="2703" y="538"/>
                    </a:lnTo>
                    <a:lnTo>
                      <a:pt x="2701" y="543"/>
                    </a:lnTo>
                    <a:lnTo>
                      <a:pt x="2698" y="548"/>
                    </a:lnTo>
                    <a:lnTo>
                      <a:pt x="2696" y="561"/>
                    </a:lnTo>
                    <a:lnTo>
                      <a:pt x="2693" y="574"/>
                    </a:lnTo>
                    <a:lnTo>
                      <a:pt x="2692" y="587"/>
                    </a:lnTo>
                    <a:lnTo>
                      <a:pt x="2690" y="599"/>
                    </a:lnTo>
                    <a:lnTo>
                      <a:pt x="2689" y="604"/>
                    </a:lnTo>
                    <a:lnTo>
                      <a:pt x="2686" y="607"/>
                    </a:lnTo>
                    <a:lnTo>
                      <a:pt x="2685" y="611"/>
                    </a:lnTo>
                    <a:lnTo>
                      <a:pt x="2683" y="612"/>
                    </a:lnTo>
                    <a:lnTo>
                      <a:pt x="2677" y="612"/>
                    </a:lnTo>
                    <a:lnTo>
                      <a:pt x="2672" y="612"/>
                    </a:lnTo>
                    <a:lnTo>
                      <a:pt x="2668" y="609"/>
                    </a:lnTo>
                    <a:lnTo>
                      <a:pt x="2665" y="608"/>
                    </a:lnTo>
                    <a:lnTo>
                      <a:pt x="2658" y="602"/>
                    </a:lnTo>
                    <a:lnTo>
                      <a:pt x="2651" y="596"/>
                    </a:lnTo>
                    <a:lnTo>
                      <a:pt x="2642" y="592"/>
                    </a:lnTo>
                    <a:lnTo>
                      <a:pt x="2633" y="587"/>
                    </a:lnTo>
                    <a:lnTo>
                      <a:pt x="2623" y="582"/>
                    </a:lnTo>
                    <a:lnTo>
                      <a:pt x="2614" y="580"/>
                    </a:lnTo>
                    <a:lnTo>
                      <a:pt x="2609" y="580"/>
                    </a:lnTo>
                    <a:lnTo>
                      <a:pt x="2605" y="581"/>
                    </a:lnTo>
                    <a:lnTo>
                      <a:pt x="2601" y="585"/>
                    </a:lnTo>
                    <a:lnTo>
                      <a:pt x="2597" y="588"/>
                    </a:lnTo>
                    <a:lnTo>
                      <a:pt x="2589" y="598"/>
                    </a:lnTo>
                    <a:lnTo>
                      <a:pt x="2579" y="608"/>
                    </a:lnTo>
                    <a:lnTo>
                      <a:pt x="2572" y="613"/>
                    </a:lnTo>
                    <a:lnTo>
                      <a:pt x="2566" y="615"/>
                    </a:lnTo>
                    <a:lnTo>
                      <a:pt x="2560" y="617"/>
                    </a:lnTo>
                    <a:lnTo>
                      <a:pt x="2556" y="617"/>
                    </a:lnTo>
                    <a:lnTo>
                      <a:pt x="2551" y="617"/>
                    </a:lnTo>
                    <a:lnTo>
                      <a:pt x="2548" y="615"/>
                    </a:lnTo>
                    <a:lnTo>
                      <a:pt x="2546" y="613"/>
                    </a:lnTo>
                    <a:lnTo>
                      <a:pt x="2544" y="611"/>
                    </a:lnTo>
                    <a:lnTo>
                      <a:pt x="2540" y="607"/>
                    </a:lnTo>
                    <a:lnTo>
                      <a:pt x="2535" y="604"/>
                    </a:lnTo>
                    <a:lnTo>
                      <a:pt x="2529" y="601"/>
                    </a:lnTo>
                    <a:lnTo>
                      <a:pt x="2521" y="598"/>
                    </a:lnTo>
                    <a:lnTo>
                      <a:pt x="2506" y="592"/>
                    </a:lnTo>
                    <a:lnTo>
                      <a:pt x="2494" y="586"/>
                    </a:lnTo>
                    <a:lnTo>
                      <a:pt x="2483" y="580"/>
                    </a:lnTo>
                    <a:lnTo>
                      <a:pt x="2474" y="573"/>
                    </a:lnTo>
                    <a:lnTo>
                      <a:pt x="2469" y="569"/>
                    </a:lnTo>
                    <a:lnTo>
                      <a:pt x="2464" y="564"/>
                    </a:lnTo>
                    <a:lnTo>
                      <a:pt x="2460" y="558"/>
                    </a:lnTo>
                    <a:lnTo>
                      <a:pt x="2457" y="551"/>
                    </a:lnTo>
                    <a:lnTo>
                      <a:pt x="2451" y="538"/>
                    </a:lnTo>
                    <a:lnTo>
                      <a:pt x="2445" y="526"/>
                    </a:lnTo>
                    <a:lnTo>
                      <a:pt x="2439" y="517"/>
                    </a:lnTo>
                    <a:lnTo>
                      <a:pt x="2432" y="507"/>
                    </a:lnTo>
                    <a:lnTo>
                      <a:pt x="2422" y="500"/>
                    </a:lnTo>
                    <a:lnTo>
                      <a:pt x="2413" y="494"/>
                    </a:lnTo>
                    <a:lnTo>
                      <a:pt x="2408" y="491"/>
                    </a:lnTo>
                    <a:lnTo>
                      <a:pt x="2403" y="489"/>
                    </a:lnTo>
                    <a:lnTo>
                      <a:pt x="2401" y="488"/>
                    </a:lnTo>
                    <a:lnTo>
                      <a:pt x="2397" y="488"/>
                    </a:lnTo>
                    <a:lnTo>
                      <a:pt x="2390" y="491"/>
                    </a:lnTo>
                    <a:lnTo>
                      <a:pt x="2381" y="495"/>
                    </a:lnTo>
                    <a:lnTo>
                      <a:pt x="2368" y="505"/>
                    </a:lnTo>
                    <a:lnTo>
                      <a:pt x="2351" y="516"/>
                    </a:lnTo>
                    <a:lnTo>
                      <a:pt x="2342" y="520"/>
                    </a:lnTo>
                    <a:lnTo>
                      <a:pt x="2331" y="524"/>
                    </a:lnTo>
                    <a:lnTo>
                      <a:pt x="2326" y="525"/>
                    </a:lnTo>
                    <a:lnTo>
                      <a:pt x="2321" y="525"/>
                    </a:lnTo>
                    <a:lnTo>
                      <a:pt x="2315" y="524"/>
                    </a:lnTo>
                    <a:lnTo>
                      <a:pt x="2311" y="523"/>
                    </a:lnTo>
                    <a:lnTo>
                      <a:pt x="2300" y="518"/>
                    </a:lnTo>
                    <a:lnTo>
                      <a:pt x="2290" y="513"/>
                    </a:lnTo>
                    <a:lnTo>
                      <a:pt x="2282" y="511"/>
                    </a:lnTo>
                    <a:lnTo>
                      <a:pt x="2273" y="508"/>
                    </a:lnTo>
                    <a:lnTo>
                      <a:pt x="2264" y="508"/>
                    </a:lnTo>
                    <a:lnTo>
                      <a:pt x="2258" y="510"/>
                    </a:lnTo>
                    <a:lnTo>
                      <a:pt x="2252" y="512"/>
                    </a:lnTo>
                    <a:lnTo>
                      <a:pt x="2249" y="514"/>
                    </a:lnTo>
                    <a:lnTo>
                      <a:pt x="2246" y="514"/>
                    </a:lnTo>
                    <a:lnTo>
                      <a:pt x="2244" y="513"/>
                    </a:lnTo>
                    <a:lnTo>
                      <a:pt x="2242" y="512"/>
                    </a:lnTo>
                    <a:lnTo>
                      <a:pt x="2241" y="508"/>
                    </a:lnTo>
                    <a:lnTo>
                      <a:pt x="2236" y="501"/>
                    </a:lnTo>
                    <a:lnTo>
                      <a:pt x="2232" y="492"/>
                    </a:lnTo>
                    <a:lnTo>
                      <a:pt x="2229" y="482"/>
                    </a:lnTo>
                    <a:lnTo>
                      <a:pt x="2224" y="473"/>
                    </a:lnTo>
                    <a:lnTo>
                      <a:pt x="2220" y="464"/>
                    </a:lnTo>
                    <a:lnTo>
                      <a:pt x="2214" y="461"/>
                    </a:lnTo>
                    <a:lnTo>
                      <a:pt x="2201" y="455"/>
                    </a:lnTo>
                    <a:lnTo>
                      <a:pt x="2183" y="449"/>
                    </a:lnTo>
                    <a:lnTo>
                      <a:pt x="2167" y="443"/>
                    </a:lnTo>
                    <a:lnTo>
                      <a:pt x="2154" y="437"/>
                    </a:lnTo>
                    <a:lnTo>
                      <a:pt x="2148" y="436"/>
                    </a:lnTo>
                    <a:lnTo>
                      <a:pt x="2143" y="437"/>
                    </a:lnTo>
                    <a:lnTo>
                      <a:pt x="2137" y="438"/>
                    </a:lnTo>
                    <a:lnTo>
                      <a:pt x="2132" y="442"/>
                    </a:lnTo>
                    <a:lnTo>
                      <a:pt x="2126" y="445"/>
                    </a:lnTo>
                    <a:lnTo>
                      <a:pt x="2120" y="448"/>
                    </a:lnTo>
                    <a:lnTo>
                      <a:pt x="2116" y="450"/>
                    </a:lnTo>
                    <a:lnTo>
                      <a:pt x="2110" y="450"/>
                    </a:lnTo>
                    <a:lnTo>
                      <a:pt x="2093" y="449"/>
                    </a:lnTo>
                    <a:lnTo>
                      <a:pt x="2067" y="449"/>
                    </a:lnTo>
                    <a:lnTo>
                      <a:pt x="2053" y="448"/>
                    </a:lnTo>
                    <a:lnTo>
                      <a:pt x="2040" y="448"/>
                    </a:lnTo>
                    <a:lnTo>
                      <a:pt x="2027" y="445"/>
                    </a:lnTo>
                    <a:lnTo>
                      <a:pt x="2016" y="443"/>
                    </a:lnTo>
                    <a:lnTo>
                      <a:pt x="2011" y="441"/>
                    </a:lnTo>
                    <a:lnTo>
                      <a:pt x="2008" y="437"/>
                    </a:lnTo>
                    <a:lnTo>
                      <a:pt x="2005" y="434"/>
                    </a:lnTo>
                    <a:lnTo>
                      <a:pt x="2003" y="429"/>
                    </a:lnTo>
                    <a:lnTo>
                      <a:pt x="1999" y="418"/>
                    </a:lnTo>
                    <a:lnTo>
                      <a:pt x="1997" y="406"/>
                    </a:lnTo>
                    <a:lnTo>
                      <a:pt x="1994" y="380"/>
                    </a:lnTo>
                    <a:lnTo>
                      <a:pt x="1992" y="358"/>
                    </a:lnTo>
                    <a:lnTo>
                      <a:pt x="1989" y="349"/>
                    </a:lnTo>
                    <a:lnTo>
                      <a:pt x="1985" y="340"/>
                    </a:lnTo>
                    <a:lnTo>
                      <a:pt x="1983" y="316"/>
                    </a:lnTo>
                    <a:lnTo>
                      <a:pt x="1981" y="293"/>
                    </a:lnTo>
                    <a:lnTo>
                      <a:pt x="1980" y="283"/>
                    </a:lnTo>
                    <a:lnTo>
                      <a:pt x="1978" y="273"/>
                    </a:lnTo>
                    <a:lnTo>
                      <a:pt x="1977" y="266"/>
                    </a:lnTo>
                    <a:lnTo>
                      <a:pt x="1973" y="261"/>
                    </a:lnTo>
                    <a:lnTo>
                      <a:pt x="1969" y="260"/>
                    </a:lnTo>
                    <a:lnTo>
                      <a:pt x="1965" y="259"/>
                    </a:lnTo>
                    <a:lnTo>
                      <a:pt x="1958" y="258"/>
                    </a:lnTo>
                    <a:lnTo>
                      <a:pt x="1948" y="258"/>
                    </a:lnTo>
                    <a:lnTo>
                      <a:pt x="1928" y="258"/>
                    </a:lnTo>
                    <a:lnTo>
                      <a:pt x="1904" y="259"/>
                    </a:lnTo>
                    <a:lnTo>
                      <a:pt x="1879" y="261"/>
                    </a:lnTo>
                    <a:lnTo>
                      <a:pt x="1855" y="262"/>
                    </a:lnTo>
                    <a:lnTo>
                      <a:pt x="1836" y="262"/>
                    </a:lnTo>
                    <a:lnTo>
                      <a:pt x="1822" y="260"/>
                    </a:lnTo>
                    <a:lnTo>
                      <a:pt x="1813" y="258"/>
                    </a:lnTo>
                    <a:lnTo>
                      <a:pt x="1804" y="254"/>
                    </a:lnTo>
                    <a:lnTo>
                      <a:pt x="1797" y="251"/>
                    </a:lnTo>
                    <a:lnTo>
                      <a:pt x="1790" y="246"/>
                    </a:lnTo>
                    <a:lnTo>
                      <a:pt x="1785" y="240"/>
                    </a:lnTo>
                    <a:lnTo>
                      <a:pt x="1780" y="233"/>
                    </a:lnTo>
                    <a:lnTo>
                      <a:pt x="1777" y="224"/>
                    </a:lnTo>
                    <a:lnTo>
                      <a:pt x="1775" y="215"/>
                    </a:lnTo>
                    <a:lnTo>
                      <a:pt x="1773" y="210"/>
                    </a:lnTo>
                    <a:lnTo>
                      <a:pt x="1773" y="208"/>
                    </a:lnTo>
                    <a:lnTo>
                      <a:pt x="1775" y="205"/>
                    </a:lnTo>
                    <a:lnTo>
                      <a:pt x="1776" y="203"/>
                    </a:lnTo>
                    <a:lnTo>
                      <a:pt x="1779" y="202"/>
                    </a:lnTo>
                    <a:lnTo>
                      <a:pt x="1785" y="202"/>
                    </a:lnTo>
                    <a:lnTo>
                      <a:pt x="1791" y="203"/>
                    </a:lnTo>
                    <a:lnTo>
                      <a:pt x="1798" y="204"/>
                    </a:lnTo>
                    <a:lnTo>
                      <a:pt x="1802" y="204"/>
                    </a:lnTo>
                    <a:lnTo>
                      <a:pt x="1804" y="203"/>
                    </a:lnTo>
                    <a:lnTo>
                      <a:pt x="1808" y="203"/>
                    </a:lnTo>
                    <a:lnTo>
                      <a:pt x="1810" y="201"/>
                    </a:lnTo>
                    <a:lnTo>
                      <a:pt x="1817" y="193"/>
                    </a:lnTo>
                    <a:lnTo>
                      <a:pt x="1820" y="189"/>
                    </a:lnTo>
                    <a:lnTo>
                      <a:pt x="1821" y="185"/>
                    </a:lnTo>
                    <a:lnTo>
                      <a:pt x="1820" y="183"/>
                    </a:lnTo>
                    <a:lnTo>
                      <a:pt x="1820" y="180"/>
                    </a:lnTo>
                    <a:lnTo>
                      <a:pt x="1816" y="176"/>
                    </a:lnTo>
                    <a:lnTo>
                      <a:pt x="1809" y="171"/>
                    </a:lnTo>
                    <a:lnTo>
                      <a:pt x="1794" y="163"/>
                    </a:lnTo>
                    <a:lnTo>
                      <a:pt x="1777" y="153"/>
                    </a:lnTo>
                    <a:lnTo>
                      <a:pt x="1760" y="146"/>
                    </a:lnTo>
                    <a:lnTo>
                      <a:pt x="1752" y="144"/>
                    </a:lnTo>
                    <a:lnTo>
                      <a:pt x="1741" y="142"/>
                    </a:lnTo>
                    <a:lnTo>
                      <a:pt x="1728" y="140"/>
                    </a:lnTo>
                    <a:lnTo>
                      <a:pt x="1714" y="140"/>
                    </a:lnTo>
                    <a:lnTo>
                      <a:pt x="1697" y="139"/>
                    </a:lnTo>
                    <a:lnTo>
                      <a:pt x="1681" y="136"/>
                    </a:lnTo>
                    <a:lnTo>
                      <a:pt x="1664" y="133"/>
                    </a:lnTo>
                    <a:lnTo>
                      <a:pt x="1650" y="129"/>
                    </a:lnTo>
                    <a:lnTo>
                      <a:pt x="1635" y="127"/>
                    </a:lnTo>
                    <a:lnTo>
                      <a:pt x="1624" y="125"/>
                    </a:lnTo>
                    <a:lnTo>
                      <a:pt x="1614" y="125"/>
                    </a:lnTo>
                    <a:lnTo>
                      <a:pt x="1608" y="126"/>
                    </a:lnTo>
                    <a:lnTo>
                      <a:pt x="1606" y="127"/>
                    </a:lnTo>
                    <a:lnTo>
                      <a:pt x="1603" y="125"/>
                    </a:lnTo>
                    <a:lnTo>
                      <a:pt x="1602" y="121"/>
                    </a:lnTo>
                    <a:lnTo>
                      <a:pt x="1602" y="116"/>
                    </a:lnTo>
                    <a:lnTo>
                      <a:pt x="1603" y="102"/>
                    </a:lnTo>
                    <a:lnTo>
                      <a:pt x="1605" y="84"/>
                    </a:lnTo>
                    <a:lnTo>
                      <a:pt x="1607" y="66"/>
                    </a:lnTo>
                    <a:lnTo>
                      <a:pt x="1607" y="48"/>
                    </a:lnTo>
                    <a:lnTo>
                      <a:pt x="1607" y="41"/>
                    </a:lnTo>
                    <a:lnTo>
                      <a:pt x="1607" y="34"/>
                    </a:lnTo>
                    <a:lnTo>
                      <a:pt x="1606" y="29"/>
                    </a:lnTo>
                    <a:lnTo>
                      <a:pt x="1605" y="25"/>
                    </a:lnTo>
                    <a:lnTo>
                      <a:pt x="1600" y="19"/>
                    </a:lnTo>
                    <a:lnTo>
                      <a:pt x="1594" y="15"/>
                    </a:lnTo>
                    <a:lnTo>
                      <a:pt x="1589" y="12"/>
                    </a:lnTo>
                    <a:lnTo>
                      <a:pt x="1583" y="9"/>
                    </a:lnTo>
                    <a:lnTo>
                      <a:pt x="1572" y="8"/>
                    </a:lnTo>
                    <a:lnTo>
                      <a:pt x="1561" y="8"/>
                    </a:lnTo>
                    <a:lnTo>
                      <a:pt x="1556" y="8"/>
                    </a:lnTo>
                    <a:lnTo>
                      <a:pt x="1550" y="7"/>
                    </a:lnTo>
                    <a:lnTo>
                      <a:pt x="1545" y="6"/>
                    </a:lnTo>
                    <a:lnTo>
                      <a:pt x="1540" y="5"/>
                    </a:lnTo>
                    <a:lnTo>
                      <a:pt x="1534" y="2"/>
                    </a:lnTo>
                    <a:lnTo>
                      <a:pt x="1528" y="2"/>
                    </a:lnTo>
                    <a:lnTo>
                      <a:pt x="1521" y="1"/>
                    </a:lnTo>
                    <a:lnTo>
                      <a:pt x="1515" y="2"/>
                    </a:lnTo>
                    <a:lnTo>
                      <a:pt x="1494" y="2"/>
                    </a:lnTo>
                    <a:lnTo>
                      <a:pt x="1469" y="1"/>
                    </a:lnTo>
                    <a:lnTo>
                      <a:pt x="1442" y="1"/>
                    </a:lnTo>
                    <a:lnTo>
                      <a:pt x="1417" y="0"/>
                    </a:lnTo>
                    <a:lnTo>
                      <a:pt x="1406" y="0"/>
                    </a:lnTo>
                    <a:lnTo>
                      <a:pt x="1399" y="2"/>
                    </a:lnTo>
                    <a:lnTo>
                      <a:pt x="1393" y="3"/>
                    </a:lnTo>
                    <a:lnTo>
                      <a:pt x="1389" y="6"/>
                    </a:lnTo>
                    <a:lnTo>
                      <a:pt x="1386" y="9"/>
                    </a:lnTo>
                    <a:lnTo>
                      <a:pt x="1382" y="10"/>
                    </a:lnTo>
                    <a:lnTo>
                      <a:pt x="1379" y="13"/>
                    </a:lnTo>
                    <a:lnTo>
                      <a:pt x="1374" y="13"/>
                    </a:lnTo>
                    <a:lnTo>
                      <a:pt x="1368" y="13"/>
                    </a:lnTo>
                    <a:lnTo>
                      <a:pt x="1363" y="13"/>
                    </a:lnTo>
                    <a:lnTo>
                      <a:pt x="1360" y="15"/>
                    </a:lnTo>
                    <a:lnTo>
                      <a:pt x="1356" y="18"/>
                    </a:lnTo>
                    <a:lnTo>
                      <a:pt x="1350" y="22"/>
                    </a:lnTo>
                    <a:lnTo>
                      <a:pt x="1345" y="28"/>
                    </a:lnTo>
                    <a:lnTo>
                      <a:pt x="1343" y="32"/>
                    </a:lnTo>
                    <a:lnTo>
                      <a:pt x="1341" y="33"/>
                    </a:lnTo>
                    <a:lnTo>
                      <a:pt x="1337" y="34"/>
                    </a:lnTo>
                    <a:lnTo>
                      <a:pt x="1334" y="34"/>
                    </a:lnTo>
                    <a:lnTo>
                      <a:pt x="1325" y="32"/>
                    </a:lnTo>
                    <a:lnTo>
                      <a:pt x="1317" y="29"/>
                    </a:lnTo>
                    <a:lnTo>
                      <a:pt x="1312" y="28"/>
                    </a:lnTo>
                    <a:lnTo>
                      <a:pt x="1307" y="28"/>
                    </a:lnTo>
                    <a:lnTo>
                      <a:pt x="1303" y="28"/>
                    </a:lnTo>
                    <a:lnTo>
                      <a:pt x="1297" y="28"/>
                    </a:lnTo>
                    <a:lnTo>
                      <a:pt x="1285" y="31"/>
                    </a:lnTo>
                    <a:lnTo>
                      <a:pt x="1273" y="35"/>
                    </a:lnTo>
                    <a:lnTo>
                      <a:pt x="1262" y="40"/>
                    </a:lnTo>
                    <a:lnTo>
                      <a:pt x="1254" y="41"/>
                    </a:lnTo>
                    <a:lnTo>
                      <a:pt x="1244" y="43"/>
                    </a:lnTo>
                    <a:lnTo>
                      <a:pt x="1232" y="43"/>
                    </a:lnTo>
                    <a:lnTo>
                      <a:pt x="1219" y="44"/>
                    </a:lnTo>
                    <a:lnTo>
                      <a:pt x="1209" y="45"/>
                    </a:lnTo>
                    <a:lnTo>
                      <a:pt x="1198" y="50"/>
                    </a:lnTo>
                    <a:lnTo>
                      <a:pt x="1187" y="56"/>
                    </a:lnTo>
                    <a:lnTo>
                      <a:pt x="1180" y="59"/>
                    </a:lnTo>
                    <a:lnTo>
                      <a:pt x="1172" y="63"/>
                    </a:lnTo>
                    <a:lnTo>
                      <a:pt x="1164" y="66"/>
                    </a:lnTo>
                    <a:lnTo>
                      <a:pt x="1154" y="68"/>
                    </a:lnTo>
                    <a:lnTo>
                      <a:pt x="1144" y="70"/>
                    </a:lnTo>
                    <a:lnTo>
                      <a:pt x="1135" y="71"/>
                    </a:lnTo>
                    <a:lnTo>
                      <a:pt x="1127" y="71"/>
                    </a:lnTo>
                    <a:lnTo>
                      <a:pt x="1120" y="71"/>
                    </a:lnTo>
                    <a:lnTo>
                      <a:pt x="1103" y="69"/>
                    </a:lnTo>
                    <a:lnTo>
                      <a:pt x="1084" y="65"/>
                    </a:lnTo>
                    <a:lnTo>
                      <a:pt x="1073" y="64"/>
                    </a:lnTo>
                    <a:lnTo>
                      <a:pt x="1062" y="64"/>
                    </a:lnTo>
                    <a:lnTo>
                      <a:pt x="1052" y="64"/>
                    </a:lnTo>
                    <a:lnTo>
                      <a:pt x="1040" y="64"/>
                    </a:lnTo>
                    <a:lnTo>
                      <a:pt x="1029" y="66"/>
                    </a:lnTo>
                    <a:lnTo>
                      <a:pt x="1017" y="69"/>
                    </a:lnTo>
                    <a:lnTo>
                      <a:pt x="1007" y="72"/>
                    </a:lnTo>
                    <a:lnTo>
                      <a:pt x="995" y="77"/>
                    </a:lnTo>
                    <a:lnTo>
                      <a:pt x="976" y="84"/>
                    </a:lnTo>
                    <a:lnTo>
                      <a:pt x="963" y="88"/>
                    </a:lnTo>
                    <a:lnTo>
                      <a:pt x="948" y="90"/>
                    </a:lnTo>
                    <a:lnTo>
                      <a:pt x="927" y="91"/>
                    </a:lnTo>
                    <a:lnTo>
                      <a:pt x="901" y="92"/>
                    </a:lnTo>
                    <a:lnTo>
                      <a:pt x="875" y="94"/>
                    </a:lnTo>
                    <a:lnTo>
                      <a:pt x="851" y="95"/>
                    </a:lnTo>
                    <a:lnTo>
                      <a:pt x="826" y="94"/>
                    </a:lnTo>
                    <a:lnTo>
                      <a:pt x="802" y="92"/>
                    </a:lnTo>
                    <a:lnTo>
                      <a:pt x="782" y="90"/>
                    </a:lnTo>
                    <a:lnTo>
                      <a:pt x="774" y="90"/>
                    </a:lnTo>
                    <a:lnTo>
                      <a:pt x="764" y="91"/>
                    </a:lnTo>
                    <a:lnTo>
                      <a:pt x="755" y="94"/>
                    </a:lnTo>
                    <a:lnTo>
                      <a:pt x="745" y="97"/>
                    </a:lnTo>
                    <a:lnTo>
                      <a:pt x="726" y="107"/>
                    </a:lnTo>
                    <a:lnTo>
                      <a:pt x="705" y="119"/>
                    </a:lnTo>
                    <a:lnTo>
                      <a:pt x="683" y="130"/>
                    </a:lnTo>
                    <a:lnTo>
                      <a:pt x="665" y="138"/>
                    </a:lnTo>
                    <a:lnTo>
                      <a:pt x="649" y="144"/>
                    </a:lnTo>
                    <a:lnTo>
                      <a:pt x="633" y="146"/>
                    </a:lnTo>
                    <a:lnTo>
                      <a:pt x="625" y="147"/>
                    </a:lnTo>
                    <a:lnTo>
                      <a:pt x="618" y="146"/>
                    </a:lnTo>
                    <a:lnTo>
                      <a:pt x="611" y="145"/>
                    </a:lnTo>
                    <a:lnTo>
                      <a:pt x="604" y="142"/>
                    </a:lnTo>
                    <a:lnTo>
                      <a:pt x="598" y="141"/>
                    </a:lnTo>
                    <a:lnTo>
                      <a:pt x="592" y="140"/>
                    </a:lnTo>
                    <a:lnTo>
                      <a:pt x="586" y="140"/>
                    </a:lnTo>
                    <a:lnTo>
                      <a:pt x="580" y="141"/>
                    </a:lnTo>
                    <a:lnTo>
                      <a:pt x="569" y="146"/>
                    </a:lnTo>
                    <a:lnTo>
                      <a:pt x="560" y="151"/>
                    </a:lnTo>
                    <a:lnTo>
                      <a:pt x="554" y="157"/>
                    </a:lnTo>
                    <a:lnTo>
                      <a:pt x="549" y="164"/>
                    </a:lnTo>
                    <a:lnTo>
                      <a:pt x="547" y="170"/>
                    </a:lnTo>
                    <a:lnTo>
                      <a:pt x="545" y="177"/>
                    </a:lnTo>
                    <a:lnTo>
                      <a:pt x="545" y="184"/>
                    </a:lnTo>
                    <a:lnTo>
                      <a:pt x="547" y="191"/>
                    </a:lnTo>
                    <a:lnTo>
                      <a:pt x="549" y="198"/>
                    </a:lnTo>
                    <a:lnTo>
                      <a:pt x="553" y="204"/>
                    </a:lnTo>
                    <a:lnTo>
                      <a:pt x="556" y="210"/>
                    </a:lnTo>
                    <a:lnTo>
                      <a:pt x="560" y="216"/>
                    </a:lnTo>
                    <a:lnTo>
                      <a:pt x="563" y="220"/>
                    </a:lnTo>
                    <a:lnTo>
                      <a:pt x="567" y="223"/>
                    </a:lnTo>
                    <a:lnTo>
                      <a:pt x="569" y="224"/>
                    </a:lnTo>
                    <a:lnTo>
                      <a:pt x="572" y="226"/>
                    </a:lnTo>
                    <a:lnTo>
                      <a:pt x="575" y="226"/>
                    </a:lnTo>
                    <a:lnTo>
                      <a:pt x="579" y="228"/>
                    </a:lnTo>
                    <a:lnTo>
                      <a:pt x="582" y="230"/>
                    </a:lnTo>
                    <a:lnTo>
                      <a:pt x="586" y="235"/>
                    </a:lnTo>
                    <a:lnTo>
                      <a:pt x="592" y="246"/>
                    </a:lnTo>
                    <a:lnTo>
                      <a:pt x="598" y="259"/>
                    </a:lnTo>
                    <a:lnTo>
                      <a:pt x="608" y="284"/>
                    </a:lnTo>
                    <a:lnTo>
                      <a:pt x="616" y="302"/>
                    </a:lnTo>
                    <a:lnTo>
                      <a:pt x="623" y="312"/>
                    </a:lnTo>
                    <a:lnTo>
                      <a:pt x="629" y="328"/>
                    </a:lnTo>
                    <a:lnTo>
                      <a:pt x="635" y="344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3" y="366"/>
                    </a:lnTo>
                    <a:lnTo>
                      <a:pt x="631" y="369"/>
                    </a:lnTo>
                    <a:lnTo>
                      <a:pt x="627" y="371"/>
                    </a:lnTo>
                    <a:lnTo>
                      <a:pt x="618" y="374"/>
                    </a:lnTo>
                    <a:lnTo>
                      <a:pt x="607" y="377"/>
                    </a:lnTo>
                    <a:lnTo>
                      <a:pt x="602" y="379"/>
                    </a:lnTo>
                    <a:lnTo>
                      <a:pt x="599" y="381"/>
                    </a:lnTo>
                    <a:lnTo>
                      <a:pt x="596" y="386"/>
                    </a:lnTo>
                    <a:lnTo>
                      <a:pt x="594" y="392"/>
                    </a:lnTo>
                    <a:lnTo>
                      <a:pt x="593" y="405"/>
                    </a:lnTo>
                    <a:lnTo>
                      <a:pt x="593" y="421"/>
                    </a:lnTo>
                    <a:lnTo>
                      <a:pt x="593" y="428"/>
                    </a:lnTo>
                    <a:lnTo>
                      <a:pt x="595" y="435"/>
                    </a:lnTo>
                    <a:lnTo>
                      <a:pt x="599" y="442"/>
                    </a:lnTo>
                    <a:lnTo>
                      <a:pt x="604" y="448"/>
                    </a:lnTo>
                    <a:lnTo>
                      <a:pt x="608" y="454"/>
                    </a:lnTo>
                    <a:lnTo>
                      <a:pt x="614" y="460"/>
                    </a:lnTo>
                    <a:lnTo>
                      <a:pt x="620" y="464"/>
                    </a:lnTo>
                    <a:lnTo>
                      <a:pt x="627" y="469"/>
                    </a:lnTo>
                    <a:lnTo>
                      <a:pt x="644" y="480"/>
                    </a:lnTo>
                    <a:lnTo>
                      <a:pt x="664" y="493"/>
                    </a:lnTo>
                    <a:lnTo>
                      <a:pt x="687" y="507"/>
                    </a:lnTo>
                    <a:lnTo>
                      <a:pt x="706" y="523"/>
                    </a:lnTo>
                    <a:lnTo>
                      <a:pt x="713" y="531"/>
                    </a:lnTo>
                    <a:lnTo>
                      <a:pt x="718" y="538"/>
                    </a:lnTo>
                    <a:lnTo>
                      <a:pt x="720" y="545"/>
                    </a:lnTo>
                    <a:lnTo>
                      <a:pt x="722" y="552"/>
                    </a:lnTo>
                    <a:lnTo>
                      <a:pt x="725" y="567"/>
                    </a:lnTo>
                    <a:lnTo>
                      <a:pt x="730" y="582"/>
                    </a:lnTo>
                    <a:lnTo>
                      <a:pt x="733" y="589"/>
                    </a:lnTo>
                    <a:lnTo>
                      <a:pt x="737" y="595"/>
                    </a:lnTo>
                    <a:lnTo>
                      <a:pt x="743" y="599"/>
                    </a:lnTo>
                    <a:lnTo>
                      <a:pt x="747" y="602"/>
                    </a:lnTo>
                    <a:lnTo>
                      <a:pt x="759" y="608"/>
                    </a:lnTo>
                    <a:lnTo>
                      <a:pt x="770" y="612"/>
                    </a:lnTo>
                    <a:lnTo>
                      <a:pt x="775" y="614"/>
                    </a:lnTo>
                    <a:lnTo>
                      <a:pt x="778" y="618"/>
                    </a:lnTo>
                    <a:lnTo>
                      <a:pt x="782" y="621"/>
                    </a:lnTo>
                    <a:lnTo>
                      <a:pt x="785" y="626"/>
                    </a:lnTo>
                    <a:lnTo>
                      <a:pt x="790" y="637"/>
                    </a:lnTo>
                    <a:lnTo>
                      <a:pt x="793" y="650"/>
                    </a:lnTo>
                    <a:lnTo>
                      <a:pt x="795" y="665"/>
                    </a:lnTo>
                    <a:lnTo>
                      <a:pt x="797" y="686"/>
                    </a:lnTo>
                    <a:lnTo>
                      <a:pt x="800" y="706"/>
                    </a:lnTo>
                    <a:lnTo>
                      <a:pt x="805" y="721"/>
                    </a:lnTo>
                    <a:lnTo>
                      <a:pt x="809" y="733"/>
                    </a:lnTo>
                    <a:lnTo>
                      <a:pt x="816" y="746"/>
                    </a:lnTo>
                    <a:lnTo>
                      <a:pt x="824" y="758"/>
                    </a:lnTo>
                    <a:lnTo>
                      <a:pt x="828" y="768"/>
                    </a:lnTo>
                    <a:lnTo>
                      <a:pt x="833" y="778"/>
                    </a:lnTo>
                    <a:lnTo>
                      <a:pt x="835" y="794"/>
                    </a:lnTo>
                    <a:lnTo>
                      <a:pt x="837" y="801"/>
                    </a:lnTo>
                    <a:lnTo>
                      <a:pt x="837" y="808"/>
                    </a:lnTo>
                    <a:lnTo>
                      <a:pt x="834" y="814"/>
                    </a:lnTo>
                    <a:lnTo>
                      <a:pt x="832" y="819"/>
                    </a:lnTo>
                    <a:lnTo>
                      <a:pt x="828" y="822"/>
                    </a:lnTo>
                    <a:lnTo>
                      <a:pt x="824" y="823"/>
                    </a:lnTo>
                    <a:lnTo>
                      <a:pt x="819" y="825"/>
                    </a:lnTo>
                    <a:lnTo>
                      <a:pt x="814" y="825"/>
                    </a:lnTo>
                    <a:lnTo>
                      <a:pt x="802" y="822"/>
                    </a:lnTo>
                    <a:lnTo>
                      <a:pt x="788" y="820"/>
                    </a:lnTo>
                    <a:lnTo>
                      <a:pt x="781" y="819"/>
                    </a:lnTo>
                    <a:lnTo>
                      <a:pt x="775" y="820"/>
                    </a:lnTo>
                    <a:lnTo>
                      <a:pt x="770" y="822"/>
                    </a:lnTo>
                    <a:lnTo>
                      <a:pt x="766" y="826"/>
                    </a:lnTo>
                    <a:lnTo>
                      <a:pt x="758" y="834"/>
                    </a:lnTo>
                    <a:lnTo>
                      <a:pt x="747" y="845"/>
                    </a:lnTo>
                    <a:lnTo>
                      <a:pt x="740" y="848"/>
                    </a:lnTo>
                    <a:lnTo>
                      <a:pt x="733" y="851"/>
                    </a:lnTo>
                    <a:lnTo>
                      <a:pt x="724" y="853"/>
                    </a:lnTo>
                    <a:lnTo>
                      <a:pt x="715" y="853"/>
                    </a:lnTo>
                    <a:lnTo>
                      <a:pt x="696" y="853"/>
                    </a:lnTo>
                    <a:lnTo>
                      <a:pt x="681" y="851"/>
                    </a:lnTo>
                    <a:lnTo>
                      <a:pt x="674" y="852"/>
                    </a:lnTo>
                    <a:lnTo>
                      <a:pt x="667" y="853"/>
                    </a:lnTo>
                    <a:lnTo>
                      <a:pt x="658" y="858"/>
                    </a:lnTo>
                    <a:lnTo>
                      <a:pt x="651" y="861"/>
                    </a:lnTo>
                    <a:lnTo>
                      <a:pt x="637" y="872"/>
                    </a:lnTo>
                    <a:lnTo>
                      <a:pt x="625" y="882"/>
                    </a:lnTo>
                    <a:lnTo>
                      <a:pt x="620" y="885"/>
                    </a:lnTo>
                    <a:lnTo>
                      <a:pt x="618" y="889"/>
                    </a:lnTo>
                    <a:lnTo>
                      <a:pt x="616" y="892"/>
                    </a:lnTo>
                    <a:lnTo>
                      <a:pt x="613" y="895"/>
                    </a:lnTo>
                    <a:lnTo>
                      <a:pt x="613" y="898"/>
                    </a:lnTo>
                    <a:lnTo>
                      <a:pt x="613" y="902"/>
                    </a:lnTo>
                    <a:lnTo>
                      <a:pt x="614" y="905"/>
                    </a:lnTo>
                    <a:lnTo>
                      <a:pt x="616" y="908"/>
                    </a:lnTo>
                    <a:lnTo>
                      <a:pt x="617" y="915"/>
                    </a:lnTo>
                    <a:lnTo>
                      <a:pt x="618" y="920"/>
                    </a:lnTo>
                    <a:lnTo>
                      <a:pt x="616" y="924"/>
                    </a:lnTo>
                    <a:lnTo>
                      <a:pt x="612" y="929"/>
                    </a:lnTo>
                    <a:lnTo>
                      <a:pt x="610" y="932"/>
                    </a:lnTo>
                    <a:lnTo>
                      <a:pt x="608" y="936"/>
                    </a:lnTo>
                    <a:lnTo>
                      <a:pt x="607" y="941"/>
                    </a:lnTo>
                    <a:lnTo>
                      <a:pt x="606" y="947"/>
                    </a:lnTo>
                    <a:lnTo>
                      <a:pt x="605" y="961"/>
                    </a:lnTo>
                    <a:lnTo>
                      <a:pt x="607" y="974"/>
                    </a:lnTo>
                    <a:lnTo>
                      <a:pt x="608" y="980"/>
                    </a:lnTo>
                    <a:lnTo>
                      <a:pt x="611" y="984"/>
                    </a:lnTo>
                    <a:lnTo>
                      <a:pt x="613" y="987"/>
                    </a:lnTo>
                    <a:lnTo>
                      <a:pt x="617" y="990"/>
                    </a:lnTo>
                    <a:lnTo>
                      <a:pt x="623" y="992"/>
                    </a:lnTo>
                    <a:lnTo>
                      <a:pt x="630" y="992"/>
                    </a:lnTo>
                    <a:lnTo>
                      <a:pt x="635" y="993"/>
                    </a:lnTo>
                    <a:lnTo>
                      <a:pt x="638" y="995"/>
                    </a:lnTo>
                    <a:lnTo>
                      <a:pt x="639" y="998"/>
                    </a:lnTo>
                    <a:lnTo>
                      <a:pt x="640" y="1004"/>
                    </a:lnTo>
                    <a:lnTo>
                      <a:pt x="642" y="1006"/>
                    </a:lnTo>
                    <a:lnTo>
                      <a:pt x="644" y="1009"/>
                    </a:lnTo>
                    <a:lnTo>
                      <a:pt x="648" y="1010"/>
                    </a:lnTo>
                    <a:lnTo>
                      <a:pt x="652" y="1011"/>
                    </a:lnTo>
                    <a:lnTo>
                      <a:pt x="664" y="1012"/>
                    </a:lnTo>
                    <a:lnTo>
                      <a:pt x="679" y="1015"/>
                    </a:lnTo>
                    <a:lnTo>
                      <a:pt x="686" y="1017"/>
                    </a:lnTo>
                    <a:lnTo>
                      <a:pt x="690" y="1021"/>
                    </a:lnTo>
                    <a:lnTo>
                      <a:pt x="693" y="1026"/>
                    </a:lnTo>
                    <a:lnTo>
                      <a:pt x="694" y="1030"/>
                    </a:lnTo>
                    <a:lnTo>
                      <a:pt x="695" y="1042"/>
                    </a:lnTo>
                    <a:lnTo>
                      <a:pt x="695" y="1054"/>
                    </a:lnTo>
                    <a:lnTo>
                      <a:pt x="694" y="1066"/>
                    </a:lnTo>
                    <a:lnTo>
                      <a:pt x="692" y="1075"/>
                    </a:lnTo>
                    <a:lnTo>
                      <a:pt x="688" y="1087"/>
                    </a:lnTo>
                    <a:lnTo>
                      <a:pt x="684" y="1099"/>
                    </a:lnTo>
                    <a:lnTo>
                      <a:pt x="683" y="1105"/>
                    </a:lnTo>
                    <a:lnTo>
                      <a:pt x="683" y="1110"/>
                    </a:lnTo>
                    <a:lnTo>
                      <a:pt x="684" y="1115"/>
                    </a:lnTo>
                    <a:lnTo>
                      <a:pt x="686" y="1117"/>
                    </a:lnTo>
                    <a:lnTo>
                      <a:pt x="688" y="1119"/>
                    </a:lnTo>
                    <a:lnTo>
                      <a:pt x="690" y="1121"/>
                    </a:lnTo>
                    <a:lnTo>
                      <a:pt x="694" y="1122"/>
                    </a:lnTo>
                    <a:lnTo>
                      <a:pt x="696" y="1123"/>
                    </a:lnTo>
                    <a:lnTo>
                      <a:pt x="700" y="1123"/>
                    </a:lnTo>
                    <a:lnTo>
                      <a:pt x="701" y="1123"/>
                    </a:lnTo>
                    <a:lnTo>
                      <a:pt x="702" y="1124"/>
                    </a:lnTo>
                    <a:lnTo>
                      <a:pt x="702" y="1125"/>
                    </a:lnTo>
                    <a:lnTo>
                      <a:pt x="699" y="1129"/>
                    </a:lnTo>
                    <a:lnTo>
                      <a:pt x="694" y="1132"/>
                    </a:lnTo>
                    <a:lnTo>
                      <a:pt x="692" y="1135"/>
                    </a:lnTo>
                    <a:lnTo>
                      <a:pt x="690" y="1137"/>
                    </a:lnTo>
                    <a:lnTo>
                      <a:pt x="689" y="1140"/>
                    </a:lnTo>
                    <a:lnTo>
                      <a:pt x="689" y="1142"/>
                    </a:lnTo>
                    <a:lnTo>
                      <a:pt x="690" y="1147"/>
                    </a:lnTo>
                    <a:lnTo>
                      <a:pt x="695" y="1153"/>
                    </a:lnTo>
                    <a:lnTo>
                      <a:pt x="696" y="1155"/>
                    </a:lnTo>
                    <a:lnTo>
                      <a:pt x="699" y="1159"/>
                    </a:lnTo>
                    <a:lnTo>
                      <a:pt x="700" y="1163"/>
                    </a:lnTo>
                    <a:lnTo>
                      <a:pt x="701" y="1169"/>
                    </a:lnTo>
                    <a:lnTo>
                      <a:pt x="701" y="1180"/>
                    </a:lnTo>
                    <a:lnTo>
                      <a:pt x="700" y="1192"/>
                    </a:lnTo>
                    <a:lnTo>
                      <a:pt x="699" y="1198"/>
                    </a:lnTo>
                    <a:lnTo>
                      <a:pt x="696" y="1201"/>
                    </a:lnTo>
                    <a:lnTo>
                      <a:pt x="694" y="1205"/>
                    </a:lnTo>
                    <a:lnTo>
                      <a:pt x="690" y="1207"/>
                    </a:lnTo>
                    <a:lnTo>
                      <a:pt x="687" y="1209"/>
                    </a:lnTo>
                    <a:lnTo>
                      <a:pt x="683" y="1210"/>
                    </a:lnTo>
                    <a:lnTo>
                      <a:pt x="679" y="1210"/>
                    </a:lnTo>
                    <a:lnTo>
                      <a:pt x="674" y="1209"/>
                    </a:lnTo>
                    <a:lnTo>
                      <a:pt x="664" y="1207"/>
                    </a:lnTo>
                    <a:lnTo>
                      <a:pt x="656" y="1209"/>
                    </a:lnTo>
                    <a:lnTo>
                      <a:pt x="652" y="1210"/>
                    </a:lnTo>
                    <a:lnTo>
                      <a:pt x="649" y="1212"/>
                    </a:lnTo>
                    <a:lnTo>
                      <a:pt x="646" y="1214"/>
                    </a:lnTo>
                    <a:lnTo>
                      <a:pt x="643" y="1217"/>
                    </a:lnTo>
                    <a:lnTo>
                      <a:pt x="640" y="1220"/>
                    </a:lnTo>
                    <a:lnTo>
                      <a:pt x="637" y="1223"/>
                    </a:lnTo>
                    <a:lnTo>
                      <a:pt x="633" y="1224"/>
                    </a:lnTo>
                    <a:lnTo>
                      <a:pt x="630" y="1226"/>
                    </a:lnTo>
                    <a:lnTo>
                      <a:pt x="620" y="1228"/>
                    </a:lnTo>
                    <a:lnTo>
                      <a:pt x="610" y="1228"/>
                    </a:lnTo>
                    <a:lnTo>
                      <a:pt x="605" y="1226"/>
                    </a:lnTo>
                    <a:lnTo>
                      <a:pt x="600" y="1225"/>
                    </a:lnTo>
                    <a:lnTo>
                      <a:pt x="595" y="1223"/>
                    </a:lnTo>
                    <a:lnTo>
                      <a:pt x="592" y="1219"/>
                    </a:lnTo>
                    <a:lnTo>
                      <a:pt x="583" y="1212"/>
                    </a:lnTo>
                    <a:lnTo>
                      <a:pt x="577" y="1204"/>
                    </a:lnTo>
                    <a:lnTo>
                      <a:pt x="570" y="1194"/>
                    </a:lnTo>
                    <a:lnTo>
                      <a:pt x="563" y="1186"/>
                    </a:lnTo>
                    <a:lnTo>
                      <a:pt x="555" y="1178"/>
                    </a:lnTo>
                    <a:lnTo>
                      <a:pt x="544" y="1171"/>
                    </a:lnTo>
                    <a:lnTo>
                      <a:pt x="533" y="1162"/>
                    </a:lnTo>
                    <a:lnTo>
                      <a:pt x="520" y="1156"/>
                    </a:lnTo>
                    <a:lnTo>
                      <a:pt x="509" y="1151"/>
                    </a:lnTo>
                    <a:lnTo>
                      <a:pt x="499" y="1150"/>
                    </a:lnTo>
                    <a:lnTo>
                      <a:pt x="488" y="1150"/>
                    </a:lnTo>
                    <a:lnTo>
                      <a:pt x="475" y="1150"/>
                    </a:lnTo>
                    <a:lnTo>
                      <a:pt x="468" y="1150"/>
                    </a:lnTo>
                    <a:lnTo>
                      <a:pt x="461" y="1149"/>
                    </a:lnTo>
                    <a:lnTo>
                      <a:pt x="454" y="1147"/>
                    </a:lnTo>
                    <a:lnTo>
                      <a:pt x="447" y="1144"/>
                    </a:lnTo>
                    <a:lnTo>
                      <a:pt x="429" y="1137"/>
                    </a:lnTo>
                    <a:lnTo>
                      <a:pt x="410" y="1130"/>
                    </a:lnTo>
                    <a:lnTo>
                      <a:pt x="400" y="1127"/>
                    </a:lnTo>
                    <a:lnTo>
                      <a:pt x="392" y="1123"/>
                    </a:lnTo>
                    <a:lnTo>
                      <a:pt x="385" y="1118"/>
                    </a:lnTo>
                    <a:lnTo>
                      <a:pt x="381" y="1115"/>
                    </a:lnTo>
                    <a:lnTo>
                      <a:pt x="375" y="1105"/>
                    </a:lnTo>
                    <a:lnTo>
                      <a:pt x="369" y="1094"/>
                    </a:lnTo>
                    <a:lnTo>
                      <a:pt x="362" y="1084"/>
                    </a:lnTo>
                    <a:lnTo>
                      <a:pt x="354" y="1074"/>
                    </a:lnTo>
                    <a:lnTo>
                      <a:pt x="346" y="1067"/>
                    </a:lnTo>
                    <a:lnTo>
                      <a:pt x="339" y="1062"/>
                    </a:lnTo>
                    <a:lnTo>
                      <a:pt x="335" y="1062"/>
                    </a:lnTo>
                    <a:lnTo>
                      <a:pt x="333" y="1062"/>
                    </a:lnTo>
                    <a:lnTo>
                      <a:pt x="330" y="1065"/>
                    </a:lnTo>
                    <a:lnTo>
                      <a:pt x="329" y="1068"/>
                    </a:lnTo>
                    <a:lnTo>
                      <a:pt x="327" y="1081"/>
                    </a:lnTo>
                    <a:lnTo>
                      <a:pt x="322" y="1098"/>
                    </a:lnTo>
                    <a:lnTo>
                      <a:pt x="316" y="1116"/>
                    </a:lnTo>
                    <a:lnTo>
                      <a:pt x="311" y="1129"/>
                    </a:lnTo>
                    <a:lnTo>
                      <a:pt x="308" y="1132"/>
                    </a:lnTo>
                    <a:lnTo>
                      <a:pt x="304" y="1137"/>
                    </a:lnTo>
                    <a:lnTo>
                      <a:pt x="300" y="1140"/>
                    </a:lnTo>
                    <a:lnTo>
                      <a:pt x="297" y="1142"/>
                    </a:lnTo>
                    <a:lnTo>
                      <a:pt x="293" y="1144"/>
                    </a:lnTo>
                    <a:lnTo>
                      <a:pt x="289" y="1144"/>
                    </a:lnTo>
                    <a:lnTo>
                      <a:pt x="285" y="1144"/>
                    </a:lnTo>
                    <a:lnTo>
                      <a:pt x="280" y="1142"/>
                    </a:lnTo>
                    <a:lnTo>
                      <a:pt x="273" y="1138"/>
                    </a:lnTo>
                    <a:lnTo>
                      <a:pt x="266" y="1137"/>
                    </a:lnTo>
                    <a:lnTo>
                      <a:pt x="258" y="1137"/>
                    </a:lnTo>
                    <a:lnTo>
                      <a:pt x="246" y="1136"/>
                    </a:lnTo>
                    <a:lnTo>
                      <a:pt x="236" y="1135"/>
                    </a:lnTo>
                    <a:lnTo>
                      <a:pt x="226" y="1131"/>
                    </a:lnTo>
                    <a:lnTo>
                      <a:pt x="215" y="1128"/>
                    </a:lnTo>
                    <a:lnTo>
                      <a:pt x="202" y="1122"/>
                    </a:lnTo>
                    <a:lnTo>
                      <a:pt x="196" y="1118"/>
                    </a:lnTo>
                    <a:lnTo>
                      <a:pt x="191" y="1117"/>
                    </a:lnTo>
                    <a:lnTo>
                      <a:pt x="186" y="1118"/>
                    </a:lnTo>
                    <a:lnTo>
                      <a:pt x="180" y="1122"/>
                    </a:lnTo>
                    <a:lnTo>
                      <a:pt x="174" y="1125"/>
                    </a:lnTo>
                    <a:lnTo>
                      <a:pt x="167" y="1129"/>
                    </a:lnTo>
                    <a:lnTo>
                      <a:pt x="160" y="1132"/>
                    </a:lnTo>
                    <a:lnTo>
                      <a:pt x="153" y="1134"/>
                    </a:lnTo>
                    <a:lnTo>
                      <a:pt x="142" y="1135"/>
                    </a:lnTo>
                    <a:lnTo>
                      <a:pt x="135" y="1136"/>
                    </a:lnTo>
                    <a:lnTo>
                      <a:pt x="133" y="1136"/>
                    </a:lnTo>
                    <a:lnTo>
                      <a:pt x="130" y="1137"/>
                    </a:lnTo>
                    <a:lnTo>
                      <a:pt x="129" y="1140"/>
                    </a:lnTo>
                    <a:lnTo>
                      <a:pt x="127" y="1142"/>
                    </a:lnTo>
                    <a:lnTo>
                      <a:pt x="125" y="1146"/>
                    </a:lnTo>
                    <a:lnTo>
                      <a:pt x="121" y="1148"/>
                    </a:lnTo>
                    <a:lnTo>
                      <a:pt x="116" y="1150"/>
                    </a:lnTo>
                    <a:lnTo>
                      <a:pt x="110" y="1151"/>
                    </a:lnTo>
                    <a:lnTo>
                      <a:pt x="107" y="1151"/>
                    </a:lnTo>
                    <a:lnTo>
                      <a:pt x="104" y="1153"/>
                    </a:lnTo>
                    <a:lnTo>
                      <a:pt x="103" y="1155"/>
                    </a:lnTo>
                    <a:lnTo>
                      <a:pt x="102" y="1157"/>
                    </a:lnTo>
                    <a:lnTo>
                      <a:pt x="101" y="1163"/>
                    </a:lnTo>
                    <a:lnTo>
                      <a:pt x="101" y="1169"/>
                    </a:lnTo>
                    <a:lnTo>
                      <a:pt x="102" y="1176"/>
                    </a:lnTo>
                    <a:lnTo>
                      <a:pt x="103" y="1182"/>
                    </a:lnTo>
                    <a:lnTo>
                      <a:pt x="108" y="1190"/>
                    </a:lnTo>
                    <a:lnTo>
                      <a:pt x="114" y="1197"/>
                    </a:lnTo>
                    <a:lnTo>
                      <a:pt x="122" y="1205"/>
                    </a:lnTo>
                    <a:lnTo>
                      <a:pt x="129" y="1213"/>
                    </a:lnTo>
                    <a:lnTo>
                      <a:pt x="136" y="1220"/>
                    </a:lnTo>
                    <a:lnTo>
                      <a:pt x="144" y="1225"/>
                    </a:lnTo>
                    <a:lnTo>
                      <a:pt x="151" y="1229"/>
                    </a:lnTo>
                    <a:lnTo>
                      <a:pt x="160" y="1230"/>
                    </a:lnTo>
                    <a:lnTo>
                      <a:pt x="172" y="1231"/>
                    </a:lnTo>
                    <a:lnTo>
                      <a:pt x="186" y="1231"/>
                    </a:lnTo>
                    <a:lnTo>
                      <a:pt x="193" y="1232"/>
                    </a:lnTo>
                    <a:lnTo>
                      <a:pt x="198" y="1234"/>
                    </a:lnTo>
                    <a:lnTo>
                      <a:pt x="203" y="1235"/>
                    </a:lnTo>
                    <a:lnTo>
                      <a:pt x="207" y="1237"/>
                    </a:lnTo>
                    <a:lnTo>
                      <a:pt x="209" y="1239"/>
                    </a:lnTo>
                    <a:lnTo>
                      <a:pt x="210" y="1243"/>
                    </a:lnTo>
                    <a:lnTo>
                      <a:pt x="211" y="1247"/>
                    </a:lnTo>
                    <a:lnTo>
                      <a:pt x="211" y="1250"/>
                    </a:lnTo>
                    <a:lnTo>
                      <a:pt x="210" y="1254"/>
                    </a:lnTo>
                    <a:lnTo>
                      <a:pt x="209" y="1258"/>
                    </a:lnTo>
                    <a:lnTo>
                      <a:pt x="207" y="1263"/>
                    </a:lnTo>
                    <a:lnTo>
                      <a:pt x="204" y="1268"/>
                    </a:lnTo>
                    <a:lnTo>
                      <a:pt x="197" y="1277"/>
                    </a:lnTo>
                    <a:lnTo>
                      <a:pt x="189" y="1286"/>
                    </a:lnTo>
                    <a:lnTo>
                      <a:pt x="185" y="1292"/>
                    </a:lnTo>
                    <a:lnTo>
                      <a:pt x="182" y="1297"/>
                    </a:lnTo>
                    <a:lnTo>
                      <a:pt x="179" y="1304"/>
                    </a:lnTo>
                    <a:lnTo>
                      <a:pt x="177" y="1310"/>
                    </a:lnTo>
                    <a:lnTo>
                      <a:pt x="176" y="1316"/>
                    </a:lnTo>
                    <a:lnTo>
                      <a:pt x="176" y="1321"/>
                    </a:lnTo>
                    <a:lnTo>
                      <a:pt x="176" y="1327"/>
                    </a:lnTo>
                    <a:lnTo>
                      <a:pt x="177" y="1332"/>
                    </a:lnTo>
                    <a:lnTo>
                      <a:pt x="180" y="1339"/>
                    </a:lnTo>
                    <a:lnTo>
                      <a:pt x="183" y="1346"/>
                    </a:lnTo>
                    <a:lnTo>
                      <a:pt x="183" y="1349"/>
                    </a:lnTo>
                    <a:lnTo>
                      <a:pt x="183" y="1351"/>
                    </a:lnTo>
                    <a:lnTo>
                      <a:pt x="180" y="1352"/>
                    </a:lnTo>
                    <a:lnTo>
                      <a:pt x="178" y="1355"/>
                    </a:lnTo>
                    <a:lnTo>
                      <a:pt x="173" y="1357"/>
                    </a:lnTo>
                    <a:lnTo>
                      <a:pt x="170" y="1359"/>
                    </a:lnTo>
                    <a:lnTo>
                      <a:pt x="167" y="1362"/>
                    </a:lnTo>
                    <a:lnTo>
                      <a:pt x="165" y="1364"/>
                    </a:lnTo>
                    <a:lnTo>
                      <a:pt x="164" y="1368"/>
                    </a:lnTo>
                    <a:lnTo>
                      <a:pt x="163" y="1371"/>
                    </a:lnTo>
                    <a:lnTo>
                      <a:pt x="164" y="1375"/>
                    </a:lnTo>
                    <a:lnTo>
                      <a:pt x="165" y="1377"/>
                    </a:lnTo>
                    <a:lnTo>
                      <a:pt x="166" y="1382"/>
                    </a:lnTo>
                    <a:lnTo>
                      <a:pt x="167" y="1388"/>
                    </a:lnTo>
                    <a:lnTo>
                      <a:pt x="166" y="1392"/>
                    </a:lnTo>
                    <a:lnTo>
                      <a:pt x="165" y="1395"/>
                    </a:lnTo>
                    <a:lnTo>
                      <a:pt x="163" y="1399"/>
                    </a:lnTo>
                    <a:lnTo>
                      <a:pt x="160" y="1402"/>
                    </a:lnTo>
                    <a:lnTo>
                      <a:pt x="153" y="1407"/>
                    </a:lnTo>
                    <a:lnTo>
                      <a:pt x="146" y="1411"/>
                    </a:lnTo>
                    <a:lnTo>
                      <a:pt x="136" y="1413"/>
                    </a:lnTo>
                    <a:lnTo>
                      <a:pt x="123" y="1415"/>
                    </a:lnTo>
                    <a:lnTo>
                      <a:pt x="108" y="1417"/>
                    </a:lnTo>
                    <a:lnTo>
                      <a:pt x="94" y="1419"/>
                    </a:lnTo>
                    <a:lnTo>
                      <a:pt x="87" y="1421"/>
                    </a:lnTo>
                    <a:lnTo>
                      <a:pt x="82" y="1425"/>
                    </a:lnTo>
                    <a:lnTo>
                      <a:pt x="77" y="1428"/>
                    </a:lnTo>
                    <a:lnTo>
                      <a:pt x="75" y="1434"/>
                    </a:lnTo>
                    <a:lnTo>
                      <a:pt x="72" y="1445"/>
                    </a:lnTo>
                    <a:lnTo>
                      <a:pt x="72" y="1453"/>
                    </a:lnTo>
                    <a:lnTo>
                      <a:pt x="71" y="1457"/>
                    </a:lnTo>
                    <a:lnTo>
                      <a:pt x="71" y="1459"/>
                    </a:lnTo>
                    <a:lnTo>
                      <a:pt x="70" y="1462"/>
                    </a:lnTo>
                    <a:lnTo>
                      <a:pt x="67" y="1463"/>
                    </a:lnTo>
                    <a:lnTo>
                      <a:pt x="62" y="1466"/>
                    </a:lnTo>
                    <a:lnTo>
                      <a:pt x="54" y="1470"/>
                    </a:lnTo>
                    <a:lnTo>
                      <a:pt x="52" y="1471"/>
                    </a:lnTo>
                    <a:lnTo>
                      <a:pt x="48" y="1475"/>
                    </a:lnTo>
                    <a:lnTo>
                      <a:pt x="46" y="1477"/>
                    </a:lnTo>
                    <a:lnTo>
                      <a:pt x="45" y="1481"/>
                    </a:lnTo>
                    <a:lnTo>
                      <a:pt x="44" y="1489"/>
                    </a:lnTo>
                    <a:lnTo>
                      <a:pt x="46" y="1499"/>
                    </a:lnTo>
                    <a:lnTo>
                      <a:pt x="47" y="1503"/>
                    </a:lnTo>
                    <a:lnTo>
                      <a:pt x="50" y="1509"/>
                    </a:lnTo>
                    <a:lnTo>
                      <a:pt x="52" y="1513"/>
                    </a:lnTo>
                    <a:lnTo>
                      <a:pt x="54" y="1518"/>
                    </a:lnTo>
                    <a:lnTo>
                      <a:pt x="62" y="1525"/>
                    </a:lnTo>
                    <a:lnTo>
                      <a:pt x="69" y="1532"/>
                    </a:lnTo>
                    <a:lnTo>
                      <a:pt x="72" y="1535"/>
                    </a:lnTo>
                    <a:lnTo>
                      <a:pt x="75" y="1539"/>
                    </a:lnTo>
                    <a:lnTo>
                      <a:pt x="77" y="1544"/>
                    </a:lnTo>
                    <a:lnTo>
                      <a:pt x="79" y="1547"/>
                    </a:lnTo>
                    <a:lnTo>
                      <a:pt x="79" y="1552"/>
                    </a:lnTo>
                    <a:lnTo>
                      <a:pt x="79" y="1556"/>
                    </a:lnTo>
                    <a:lnTo>
                      <a:pt x="77" y="1560"/>
                    </a:lnTo>
                    <a:lnTo>
                      <a:pt x="76" y="1564"/>
                    </a:lnTo>
                    <a:lnTo>
                      <a:pt x="70" y="1572"/>
                    </a:lnTo>
                    <a:lnTo>
                      <a:pt x="64" y="1581"/>
                    </a:lnTo>
                    <a:lnTo>
                      <a:pt x="59" y="1590"/>
                    </a:lnTo>
                    <a:lnTo>
                      <a:pt x="53" y="1600"/>
                    </a:lnTo>
                    <a:lnTo>
                      <a:pt x="50" y="1609"/>
                    </a:lnTo>
                    <a:lnTo>
                      <a:pt x="48" y="1617"/>
                    </a:lnTo>
                    <a:lnTo>
                      <a:pt x="48" y="1621"/>
                    </a:lnTo>
                    <a:lnTo>
                      <a:pt x="50" y="1625"/>
                    </a:lnTo>
                    <a:lnTo>
                      <a:pt x="51" y="1628"/>
                    </a:lnTo>
                    <a:lnTo>
                      <a:pt x="53" y="1632"/>
                    </a:lnTo>
                    <a:lnTo>
                      <a:pt x="58" y="1638"/>
                    </a:lnTo>
                    <a:lnTo>
                      <a:pt x="65" y="1641"/>
                    </a:lnTo>
                    <a:lnTo>
                      <a:pt x="73" y="1642"/>
                    </a:lnTo>
                    <a:lnTo>
                      <a:pt x="83" y="1642"/>
                    </a:lnTo>
                    <a:lnTo>
                      <a:pt x="92" y="1640"/>
                    </a:lnTo>
                    <a:lnTo>
                      <a:pt x="101" y="1638"/>
                    </a:lnTo>
                    <a:lnTo>
                      <a:pt x="106" y="1636"/>
                    </a:lnTo>
                    <a:lnTo>
                      <a:pt x="110" y="1636"/>
                    </a:lnTo>
                    <a:lnTo>
                      <a:pt x="116" y="1638"/>
                    </a:lnTo>
                    <a:lnTo>
                      <a:pt x="121" y="1640"/>
                    </a:lnTo>
                    <a:lnTo>
                      <a:pt x="127" y="1642"/>
                    </a:lnTo>
                    <a:lnTo>
                      <a:pt x="132" y="1645"/>
                    </a:lnTo>
                    <a:lnTo>
                      <a:pt x="136" y="1648"/>
                    </a:lnTo>
                    <a:lnTo>
                      <a:pt x="139" y="1652"/>
                    </a:lnTo>
                    <a:lnTo>
                      <a:pt x="142" y="1661"/>
                    </a:lnTo>
                    <a:lnTo>
                      <a:pt x="144" y="1672"/>
                    </a:lnTo>
                    <a:lnTo>
                      <a:pt x="144" y="1683"/>
                    </a:lnTo>
                    <a:lnTo>
                      <a:pt x="142" y="1691"/>
                    </a:lnTo>
                    <a:lnTo>
                      <a:pt x="140" y="1695"/>
                    </a:lnTo>
                    <a:lnTo>
                      <a:pt x="138" y="1698"/>
                    </a:lnTo>
                    <a:lnTo>
                      <a:pt x="133" y="1702"/>
                    </a:lnTo>
                    <a:lnTo>
                      <a:pt x="128" y="1704"/>
                    </a:lnTo>
                    <a:lnTo>
                      <a:pt x="119" y="1708"/>
                    </a:lnTo>
                    <a:lnTo>
                      <a:pt x="110" y="1710"/>
                    </a:lnTo>
                    <a:lnTo>
                      <a:pt x="102" y="1714"/>
                    </a:lnTo>
                    <a:lnTo>
                      <a:pt x="94" y="1717"/>
                    </a:lnTo>
                    <a:lnTo>
                      <a:pt x="90" y="1720"/>
                    </a:lnTo>
                    <a:lnTo>
                      <a:pt x="87" y="1722"/>
                    </a:lnTo>
                    <a:lnTo>
                      <a:pt x="84" y="1724"/>
                    </a:lnTo>
                    <a:lnTo>
                      <a:pt x="83" y="1728"/>
                    </a:lnTo>
                    <a:lnTo>
                      <a:pt x="83" y="1735"/>
                    </a:lnTo>
                    <a:lnTo>
                      <a:pt x="85" y="1741"/>
                    </a:lnTo>
                    <a:lnTo>
                      <a:pt x="89" y="1746"/>
                    </a:lnTo>
                    <a:lnTo>
                      <a:pt x="94" y="1751"/>
                    </a:lnTo>
                    <a:lnTo>
                      <a:pt x="100" y="1754"/>
                    </a:lnTo>
                    <a:lnTo>
                      <a:pt x="103" y="1760"/>
                    </a:lnTo>
                    <a:lnTo>
                      <a:pt x="104" y="1762"/>
                    </a:lnTo>
                    <a:lnTo>
                      <a:pt x="106" y="1766"/>
                    </a:lnTo>
                    <a:lnTo>
                      <a:pt x="106" y="1770"/>
                    </a:lnTo>
                    <a:lnTo>
                      <a:pt x="104" y="1773"/>
                    </a:lnTo>
                    <a:lnTo>
                      <a:pt x="103" y="1778"/>
                    </a:lnTo>
                    <a:lnTo>
                      <a:pt x="102" y="1783"/>
                    </a:lnTo>
                    <a:lnTo>
                      <a:pt x="102" y="1786"/>
                    </a:lnTo>
                    <a:lnTo>
                      <a:pt x="103" y="1792"/>
                    </a:lnTo>
                    <a:lnTo>
                      <a:pt x="104" y="1803"/>
                    </a:lnTo>
                    <a:lnTo>
                      <a:pt x="104" y="1816"/>
                    </a:lnTo>
                    <a:lnTo>
                      <a:pt x="102" y="1830"/>
                    </a:lnTo>
                    <a:lnTo>
                      <a:pt x="100" y="1843"/>
                    </a:lnTo>
                    <a:lnTo>
                      <a:pt x="97" y="1854"/>
                    </a:lnTo>
                    <a:lnTo>
                      <a:pt x="95" y="1861"/>
                    </a:lnTo>
                    <a:lnTo>
                      <a:pt x="95" y="1865"/>
                    </a:lnTo>
                    <a:lnTo>
                      <a:pt x="96" y="1868"/>
                    </a:lnTo>
                    <a:lnTo>
                      <a:pt x="96" y="1872"/>
                    </a:lnTo>
                    <a:lnTo>
                      <a:pt x="98" y="1877"/>
                    </a:lnTo>
                    <a:lnTo>
                      <a:pt x="102" y="1884"/>
                    </a:lnTo>
                    <a:lnTo>
                      <a:pt x="107" y="1888"/>
                    </a:lnTo>
                    <a:lnTo>
                      <a:pt x="108" y="1890"/>
                    </a:lnTo>
                    <a:lnTo>
                      <a:pt x="108" y="1892"/>
                    </a:lnTo>
                    <a:lnTo>
                      <a:pt x="108" y="1894"/>
                    </a:lnTo>
                    <a:lnTo>
                      <a:pt x="107" y="1898"/>
                    </a:lnTo>
                    <a:lnTo>
                      <a:pt x="95" y="1912"/>
                    </a:lnTo>
                    <a:lnTo>
                      <a:pt x="83" y="1926"/>
                    </a:lnTo>
                    <a:lnTo>
                      <a:pt x="79" y="1935"/>
                    </a:lnTo>
                    <a:lnTo>
                      <a:pt x="77" y="1941"/>
                    </a:lnTo>
                    <a:lnTo>
                      <a:pt x="76" y="1948"/>
                    </a:lnTo>
                    <a:lnTo>
                      <a:pt x="75" y="1955"/>
                    </a:lnTo>
                    <a:lnTo>
                      <a:pt x="72" y="1962"/>
                    </a:lnTo>
                    <a:lnTo>
                      <a:pt x="69" y="1967"/>
                    </a:lnTo>
                    <a:lnTo>
                      <a:pt x="66" y="1969"/>
                    </a:lnTo>
                    <a:lnTo>
                      <a:pt x="64" y="1970"/>
                    </a:lnTo>
                    <a:lnTo>
                      <a:pt x="59" y="1972"/>
                    </a:lnTo>
                    <a:lnTo>
                      <a:pt x="56" y="1973"/>
                    </a:lnTo>
                    <a:lnTo>
                      <a:pt x="44" y="1973"/>
                    </a:lnTo>
                    <a:lnTo>
                      <a:pt x="33" y="1974"/>
                    </a:lnTo>
                    <a:lnTo>
                      <a:pt x="22" y="1975"/>
                    </a:lnTo>
                    <a:lnTo>
                      <a:pt x="15" y="1979"/>
                    </a:lnTo>
                    <a:lnTo>
                      <a:pt x="9" y="1985"/>
                    </a:lnTo>
                    <a:lnTo>
                      <a:pt x="3" y="1993"/>
                    </a:lnTo>
                    <a:lnTo>
                      <a:pt x="2" y="1998"/>
                    </a:lnTo>
                    <a:lnTo>
                      <a:pt x="1" y="2003"/>
                    </a:lnTo>
                    <a:lnTo>
                      <a:pt x="0" y="2007"/>
                    </a:lnTo>
                    <a:lnTo>
                      <a:pt x="1" y="2012"/>
                    </a:lnTo>
                    <a:lnTo>
                      <a:pt x="4" y="2022"/>
                    </a:lnTo>
                    <a:lnTo>
                      <a:pt x="9" y="2032"/>
                    </a:lnTo>
                    <a:lnTo>
                      <a:pt x="15" y="2043"/>
                    </a:lnTo>
                    <a:lnTo>
                      <a:pt x="20" y="2051"/>
                    </a:lnTo>
                    <a:lnTo>
                      <a:pt x="25" y="2058"/>
                    </a:lnTo>
                    <a:lnTo>
                      <a:pt x="28" y="2064"/>
                    </a:lnTo>
                    <a:lnTo>
                      <a:pt x="31" y="2071"/>
                    </a:lnTo>
                    <a:lnTo>
                      <a:pt x="33" y="2079"/>
                    </a:lnTo>
                    <a:lnTo>
                      <a:pt x="35" y="2085"/>
                    </a:lnTo>
                    <a:lnTo>
                      <a:pt x="40" y="2088"/>
                    </a:lnTo>
                    <a:lnTo>
                      <a:pt x="44" y="2090"/>
                    </a:lnTo>
                    <a:lnTo>
                      <a:pt x="48" y="2090"/>
                    </a:lnTo>
                    <a:lnTo>
                      <a:pt x="53" y="2092"/>
                    </a:lnTo>
                    <a:lnTo>
                      <a:pt x="58" y="2093"/>
                    </a:lnTo>
                    <a:lnTo>
                      <a:pt x="63" y="2096"/>
                    </a:lnTo>
                    <a:lnTo>
                      <a:pt x="69" y="2102"/>
                    </a:lnTo>
                    <a:lnTo>
                      <a:pt x="72" y="2109"/>
                    </a:lnTo>
                    <a:lnTo>
                      <a:pt x="76" y="2118"/>
                    </a:lnTo>
                    <a:lnTo>
                      <a:pt x="77" y="2121"/>
                    </a:lnTo>
                    <a:lnTo>
                      <a:pt x="78" y="2125"/>
                    </a:lnTo>
                    <a:lnTo>
                      <a:pt x="78" y="2129"/>
                    </a:lnTo>
                    <a:lnTo>
                      <a:pt x="77" y="2131"/>
                    </a:lnTo>
                    <a:lnTo>
                      <a:pt x="73" y="2136"/>
                    </a:lnTo>
                    <a:lnTo>
                      <a:pt x="70" y="2140"/>
                    </a:lnTo>
                    <a:lnTo>
                      <a:pt x="69" y="2142"/>
                    </a:lnTo>
                    <a:lnTo>
                      <a:pt x="69" y="2145"/>
                    </a:lnTo>
                    <a:lnTo>
                      <a:pt x="69" y="2149"/>
                    </a:lnTo>
                    <a:lnTo>
                      <a:pt x="71" y="2153"/>
                    </a:lnTo>
                    <a:lnTo>
                      <a:pt x="78" y="2163"/>
                    </a:lnTo>
                    <a:lnTo>
                      <a:pt x="83" y="2172"/>
                    </a:lnTo>
                    <a:lnTo>
                      <a:pt x="85" y="2177"/>
                    </a:lnTo>
                    <a:lnTo>
                      <a:pt x="87" y="2181"/>
                    </a:lnTo>
                    <a:lnTo>
                      <a:pt x="88" y="2186"/>
                    </a:lnTo>
                    <a:lnTo>
                      <a:pt x="88" y="2192"/>
                    </a:lnTo>
                    <a:lnTo>
                      <a:pt x="87" y="2202"/>
                    </a:lnTo>
                    <a:lnTo>
                      <a:pt x="84" y="2212"/>
                    </a:lnTo>
                    <a:lnTo>
                      <a:pt x="84" y="2215"/>
                    </a:lnTo>
                    <a:lnTo>
                      <a:pt x="85" y="2219"/>
                    </a:lnTo>
                    <a:lnTo>
                      <a:pt x="88" y="2222"/>
                    </a:lnTo>
                    <a:lnTo>
                      <a:pt x="91" y="2226"/>
                    </a:lnTo>
                    <a:lnTo>
                      <a:pt x="104" y="2233"/>
                    </a:lnTo>
                    <a:lnTo>
                      <a:pt x="122" y="2240"/>
                    </a:lnTo>
                    <a:lnTo>
                      <a:pt x="130" y="2245"/>
                    </a:lnTo>
                    <a:lnTo>
                      <a:pt x="139" y="2250"/>
                    </a:lnTo>
                    <a:lnTo>
                      <a:pt x="145" y="2256"/>
                    </a:lnTo>
                    <a:lnTo>
                      <a:pt x="148" y="2262"/>
                    </a:lnTo>
                    <a:lnTo>
                      <a:pt x="151" y="2268"/>
                    </a:lnTo>
                    <a:lnTo>
                      <a:pt x="153" y="2274"/>
                    </a:lnTo>
                    <a:lnTo>
                      <a:pt x="153" y="2278"/>
                    </a:lnTo>
                    <a:lnTo>
                      <a:pt x="154" y="2283"/>
                    </a:lnTo>
                    <a:lnTo>
                      <a:pt x="153" y="2291"/>
                    </a:lnTo>
                    <a:lnTo>
                      <a:pt x="153" y="2302"/>
                    </a:lnTo>
                    <a:lnTo>
                      <a:pt x="153" y="2314"/>
                    </a:lnTo>
                    <a:lnTo>
                      <a:pt x="157" y="2329"/>
                    </a:lnTo>
                    <a:lnTo>
                      <a:pt x="159" y="2337"/>
                    </a:lnTo>
                    <a:lnTo>
                      <a:pt x="161" y="2344"/>
                    </a:lnTo>
                    <a:lnTo>
                      <a:pt x="165" y="2350"/>
                    </a:lnTo>
                    <a:lnTo>
                      <a:pt x="169" y="2354"/>
                    </a:lnTo>
                    <a:lnTo>
                      <a:pt x="176" y="2365"/>
                    </a:lnTo>
                    <a:lnTo>
                      <a:pt x="183" y="2379"/>
                    </a:lnTo>
                    <a:lnTo>
                      <a:pt x="188" y="2385"/>
                    </a:lnTo>
                    <a:lnTo>
                      <a:pt x="191" y="2391"/>
                    </a:lnTo>
                    <a:lnTo>
                      <a:pt x="196" y="2396"/>
                    </a:lnTo>
                    <a:lnTo>
                      <a:pt x="199" y="2400"/>
                    </a:lnTo>
                    <a:lnTo>
                      <a:pt x="204" y="2402"/>
                    </a:lnTo>
                    <a:lnTo>
                      <a:pt x="209" y="2403"/>
                    </a:lnTo>
                    <a:lnTo>
                      <a:pt x="215" y="2404"/>
                    </a:lnTo>
                    <a:lnTo>
                      <a:pt x="221" y="2404"/>
                    </a:lnTo>
                    <a:lnTo>
                      <a:pt x="227" y="2404"/>
                    </a:lnTo>
                    <a:lnTo>
                      <a:pt x="233" y="2405"/>
                    </a:lnTo>
                    <a:lnTo>
                      <a:pt x="237" y="2408"/>
                    </a:lnTo>
                    <a:lnTo>
                      <a:pt x="241" y="2410"/>
                    </a:lnTo>
                    <a:lnTo>
                      <a:pt x="248" y="2416"/>
                    </a:lnTo>
                    <a:lnTo>
                      <a:pt x="255" y="2421"/>
                    </a:lnTo>
                    <a:lnTo>
                      <a:pt x="265" y="2423"/>
                    </a:lnTo>
                    <a:lnTo>
                      <a:pt x="274" y="2424"/>
                    </a:lnTo>
                    <a:lnTo>
                      <a:pt x="279" y="2424"/>
                    </a:lnTo>
                    <a:lnTo>
                      <a:pt x="281" y="2426"/>
                    </a:lnTo>
                    <a:lnTo>
                      <a:pt x="284" y="2427"/>
                    </a:lnTo>
                    <a:lnTo>
                      <a:pt x="284" y="2429"/>
                    </a:lnTo>
                    <a:lnTo>
                      <a:pt x="283" y="2435"/>
                    </a:lnTo>
                    <a:lnTo>
                      <a:pt x="279" y="2441"/>
                    </a:lnTo>
                    <a:lnTo>
                      <a:pt x="278" y="2443"/>
                    </a:lnTo>
                    <a:lnTo>
                      <a:pt x="278" y="2446"/>
                    </a:lnTo>
                    <a:lnTo>
                      <a:pt x="278" y="2448"/>
                    </a:lnTo>
                    <a:lnTo>
                      <a:pt x="280" y="2451"/>
                    </a:lnTo>
                    <a:lnTo>
                      <a:pt x="285" y="2457"/>
                    </a:lnTo>
                    <a:lnTo>
                      <a:pt x="291" y="2463"/>
                    </a:lnTo>
                    <a:lnTo>
                      <a:pt x="300" y="2470"/>
                    </a:lnTo>
                    <a:lnTo>
                      <a:pt x="314" y="2477"/>
                    </a:lnTo>
                    <a:lnTo>
                      <a:pt x="322" y="2479"/>
                    </a:lnTo>
                    <a:lnTo>
                      <a:pt x="329" y="2482"/>
                    </a:lnTo>
                    <a:lnTo>
                      <a:pt x="336" y="2483"/>
                    </a:lnTo>
                    <a:lnTo>
                      <a:pt x="343" y="2483"/>
                    </a:lnTo>
                    <a:lnTo>
                      <a:pt x="349" y="2480"/>
                    </a:lnTo>
                    <a:lnTo>
                      <a:pt x="355" y="2478"/>
                    </a:lnTo>
                    <a:lnTo>
                      <a:pt x="360" y="2476"/>
                    </a:lnTo>
                    <a:lnTo>
                      <a:pt x="363" y="2472"/>
                    </a:lnTo>
                    <a:lnTo>
                      <a:pt x="372" y="2463"/>
                    </a:lnTo>
                    <a:lnTo>
                      <a:pt x="379" y="2454"/>
                    </a:lnTo>
                    <a:lnTo>
                      <a:pt x="383" y="2451"/>
                    </a:lnTo>
                    <a:lnTo>
                      <a:pt x="387" y="2447"/>
                    </a:lnTo>
                    <a:lnTo>
                      <a:pt x="391" y="2445"/>
                    </a:lnTo>
                    <a:lnTo>
                      <a:pt x="396" y="2442"/>
                    </a:lnTo>
                    <a:lnTo>
                      <a:pt x="399" y="2442"/>
                    </a:lnTo>
                    <a:lnTo>
                      <a:pt x="403" y="2442"/>
                    </a:lnTo>
                    <a:lnTo>
                      <a:pt x="406" y="2443"/>
                    </a:lnTo>
                    <a:lnTo>
                      <a:pt x="410" y="2447"/>
                    </a:lnTo>
                    <a:lnTo>
                      <a:pt x="412" y="2451"/>
                    </a:lnTo>
                    <a:lnTo>
                      <a:pt x="416" y="2453"/>
                    </a:lnTo>
                    <a:lnTo>
                      <a:pt x="418" y="2455"/>
                    </a:lnTo>
                    <a:lnTo>
                      <a:pt x="423" y="2458"/>
                    </a:lnTo>
                    <a:lnTo>
                      <a:pt x="432" y="2459"/>
                    </a:lnTo>
                    <a:lnTo>
                      <a:pt x="443" y="2459"/>
                    </a:lnTo>
                    <a:lnTo>
                      <a:pt x="455" y="2459"/>
                    </a:lnTo>
                    <a:lnTo>
                      <a:pt x="465" y="2455"/>
                    </a:lnTo>
                    <a:lnTo>
                      <a:pt x="468" y="2454"/>
                    </a:lnTo>
                    <a:lnTo>
                      <a:pt x="470" y="2451"/>
                    </a:lnTo>
                    <a:lnTo>
                      <a:pt x="473" y="2447"/>
                    </a:lnTo>
                    <a:lnTo>
                      <a:pt x="475" y="2443"/>
                    </a:lnTo>
                    <a:lnTo>
                      <a:pt x="479" y="2436"/>
                    </a:lnTo>
                    <a:lnTo>
                      <a:pt x="484" y="2432"/>
                    </a:lnTo>
                    <a:lnTo>
                      <a:pt x="487" y="2429"/>
                    </a:lnTo>
                    <a:lnTo>
                      <a:pt x="491" y="2429"/>
                    </a:lnTo>
                    <a:lnTo>
                      <a:pt x="494" y="2428"/>
                    </a:lnTo>
                    <a:lnTo>
                      <a:pt x="500" y="2429"/>
                    </a:lnTo>
                    <a:lnTo>
                      <a:pt x="511" y="2430"/>
                    </a:lnTo>
                    <a:lnTo>
                      <a:pt x="522" y="2432"/>
                    </a:lnTo>
                    <a:lnTo>
                      <a:pt x="530" y="2433"/>
                    </a:lnTo>
                    <a:lnTo>
                      <a:pt x="539" y="2434"/>
                    </a:lnTo>
                    <a:lnTo>
                      <a:pt x="543" y="2435"/>
                    </a:lnTo>
                    <a:lnTo>
                      <a:pt x="545" y="2436"/>
                    </a:lnTo>
                    <a:lnTo>
                      <a:pt x="548" y="2438"/>
                    </a:lnTo>
                    <a:lnTo>
                      <a:pt x="549" y="2439"/>
                    </a:lnTo>
                    <a:lnTo>
                      <a:pt x="549" y="2441"/>
                    </a:lnTo>
                    <a:lnTo>
                      <a:pt x="549" y="2442"/>
                    </a:lnTo>
                    <a:lnTo>
                      <a:pt x="547" y="2445"/>
                    </a:lnTo>
                    <a:lnTo>
                      <a:pt x="544" y="2446"/>
                    </a:lnTo>
                    <a:lnTo>
                      <a:pt x="538" y="2451"/>
                    </a:lnTo>
                    <a:lnTo>
                      <a:pt x="535" y="2458"/>
                    </a:lnTo>
                    <a:lnTo>
                      <a:pt x="533" y="2461"/>
                    </a:lnTo>
                    <a:lnTo>
                      <a:pt x="533" y="2466"/>
                    </a:lnTo>
                    <a:lnTo>
                      <a:pt x="535" y="2471"/>
                    </a:lnTo>
                    <a:lnTo>
                      <a:pt x="537" y="2477"/>
                    </a:lnTo>
                    <a:lnTo>
                      <a:pt x="544" y="2487"/>
                    </a:lnTo>
                    <a:lnTo>
                      <a:pt x="553" y="2499"/>
                    </a:lnTo>
                    <a:lnTo>
                      <a:pt x="561" y="2512"/>
                    </a:lnTo>
                    <a:lnTo>
                      <a:pt x="569" y="2528"/>
                    </a:lnTo>
                    <a:lnTo>
                      <a:pt x="575" y="2543"/>
                    </a:lnTo>
                    <a:lnTo>
                      <a:pt x="582" y="2558"/>
                    </a:lnTo>
                    <a:lnTo>
                      <a:pt x="586" y="2565"/>
                    </a:lnTo>
                    <a:lnTo>
                      <a:pt x="589" y="2573"/>
                    </a:lnTo>
                    <a:lnTo>
                      <a:pt x="595" y="2580"/>
                    </a:lnTo>
                    <a:lnTo>
                      <a:pt x="601" y="2587"/>
                    </a:lnTo>
                    <a:lnTo>
                      <a:pt x="608" y="2594"/>
                    </a:lnTo>
                    <a:lnTo>
                      <a:pt x="616" y="2602"/>
                    </a:lnTo>
                    <a:lnTo>
                      <a:pt x="623" y="2606"/>
                    </a:lnTo>
                    <a:lnTo>
                      <a:pt x="629" y="2611"/>
                    </a:lnTo>
                    <a:lnTo>
                      <a:pt x="642" y="2618"/>
                    </a:lnTo>
                    <a:lnTo>
                      <a:pt x="652" y="2622"/>
                    </a:lnTo>
                    <a:lnTo>
                      <a:pt x="663" y="2625"/>
                    </a:lnTo>
                    <a:lnTo>
                      <a:pt x="674" y="2630"/>
                    </a:lnTo>
                    <a:lnTo>
                      <a:pt x="679" y="2634"/>
                    </a:lnTo>
                    <a:lnTo>
                      <a:pt x="682" y="2637"/>
                    </a:lnTo>
                    <a:lnTo>
                      <a:pt x="687" y="2641"/>
                    </a:lnTo>
                    <a:lnTo>
                      <a:pt x="689" y="2646"/>
                    </a:lnTo>
                    <a:lnTo>
                      <a:pt x="696" y="2657"/>
                    </a:lnTo>
                    <a:lnTo>
                      <a:pt x="705" y="2672"/>
                    </a:lnTo>
                    <a:lnTo>
                      <a:pt x="713" y="2685"/>
                    </a:lnTo>
                    <a:lnTo>
                      <a:pt x="720" y="2693"/>
                    </a:lnTo>
                    <a:lnTo>
                      <a:pt x="724" y="2694"/>
                    </a:lnTo>
                    <a:lnTo>
                      <a:pt x="727" y="2694"/>
                    </a:lnTo>
                    <a:lnTo>
                      <a:pt x="732" y="2693"/>
                    </a:lnTo>
                    <a:lnTo>
                      <a:pt x="737" y="2692"/>
                    </a:lnTo>
                    <a:lnTo>
                      <a:pt x="745" y="2686"/>
                    </a:lnTo>
                    <a:lnTo>
                      <a:pt x="753" y="2680"/>
                    </a:lnTo>
                    <a:lnTo>
                      <a:pt x="757" y="2678"/>
                    </a:lnTo>
                    <a:lnTo>
                      <a:pt x="765" y="2678"/>
                    </a:lnTo>
                    <a:lnTo>
                      <a:pt x="774" y="2679"/>
                    </a:lnTo>
                    <a:lnTo>
                      <a:pt x="784" y="2681"/>
                    </a:lnTo>
                    <a:lnTo>
                      <a:pt x="793" y="2685"/>
                    </a:lnTo>
                    <a:lnTo>
                      <a:pt x="800" y="2688"/>
                    </a:lnTo>
                    <a:lnTo>
                      <a:pt x="802" y="2691"/>
                    </a:lnTo>
                    <a:lnTo>
                      <a:pt x="805" y="2693"/>
                    </a:lnTo>
                    <a:lnTo>
                      <a:pt x="805" y="2695"/>
                    </a:lnTo>
                    <a:lnTo>
                      <a:pt x="805" y="2699"/>
                    </a:lnTo>
                    <a:lnTo>
                      <a:pt x="800" y="2709"/>
                    </a:lnTo>
                    <a:lnTo>
                      <a:pt x="796" y="2717"/>
                    </a:lnTo>
                    <a:lnTo>
                      <a:pt x="795" y="2720"/>
                    </a:lnTo>
                    <a:lnTo>
                      <a:pt x="794" y="2725"/>
                    </a:lnTo>
                    <a:lnTo>
                      <a:pt x="794" y="2729"/>
                    </a:lnTo>
                    <a:lnTo>
                      <a:pt x="795" y="2735"/>
                    </a:lnTo>
                    <a:lnTo>
                      <a:pt x="797" y="2739"/>
                    </a:lnTo>
                    <a:lnTo>
                      <a:pt x="801" y="2742"/>
                    </a:lnTo>
                    <a:lnTo>
                      <a:pt x="805" y="2744"/>
                    </a:lnTo>
                    <a:lnTo>
                      <a:pt x="809" y="2745"/>
                    </a:lnTo>
                    <a:lnTo>
                      <a:pt x="818" y="2745"/>
                    </a:lnTo>
                    <a:lnTo>
                      <a:pt x="824" y="2743"/>
                    </a:lnTo>
                    <a:lnTo>
                      <a:pt x="827" y="2742"/>
                    </a:lnTo>
                    <a:lnTo>
                      <a:pt x="831" y="2742"/>
                    </a:lnTo>
                    <a:lnTo>
                      <a:pt x="835" y="2744"/>
                    </a:lnTo>
                    <a:lnTo>
                      <a:pt x="839" y="2748"/>
                    </a:lnTo>
                    <a:lnTo>
                      <a:pt x="850" y="2747"/>
                    </a:lnTo>
                    <a:lnTo>
                      <a:pt x="870" y="2748"/>
                    </a:lnTo>
                    <a:lnTo>
                      <a:pt x="889" y="2761"/>
                    </a:lnTo>
                    <a:lnTo>
                      <a:pt x="903" y="2772"/>
                    </a:lnTo>
                    <a:lnTo>
                      <a:pt x="915" y="2774"/>
                    </a:lnTo>
                    <a:lnTo>
                      <a:pt x="928" y="2775"/>
                    </a:lnTo>
                    <a:lnTo>
                      <a:pt x="942" y="2775"/>
                    </a:lnTo>
                    <a:lnTo>
                      <a:pt x="954" y="2774"/>
                    </a:lnTo>
                    <a:lnTo>
                      <a:pt x="961" y="2772"/>
                    </a:lnTo>
                    <a:lnTo>
                      <a:pt x="967" y="2770"/>
                    </a:lnTo>
                    <a:lnTo>
                      <a:pt x="970" y="2770"/>
                    </a:lnTo>
                    <a:lnTo>
                      <a:pt x="972" y="2772"/>
                    </a:lnTo>
                    <a:lnTo>
                      <a:pt x="976" y="2773"/>
                    </a:lnTo>
                    <a:lnTo>
                      <a:pt x="980" y="2776"/>
                    </a:lnTo>
                    <a:lnTo>
                      <a:pt x="990" y="2785"/>
                    </a:lnTo>
                    <a:lnTo>
                      <a:pt x="1001" y="2793"/>
                    </a:lnTo>
                    <a:lnTo>
                      <a:pt x="1010" y="2799"/>
                    </a:lnTo>
                    <a:lnTo>
                      <a:pt x="1017" y="2802"/>
                    </a:lnTo>
                    <a:lnTo>
                      <a:pt x="1024" y="2805"/>
                    </a:lnTo>
                    <a:lnTo>
                      <a:pt x="1032" y="2804"/>
                    </a:lnTo>
                    <a:lnTo>
                      <a:pt x="1039" y="2801"/>
                    </a:lnTo>
                    <a:lnTo>
                      <a:pt x="1045" y="2799"/>
                    </a:lnTo>
                    <a:lnTo>
                      <a:pt x="1047" y="2798"/>
                    </a:lnTo>
                    <a:lnTo>
                      <a:pt x="1052" y="2797"/>
                    </a:lnTo>
                    <a:lnTo>
                      <a:pt x="1055" y="2797"/>
                    </a:lnTo>
                    <a:lnTo>
                      <a:pt x="1060" y="2797"/>
                    </a:lnTo>
                    <a:lnTo>
                      <a:pt x="1065" y="2798"/>
                    </a:lnTo>
                    <a:lnTo>
                      <a:pt x="1068" y="2800"/>
                    </a:lnTo>
                    <a:lnTo>
                      <a:pt x="1072" y="2802"/>
                    </a:lnTo>
                    <a:lnTo>
                      <a:pt x="1074" y="2805"/>
                    </a:lnTo>
                    <a:lnTo>
                      <a:pt x="1078" y="2819"/>
                    </a:lnTo>
                    <a:lnTo>
                      <a:pt x="1081" y="2835"/>
                    </a:lnTo>
                    <a:lnTo>
                      <a:pt x="1083" y="2837"/>
                    </a:lnTo>
                    <a:lnTo>
                      <a:pt x="1085" y="2839"/>
                    </a:lnTo>
                    <a:lnTo>
                      <a:pt x="1087" y="2840"/>
                    </a:lnTo>
                    <a:lnTo>
                      <a:pt x="1091" y="2842"/>
                    </a:lnTo>
                    <a:lnTo>
                      <a:pt x="1098" y="2842"/>
                    </a:lnTo>
                    <a:lnTo>
                      <a:pt x="1108" y="2840"/>
                    </a:lnTo>
                    <a:lnTo>
                      <a:pt x="1118" y="2838"/>
                    </a:lnTo>
                    <a:lnTo>
                      <a:pt x="1130" y="2837"/>
                    </a:lnTo>
                    <a:lnTo>
                      <a:pt x="1136" y="2837"/>
                    </a:lnTo>
                    <a:lnTo>
                      <a:pt x="1142" y="2838"/>
                    </a:lnTo>
                    <a:lnTo>
                      <a:pt x="1147" y="2840"/>
                    </a:lnTo>
                    <a:lnTo>
                      <a:pt x="1150" y="2844"/>
                    </a:lnTo>
                    <a:lnTo>
                      <a:pt x="1155" y="2852"/>
                    </a:lnTo>
                    <a:lnTo>
                      <a:pt x="1160" y="2862"/>
                    </a:lnTo>
                    <a:lnTo>
                      <a:pt x="1166" y="2870"/>
                    </a:lnTo>
                    <a:lnTo>
                      <a:pt x="1173" y="2881"/>
                    </a:lnTo>
                    <a:lnTo>
                      <a:pt x="1181" y="2889"/>
                    </a:lnTo>
                    <a:lnTo>
                      <a:pt x="1187" y="2895"/>
                    </a:lnTo>
                    <a:lnTo>
                      <a:pt x="1191" y="2898"/>
                    </a:lnTo>
                    <a:lnTo>
                      <a:pt x="1194" y="2899"/>
                    </a:lnTo>
                    <a:lnTo>
                      <a:pt x="1198" y="2900"/>
                    </a:lnTo>
                    <a:lnTo>
                      <a:pt x="1203" y="2899"/>
                    </a:lnTo>
                    <a:lnTo>
                      <a:pt x="1210" y="2899"/>
                    </a:lnTo>
                    <a:lnTo>
                      <a:pt x="1216" y="2899"/>
                    </a:lnTo>
                    <a:lnTo>
                      <a:pt x="1218" y="2900"/>
                    </a:lnTo>
                    <a:lnTo>
                      <a:pt x="1221" y="2902"/>
                    </a:lnTo>
                    <a:lnTo>
                      <a:pt x="1222" y="2905"/>
                    </a:lnTo>
                    <a:lnTo>
                      <a:pt x="1223" y="2907"/>
                    </a:lnTo>
                    <a:lnTo>
                      <a:pt x="1225" y="2915"/>
                    </a:lnTo>
                    <a:lnTo>
                      <a:pt x="1229" y="2922"/>
                    </a:lnTo>
                    <a:lnTo>
                      <a:pt x="1231" y="2925"/>
                    </a:lnTo>
                    <a:lnTo>
                      <a:pt x="1235" y="2928"/>
                    </a:lnTo>
                    <a:lnTo>
                      <a:pt x="1238" y="2930"/>
                    </a:lnTo>
                    <a:lnTo>
                      <a:pt x="1244" y="2931"/>
                    </a:lnTo>
                    <a:lnTo>
                      <a:pt x="1254" y="2930"/>
                    </a:lnTo>
                    <a:lnTo>
                      <a:pt x="1261" y="2927"/>
                    </a:lnTo>
                    <a:lnTo>
                      <a:pt x="1268" y="2924"/>
                    </a:lnTo>
                    <a:lnTo>
                      <a:pt x="1276" y="2917"/>
                    </a:lnTo>
                    <a:lnTo>
                      <a:pt x="1281" y="2913"/>
                    </a:lnTo>
                    <a:lnTo>
                      <a:pt x="1287" y="2911"/>
                    </a:lnTo>
                    <a:lnTo>
                      <a:pt x="1293" y="2908"/>
                    </a:lnTo>
                    <a:lnTo>
                      <a:pt x="1300" y="2907"/>
                    </a:lnTo>
                    <a:lnTo>
                      <a:pt x="1314" y="2907"/>
                    </a:lnTo>
                    <a:lnTo>
                      <a:pt x="1325" y="2907"/>
                    </a:lnTo>
                    <a:lnTo>
                      <a:pt x="1330" y="2908"/>
                    </a:lnTo>
                    <a:lnTo>
                      <a:pt x="1335" y="2911"/>
                    </a:lnTo>
                    <a:lnTo>
                      <a:pt x="1338" y="2912"/>
                    </a:lnTo>
                    <a:lnTo>
                      <a:pt x="1343" y="2915"/>
                    </a:lnTo>
                    <a:lnTo>
                      <a:pt x="1350" y="2922"/>
                    </a:lnTo>
                    <a:lnTo>
                      <a:pt x="1356" y="2932"/>
                    </a:lnTo>
                    <a:lnTo>
                      <a:pt x="1362" y="2943"/>
                    </a:lnTo>
                    <a:lnTo>
                      <a:pt x="1368" y="2952"/>
                    </a:lnTo>
                    <a:lnTo>
                      <a:pt x="1372" y="2956"/>
                    </a:lnTo>
                    <a:lnTo>
                      <a:pt x="1375" y="2958"/>
                    </a:lnTo>
                    <a:lnTo>
                      <a:pt x="1379" y="2959"/>
                    </a:lnTo>
                    <a:lnTo>
                      <a:pt x="1383" y="2959"/>
                    </a:lnTo>
                    <a:lnTo>
                      <a:pt x="1392" y="2958"/>
                    </a:lnTo>
                    <a:lnTo>
                      <a:pt x="1399" y="2958"/>
                    </a:lnTo>
                    <a:lnTo>
                      <a:pt x="1402" y="2959"/>
                    </a:lnTo>
                    <a:lnTo>
                      <a:pt x="1405" y="2961"/>
                    </a:lnTo>
                    <a:lnTo>
                      <a:pt x="1407" y="2962"/>
                    </a:lnTo>
                    <a:lnTo>
                      <a:pt x="1410" y="2964"/>
                    </a:lnTo>
                    <a:lnTo>
                      <a:pt x="1416" y="2970"/>
                    </a:lnTo>
                    <a:lnTo>
                      <a:pt x="1426" y="2975"/>
                    </a:lnTo>
                    <a:lnTo>
                      <a:pt x="1437" y="2978"/>
                    </a:lnTo>
                    <a:lnTo>
                      <a:pt x="1446" y="2981"/>
                    </a:lnTo>
                    <a:lnTo>
                      <a:pt x="1455" y="2980"/>
                    </a:lnTo>
                    <a:lnTo>
                      <a:pt x="1462" y="2977"/>
                    </a:lnTo>
                    <a:lnTo>
                      <a:pt x="1468" y="2972"/>
                    </a:lnTo>
                    <a:lnTo>
                      <a:pt x="1474" y="2966"/>
                    </a:lnTo>
                    <a:lnTo>
                      <a:pt x="1477" y="2963"/>
                    </a:lnTo>
                    <a:lnTo>
                      <a:pt x="1481" y="2961"/>
                    </a:lnTo>
                    <a:lnTo>
                      <a:pt x="1484" y="2959"/>
                    </a:lnTo>
                    <a:lnTo>
                      <a:pt x="1489" y="2959"/>
                    </a:lnTo>
                    <a:lnTo>
                      <a:pt x="1498" y="2959"/>
                    </a:lnTo>
                    <a:lnTo>
                      <a:pt x="1506" y="2961"/>
                    </a:lnTo>
                    <a:lnTo>
                      <a:pt x="1517" y="2962"/>
                    </a:lnTo>
                    <a:lnTo>
                      <a:pt x="1526" y="2962"/>
                    </a:lnTo>
                    <a:lnTo>
                      <a:pt x="1532" y="2962"/>
                    </a:lnTo>
                    <a:lnTo>
                      <a:pt x="1536" y="2959"/>
                    </a:lnTo>
                    <a:lnTo>
                      <a:pt x="1540" y="2957"/>
                    </a:lnTo>
                    <a:lnTo>
                      <a:pt x="1543" y="2953"/>
                    </a:lnTo>
                    <a:lnTo>
                      <a:pt x="1547" y="2947"/>
                    </a:lnTo>
                    <a:lnTo>
                      <a:pt x="1553" y="2944"/>
                    </a:lnTo>
                    <a:lnTo>
                      <a:pt x="1562" y="2942"/>
                    </a:lnTo>
                    <a:lnTo>
                      <a:pt x="1575" y="2940"/>
                    </a:lnTo>
                    <a:lnTo>
                      <a:pt x="1589" y="2940"/>
                    </a:lnTo>
                    <a:lnTo>
                      <a:pt x="1603" y="2938"/>
                    </a:lnTo>
                    <a:lnTo>
                      <a:pt x="1609" y="2937"/>
                    </a:lnTo>
                    <a:lnTo>
                      <a:pt x="1614" y="2936"/>
                    </a:lnTo>
                    <a:lnTo>
                      <a:pt x="1619" y="2933"/>
                    </a:lnTo>
                    <a:lnTo>
                      <a:pt x="1621" y="2930"/>
                    </a:lnTo>
                    <a:lnTo>
                      <a:pt x="1627" y="2924"/>
                    </a:lnTo>
                    <a:lnTo>
                      <a:pt x="1632" y="2919"/>
                    </a:lnTo>
                    <a:lnTo>
                      <a:pt x="1633" y="2918"/>
                    </a:lnTo>
                    <a:lnTo>
                      <a:pt x="1637" y="2918"/>
                    </a:lnTo>
                    <a:lnTo>
                      <a:pt x="1639" y="2919"/>
                    </a:lnTo>
                    <a:lnTo>
                      <a:pt x="1643" y="2922"/>
                    </a:lnTo>
                    <a:lnTo>
                      <a:pt x="1651" y="2932"/>
                    </a:lnTo>
                    <a:lnTo>
                      <a:pt x="1663" y="2942"/>
                    </a:lnTo>
                    <a:lnTo>
                      <a:pt x="1672" y="2951"/>
                    </a:lnTo>
                    <a:lnTo>
                      <a:pt x="1679" y="2958"/>
                    </a:lnTo>
                    <a:lnTo>
                      <a:pt x="1683" y="2964"/>
                    </a:lnTo>
                    <a:lnTo>
                      <a:pt x="1685" y="2970"/>
                    </a:lnTo>
                    <a:lnTo>
                      <a:pt x="1688" y="2977"/>
                    </a:lnTo>
                    <a:lnTo>
                      <a:pt x="1689" y="2985"/>
                    </a:lnTo>
                    <a:lnTo>
                      <a:pt x="1693" y="2995"/>
                    </a:lnTo>
                    <a:lnTo>
                      <a:pt x="1696" y="3002"/>
                    </a:lnTo>
                    <a:lnTo>
                      <a:pt x="1698" y="3006"/>
                    </a:lnTo>
                    <a:lnTo>
                      <a:pt x="1702" y="3008"/>
                    </a:lnTo>
                    <a:lnTo>
                      <a:pt x="1706" y="3009"/>
                    </a:lnTo>
                    <a:lnTo>
                      <a:pt x="1709" y="3010"/>
                    </a:lnTo>
                    <a:lnTo>
                      <a:pt x="1716" y="3012"/>
                    </a:lnTo>
                    <a:lnTo>
                      <a:pt x="1721" y="3014"/>
                    </a:lnTo>
                    <a:lnTo>
                      <a:pt x="1723" y="3016"/>
                    </a:lnTo>
                    <a:lnTo>
                      <a:pt x="1725" y="3019"/>
                    </a:lnTo>
                    <a:lnTo>
                      <a:pt x="1726" y="3021"/>
                    </a:lnTo>
                    <a:lnTo>
                      <a:pt x="1727" y="3025"/>
                    </a:lnTo>
                    <a:lnTo>
                      <a:pt x="1729" y="3035"/>
                    </a:lnTo>
                    <a:lnTo>
                      <a:pt x="1732" y="3047"/>
                    </a:lnTo>
                    <a:lnTo>
                      <a:pt x="1734" y="3053"/>
                    </a:lnTo>
                    <a:lnTo>
                      <a:pt x="1736" y="3060"/>
                    </a:lnTo>
                    <a:lnTo>
                      <a:pt x="1739" y="3066"/>
                    </a:lnTo>
                    <a:lnTo>
                      <a:pt x="1744" y="3072"/>
                    </a:lnTo>
                    <a:lnTo>
                      <a:pt x="1753" y="3085"/>
                    </a:lnTo>
                    <a:lnTo>
                      <a:pt x="1764" y="3100"/>
                    </a:lnTo>
                    <a:lnTo>
                      <a:pt x="1773" y="3111"/>
                    </a:lnTo>
                    <a:lnTo>
                      <a:pt x="1782" y="3121"/>
                    </a:lnTo>
                    <a:lnTo>
                      <a:pt x="1786" y="3125"/>
                    </a:lnTo>
                    <a:lnTo>
                      <a:pt x="1792" y="3126"/>
                    </a:lnTo>
                    <a:lnTo>
                      <a:pt x="1799" y="3128"/>
                    </a:lnTo>
                    <a:lnTo>
                      <a:pt x="1807" y="3129"/>
                    </a:lnTo>
                    <a:lnTo>
                      <a:pt x="1822" y="3130"/>
                    </a:lnTo>
                    <a:lnTo>
                      <a:pt x="1834" y="3132"/>
                    </a:lnTo>
                    <a:lnTo>
                      <a:pt x="1843" y="3133"/>
                    </a:lnTo>
                    <a:lnTo>
                      <a:pt x="1849" y="3135"/>
                    </a:lnTo>
                    <a:lnTo>
                      <a:pt x="1853" y="3136"/>
                    </a:lnTo>
                    <a:lnTo>
                      <a:pt x="1854" y="3139"/>
                    </a:lnTo>
                    <a:lnTo>
                      <a:pt x="1857" y="3142"/>
                    </a:lnTo>
                    <a:lnTo>
                      <a:pt x="1858" y="3146"/>
                    </a:lnTo>
                    <a:lnTo>
                      <a:pt x="1859" y="3153"/>
                    </a:lnTo>
                    <a:lnTo>
                      <a:pt x="1861" y="3159"/>
                    </a:lnTo>
                    <a:lnTo>
                      <a:pt x="1864" y="3161"/>
                    </a:lnTo>
                    <a:lnTo>
                      <a:pt x="1866" y="3163"/>
                    </a:lnTo>
                    <a:lnTo>
                      <a:pt x="1870" y="3164"/>
                    </a:lnTo>
                    <a:lnTo>
                      <a:pt x="1874" y="3165"/>
                    </a:lnTo>
                    <a:lnTo>
                      <a:pt x="1883" y="3167"/>
                    </a:lnTo>
                    <a:lnTo>
                      <a:pt x="1887" y="3171"/>
                    </a:lnTo>
                    <a:lnTo>
                      <a:pt x="1891" y="3176"/>
                    </a:lnTo>
                    <a:lnTo>
                      <a:pt x="1893" y="3183"/>
                    </a:lnTo>
                    <a:lnTo>
                      <a:pt x="1893" y="3191"/>
                    </a:lnTo>
                    <a:lnTo>
                      <a:pt x="1892" y="3199"/>
                    </a:lnTo>
                    <a:lnTo>
                      <a:pt x="1889" y="3208"/>
                    </a:lnTo>
                    <a:lnTo>
                      <a:pt x="1886" y="3215"/>
                    </a:lnTo>
                    <a:lnTo>
                      <a:pt x="1883" y="3220"/>
                    </a:lnTo>
                    <a:lnTo>
                      <a:pt x="1882" y="3223"/>
                    </a:lnTo>
                    <a:lnTo>
                      <a:pt x="1880" y="3227"/>
                    </a:lnTo>
                    <a:lnTo>
                      <a:pt x="1880" y="3230"/>
                    </a:lnTo>
                    <a:lnTo>
                      <a:pt x="1880" y="3235"/>
                    </a:lnTo>
                    <a:lnTo>
                      <a:pt x="1879" y="3240"/>
                    </a:lnTo>
                    <a:lnTo>
                      <a:pt x="1876" y="3245"/>
                    </a:lnTo>
                    <a:lnTo>
                      <a:pt x="1870" y="3247"/>
                    </a:lnTo>
                    <a:lnTo>
                      <a:pt x="1867" y="3248"/>
                    </a:lnTo>
                    <a:lnTo>
                      <a:pt x="1865" y="3249"/>
                    </a:lnTo>
                    <a:lnTo>
                      <a:pt x="1863" y="3252"/>
                    </a:lnTo>
                    <a:lnTo>
                      <a:pt x="1860" y="3254"/>
                    </a:lnTo>
                    <a:lnTo>
                      <a:pt x="1858" y="3258"/>
                    </a:lnTo>
                    <a:lnTo>
                      <a:pt x="1858" y="3262"/>
                    </a:lnTo>
                    <a:lnTo>
                      <a:pt x="1857" y="3267"/>
                    </a:lnTo>
                    <a:lnTo>
                      <a:pt x="1858" y="3273"/>
                    </a:lnTo>
                    <a:lnTo>
                      <a:pt x="1860" y="3287"/>
                    </a:lnTo>
                    <a:lnTo>
                      <a:pt x="1866" y="3304"/>
                    </a:lnTo>
                    <a:lnTo>
                      <a:pt x="1873" y="3322"/>
                    </a:lnTo>
                    <a:lnTo>
                      <a:pt x="1882" y="3338"/>
                    </a:lnTo>
                    <a:lnTo>
                      <a:pt x="1890" y="3352"/>
                    </a:lnTo>
                    <a:lnTo>
                      <a:pt x="1898" y="3362"/>
                    </a:lnTo>
                    <a:lnTo>
                      <a:pt x="1905" y="3368"/>
                    </a:lnTo>
                    <a:lnTo>
                      <a:pt x="1911" y="3372"/>
                    </a:lnTo>
                    <a:lnTo>
                      <a:pt x="1914" y="3372"/>
                    </a:lnTo>
                    <a:lnTo>
                      <a:pt x="1916" y="3372"/>
                    </a:lnTo>
                    <a:lnTo>
                      <a:pt x="1920" y="3371"/>
                    </a:lnTo>
                    <a:lnTo>
                      <a:pt x="1923" y="3369"/>
                    </a:lnTo>
                    <a:lnTo>
                      <a:pt x="1929" y="3366"/>
                    </a:lnTo>
                    <a:lnTo>
                      <a:pt x="1936" y="3362"/>
                    </a:lnTo>
                    <a:lnTo>
                      <a:pt x="1942" y="3359"/>
                    </a:lnTo>
                    <a:lnTo>
                      <a:pt x="1949" y="3359"/>
                    </a:lnTo>
                    <a:lnTo>
                      <a:pt x="1958" y="3360"/>
                    </a:lnTo>
                    <a:lnTo>
                      <a:pt x="1966" y="3362"/>
                    </a:lnTo>
                    <a:lnTo>
                      <a:pt x="1974" y="3366"/>
                    </a:lnTo>
                    <a:lnTo>
                      <a:pt x="1983" y="3371"/>
                    </a:lnTo>
                    <a:lnTo>
                      <a:pt x="1986" y="3373"/>
                    </a:lnTo>
                    <a:lnTo>
                      <a:pt x="1990" y="3377"/>
                    </a:lnTo>
                    <a:lnTo>
                      <a:pt x="1992" y="3380"/>
                    </a:lnTo>
                    <a:lnTo>
                      <a:pt x="1994" y="3385"/>
                    </a:lnTo>
                    <a:lnTo>
                      <a:pt x="1997" y="3390"/>
                    </a:lnTo>
                    <a:lnTo>
                      <a:pt x="1999" y="3393"/>
                    </a:lnTo>
                    <a:lnTo>
                      <a:pt x="2002" y="3396"/>
                    </a:lnTo>
                    <a:lnTo>
                      <a:pt x="2004" y="3397"/>
                    </a:lnTo>
                    <a:lnTo>
                      <a:pt x="2008" y="3398"/>
                    </a:lnTo>
                    <a:lnTo>
                      <a:pt x="2011" y="3398"/>
                    </a:lnTo>
                    <a:lnTo>
                      <a:pt x="2015" y="3398"/>
                    </a:lnTo>
                    <a:lnTo>
                      <a:pt x="2018" y="3396"/>
                    </a:lnTo>
                    <a:lnTo>
                      <a:pt x="2025" y="3392"/>
                    </a:lnTo>
                    <a:lnTo>
                      <a:pt x="2031" y="3391"/>
                    </a:lnTo>
                    <a:lnTo>
                      <a:pt x="2036" y="3392"/>
                    </a:lnTo>
                    <a:lnTo>
                      <a:pt x="2042" y="3396"/>
                    </a:lnTo>
                    <a:lnTo>
                      <a:pt x="2047" y="3399"/>
                    </a:lnTo>
                    <a:lnTo>
                      <a:pt x="2052" y="3400"/>
                    </a:lnTo>
                    <a:lnTo>
                      <a:pt x="2057" y="3403"/>
                    </a:lnTo>
                    <a:lnTo>
                      <a:pt x="2065" y="3404"/>
                    </a:lnTo>
                    <a:lnTo>
                      <a:pt x="2076" y="3405"/>
                    </a:lnTo>
                    <a:lnTo>
                      <a:pt x="2087" y="3405"/>
                    </a:lnTo>
                    <a:lnTo>
                      <a:pt x="2095" y="3407"/>
                    </a:lnTo>
                    <a:lnTo>
                      <a:pt x="2105" y="3410"/>
                    </a:lnTo>
                    <a:lnTo>
                      <a:pt x="2109" y="3412"/>
                    </a:lnTo>
                    <a:lnTo>
                      <a:pt x="2112" y="3415"/>
                    </a:lnTo>
                    <a:lnTo>
                      <a:pt x="2115" y="3418"/>
                    </a:lnTo>
                    <a:lnTo>
                      <a:pt x="2116" y="3422"/>
                    </a:lnTo>
                    <a:lnTo>
                      <a:pt x="2116" y="3438"/>
                    </a:lnTo>
                    <a:lnTo>
                      <a:pt x="2116" y="3455"/>
                    </a:lnTo>
                    <a:lnTo>
                      <a:pt x="2118" y="3459"/>
                    </a:lnTo>
                    <a:lnTo>
                      <a:pt x="2120" y="3463"/>
                    </a:lnTo>
                    <a:lnTo>
                      <a:pt x="2124" y="3467"/>
                    </a:lnTo>
                    <a:lnTo>
                      <a:pt x="2129" y="3470"/>
                    </a:lnTo>
                    <a:lnTo>
                      <a:pt x="2135" y="3473"/>
                    </a:lnTo>
                    <a:lnTo>
                      <a:pt x="2139" y="3475"/>
                    </a:lnTo>
                    <a:lnTo>
                      <a:pt x="2144" y="3474"/>
                    </a:lnTo>
                    <a:lnTo>
                      <a:pt x="2149" y="3473"/>
                    </a:lnTo>
                    <a:lnTo>
                      <a:pt x="2153" y="3470"/>
                    </a:lnTo>
                    <a:lnTo>
                      <a:pt x="2154" y="3467"/>
                    </a:lnTo>
                    <a:lnTo>
                      <a:pt x="2155" y="3464"/>
                    </a:lnTo>
                    <a:lnTo>
                      <a:pt x="2155" y="3463"/>
                    </a:lnTo>
                    <a:lnTo>
                      <a:pt x="2154" y="3461"/>
                    </a:lnTo>
                    <a:lnTo>
                      <a:pt x="2153" y="3460"/>
                    </a:lnTo>
                    <a:lnTo>
                      <a:pt x="2150" y="3460"/>
                    </a:lnTo>
                    <a:lnTo>
                      <a:pt x="2147" y="3460"/>
                    </a:lnTo>
                    <a:lnTo>
                      <a:pt x="2144" y="3460"/>
                    </a:lnTo>
                    <a:lnTo>
                      <a:pt x="2142" y="3460"/>
                    </a:lnTo>
                    <a:lnTo>
                      <a:pt x="2141" y="3457"/>
                    </a:lnTo>
                    <a:lnTo>
                      <a:pt x="2141" y="3455"/>
                    </a:lnTo>
                    <a:lnTo>
                      <a:pt x="2141" y="3453"/>
                    </a:lnTo>
                    <a:lnTo>
                      <a:pt x="2142" y="3449"/>
                    </a:lnTo>
                    <a:lnTo>
                      <a:pt x="2143" y="3445"/>
                    </a:lnTo>
                    <a:lnTo>
                      <a:pt x="2147" y="3442"/>
                    </a:lnTo>
                    <a:lnTo>
                      <a:pt x="2153" y="3435"/>
                    </a:lnTo>
                    <a:lnTo>
                      <a:pt x="2159" y="3426"/>
                    </a:lnTo>
                    <a:lnTo>
                      <a:pt x="2161" y="3422"/>
                    </a:lnTo>
                    <a:lnTo>
                      <a:pt x="2161" y="3417"/>
                    </a:lnTo>
                    <a:lnTo>
                      <a:pt x="2161" y="3412"/>
                    </a:lnTo>
                    <a:lnTo>
                      <a:pt x="2159" y="3406"/>
                    </a:lnTo>
                    <a:lnTo>
                      <a:pt x="2154" y="3399"/>
                    </a:lnTo>
                    <a:lnTo>
                      <a:pt x="2151" y="3393"/>
                    </a:lnTo>
                    <a:lnTo>
                      <a:pt x="2151" y="3386"/>
                    </a:lnTo>
                    <a:lnTo>
                      <a:pt x="2151" y="3378"/>
                    </a:lnTo>
                    <a:lnTo>
                      <a:pt x="2148" y="3366"/>
                    </a:lnTo>
                    <a:lnTo>
                      <a:pt x="2142" y="3355"/>
                    </a:lnTo>
                    <a:lnTo>
                      <a:pt x="2141" y="3352"/>
                    </a:lnTo>
                    <a:lnTo>
                      <a:pt x="2139" y="3348"/>
                    </a:lnTo>
                    <a:lnTo>
                      <a:pt x="2139" y="3346"/>
                    </a:lnTo>
                    <a:lnTo>
                      <a:pt x="2139" y="3346"/>
                    </a:lnTo>
                    <a:lnTo>
                      <a:pt x="2141" y="3344"/>
                    </a:lnTo>
                    <a:lnTo>
                      <a:pt x="2143" y="3344"/>
                    </a:lnTo>
                    <a:lnTo>
                      <a:pt x="2147" y="3344"/>
                    </a:lnTo>
                    <a:lnTo>
                      <a:pt x="2149" y="3343"/>
                    </a:lnTo>
                    <a:lnTo>
                      <a:pt x="2151" y="3343"/>
                    </a:lnTo>
                    <a:lnTo>
                      <a:pt x="2153" y="3342"/>
                    </a:lnTo>
                    <a:lnTo>
                      <a:pt x="2154" y="3337"/>
                    </a:lnTo>
                    <a:lnTo>
                      <a:pt x="2154" y="3330"/>
                    </a:lnTo>
                    <a:lnTo>
                      <a:pt x="2154" y="3325"/>
                    </a:lnTo>
                    <a:lnTo>
                      <a:pt x="2155" y="3322"/>
                    </a:lnTo>
                    <a:lnTo>
                      <a:pt x="2157" y="3319"/>
                    </a:lnTo>
                    <a:lnTo>
                      <a:pt x="2160" y="3317"/>
                    </a:lnTo>
                    <a:lnTo>
                      <a:pt x="2163" y="3316"/>
                    </a:lnTo>
                    <a:lnTo>
                      <a:pt x="2168" y="3314"/>
                    </a:lnTo>
                    <a:lnTo>
                      <a:pt x="2174" y="3314"/>
                    </a:lnTo>
                    <a:lnTo>
                      <a:pt x="2181" y="3312"/>
                    </a:lnTo>
                    <a:lnTo>
                      <a:pt x="2187" y="3314"/>
                    </a:lnTo>
                    <a:lnTo>
                      <a:pt x="2193" y="3314"/>
                    </a:lnTo>
                    <a:lnTo>
                      <a:pt x="2197" y="3316"/>
                    </a:lnTo>
                    <a:lnTo>
                      <a:pt x="2200" y="3317"/>
                    </a:lnTo>
                    <a:lnTo>
                      <a:pt x="2202" y="3321"/>
                    </a:lnTo>
                    <a:lnTo>
                      <a:pt x="2204" y="3323"/>
                    </a:lnTo>
                    <a:lnTo>
                      <a:pt x="2205" y="3327"/>
                    </a:lnTo>
                    <a:lnTo>
                      <a:pt x="2205" y="3331"/>
                    </a:lnTo>
                    <a:lnTo>
                      <a:pt x="2205" y="3340"/>
                    </a:lnTo>
                    <a:lnTo>
                      <a:pt x="2206" y="3346"/>
                    </a:lnTo>
                    <a:lnTo>
                      <a:pt x="2208" y="3349"/>
                    </a:lnTo>
                    <a:lnTo>
                      <a:pt x="2210" y="3353"/>
                    </a:lnTo>
                    <a:lnTo>
                      <a:pt x="2213" y="3355"/>
                    </a:lnTo>
                    <a:lnTo>
                      <a:pt x="2217" y="3359"/>
                    </a:lnTo>
                    <a:lnTo>
                      <a:pt x="2220" y="3361"/>
                    </a:lnTo>
                    <a:lnTo>
                      <a:pt x="2223" y="3365"/>
                    </a:lnTo>
                    <a:lnTo>
                      <a:pt x="2224" y="3368"/>
                    </a:lnTo>
                    <a:lnTo>
                      <a:pt x="2225" y="3372"/>
                    </a:lnTo>
                    <a:lnTo>
                      <a:pt x="2226" y="3379"/>
                    </a:lnTo>
                    <a:lnTo>
                      <a:pt x="2226" y="3386"/>
                    </a:lnTo>
                    <a:lnTo>
                      <a:pt x="2227" y="3390"/>
                    </a:lnTo>
                    <a:lnTo>
                      <a:pt x="2229" y="3394"/>
                    </a:lnTo>
                    <a:lnTo>
                      <a:pt x="2232" y="3397"/>
                    </a:lnTo>
                    <a:lnTo>
                      <a:pt x="2236" y="3400"/>
                    </a:lnTo>
                    <a:lnTo>
                      <a:pt x="2245" y="3405"/>
                    </a:lnTo>
                    <a:lnTo>
                      <a:pt x="2256" y="3410"/>
                    </a:lnTo>
                    <a:lnTo>
                      <a:pt x="2273" y="3415"/>
                    </a:lnTo>
                    <a:lnTo>
                      <a:pt x="2295" y="3423"/>
                    </a:lnTo>
                    <a:lnTo>
                      <a:pt x="2317" y="3431"/>
                    </a:lnTo>
                    <a:lnTo>
                      <a:pt x="2332" y="3438"/>
                    </a:lnTo>
                    <a:lnTo>
                      <a:pt x="2342" y="3444"/>
                    </a:lnTo>
                    <a:lnTo>
                      <a:pt x="2351" y="3449"/>
                    </a:lnTo>
                    <a:lnTo>
                      <a:pt x="2355" y="3450"/>
                    </a:lnTo>
                    <a:lnTo>
                      <a:pt x="2359" y="3451"/>
                    </a:lnTo>
                    <a:lnTo>
                      <a:pt x="2363" y="3450"/>
                    </a:lnTo>
                    <a:lnTo>
                      <a:pt x="2365" y="3450"/>
                    </a:lnTo>
                    <a:lnTo>
                      <a:pt x="2369" y="3448"/>
                    </a:lnTo>
                    <a:lnTo>
                      <a:pt x="2370" y="3443"/>
                    </a:lnTo>
                    <a:lnTo>
                      <a:pt x="2371" y="3440"/>
                    </a:lnTo>
                    <a:lnTo>
                      <a:pt x="2370" y="3434"/>
                    </a:lnTo>
                    <a:lnTo>
                      <a:pt x="2369" y="3428"/>
                    </a:lnTo>
                    <a:lnTo>
                      <a:pt x="2367" y="3422"/>
                    </a:lnTo>
                    <a:lnTo>
                      <a:pt x="2364" y="3416"/>
                    </a:lnTo>
                    <a:lnTo>
                      <a:pt x="2361" y="3411"/>
                    </a:lnTo>
                    <a:lnTo>
                      <a:pt x="2355" y="3401"/>
                    </a:lnTo>
                    <a:lnTo>
                      <a:pt x="2350" y="3392"/>
                    </a:lnTo>
                    <a:lnTo>
                      <a:pt x="2350" y="3387"/>
                    </a:lnTo>
                    <a:lnTo>
                      <a:pt x="2350" y="3382"/>
                    </a:lnTo>
                    <a:lnTo>
                      <a:pt x="2350" y="3377"/>
                    </a:lnTo>
                    <a:lnTo>
                      <a:pt x="2352" y="3371"/>
                    </a:lnTo>
                    <a:lnTo>
                      <a:pt x="2356" y="3360"/>
                    </a:lnTo>
                    <a:lnTo>
                      <a:pt x="2357" y="3350"/>
                    </a:lnTo>
                    <a:lnTo>
                      <a:pt x="2357" y="3346"/>
                    </a:lnTo>
                    <a:lnTo>
                      <a:pt x="2356" y="3341"/>
                    </a:lnTo>
                    <a:lnTo>
                      <a:pt x="2355" y="3336"/>
                    </a:lnTo>
                    <a:lnTo>
                      <a:pt x="2352" y="3330"/>
                    </a:lnTo>
                    <a:lnTo>
                      <a:pt x="2349" y="3319"/>
                    </a:lnTo>
                    <a:lnTo>
                      <a:pt x="2346" y="3310"/>
                    </a:lnTo>
                    <a:lnTo>
                      <a:pt x="2348" y="3306"/>
                    </a:lnTo>
                    <a:lnTo>
                      <a:pt x="2349" y="3304"/>
                    </a:lnTo>
                    <a:lnTo>
                      <a:pt x="2350" y="3302"/>
                    </a:lnTo>
                    <a:lnTo>
                      <a:pt x="2352" y="3302"/>
                    </a:lnTo>
                    <a:lnTo>
                      <a:pt x="2364" y="3305"/>
                    </a:lnTo>
                    <a:lnTo>
                      <a:pt x="2380" y="3314"/>
                    </a:lnTo>
                    <a:lnTo>
                      <a:pt x="2390" y="3317"/>
                    </a:lnTo>
                    <a:lnTo>
                      <a:pt x="2401" y="3321"/>
                    </a:lnTo>
                    <a:lnTo>
                      <a:pt x="2411" y="3323"/>
                    </a:lnTo>
                    <a:lnTo>
                      <a:pt x="2419" y="3323"/>
                    </a:lnTo>
                    <a:lnTo>
                      <a:pt x="2426" y="3323"/>
                    </a:lnTo>
                    <a:lnTo>
                      <a:pt x="2428" y="3321"/>
                    </a:lnTo>
                    <a:lnTo>
                      <a:pt x="2431" y="3316"/>
                    </a:lnTo>
                    <a:lnTo>
                      <a:pt x="2431" y="3310"/>
                    </a:lnTo>
                    <a:lnTo>
                      <a:pt x="2431" y="3306"/>
                    </a:lnTo>
                    <a:lnTo>
                      <a:pt x="2433" y="3304"/>
                    </a:lnTo>
                    <a:lnTo>
                      <a:pt x="2437" y="3303"/>
                    </a:lnTo>
                    <a:lnTo>
                      <a:pt x="2441" y="3302"/>
                    </a:lnTo>
                    <a:lnTo>
                      <a:pt x="2452" y="3300"/>
                    </a:lnTo>
                    <a:lnTo>
                      <a:pt x="2466" y="3302"/>
                    </a:lnTo>
                    <a:lnTo>
                      <a:pt x="2479" y="3304"/>
                    </a:lnTo>
                    <a:lnTo>
                      <a:pt x="2490" y="3308"/>
                    </a:lnTo>
                    <a:lnTo>
                      <a:pt x="2497" y="3311"/>
                    </a:lnTo>
                    <a:lnTo>
                      <a:pt x="2504" y="3314"/>
                    </a:lnTo>
                    <a:lnTo>
                      <a:pt x="2508" y="3315"/>
                    </a:lnTo>
                    <a:lnTo>
                      <a:pt x="2510" y="3315"/>
                    </a:lnTo>
                    <a:lnTo>
                      <a:pt x="2514" y="3315"/>
                    </a:lnTo>
                    <a:lnTo>
                      <a:pt x="2516" y="3314"/>
                    </a:lnTo>
                    <a:lnTo>
                      <a:pt x="2520" y="3309"/>
                    </a:lnTo>
                    <a:lnTo>
                      <a:pt x="2522" y="3304"/>
                    </a:lnTo>
                    <a:lnTo>
                      <a:pt x="2523" y="3296"/>
                    </a:lnTo>
                    <a:lnTo>
                      <a:pt x="2527" y="3289"/>
                    </a:lnTo>
                    <a:lnTo>
                      <a:pt x="2529" y="3286"/>
                    </a:lnTo>
                    <a:lnTo>
                      <a:pt x="2532" y="3285"/>
                    </a:lnTo>
                    <a:lnTo>
                      <a:pt x="2535" y="3285"/>
                    </a:lnTo>
                    <a:lnTo>
                      <a:pt x="2539" y="3286"/>
                    </a:lnTo>
                    <a:lnTo>
                      <a:pt x="2548" y="3291"/>
                    </a:lnTo>
                    <a:lnTo>
                      <a:pt x="2558" y="3292"/>
                    </a:lnTo>
                    <a:lnTo>
                      <a:pt x="2561" y="3292"/>
                    </a:lnTo>
                    <a:lnTo>
                      <a:pt x="2564" y="3291"/>
                    </a:lnTo>
                    <a:lnTo>
                      <a:pt x="2566" y="3289"/>
                    </a:lnTo>
                    <a:lnTo>
                      <a:pt x="2566" y="3285"/>
                    </a:lnTo>
                    <a:lnTo>
                      <a:pt x="2564" y="3276"/>
                    </a:lnTo>
                    <a:lnTo>
                      <a:pt x="2561" y="3264"/>
                    </a:lnTo>
                    <a:lnTo>
                      <a:pt x="2560" y="3256"/>
                    </a:lnTo>
                    <a:lnTo>
                      <a:pt x="2559" y="3249"/>
                    </a:lnTo>
                    <a:lnTo>
                      <a:pt x="2559" y="3241"/>
                    </a:lnTo>
                    <a:lnTo>
                      <a:pt x="2560" y="3232"/>
                    </a:lnTo>
                    <a:lnTo>
                      <a:pt x="2563" y="3223"/>
                    </a:lnTo>
                    <a:lnTo>
                      <a:pt x="2565" y="3217"/>
                    </a:lnTo>
                    <a:lnTo>
                      <a:pt x="2569" y="3213"/>
                    </a:lnTo>
                    <a:lnTo>
                      <a:pt x="2571" y="3210"/>
                    </a:lnTo>
                    <a:lnTo>
                      <a:pt x="2575" y="3209"/>
                    </a:lnTo>
                    <a:lnTo>
                      <a:pt x="2578" y="3209"/>
                    </a:lnTo>
                    <a:lnTo>
                      <a:pt x="2582" y="3210"/>
                    </a:lnTo>
                    <a:lnTo>
                      <a:pt x="2585" y="3211"/>
                    </a:lnTo>
                    <a:lnTo>
                      <a:pt x="2594" y="3215"/>
                    </a:lnTo>
                    <a:lnTo>
                      <a:pt x="2602" y="3216"/>
                    </a:lnTo>
                    <a:lnTo>
                      <a:pt x="2605" y="3216"/>
                    </a:lnTo>
                    <a:lnTo>
                      <a:pt x="2608" y="3215"/>
                    </a:lnTo>
                    <a:lnTo>
                      <a:pt x="2609" y="3213"/>
                    </a:lnTo>
                    <a:lnTo>
                      <a:pt x="2609" y="3209"/>
                    </a:lnTo>
                    <a:lnTo>
                      <a:pt x="2605" y="3199"/>
                    </a:lnTo>
                    <a:lnTo>
                      <a:pt x="2604" y="3192"/>
                    </a:lnTo>
                    <a:lnTo>
                      <a:pt x="2604" y="3189"/>
                    </a:lnTo>
                    <a:lnTo>
                      <a:pt x="2605" y="3185"/>
                    </a:lnTo>
                    <a:lnTo>
                      <a:pt x="2607" y="3183"/>
                    </a:lnTo>
                    <a:lnTo>
                      <a:pt x="2609" y="3180"/>
                    </a:lnTo>
                    <a:lnTo>
                      <a:pt x="2613" y="3179"/>
                    </a:lnTo>
                    <a:lnTo>
                      <a:pt x="2615" y="3176"/>
                    </a:lnTo>
                    <a:lnTo>
                      <a:pt x="2617" y="3173"/>
                    </a:lnTo>
                    <a:lnTo>
                      <a:pt x="2619" y="3170"/>
                    </a:lnTo>
                    <a:lnTo>
                      <a:pt x="2620" y="3167"/>
                    </a:lnTo>
                    <a:lnTo>
                      <a:pt x="2619" y="3164"/>
                    </a:lnTo>
                    <a:lnTo>
                      <a:pt x="2617" y="3161"/>
                    </a:lnTo>
                    <a:lnTo>
                      <a:pt x="2614" y="3160"/>
                    </a:lnTo>
                    <a:lnTo>
                      <a:pt x="2605" y="3155"/>
                    </a:lnTo>
                    <a:lnTo>
                      <a:pt x="2598" y="3152"/>
                    </a:lnTo>
                    <a:lnTo>
                      <a:pt x="2596" y="3148"/>
                    </a:lnTo>
                    <a:lnTo>
                      <a:pt x="2595" y="3146"/>
                    </a:lnTo>
                    <a:lnTo>
                      <a:pt x="2595" y="3142"/>
                    </a:lnTo>
                    <a:lnTo>
                      <a:pt x="2597" y="3138"/>
                    </a:lnTo>
                    <a:lnTo>
                      <a:pt x="2602" y="3129"/>
                    </a:lnTo>
                    <a:lnTo>
                      <a:pt x="2609" y="3121"/>
                    </a:lnTo>
                    <a:lnTo>
                      <a:pt x="2613" y="3117"/>
                    </a:lnTo>
                    <a:lnTo>
                      <a:pt x="2616" y="3115"/>
                    </a:lnTo>
                    <a:lnTo>
                      <a:pt x="2621" y="3113"/>
                    </a:lnTo>
                    <a:lnTo>
                      <a:pt x="2626" y="3113"/>
                    </a:lnTo>
                    <a:lnTo>
                      <a:pt x="2641" y="3119"/>
                    </a:lnTo>
                    <a:lnTo>
                      <a:pt x="2664" y="3128"/>
                    </a:lnTo>
                    <a:lnTo>
                      <a:pt x="2686" y="3138"/>
                    </a:lnTo>
                    <a:lnTo>
                      <a:pt x="2704" y="3144"/>
                    </a:lnTo>
                    <a:lnTo>
                      <a:pt x="2708" y="3144"/>
                    </a:lnTo>
                    <a:lnTo>
                      <a:pt x="2711" y="3144"/>
                    </a:lnTo>
                    <a:lnTo>
                      <a:pt x="2712" y="3144"/>
                    </a:lnTo>
                    <a:lnTo>
                      <a:pt x="2715" y="3142"/>
                    </a:lnTo>
                    <a:lnTo>
                      <a:pt x="2717" y="3138"/>
                    </a:lnTo>
                    <a:lnTo>
                      <a:pt x="2723" y="3132"/>
                    </a:lnTo>
                    <a:lnTo>
                      <a:pt x="2730" y="3126"/>
                    </a:lnTo>
                    <a:lnTo>
                      <a:pt x="2736" y="3123"/>
                    </a:lnTo>
                    <a:lnTo>
                      <a:pt x="2739" y="3121"/>
                    </a:lnTo>
                    <a:lnTo>
                      <a:pt x="2740" y="3120"/>
                    </a:lnTo>
                    <a:lnTo>
                      <a:pt x="2739" y="3119"/>
                    </a:lnTo>
                    <a:lnTo>
                      <a:pt x="2736" y="3116"/>
                    </a:lnTo>
                    <a:lnTo>
                      <a:pt x="2729" y="3108"/>
                    </a:lnTo>
                    <a:lnTo>
                      <a:pt x="2721" y="3100"/>
                    </a:lnTo>
                    <a:lnTo>
                      <a:pt x="2710" y="3087"/>
                    </a:lnTo>
                    <a:lnTo>
                      <a:pt x="2698" y="3075"/>
                    </a:lnTo>
                    <a:lnTo>
                      <a:pt x="2689" y="3063"/>
                    </a:lnTo>
                    <a:lnTo>
                      <a:pt x="2682" y="3053"/>
                    </a:lnTo>
                    <a:lnTo>
                      <a:pt x="2674" y="3046"/>
                    </a:lnTo>
                    <a:lnTo>
                      <a:pt x="2667" y="3041"/>
                    </a:lnTo>
                    <a:lnTo>
                      <a:pt x="2660" y="3037"/>
                    </a:lnTo>
                    <a:lnTo>
                      <a:pt x="2653" y="3034"/>
                    </a:lnTo>
                    <a:lnTo>
                      <a:pt x="2647" y="3029"/>
                    </a:lnTo>
                    <a:lnTo>
                      <a:pt x="2640" y="3024"/>
                    </a:lnTo>
                    <a:lnTo>
                      <a:pt x="2634" y="3016"/>
                    </a:lnTo>
                    <a:lnTo>
                      <a:pt x="2630" y="3008"/>
                    </a:lnTo>
                    <a:lnTo>
                      <a:pt x="2629" y="2999"/>
                    </a:lnTo>
                    <a:lnTo>
                      <a:pt x="2628" y="2987"/>
                    </a:lnTo>
                    <a:lnTo>
                      <a:pt x="2627" y="2974"/>
                    </a:lnTo>
                    <a:lnTo>
                      <a:pt x="2627" y="2963"/>
                    </a:lnTo>
                    <a:lnTo>
                      <a:pt x="2627" y="2958"/>
                    </a:lnTo>
                    <a:lnTo>
                      <a:pt x="2626" y="2956"/>
                    </a:lnTo>
                    <a:lnTo>
                      <a:pt x="2623" y="2952"/>
                    </a:lnTo>
                    <a:lnTo>
                      <a:pt x="2622" y="2950"/>
                    </a:lnTo>
                    <a:lnTo>
                      <a:pt x="2619" y="2946"/>
                    </a:lnTo>
                    <a:lnTo>
                      <a:pt x="2617" y="2943"/>
                    </a:lnTo>
                    <a:lnTo>
                      <a:pt x="2616" y="2940"/>
                    </a:lnTo>
                    <a:lnTo>
                      <a:pt x="2616" y="2938"/>
                    </a:lnTo>
                    <a:lnTo>
                      <a:pt x="2619" y="2934"/>
                    </a:lnTo>
                    <a:lnTo>
                      <a:pt x="2626" y="2927"/>
                    </a:lnTo>
                    <a:lnTo>
                      <a:pt x="2632" y="2924"/>
                    </a:lnTo>
                    <a:lnTo>
                      <a:pt x="2638" y="2921"/>
                    </a:lnTo>
                    <a:lnTo>
                      <a:pt x="2644" y="2919"/>
                    </a:lnTo>
                    <a:lnTo>
                      <a:pt x="2653" y="2919"/>
                    </a:lnTo>
                    <a:lnTo>
                      <a:pt x="2670" y="2919"/>
                    </a:lnTo>
                    <a:lnTo>
                      <a:pt x="2682" y="2918"/>
                    </a:lnTo>
                    <a:lnTo>
                      <a:pt x="2687" y="2915"/>
                    </a:lnTo>
                    <a:lnTo>
                      <a:pt x="2691" y="2913"/>
                    </a:lnTo>
                    <a:lnTo>
                      <a:pt x="2695" y="2909"/>
                    </a:lnTo>
                    <a:lnTo>
                      <a:pt x="2698" y="2903"/>
                    </a:lnTo>
                    <a:lnTo>
                      <a:pt x="2699" y="2898"/>
                    </a:lnTo>
                    <a:lnTo>
                      <a:pt x="2699" y="2890"/>
                    </a:lnTo>
                    <a:lnTo>
                      <a:pt x="2698" y="2884"/>
                    </a:lnTo>
                    <a:lnTo>
                      <a:pt x="2696" y="2877"/>
                    </a:lnTo>
                    <a:lnTo>
                      <a:pt x="2690" y="2867"/>
                    </a:lnTo>
                    <a:lnTo>
                      <a:pt x="2685" y="2857"/>
                    </a:lnTo>
                    <a:lnTo>
                      <a:pt x="2684" y="2854"/>
                    </a:lnTo>
                    <a:lnTo>
                      <a:pt x="2684" y="2851"/>
                    </a:lnTo>
                    <a:lnTo>
                      <a:pt x="2685" y="2848"/>
                    </a:lnTo>
                    <a:lnTo>
                      <a:pt x="2686" y="2844"/>
                    </a:lnTo>
                    <a:lnTo>
                      <a:pt x="2689" y="2840"/>
                    </a:lnTo>
                    <a:lnTo>
                      <a:pt x="2692" y="2837"/>
                    </a:lnTo>
                    <a:lnTo>
                      <a:pt x="2697" y="2833"/>
                    </a:lnTo>
                    <a:lnTo>
                      <a:pt x="2702" y="2831"/>
                    </a:lnTo>
                    <a:lnTo>
                      <a:pt x="2714" y="2824"/>
                    </a:lnTo>
                    <a:lnTo>
                      <a:pt x="2723" y="2816"/>
                    </a:lnTo>
                    <a:lnTo>
                      <a:pt x="2727" y="2811"/>
                    </a:lnTo>
                    <a:lnTo>
                      <a:pt x="2729" y="2806"/>
                    </a:lnTo>
                    <a:lnTo>
                      <a:pt x="2731" y="2800"/>
                    </a:lnTo>
                    <a:lnTo>
                      <a:pt x="2733" y="2794"/>
                    </a:lnTo>
                    <a:lnTo>
                      <a:pt x="2734" y="2787"/>
                    </a:lnTo>
                    <a:lnTo>
                      <a:pt x="2735" y="2781"/>
                    </a:lnTo>
                    <a:lnTo>
                      <a:pt x="2737" y="2775"/>
                    </a:lnTo>
                    <a:lnTo>
                      <a:pt x="2740" y="2769"/>
                    </a:lnTo>
                    <a:lnTo>
                      <a:pt x="2743" y="2766"/>
                    </a:lnTo>
                    <a:lnTo>
                      <a:pt x="2748" y="2762"/>
                    </a:lnTo>
                    <a:lnTo>
                      <a:pt x="2753" y="2760"/>
                    </a:lnTo>
                    <a:lnTo>
                      <a:pt x="2758" y="2758"/>
                    </a:lnTo>
                    <a:lnTo>
                      <a:pt x="2768" y="2757"/>
                    </a:lnTo>
                    <a:lnTo>
                      <a:pt x="2780" y="2755"/>
                    </a:lnTo>
                    <a:lnTo>
                      <a:pt x="2790" y="2753"/>
                    </a:lnTo>
                    <a:lnTo>
                      <a:pt x="2797" y="2750"/>
                    </a:lnTo>
                    <a:lnTo>
                      <a:pt x="2799" y="2749"/>
                    </a:lnTo>
                    <a:lnTo>
                      <a:pt x="2800" y="2747"/>
                    </a:lnTo>
                    <a:lnTo>
                      <a:pt x="2799" y="2744"/>
                    </a:lnTo>
                    <a:lnTo>
                      <a:pt x="2796" y="2742"/>
                    </a:lnTo>
                    <a:lnTo>
                      <a:pt x="2792" y="2738"/>
                    </a:lnTo>
                    <a:lnTo>
                      <a:pt x="2787" y="2736"/>
                    </a:lnTo>
                    <a:lnTo>
                      <a:pt x="2781" y="2734"/>
                    </a:lnTo>
                    <a:lnTo>
                      <a:pt x="2774" y="2731"/>
                    </a:lnTo>
                    <a:lnTo>
                      <a:pt x="2767" y="2729"/>
                    </a:lnTo>
                    <a:lnTo>
                      <a:pt x="2760" y="2726"/>
                    </a:lnTo>
                    <a:lnTo>
                      <a:pt x="2754" y="2723"/>
                    </a:lnTo>
                    <a:lnTo>
                      <a:pt x="2748" y="2719"/>
                    </a:lnTo>
                    <a:lnTo>
                      <a:pt x="2736" y="2712"/>
                    </a:lnTo>
                    <a:lnTo>
                      <a:pt x="2727" y="2706"/>
                    </a:lnTo>
                    <a:lnTo>
                      <a:pt x="2722" y="2703"/>
                    </a:lnTo>
                    <a:lnTo>
                      <a:pt x="2720" y="2699"/>
                    </a:lnTo>
                    <a:lnTo>
                      <a:pt x="2717" y="2695"/>
                    </a:lnTo>
                    <a:lnTo>
                      <a:pt x="2715" y="2692"/>
                    </a:lnTo>
                    <a:lnTo>
                      <a:pt x="2715" y="2687"/>
                    </a:lnTo>
                    <a:lnTo>
                      <a:pt x="2715" y="2684"/>
                    </a:lnTo>
                    <a:lnTo>
                      <a:pt x="2716" y="2680"/>
                    </a:lnTo>
                    <a:lnTo>
                      <a:pt x="2717" y="2676"/>
                    </a:lnTo>
                    <a:lnTo>
                      <a:pt x="2718" y="2673"/>
                    </a:lnTo>
                    <a:lnTo>
                      <a:pt x="2718" y="2671"/>
                    </a:lnTo>
                    <a:lnTo>
                      <a:pt x="2718" y="2669"/>
                    </a:lnTo>
                    <a:lnTo>
                      <a:pt x="2717" y="2668"/>
                    </a:lnTo>
                    <a:lnTo>
                      <a:pt x="2712" y="2666"/>
                    </a:lnTo>
                    <a:lnTo>
                      <a:pt x="2705" y="2666"/>
                    </a:lnTo>
                    <a:lnTo>
                      <a:pt x="2701" y="2665"/>
                    </a:lnTo>
                    <a:lnTo>
                      <a:pt x="2697" y="2662"/>
                    </a:lnTo>
                    <a:lnTo>
                      <a:pt x="2692" y="2661"/>
                    </a:lnTo>
                    <a:lnTo>
                      <a:pt x="2690" y="2657"/>
                    </a:lnTo>
                    <a:lnTo>
                      <a:pt x="2686" y="2654"/>
                    </a:lnTo>
                    <a:lnTo>
                      <a:pt x="2685" y="2650"/>
                    </a:lnTo>
                    <a:lnTo>
                      <a:pt x="2685" y="2646"/>
                    </a:lnTo>
                    <a:lnTo>
                      <a:pt x="2685" y="2641"/>
                    </a:lnTo>
                    <a:lnTo>
                      <a:pt x="2690" y="2631"/>
                    </a:lnTo>
                    <a:lnTo>
                      <a:pt x="2693" y="2622"/>
                    </a:lnTo>
                    <a:lnTo>
                      <a:pt x="2695" y="2616"/>
                    </a:lnTo>
                    <a:lnTo>
                      <a:pt x="2695" y="2610"/>
                    </a:lnTo>
                    <a:lnTo>
                      <a:pt x="2695" y="2603"/>
                    </a:lnTo>
                    <a:lnTo>
                      <a:pt x="2693" y="2594"/>
                    </a:lnTo>
                    <a:lnTo>
                      <a:pt x="2690" y="2580"/>
                    </a:lnTo>
                    <a:lnTo>
                      <a:pt x="2685" y="2571"/>
                    </a:lnTo>
                    <a:lnTo>
                      <a:pt x="2682" y="2564"/>
                    </a:lnTo>
                    <a:lnTo>
                      <a:pt x="2678" y="2555"/>
                    </a:lnTo>
                    <a:lnTo>
                      <a:pt x="2677" y="2550"/>
                    </a:lnTo>
                    <a:lnTo>
                      <a:pt x="2678" y="2547"/>
                    </a:lnTo>
                    <a:lnTo>
                      <a:pt x="2679" y="2543"/>
                    </a:lnTo>
                    <a:lnTo>
                      <a:pt x="2682" y="2539"/>
                    </a:lnTo>
                    <a:lnTo>
                      <a:pt x="2684" y="2536"/>
                    </a:lnTo>
                    <a:lnTo>
                      <a:pt x="2689" y="2533"/>
                    </a:lnTo>
                    <a:lnTo>
                      <a:pt x="2693" y="2530"/>
                    </a:lnTo>
                    <a:lnTo>
                      <a:pt x="2698" y="2529"/>
                    </a:lnTo>
                    <a:lnTo>
                      <a:pt x="2709" y="2527"/>
                    </a:lnTo>
                    <a:lnTo>
                      <a:pt x="2720" y="2526"/>
                    </a:lnTo>
                    <a:lnTo>
                      <a:pt x="2733" y="2524"/>
                    </a:lnTo>
                    <a:lnTo>
                      <a:pt x="2746" y="2521"/>
                    </a:lnTo>
                    <a:lnTo>
                      <a:pt x="2760" y="2517"/>
                    </a:lnTo>
                    <a:lnTo>
                      <a:pt x="2770" y="2515"/>
                    </a:lnTo>
                    <a:lnTo>
                      <a:pt x="2774" y="2514"/>
                    </a:lnTo>
                    <a:lnTo>
                      <a:pt x="2778" y="2510"/>
                    </a:lnTo>
                    <a:lnTo>
                      <a:pt x="2781" y="2506"/>
                    </a:lnTo>
                    <a:lnTo>
                      <a:pt x="2784" y="2501"/>
                    </a:lnTo>
                    <a:lnTo>
                      <a:pt x="2786" y="2495"/>
                    </a:lnTo>
                    <a:lnTo>
                      <a:pt x="2790" y="2490"/>
                    </a:lnTo>
                    <a:lnTo>
                      <a:pt x="2792" y="2486"/>
                    </a:lnTo>
                    <a:lnTo>
                      <a:pt x="2796" y="2484"/>
                    </a:lnTo>
                    <a:lnTo>
                      <a:pt x="2799" y="2482"/>
                    </a:lnTo>
                    <a:lnTo>
                      <a:pt x="2803" y="2482"/>
                    </a:lnTo>
                    <a:lnTo>
                      <a:pt x="2806" y="2482"/>
                    </a:lnTo>
                    <a:lnTo>
                      <a:pt x="2810" y="2483"/>
                    </a:lnTo>
                    <a:lnTo>
                      <a:pt x="2815" y="2484"/>
                    </a:lnTo>
                    <a:lnTo>
                      <a:pt x="2818" y="2487"/>
                    </a:lnTo>
                    <a:lnTo>
                      <a:pt x="2823" y="2490"/>
                    </a:lnTo>
                    <a:lnTo>
                      <a:pt x="2827" y="2495"/>
                    </a:lnTo>
                    <a:lnTo>
                      <a:pt x="2830" y="2499"/>
                    </a:lnTo>
                    <a:lnTo>
                      <a:pt x="2833" y="2505"/>
                    </a:lnTo>
                    <a:lnTo>
                      <a:pt x="2833" y="2512"/>
                    </a:lnTo>
                    <a:lnTo>
                      <a:pt x="2833" y="2521"/>
                    </a:lnTo>
                    <a:lnTo>
                      <a:pt x="2830" y="2535"/>
                    </a:lnTo>
                    <a:lnTo>
                      <a:pt x="2830" y="2545"/>
                    </a:lnTo>
                    <a:lnTo>
                      <a:pt x="2831" y="2547"/>
                    </a:lnTo>
                    <a:lnTo>
                      <a:pt x="2834" y="2549"/>
                    </a:lnTo>
                    <a:lnTo>
                      <a:pt x="2837" y="2552"/>
                    </a:lnTo>
                    <a:lnTo>
                      <a:pt x="2842" y="2552"/>
                    </a:lnTo>
                    <a:lnTo>
                      <a:pt x="2847" y="2553"/>
                    </a:lnTo>
                    <a:lnTo>
                      <a:pt x="2852" y="2552"/>
                    </a:lnTo>
                    <a:lnTo>
                      <a:pt x="2856" y="2552"/>
                    </a:lnTo>
                    <a:lnTo>
                      <a:pt x="2861" y="2549"/>
                    </a:lnTo>
                    <a:lnTo>
                      <a:pt x="2871" y="2545"/>
                    </a:lnTo>
                    <a:lnTo>
                      <a:pt x="2881" y="2536"/>
                    </a:lnTo>
                    <a:lnTo>
                      <a:pt x="2888" y="2528"/>
                    </a:lnTo>
                    <a:lnTo>
                      <a:pt x="2896" y="2522"/>
                    </a:lnTo>
                    <a:lnTo>
                      <a:pt x="2899" y="2520"/>
                    </a:lnTo>
                    <a:lnTo>
                      <a:pt x="2905" y="2518"/>
                    </a:lnTo>
                    <a:lnTo>
                      <a:pt x="2911" y="2517"/>
                    </a:lnTo>
                    <a:lnTo>
                      <a:pt x="2920" y="2517"/>
                    </a:lnTo>
                    <a:lnTo>
                      <a:pt x="2940" y="2521"/>
                    </a:lnTo>
                    <a:lnTo>
                      <a:pt x="2957" y="2524"/>
                    </a:lnTo>
                    <a:lnTo>
                      <a:pt x="2974" y="2530"/>
                    </a:lnTo>
                    <a:lnTo>
                      <a:pt x="2986" y="2534"/>
                    </a:lnTo>
                    <a:lnTo>
                      <a:pt x="2993" y="2539"/>
                    </a:lnTo>
                    <a:lnTo>
                      <a:pt x="2998" y="2543"/>
                    </a:lnTo>
                    <a:lnTo>
                      <a:pt x="3000" y="2549"/>
                    </a:lnTo>
                    <a:lnTo>
                      <a:pt x="3001" y="2556"/>
                    </a:lnTo>
                    <a:lnTo>
                      <a:pt x="2999" y="2568"/>
                    </a:lnTo>
                    <a:lnTo>
                      <a:pt x="2998" y="2583"/>
                    </a:lnTo>
                    <a:lnTo>
                      <a:pt x="2998" y="2585"/>
                    </a:lnTo>
                    <a:lnTo>
                      <a:pt x="2998" y="2587"/>
                    </a:lnTo>
                    <a:lnTo>
                      <a:pt x="2999" y="2588"/>
                    </a:lnTo>
                    <a:lnTo>
                      <a:pt x="3000" y="2590"/>
                    </a:lnTo>
                    <a:lnTo>
                      <a:pt x="3005" y="2587"/>
                    </a:lnTo>
                    <a:lnTo>
                      <a:pt x="3013" y="2579"/>
                    </a:lnTo>
                    <a:lnTo>
                      <a:pt x="3018" y="2574"/>
                    </a:lnTo>
                    <a:lnTo>
                      <a:pt x="3024" y="2572"/>
                    </a:lnTo>
                    <a:lnTo>
                      <a:pt x="3029" y="2569"/>
                    </a:lnTo>
                    <a:lnTo>
                      <a:pt x="3033" y="2568"/>
                    </a:lnTo>
                    <a:lnTo>
                      <a:pt x="3038" y="2568"/>
                    </a:lnTo>
                    <a:lnTo>
                      <a:pt x="3043" y="2568"/>
                    </a:lnTo>
                    <a:lnTo>
                      <a:pt x="3048" y="2569"/>
                    </a:lnTo>
                    <a:lnTo>
                      <a:pt x="3052" y="2572"/>
                    </a:lnTo>
                    <a:lnTo>
                      <a:pt x="3061" y="2577"/>
                    </a:lnTo>
                    <a:lnTo>
                      <a:pt x="3068" y="2583"/>
                    </a:lnTo>
                    <a:lnTo>
                      <a:pt x="3075" y="2588"/>
                    </a:lnTo>
                    <a:lnTo>
                      <a:pt x="3080" y="2593"/>
                    </a:lnTo>
                    <a:lnTo>
                      <a:pt x="3086" y="2600"/>
                    </a:lnTo>
                    <a:lnTo>
                      <a:pt x="3089" y="2605"/>
                    </a:lnTo>
                    <a:lnTo>
                      <a:pt x="3090" y="2611"/>
                    </a:lnTo>
                    <a:lnTo>
                      <a:pt x="3094" y="2618"/>
                    </a:lnTo>
                    <a:lnTo>
                      <a:pt x="3102" y="2630"/>
                    </a:lnTo>
                    <a:lnTo>
                      <a:pt x="3117" y="2646"/>
                    </a:lnTo>
                    <a:lnTo>
                      <a:pt x="3124" y="2654"/>
                    </a:lnTo>
                    <a:lnTo>
                      <a:pt x="3130" y="2661"/>
                    </a:lnTo>
                    <a:lnTo>
                      <a:pt x="3134" y="2668"/>
                    </a:lnTo>
                    <a:lnTo>
                      <a:pt x="3137" y="2674"/>
                    </a:lnTo>
                    <a:lnTo>
                      <a:pt x="3136" y="2678"/>
                    </a:lnTo>
                    <a:lnTo>
                      <a:pt x="3133" y="2681"/>
                    </a:lnTo>
                    <a:lnTo>
                      <a:pt x="3131" y="2685"/>
                    </a:lnTo>
                    <a:lnTo>
                      <a:pt x="3127" y="2688"/>
                    </a:lnTo>
                    <a:lnTo>
                      <a:pt x="3124" y="2692"/>
                    </a:lnTo>
                    <a:lnTo>
                      <a:pt x="3121" y="2697"/>
                    </a:lnTo>
                    <a:lnTo>
                      <a:pt x="3119" y="2701"/>
                    </a:lnTo>
                    <a:lnTo>
                      <a:pt x="3120" y="2709"/>
                    </a:lnTo>
                    <a:lnTo>
                      <a:pt x="3123" y="2716"/>
                    </a:lnTo>
                    <a:lnTo>
                      <a:pt x="3125" y="2723"/>
                    </a:lnTo>
                    <a:lnTo>
                      <a:pt x="3129" y="2730"/>
                    </a:lnTo>
                    <a:lnTo>
                      <a:pt x="3133" y="2736"/>
                    </a:lnTo>
                    <a:lnTo>
                      <a:pt x="3140" y="2748"/>
                    </a:lnTo>
                    <a:lnTo>
                      <a:pt x="3146" y="2756"/>
                    </a:lnTo>
                    <a:lnTo>
                      <a:pt x="3149" y="2763"/>
                    </a:lnTo>
                    <a:lnTo>
                      <a:pt x="3151" y="2773"/>
                    </a:lnTo>
                    <a:lnTo>
                      <a:pt x="3150" y="2783"/>
                    </a:lnTo>
                    <a:lnTo>
                      <a:pt x="3149" y="2798"/>
                    </a:lnTo>
                    <a:lnTo>
                      <a:pt x="3148" y="2805"/>
                    </a:lnTo>
                    <a:lnTo>
                      <a:pt x="3149" y="2811"/>
                    </a:lnTo>
                    <a:lnTo>
                      <a:pt x="3151" y="2816"/>
                    </a:lnTo>
                    <a:lnTo>
                      <a:pt x="3155" y="2820"/>
                    </a:lnTo>
                    <a:lnTo>
                      <a:pt x="3158" y="2825"/>
                    </a:lnTo>
                    <a:lnTo>
                      <a:pt x="3161" y="2830"/>
                    </a:lnTo>
                    <a:lnTo>
                      <a:pt x="3163" y="2836"/>
                    </a:lnTo>
                    <a:lnTo>
                      <a:pt x="3163" y="2843"/>
                    </a:lnTo>
                    <a:lnTo>
                      <a:pt x="3163" y="2858"/>
                    </a:lnTo>
                    <a:lnTo>
                      <a:pt x="3162" y="2874"/>
                    </a:lnTo>
                    <a:lnTo>
                      <a:pt x="3163" y="2881"/>
                    </a:lnTo>
                    <a:lnTo>
                      <a:pt x="3163" y="2887"/>
                    </a:lnTo>
                    <a:lnTo>
                      <a:pt x="3165" y="2893"/>
                    </a:lnTo>
                    <a:lnTo>
                      <a:pt x="3168" y="2899"/>
                    </a:lnTo>
                    <a:lnTo>
                      <a:pt x="3171" y="2902"/>
                    </a:lnTo>
                    <a:lnTo>
                      <a:pt x="3177" y="2906"/>
                    </a:lnTo>
                    <a:lnTo>
                      <a:pt x="3184" y="2909"/>
                    </a:lnTo>
                    <a:lnTo>
                      <a:pt x="3192" y="2913"/>
                    </a:lnTo>
                    <a:lnTo>
                      <a:pt x="3199" y="2917"/>
                    </a:lnTo>
                    <a:lnTo>
                      <a:pt x="3205" y="2920"/>
                    </a:lnTo>
                    <a:lnTo>
                      <a:pt x="3209" y="2925"/>
                    </a:lnTo>
                    <a:lnTo>
                      <a:pt x="3212" y="2928"/>
                    </a:lnTo>
                    <a:lnTo>
                      <a:pt x="3215" y="2937"/>
                    </a:lnTo>
                    <a:lnTo>
                      <a:pt x="3220" y="2943"/>
                    </a:lnTo>
                    <a:lnTo>
                      <a:pt x="3222" y="2944"/>
                    </a:lnTo>
                    <a:lnTo>
                      <a:pt x="3226" y="2946"/>
                    </a:lnTo>
                    <a:lnTo>
                      <a:pt x="3230" y="2946"/>
                    </a:lnTo>
                    <a:lnTo>
                      <a:pt x="3233" y="2947"/>
                    </a:lnTo>
                    <a:lnTo>
                      <a:pt x="3243" y="2947"/>
                    </a:lnTo>
                    <a:lnTo>
                      <a:pt x="3256" y="2949"/>
                    </a:lnTo>
                    <a:lnTo>
                      <a:pt x="3263" y="2951"/>
                    </a:lnTo>
                    <a:lnTo>
                      <a:pt x="3270" y="2955"/>
                    </a:lnTo>
                    <a:lnTo>
                      <a:pt x="3276" y="2959"/>
                    </a:lnTo>
                    <a:lnTo>
                      <a:pt x="3283" y="2965"/>
                    </a:lnTo>
                    <a:lnTo>
                      <a:pt x="3288" y="2972"/>
                    </a:lnTo>
                    <a:lnTo>
                      <a:pt x="3293" y="2980"/>
                    </a:lnTo>
                    <a:lnTo>
                      <a:pt x="3296" y="2985"/>
                    </a:lnTo>
                    <a:lnTo>
                      <a:pt x="3299" y="2993"/>
                    </a:lnTo>
                    <a:lnTo>
                      <a:pt x="3303" y="3006"/>
                    </a:lnTo>
                    <a:lnTo>
                      <a:pt x="3307" y="3018"/>
                    </a:lnTo>
                    <a:lnTo>
                      <a:pt x="3308" y="3021"/>
                    </a:lnTo>
                    <a:lnTo>
                      <a:pt x="3310" y="3025"/>
                    </a:lnTo>
                    <a:lnTo>
                      <a:pt x="3313" y="3028"/>
                    </a:lnTo>
                    <a:lnTo>
                      <a:pt x="3316" y="3031"/>
                    </a:lnTo>
                    <a:lnTo>
                      <a:pt x="3322" y="3033"/>
                    </a:lnTo>
                    <a:lnTo>
                      <a:pt x="3329" y="3035"/>
                    </a:lnTo>
                    <a:lnTo>
                      <a:pt x="3337" y="3038"/>
                    </a:lnTo>
                    <a:lnTo>
                      <a:pt x="3345" y="3039"/>
                    </a:lnTo>
                    <a:lnTo>
                      <a:pt x="3353" y="3043"/>
                    </a:lnTo>
                    <a:lnTo>
                      <a:pt x="3362" y="3048"/>
                    </a:lnTo>
                    <a:lnTo>
                      <a:pt x="3369" y="3052"/>
                    </a:lnTo>
                    <a:lnTo>
                      <a:pt x="3375" y="3054"/>
                    </a:lnTo>
                    <a:lnTo>
                      <a:pt x="3382" y="3056"/>
                    </a:lnTo>
                    <a:lnTo>
                      <a:pt x="3390" y="3058"/>
                    </a:lnTo>
                    <a:lnTo>
                      <a:pt x="3395" y="3060"/>
                    </a:lnTo>
                    <a:lnTo>
                      <a:pt x="3400" y="3064"/>
                    </a:lnTo>
                    <a:lnTo>
                      <a:pt x="3404" y="3069"/>
                    </a:lnTo>
                    <a:lnTo>
                      <a:pt x="3409" y="3073"/>
                    </a:lnTo>
                    <a:lnTo>
                      <a:pt x="3417" y="3084"/>
                    </a:lnTo>
                    <a:lnTo>
                      <a:pt x="3426" y="3094"/>
                    </a:lnTo>
                    <a:lnTo>
                      <a:pt x="3432" y="3100"/>
                    </a:lnTo>
                    <a:lnTo>
                      <a:pt x="3441" y="3106"/>
                    </a:lnTo>
                    <a:lnTo>
                      <a:pt x="3451" y="3111"/>
                    </a:lnTo>
                    <a:lnTo>
                      <a:pt x="3463" y="3116"/>
                    </a:lnTo>
                    <a:lnTo>
                      <a:pt x="3467" y="3119"/>
                    </a:lnTo>
                    <a:lnTo>
                      <a:pt x="3473" y="3120"/>
                    </a:lnTo>
                    <a:lnTo>
                      <a:pt x="3478" y="3120"/>
                    </a:lnTo>
                    <a:lnTo>
                      <a:pt x="3482" y="3119"/>
                    </a:lnTo>
                    <a:lnTo>
                      <a:pt x="3485" y="3116"/>
                    </a:lnTo>
                    <a:lnTo>
                      <a:pt x="3489" y="3114"/>
                    </a:lnTo>
                    <a:lnTo>
                      <a:pt x="3490" y="3109"/>
                    </a:lnTo>
                    <a:lnTo>
                      <a:pt x="3491" y="3103"/>
                    </a:lnTo>
                    <a:lnTo>
                      <a:pt x="3492" y="3085"/>
                    </a:lnTo>
                    <a:lnTo>
                      <a:pt x="3493" y="3067"/>
                    </a:lnTo>
                    <a:lnTo>
                      <a:pt x="3493" y="3051"/>
                    </a:lnTo>
                    <a:lnTo>
                      <a:pt x="3493" y="3039"/>
                    </a:lnTo>
                    <a:lnTo>
                      <a:pt x="3493" y="3034"/>
                    </a:lnTo>
                    <a:lnTo>
                      <a:pt x="3495" y="3031"/>
                    </a:lnTo>
                    <a:lnTo>
                      <a:pt x="3497" y="3028"/>
                    </a:lnTo>
                    <a:lnTo>
                      <a:pt x="3501" y="3026"/>
                    </a:lnTo>
                    <a:lnTo>
                      <a:pt x="3508" y="3021"/>
                    </a:lnTo>
                    <a:lnTo>
                      <a:pt x="3518" y="3018"/>
                    </a:lnTo>
                    <a:lnTo>
                      <a:pt x="3524" y="3014"/>
                    </a:lnTo>
                    <a:lnTo>
                      <a:pt x="3528" y="3009"/>
                    </a:lnTo>
                    <a:lnTo>
                      <a:pt x="3530" y="3003"/>
                    </a:lnTo>
                    <a:lnTo>
                      <a:pt x="3533" y="2997"/>
                    </a:lnTo>
                    <a:lnTo>
                      <a:pt x="3534" y="2990"/>
                    </a:lnTo>
                    <a:lnTo>
                      <a:pt x="3536" y="2984"/>
                    </a:lnTo>
                    <a:lnTo>
                      <a:pt x="3540" y="2980"/>
                    </a:lnTo>
                    <a:lnTo>
                      <a:pt x="3546" y="2976"/>
                    </a:lnTo>
                    <a:lnTo>
                      <a:pt x="3547" y="2975"/>
                    </a:lnTo>
                    <a:lnTo>
                      <a:pt x="3549" y="2975"/>
                    </a:lnTo>
                    <a:lnTo>
                      <a:pt x="3552" y="2976"/>
                    </a:lnTo>
                    <a:lnTo>
                      <a:pt x="3553" y="2977"/>
                    </a:lnTo>
                    <a:lnTo>
                      <a:pt x="3555" y="2982"/>
                    </a:lnTo>
                    <a:lnTo>
                      <a:pt x="3556" y="2989"/>
                    </a:lnTo>
                    <a:lnTo>
                      <a:pt x="3558" y="2997"/>
                    </a:lnTo>
                    <a:lnTo>
                      <a:pt x="3560" y="3003"/>
                    </a:lnTo>
                    <a:lnTo>
                      <a:pt x="3562" y="3006"/>
                    </a:lnTo>
                    <a:lnTo>
                      <a:pt x="3565" y="3009"/>
                    </a:lnTo>
                    <a:lnTo>
                      <a:pt x="3570" y="3012"/>
                    </a:lnTo>
                    <a:lnTo>
                      <a:pt x="3575" y="3014"/>
                    </a:lnTo>
                    <a:lnTo>
                      <a:pt x="3580" y="3016"/>
                    </a:lnTo>
                    <a:lnTo>
                      <a:pt x="3585" y="3019"/>
                    </a:lnTo>
                    <a:lnTo>
                      <a:pt x="3590" y="3022"/>
                    </a:lnTo>
                    <a:lnTo>
                      <a:pt x="3593" y="3027"/>
                    </a:lnTo>
                    <a:lnTo>
                      <a:pt x="3597" y="3032"/>
                    </a:lnTo>
                    <a:lnTo>
                      <a:pt x="3599" y="3038"/>
                    </a:lnTo>
                    <a:lnTo>
                      <a:pt x="3603" y="3045"/>
                    </a:lnTo>
                    <a:lnTo>
                      <a:pt x="3606" y="3053"/>
                    </a:lnTo>
                    <a:lnTo>
                      <a:pt x="3609" y="3064"/>
                    </a:lnTo>
                    <a:lnTo>
                      <a:pt x="3609" y="3076"/>
                    </a:lnTo>
                    <a:lnTo>
                      <a:pt x="3610" y="3088"/>
                    </a:lnTo>
                    <a:lnTo>
                      <a:pt x="3611" y="3101"/>
                    </a:lnTo>
                    <a:lnTo>
                      <a:pt x="3612" y="3114"/>
                    </a:lnTo>
                    <a:lnTo>
                      <a:pt x="3610" y="3125"/>
                    </a:lnTo>
                    <a:lnTo>
                      <a:pt x="3608" y="3134"/>
                    </a:lnTo>
                    <a:lnTo>
                      <a:pt x="3604" y="3141"/>
                    </a:lnTo>
                    <a:lnTo>
                      <a:pt x="3599" y="3148"/>
                    </a:lnTo>
                    <a:lnTo>
                      <a:pt x="3596" y="3158"/>
                    </a:lnTo>
                    <a:lnTo>
                      <a:pt x="3595" y="3163"/>
                    </a:lnTo>
                    <a:lnTo>
                      <a:pt x="3595" y="3167"/>
                    </a:lnTo>
                    <a:lnTo>
                      <a:pt x="3596" y="3172"/>
                    </a:lnTo>
                    <a:lnTo>
                      <a:pt x="3598" y="3177"/>
                    </a:lnTo>
                    <a:lnTo>
                      <a:pt x="3602" y="3180"/>
                    </a:lnTo>
                    <a:lnTo>
                      <a:pt x="3606" y="3184"/>
                    </a:lnTo>
                    <a:lnTo>
                      <a:pt x="3611" y="3186"/>
                    </a:lnTo>
                    <a:lnTo>
                      <a:pt x="3617" y="3189"/>
                    </a:lnTo>
                    <a:lnTo>
                      <a:pt x="3623" y="3189"/>
                    </a:lnTo>
                    <a:lnTo>
                      <a:pt x="3629" y="3189"/>
                    </a:lnTo>
                    <a:lnTo>
                      <a:pt x="3634" y="3188"/>
                    </a:lnTo>
                    <a:lnTo>
                      <a:pt x="3638" y="3186"/>
                    </a:lnTo>
                    <a:lnTo>
                      <a:pt x="3642" y="3183"/>
                    </a:lnTo>
                    <a:lnTo>
                      <a:pt x="3644" y="3179"/>
                    </a:lnTo>
                    <a:lnTo>
                      <a:pt x="3647" y="3176"/>
                    </a:lnTo>
                    <a:lnTo>
                      <a:pt x="3647" y="3171"/>
                    </a:lnTo>
                    <a:lnTo>
                      <a:pt x="3648" y="3161"/>
                    </a:lnTo>
                    <a:lnTo>
                      <a:pt x="3648" y="3151"/>
                    </a:lnTo>
                    <a:lnTo>
                      <a:pt x="3649" y="3146"/>
                    </a:lnTo>
                    <a:lnTo>
                      <a:pt x="3649" y="3144"/>
                    </a:lnTo>
                    <a:lnTo>
                      <a:pt x="3650" y="3140"/>
                    </a:lnTo>
                    <a:lnTo>
                      <a:pt x="3653" y="3139"/>
                    </a:lnTo>
                    <a:lnTo>
                      <a:pt x="3654" y="3139"/>
                    </a:lnTo>
                    <a:lnTo>
                      <a:pt x="3656" y="3139"/>
                    </a:lnTo>
                    <a:lnTo>
                      <a:pt x="3660" y="3140"/>
                    </a:lnTo>
                    <a:lnTo>
                      <a:pt x="3663" y="3141"/>
                    </a:lnTo>
                    <a:lnTo>
                      <a:pt x="3669" y="3145"/>
                    </a:lnTo>
                    <a:lnTo>
                      <a:pt x="3675" y="3146"/>
                    </a:lnTo>
                    <a:lnTo>
                      <a:pt x="3684" y="3146"/>
                    </a:lnTo>
                    <a:lnTo>
                      <a:pt x="3692" y="3144"/>
                    </a:lnTo>
                    <a:lnTo>
                      <a:pt x="3698" y="3141"/>
                    </a:lnTo>
                    <a:lnTo>
                      <a:pt x="3703" y="3139"/>
                    </a:lnTo>
                    <a:lnTo>
                      <a:pt x="3706" y="3139"/>
                    </a:lnTo>
                    <a:lnTo>
                      <a:pt x="3710" y="3141"/>
                    </a:lnTo>
                    <a:lnTo>
                      <a:pt x="3716" y="3145"/>
                    </a:lnTo>
                    <a:lnTo>
                      <a:pt x="3722" y="3151"/>
                    </a:lnTo>
                    <a:lnTo>
                      <a:pt x="3728" y="3157"/>
                    </a:lnTo>
                    <a:lnTo>
                      <a:pt x="3731" y="3163"/>
                    </a:lnTo>
                    <a:lnTo>
                      <a:pt x="3737" y="3179"/>
                    </a:lnTo>
                    <a:lnTo>
                      <a:pt x="3744" y="3192"/>
                    </a:lnTo>
                    <a:lnTo>
                      <a:pt x="3753" y="3205"/>
                    </a:lnTo>
                    <a:lnTo>
                      <a:pt x="3757" y="3215"/>
                    </a:lnTo>
                    <a:lnTo>
                      <a:pt x="3757" y="3217"/>
                    </a:lnTo>
                    <a:lnTo>
                      <a:pt x="3757" y="3220"/>
                    </a:lnTo>
                    <a:lnTo>
                      <a:pt x="3755" y="3221"/>
                    </a:lnTo>
                    <a:lnTo>
                      <a:pt x="3751" y="3223"/>
                    </a:lnTo>
                    <a:lnTo>
                      <a:pt x="3737" y="3234"/>
                    </a:lnTo>
                    <a:lnTo>
                      <a:pt x="3725" y="3242"/>
                    </a:lnTo>
                    <a:lnTo>
                      <a:pt x="3719" y="3247"/>
                    </a:lnTo>
                    <a:lnTo>
                      <a:pt x="3716" y="3254"/>
                    </a:lnTo>
                    <a:lnTo>
                      <a:pt x="3715" y="3258"/>
                    </a:lnTo>
                    <a:lnTo>
                      <a:pt x="3713" y="3261"/>
                    </a:lnTo>
                    <a:lnTo>
                      <a:pt x="3713" y="3266"/>
                    </a:lnTo>
                    <a:lnTo>
                      <a:pt x="3715" y="3271"/>
                    </a:lnTo>
                    <a:lnTo>
                      <a:pt x="3716" y="3276"/>
                    </a:lnTo>
                    <a:lnTo>
                      <a:pt x="3719" y="3279"/>
                    </a:lnTo>
                    <a:lnTo>
                      <a:pt x="3723" y="3283"/>
                    </a:lnTo>
                    <a:lnTo>
                      <a:pt x="3728" y="3285"/>
                    </a:lnTo>
                    <a:lnTo>
                      <a:pt x="3732" y="3287"/>
                    </a:lnTo>
                    <a:lnTo>
                      <a:pt x="3737" y="3289"/>
                    </a:lnTo>
                    <a:lnTo>
                      <a:pt x="3743" y="3289"/>
                    </a:lnTo>
                    <a:lnTo>
                      <a:pt x="3748" y="3286"/>
                    </a:lnTo>
                    <a:lnTo>
                      <a:pt x="3754" y="3284"/>
                    </a:lnTo>
                    <a:lnTo>
                      <a:pt x="3759" y="3280"/>
                    </a:lnTo>
                    <a:lnTo>
                      <a:pt x="3763" y="3276"/>
                    </a:lnTo>
                    <a:lnTo>
                      <a:pt x="3769" y="3270"/>
                    </a:lnTo>
                    <a:lnTo>
                      <a:pt x="3778" y="3258"/>
                    </a:lnTo>
                    <a:lnTo>
                      <a:pt x="3786" y="3245"/>
                    </a:lnTo>
                    <a:lnTo>
                      <a:pt x="3791" y="3233"/>
                    </a:lnTo>
                    <a:lnTo>
                      <a:pt x="3793" y="3222"/>
                    </a:lnTo>
                    <a:lnTo>
                      <a:pt x="3794" y="3217"/>
                    </a:lnTo>
                    <a:lnTo>
                      <a:pt x="3795" y="3214"/>
                    </a:lnTo>
                    <a:lnTo>
                      <a:pt x="3797" y="3210"/>
                    </a:lnTo>
                    <a:lnTo>
                      <a:pt x="3800" y="3208"/>
                    </a:lnTo>
                    <a:lnTo>
                      <a:pt x="3803" y="3207"/>
                    </a:lnTo>
                    <a:lnTo>
                      <a:pt x="3805" y="3204"/>
                    </a:lnTo>
                    <a:lnTo>
                      <a:pt x="3806" y="3202"/>
                    </a:lnTo>
                    <a:lnTo>
                      <a:pt x="3807" y="3199"/>
                    </a:lnTo>
                    <a:lnTo>
                      <a:pt x="3807" y="3197"/>
                    </a:lnTo>
                    <a:lnTo>
                      <a:pt x="3807" y="3193"/>
                    </a:lnTo>
                    <a:lnTo>
                      <a:pt x="3806" y="3190"/>
                    </a:lnTo>
                    <a:lnTo>
                      <a:pt x="3804" y="3186"/>
                    </a:lnTo>
                    <a:lnTo>
                      <a:pt x="3803" y="3182"/>
                    </a:lnTo>
                    <a:lnTo>
                      <a:pt x="3801" y="3179"/>
                    </a:lnTo>
                    <a:lnTo>
                      <a:pt x="3801" y="3177"/>
                    </a:lnTo>
                    <a:lnTo>
                      <a:pt x="3801" y="3174"/>
                    </a:lnTo>
                    <a:lnTo>
                      <a:pt x="3804" y="3174"/>
                    </a:lnTo>
                    <a:lnTo>
                      <a:pt x="3806" y="3174"/>
                    </a:lnTo>
                    <a:lnTo>
                      <a:pt x="3811" y="3176"/>
                    </a:lnTo>
                    <a:lnTo>
                      <a:pt x="3816" y="3177"/>
                    </a:lnTo>
                    <a:lnTo>
                      <a:pt x="3826" y="3182"/>
                    </a:lnTo>
                    <a:lnTo>
                      <a:pt x="3836" y="3188"/>
                    </a:lnTo>
                    <a:lnTo>
                      <a:pt x="3844" y="3192"/>
                    </a:lnTo>
                    <a:lnTo>
                      <a:pt x="3851" y="3195"/>
                    </a:lnTo>
                    <a:lnTo>
                      <a:pt x="3858" y="3195"/>
                    </a:lnTo>
                    <a:lnTo>
                      <a:pt x="3867" y="3197"/>
                    </a:lnTo>
                    <a:lnTo>
                      <a:pt x="3874" y="3201"/>
                    </a:lnTo>
                    <a:lnTo>
                      <a:pt x="3880" y="3205"/>
                    </a:lnTo>
                    <a:lnTo>
                      <a:pt x="3885" y="3210"/>
                    </a:lnTo>
                    <a:lnTo>
                      <a:pt x="3889" y="3213"/>
                    </a:lnTo>
                    <a:lnTo>
                      <a:pt x="3895" y="3211"/>
                    </a:lnTo>
                    <a:lnTo>
                      <a:pt x="3902" y="3209"/>
                    </a:lnTo>
                    <a:lnTo>
                      <a:pt x="3912" y="3204"/>
                    </a:lnTo>
                    <a:lnTo>
                      <a:pt x="3918" y="3201"/>
                    </a:lnTo>
                    <a:lnTo>
                      <a:pt x="3930" y="3196"/>
                    </a:lnTo>
                    <a:lnTo>
                      <a:pt x="3942" y="3193"/>
                    </a:lnTo>
                    <a:lnTo>
                      <a:pt x="3948" y="3192"/>
                    </a:lnTo>
                    <a:lnTo>
                      <a:pt x="3952" y="3192"/>
                    </a:lnTo>
                    <a:lnTo>
                      <a:pt x="3956" y="3192"/>
                    </a:lnTo>
                    <a:lnTo>
                      <a:pt x="3959" y="3193"/>
                    </a:lnTo>
                    <a:lnTo>
                      <a:pt x="3964" y="3196"/>
                    </a:lnTo>
                    <a:lnTo>
                      <a:pt x="3967" y="3198"/>
                    </a:lnTo>
                    <a:lnTo>
                      <a:pt x="3969" y="3198"/>
                    </a:lnTo>
                    <a:lnTo>
                      <a:pt x="3971" y="3197"/>
                    </a:lnTo>
                    <a:lnTo>
                      <a:pt x="3976" y="3193"/>
                    </a:lnTo>
                    <a:lnTo>
                      <a:pt x="3983" y="3185"/>
                    </a:lnTo>
                    <a:lnTo>
                      <a:pt x="3992" y="3176"/>
                    </a:lnTo>
                    <a:lnTo>
                      <a:pt x="4000" y="3166"/>
                    </a:lnTo>
                    <a:lnTo>
                      <a:pt x="4002" y="3161"/>
                    </a:lnTo>
                    <a:lnTo>
                      <a:pt x="4005" y="3155"/>
                    </a:lnTo>
                    <a:lnTo>
                      <a:pt x="4007" y="3150"/>
                    </a:lnTo>
                    <a:lnTo>
                      <a:pt x="4008" y="3144"/>
                    </a:lnTo>
                    <a:lnTo>
                      <a:pt x="4008" y="3136"/>
                    </a:lnTo>
                    <a:lnTo>
                      <a:pt x="4008" y="3130"/>
                    </a:lnTo>
                    <a:lnTo>
                      <a:pt x="4007" y="3125"/>
                    </a:lnTo>
                    <a:lnTo>
                      <a:pt x="4003" y="3120"/>
                    </a:lnTo>
                    <a:lnTo>
                      <a:pt x="3995" y="3111"/>
                    </a:lnTo>
                    <a:lnTo>
                      <a:pt x="3986" y="3102"/>
                    </a:lnTo>
                    <a:lnTo>
                      <a:pt x="3981" y="3096"/>
                    </a:lnTo>
                    <a:lnTo>
                      <a:pt x="3976" y="3091"/>
                    </a:lnTo>
                    <a:lnTo>
                      <a:pt x="3974" y="3085"/>
                    </a:lnTo>
                    <a:lnTo>
                      <a:pt x="3971" y="3079"/>
                    </a:lnTo>
                    <a:lnTo>
                      <a:pt x="3970" y="3071"/>
                    </a:lnTo>
                    <a:lnTo>
                      <a:pt x="3970" y="3063"/>
                    </a:lnTo>
                    <a:lnTo>
                      <a:pt x="3971" y="3053"/>
                    </a:lnTo>
                    <a:lnTo>
                      <a:pt x="3974" y="3043"/>
                    </a:lnTo>
                    <a:lnTo>
                      <a:pt x="3978" y="3021"/>
                    </a:lnTo>
                    <a:lnTo>
                      <a:pt x="3984" y="3003"/>
                    </a:lnTo>
                    <a:lnTo>
                      <a:pt x="3987" y="2996"/>
                    </a:lnTo>
                    <a:lnTo>
                      <a:pt x="3989" y="2991"/>
                    </a:lnTo>
                    <a:lnTo>
                      <a:pt x="3993" y="2987"/>
                    </a:lnTo>
                    <a:lnTo>
                      <a:pt x="3996" y="2983"/>
                    </a:lnTo>
                    <a:lnTo>
                      <a:pt x="4001" y="2980"/>
                    </a:lnTo>
                    <a:lnTo>
                      <a:pt x="4006" y="2977"/>
                    </a:lnTo>
                    <a:lnTo>
                      <a:pt x="4012" y="2976"/>
                    </a:lnTo>
                    <a:lnTo>
                      <a:pt x="4020" y="2974"/>
                    </a:lnTo>
                    <a:lnTo>
                      <a:pt x="4037" y="2971"/>
                    </a:lnTo>
                    <a:lnTo>
                      <a:pt x="4050" y="2971"/>
                    </a:lnTo>
                    <a:lnTo>
                      <a:pt x="4055" y="2971"/>
                    </a:lnTo>
                    <a:lnTo>
                      <a:pt x="4059" y="2972"/>
                    </a:lnTo>
                    <a:lnTo>
                      <a:pt x="4063" y="2975"/>
                    </a:lnTo>
                    <a:lnTo>
                      <a:pt x="4065" y="2978"/>
                    </a:lnTo>
                    <a:lnTo>
                      <a:pt x="4070" y="2984"/>
                    </a:lnTo>
                    <a:lnTo>
                      <a:pt x="4074" y="2988"/>
                    </a:lnTo>
                    <a:lnTo>
                      <a:pt x="4076" y="2988"/>
                    </a:lnTo>
                    <a:lnTo>
                      <a:pt x="4077" y="2987"/>
                    </a:lnTo>
                    <a:lnTo>
                      <a:pt x="4078" y="2985"/>
                    </a:lnTo>
                    <a:lnTo>
                      <a:pt x="4078" y="2982"/>
                    </a:lnTo>
                    <a:lnTo>
                      <a:pt x="4081" y="2974"/>
                    </a:lnTo>
                    <a:lnTo>
                      <a:pt x="4083" y="2966"/>
                    </a:lnTo>
                    <a:lnTo>
                      <a:pt x="4085" y="2964"/>
                    </a:lnTo>
                    <a:lnTo>
                      <a:pt x="4089" y="2962"/>
                    </a:lnTo>
                    <a:lnTo>
                      <a:pt x="4093" y="2961"/>
                    </a:lnTo>
                    <a:lnTo>
                      <a:pt x="4096" y="2961"/>
                    </a:lnTo>
                    <a:lnTo>
                      <a:pt x="4101" y="2962"/>
                    </a:lnTo>
                    <a:lnTo>
                      <a:pt x="4106" y="2963"/>
                    </a:lnTo>
                    <a:lnTo>
                      <a:pt x="4110" y="2964"/>
                    </a:lnTo>
                    <a:lnTo>
                      <a:pt x="4115" y="2968"/>
                    </a:lnTo>
                    <a:lnTo>
                      <a:pt x="4125" y="2975"/>
                    </a:lnTo>
                    <a:lnTo>
                      <a:pt x="4133" y="2985"/>
                    </a:lnTo>
                    <a:lnTo>
                      <a:pt x="4141" y="2996"/>
                    </a:lnTo>
                    <a:lnTo>
                      <a:pt x="4150" y="3005"/>
                    </a:lnTo>
                    <a:lnTo>
                      <a:pt x="4153" y="3008"/>
                    </a:lnTo>
                    <a:lnTo>
                      <a:pt x="4157" y="3012"/>
                    </a:lnTo>
                    <a:lnTo>
                      <a:pt x="4160" y="3013"/>
                    </a:lnTo>
                    <a:lnTo>
                      <a:pt x="4163" y="3014"/>
                    </a:lnTo>
                    <a:lnTo>
                      <a:pt x="4165" y="3013"/>
                    </a:lnTo>
                    <a:lnTo>
                      <a:pt x="4169" y="3012"/>
                    </a:lnTo>
                    <a:lnTo>
                      <a:pt x="4171" y="3008"/>
                    </a:lnTo>
                    <a:lnTo>
                      <a:pt x="4173" y="3005"/>
                    </a:lnTo>
                    <a:lnTo>
                      <a:pt x="4179" y="2995"/>
                    </a:lnTo>
                    <a:lnTo>
                      <a:pt x="4187" y="2987"/>
                    </a:lnTo>
                    <a:lnTo>
                      <a:pt x="4190" y="2982"/>
                    </a:lnTo>
                    <a:lnTo>
                      <a:pt x="4192" y="2976"/>
                    </a:lnTo>
                    <a:lnTo>
                      <a:pt x="4194" y="2970"/>
                    </a:lnTo>
                    <a:lnTo>
                      <a:pt x="4195" y="2964"/>
                    </a:lnTo>
                    <a:lnTo>
                      <a:pt x="4195" y="2958"/>
                    </a:lnTo>
                    <a:lnTo>
                      <a:pt x="4194" y="2953"/>
                    </a:lnTo>
                    <a:lnTo>
                      <a:pt x="4191" y="2949"/>
                    </a:lnTo>
                    <a:lnTo>
                      <a:pt x="4188" y="2946"/>
                    </a:lnTo>
                    <a:lnTo>
                      <a:pt x="4181" y="2942"/>
                    </a:lnTo>
                    <a:lnTo>
                      <a:pt x="4173" y="2937"/>
                    </a:lnTo>
                    <a:lnTo>
                      <a:pt x="4171" y="2934"/>
                    </a:lnTo>
                    <a:lnTo>
                      <a:pt x="4171" y="2930"/>
                    </a:lnTo>
                    <a:lnTo>
                      <a:pt x="4171" y="2925"/>
                    </a:lnTo>
                    <a:lnTo>
                      <a:pt x="4172" y="2920"/>
                    </a:lnTo>
                    <a:lnTo>
                      <a:pt x="4176" y="2914"/>
                    </a:lnTo>
                    <a:lnTo>
                      <a:pt x="4179" y="2908"/>
                    </a:lnTo>
                    <a:lnTo>
                      <a:pt x="4184" y="2903"/>
                    </a:lnTo>
                    <a:lnTo>
                      <a:pt x="4189" y="2899"/>
                    </a:lnTo>
                    <a:lnTo>
                      <a:pt x="4194" y="2895"/>
                    </a:lnTo>
                    <a:lnTo>
                      <a:pt x="4200" y="2893"/>
                    </a:lnTo>
                    <a:lnTo>
                      <a:pt x="4206" y="2890"/>
                    </a:lnTo>
                    <a:lnTo>
                      <a:pt x="4211" y="2888"/>
                    </a:lnTo>
                    <a:lnTo>
                      <a:pt x="4216" y="2887"/>
                    </a:lnTo>
                    <a:lnTo>
                      <a:pt x="4221" y="2884"/>
                    </a:lnTo>
                    <a:lnTo>
                      <a:pt x="4226" y="2881"/>
                    </a:lnTo>
                    <a:lnTo>
                      <a:pt x="4228" y="2877"/>
                    </a:lnTo>
                    <a:lnTo>
                      <a:pt x="4230" y="2873"/>
                    </a:lnTo>
                    <a:lnTo>
                      <a:pt x="4233" y="2868"/>
                    </a:lnTo>
                    <a:lnTo>
                      <a:pt x="4234" y="2864"/>
                    </a:lnTo>
                    <a:lnTo>
                      <a:pt x="4234" y="2859"/>
                    </a:lnTo>
                    <a:lnTo>
                      <a:pt x="4234" y="2848"/>
                    </a:lnTo>
                    <a:lnTo>
                      <a:pt x="4234" y="2838"/>
                    </a:lnTo>
                    <a:lnTo>
                      <a:pt x="4233" y="2835"/>
                    </a:lnTo>
                    <a:lnTo>
                      <a:pt x="4232" y="2835"/>
                    </a:lnTo>
                    <a:lnTo>
                      <a:pt x="4228" y="2837"/>
                    </a:lnTo>
                    <a:lnTo>
                      <a:pt x="4226" y="2842"/>
                    </a:lnTo>
                    <a:lnTo>
                      <a:pt x="4221" y="2848"/>
                    </a:lnTo>
                    <a:lnTo>
                      <a:pt x="4215" y="2852"/>
                    </a:lnTo>
                    <a:lnTo>
                      <a:pt x="4207" y="2855"/>
                    </a:lnTo>
                    <a:lnTo>
                      <a:pt x="4200" y="2857"/>
                    </a:lnTo>
                    <a:lnTo>
                      <a:pt x="4191" y="2858"/>
                    </a:lnTo>
                    <a:lnTo>
                      <a:pt x="4184" y="2857"/>
                    </a:lnTo>
                    <a:lnTo>
                      <a:pt x="4178" y="2857"/>
                    </a:lnTo>
                    <a:lnTo>
                      <a:pt x="4173" y="2855"/>
                    </a:lnTo>
                    <a:lnTo>
                      <a:pt x="4171" y="2852"/>
                    </a:lnTo>
                    <a:lnTo>
                      <a:pt x="4170" y="2849"/>
                    </a:lnTo>
                    <a:lnTo>
                      <a:pt x="4169" y="2844"/>
                    </a:lnTo>
                    <a:lnTo>
                      <a:pt x="4167" y="2839"/>
                    </a:lnTo>
                    <a:lnTo>
                      <a:pt x="4169" y="2830"/>
                    </a:lnTo>
                    <a:lnTo>
                      <a:pt x="4172" y="2820"/>
                    </a:lnTo>
                    <a:lnTo>
                      <a:pt x="4173" y="2813"/>
                    </a:lnTo>
                    <a:lnTo>
                      <a:pt x="4173" y="2806"/>
                    </a:lnTo>
                    <a:lnTo>
                      <a:pt x="4171" y="2799"/>
                    </a:lnTo>
                    <a:lnTo>
                      <a:pt x="4167" y="2791"/>
                    </a:lnTo>
                    <a:lnTo>
                      <a:pt x="4164" y="2783"/>
                    </a:lnTo>
                    <a:lnTo>
                      <a:pt x="4164" y="2775"/>
                    </a:lnTo>
                    <a:lnTo>
                      <a:pt x="4164" y="2769"/>
                    </a:lnTo>
                    <a:lnTo>
                      <a:pt x="4164" y="2766"/>
                    </a:lnTo>
                    <a:lnTo>
                      <a:pt x="4163" y="2764"/>
                    </a:lnTo>
                    <a:lnTo>
                      <a:pt x="4156" y="2762"/>
                    </a:lnTo>
                    <a:lnTo>
                      <a:pt x="4150" y="2761"/>
                    </a:lnTo>
                    <a:lnTo>
                      <a:pt x="4141" y="2760"/>
                    </a:lnTo>
                    <a:lnTo>
                      <a:pt x="4129" y="2761"/>
                    </a:lnTo>
                    <a:lnTo>
                      <a:pt x="4115" y="2761"/>
                    </a:lnTo>
                    <a:lnTo>
                      <a:pt x="4107" y="2761"/>
                    </a:lnTo>
                    <a:lnTo>
                      <a:pt x="4103" y="2762"/>
                    </a:lnTo>
                    <a:lnTo>
                      <a:pt x="4101" y="2763"/>
                    </a:lnTo>
                    <a:lnTo>
                      <a:pt x="4096" y="2769"/>
                    </a:lnTo>
                    <a:lnTo>
                      <a:pt x="4093" y="2773"/>
                    </a:lnTo>
                    <a:lnTo>
                      <a:pt x="4088" y="2775"/>
                    </a:lnTo>
                    <a:lnTo>
                      <a:pt x="4080" y="2776"/>
                    </a:lnTo>
                    <a:lnTo>
                      <a:pt x="4071" y="2776"/>
                    </a:lnTo>
                    <a:lnTo>
                      <a:pt x="4064" y="2775"/>
                    </a:lnTo>
                    <a:lnTo>
                      <a:pt x="4057" y="2773"/>
                    </a:lnTo>
                    <a:lnTo>
                      <a:pt x="4051" y="2770"/>
                    </a:lnTo>
                    <a:lnTo>
                      <a:pt x="4045" y="2769"/>
                    </a:lnTo>
                    <a:lnTo>
                      <a:pt x="4038" y="2768"/>
                    </a:lnTo>
                    <a:lnTo>
                      <a:pt x="4028" y="2769"/>
                    </a:lnTo>
                    <a:lnTo>
                      <a:pt x="4024" y="2769"/>
                    </a:lnTo>
                    <a:lnTo>
                      <a:pt x="4020" y="2768"/>
                    </a:lnTo>
                    <a:lnTo>
                      <a:pt x="4018" y="2767"/>
                    </a:lnTo>
                    <a:lnTo>
                      <a:pt x="4017" y="2764"/>
                    </a:lnTo>
                    <a:lnTo>
                      <a:pt x="4017" y="2758"/>
                    </a:lnTo>
                    <a:lnTo>
                      <a:pt x="4019" y="2750"/>
                    </a:lnTo>
                    <a:lnTo>
                      <a:pt x="4025" y="2737"/>
                    </a:lnTo>
                    <a:lnTo>
                      <a:pt x="4034" y="2723"/>
                    </a:lnTo>
                    <a:lnTo>
                      <a:pt x="4037" y="2718"/>
                    </a:lnTo>
                    <a:lnTo>
                      <a:pt x="4038" y="2713"/>
                    </a:lnTo>
                    <a:lnTo>
                      <a:pt x="4036" y="2709"/>
                    </a:lnTo>
                    <a:lnTo>
                      <a:pt x="4033" y="2704"/>
                    </a:lnTo>
                    <a:lnTo>
                      <a:pt x="4021" y="2690"/>
                    </a:lnTo>
                    <a:lnTo>
                      <a:pt x="4006" y="2675"/>
                    </a:lnTo>
                    <a:lnTo>
                      <a:pt x="4000" y="2669"/>
                    </a:lnTo>
                    <a:lnTo>
                      <a:pt x="3993" y="2665"/>
                    </a:lnTo>
                    <a:lnTo>
                      <a:pt x="3989" y="2662"/>
                    </a:lnTo>
                    <a:lnTo>
                      <a:pt x="3986" y="2661"/>
                    </a:lnTo>
                    <a:lnTo>
                      <a:pt x="3982" y="2660"/>
                    </a:lnTo>
                    <a:lnTo>
                      <a:pt x="3978" y="2660"/>
                    </a:lnTo>
                    <a:lnTo>
                      <a:pt x="3975" y="2661"/>
                    </a:lnTo>
                    <a:lnTo>
                      <a:pt x="3973" y="2660"/>
                    </a:lnTo>
                    <a:lnTo>
                      <a:pt x="3970" y="2660"/>
                    </a:lnTo>
                    <a:lnTo>
                      <a:pt x="3969" y="2659"/>
                    </a:lnTo>
                    <a:lnTo>
                      <a:pt x="3967" y="2654"/>
                    </a:lnTo>
                    <a:lnTo>
                      <a:pt x="3964" y="2649"/>
                    </a:lnTo>
                    <a:lnTo>
                      <a:pt x="3954" y="2631"/>
                    </a:lnTo>
                    <a:lnTo>
                      <a:pt x="3944" y="2613"/>
                    </a:lnTo>
                    <a:lnTo>
                      <a:pt x="3939" y="2602"/>
                    </a:lnTo>
                    <a:lnTo>
                      <a:pt x="3937" y="2587"/>
                    </a:lnTo>
                    <a:lnTo>
                      <a:pt x="3933" y="2575"/>
                    </a:lnTo>
                    <a:lnTo>
                      <a:pt x="3931" y="2566"/>
                    </a:lnTo>
                    <a:lnTo>
                      <a:pt x="3925" y="2559"/>
                    </a:lnTo>
                    <a:lnTo>
                      <a:pt x="3917" y="2548"/>
                    </a:lnTo>
                    <a:lnTo>
                      <a:pt x="3908" y="2539"/>
                    </a:lnTo>
                    <a:lnTo>
                      <a:pt x="3901" y="2528"/>
                    </a:lnTo>
                    <a:lnTo>
                      <a:pt x="3900" y="2523"/>
                    </a:lnTo>
                    <a:lnTo>
                      <a:pt x="3899" y="2520"/>
                    </a:lnTo>
                    <a:lnTo>
                      <a:pt x="3899" y="2516"/>
                    </a:lnTo>
                    <a:lnTo>
                      <a:pt x="3900" y="2512"/>
                    </a:lnTo>
                    <a:lnTo>
                      <a:pt x="3902" y="2508"/>
                    </a:lnTo>
                    <a:lnTo>
                      <a:pt x="3907" y="2504"/>
                    </a:lnTo>
                    <a:lnTo>
                      <a:pt x="3910" y="2502"/>
                    </a:lnTo>
                    <a:lnTo>
                      <a:pt x="3912" y="2497"/>
                    </a:lnTo>
                    <a:lnTo>
                      <a:pt x="3913" y="2491"/>
                    </a:lnTo>
                    <a:lnTo>
                      <a:pt x="3912" y="2485"/>
                    </a:lnTo>
                    <a:lnTo>
                      <a:pt x="3913" y="2478"/>
                    </a:lnTo>
                    <a:lnTo>
                      <a:pt x="3917" y="2470"/>
                    </a:lnTo>
                    <a:lnTo>
                      <a:pt x="3919" y="2466"/>
                    </a:lnTo>
                    <a:lnTo>
                      <a:pt x="3921" y="2464"/>
                    </a:lnTo>
                    <a:lnTo>
                      <a:pt x="3925" y="2461"/>
                    </a:lnTo>
                    <a:lnTo>
                      <a:pt x="3929" y="2459"/>
                    </a:lnTo>
                    <a:lnTo>
                      <a:pt x="3936" y="2457"/>
                    </a:lnTo>
                    <a:lnTo>
                      <a:pt x="3942" y="2454"/>
                    </a:lnTo>
                    <a:lnTo>
                      <a:pt x="3948" y="2451"/>
                    </a:lnTo>
                    <a:lnTo>
                      <a:pt x="3954" y="2447"/>
                    </a:lnTo>
                    <a:lnTo>
                      <a:pt x="3956" y="2445"/>
                    </a:lnTo>
                    <a:lnTo>
                      <a:pt x="3959" y="2443"/>
                    </a:lnTo>
                    <a:lnTo>
                      <a:pt x="3964" y="2442"/>
                    </a:lnTo>
                    <a:lnTo>
                      <a:pt x="3968" y="2443"/>
                    </a:lnTo>
                    <a:lnTo>
                      <a:pt x="3973" y="2443"/>
                    </a:lnTo>
                    <a:lnTo>
                      <a:pt x="3977" y="2446"/>
                    </a:lnTo>
                    <a:lnTo>
                      <a:pt x="3981" y="2448"/>
                    </a:lnTo>
                    <a:lnTo>
                      <a:pt x="3986" y="2451"/>
                    </a:lnTo>
                    <a:lnTo>
                      <a:pt x="3996" y="2463"/>
                    </a:lnTo>
                    <a:lnTo>
                      <a:pt x="4006" y="2476"/>
                    </a:lnTo>
                    <a:lnTo>
                      <a:pt x="4012" y="2482"/>
                    </a:lnTo>
                    <a:lnTo>
                      <a:pt x="4018" y="2486"/>
                    </a:lnTo>
                    <a:lnTo>
                      <a:pt x="4021" y="2487"/>
                    </a:lnTo>
                    <a:lnTo>
                      <a:pt x="4025" y="2487"/>
                    </a:lnTo>
                    <a:lnTo>
                      <a:pt x="4028" y="2487"/>
                    </a:lnTo>
                    <a:lnTo>
                      <a:pt x="4032" y="2486"/>
                    </a:lnTo>
                    <a:lnTo>
                      <a:pt x="4040" y="2483"/>
                    </a:lnTo>
                    <a:lnTo>
                      <a:pt x="4047" y="2482"/>
                    </a:lnTo>
                    <a:lnTo>
                      <a:pt x="4053" y="2480"/>
                    </a:lnTo>
                    <a:lnTo>
                      <a:pt x="4059" y="2480"/>
                    </a:lnTo>
                    <a:lnTo>
                      <a:pt x="4064" y="2482"/>
                    </a:lnTo>
                    <a:lnTo>
                      <a:pt x="4069" y="2484"/>
                    </a:lnTo>
                    <a:lnTo>
                      <a:pt x="4074" y="2490"/>
                    </a:lnTo>
                    <a:lnTo>
                      <a:pt x="4080" y="2496"/>
                    </a:lnTo>
                    <a:lnTo>
                      <a:pt x="4084" y="2502"/>
                    </a:lnTo>
                    <a:lnTo>
                      <a:pt x="4089" y="2506"/>
                    </a:lnTo>
                    <a:lnTo>
                      <a:pt x="4094" y="2509"/>
                    </a:lnTo>
                    <a:lnTo>
                      <a:pt x="4099" y="2511"/>
                    </a:lnTo>
                    <a:lnTo>
                      <a:pt x="4107" y="2514"/>
                    </a:lnTo>
                    <a:lnTo>
                      <a:pt x="4115" y="2515"/>
                    </a:lnTo>
                    <a:lnTo>
                      <a:pt x="4122" y="2516"/>
                    </a:lnTo>
                    <a:lnTo>
                      <a:pt x="4129" y="2518"/>
                    </a:lnTo>
                    <a:lnTo>
                      <a:pt x="4137" y="2522"/>
                    </a:lnTo>
                    <a:lnTo>
                      <a:pt x="4144" y="2527"/>
                    </a:lnTo>
                    <a:lnTo>
                      <a:pt x="4151" y="2531"/>
                    </a:lnTo>
                    <a:lnTo>
                      <a:pt x="4157" y="2535"/>
                    </a:lnTo>
                    <a:lnTo>
                      <a:pt x="4164" y="2536"/>
                    </a:lnTo>
                    <a:lnTo>
                      <a:pt x="4172" y="2537"/>
                    </a:lnTo>
                    <a:lnTo>
                      <a:pt x="4177" y="2537"/>
                    </a:lnTo>
                    <a:lnTo>
                      <a:pt x="4181" y="2540"/>
                    </a:lnTo>
                    <a:lnTo>
                      <a:pt x="4185" y="2542"/>
                    </a:lnTo>
                    <a:lnTo>
                      <a:pt x="4190" y="2546"/>
                    </a:lnTo>
                    <a:lnTo>
                      <a:pt x="4194" y="2550"/>
                    </a:lnTo>
                    <a:lnTo>
                      <a:pt x="4196" y="2555"/>
                    </a:lnTo>
                    <a:lnTo>
                      <a:pt x="4198" y="2560"/>
                    </a:lnTo>
                    <a:lnTo>
                      <a:pt x="4201" y="2565"/>
                    </a:lnTo>
                    <a:lnTo>
                      <a:pt x="4202" y="2569"/>
                    </a:lnTo>
                    <a:lnTo>
                      <a:pt x="4204" y="2573"/>
                    </a:lnTo>
                    <a:lnTo>
                      <a:pt x="4208" y="2578"/>
                    </a:lnTo>
                    <a:lnTo>
                      <a:pt x="4211" y="2581"/>
                    </a:lnTo>
                    <a:lnTo>
                      <a:pt x="4220" y="2587"/>
                    </a:lnTo>
                    <a:lnTo>
                      <a:pt x="4228" y="2592"/>
                    </a:lnTo>
                    <a:lnTo>
                      <a:pt x="4235" y="2597"/>
                    </a:lnTo>
                    <a:lnTo>
                      <a:pt x="4242" y="2603"/>
                    </a:lnTo>
                    <a:lnTo>
                      <a:pt x="4247" y="2605"/>
                    </a:lnTo>
                    <a:lnTo>
                      <a:pt x="4250" y="2606"/>
                    </a:lnTo>
                    <a:lnTo>
                      <a:pt x="4252" y="2608"/>
                    </a:lnTo>
                    <a:lnTo>
                      <a:pt x="4254" y="2606"/>
                    </a:lnTo>
                    <a:lnTo>
                      <a:pt x="4258" y="2604"/>
                    </a:lnTo>
                    <a:lnTo>
                      <a:pt x="4261" y="2598"/>
                    </a:lnTo>
                    <a:lnTo>
                      <a:pt x="4270" y="2590"/>
                    </a:lnTo>
                    <a:lnTo>
                      <a:pt x="4276" y="2581"/>
                    </a:lnTo>
                    <a:lnTo>
                      <a:pt x="4282" y="2577"/>
                    </a:lnTo>
                    <a:lnTo>
                      <a:pt x="4286" y="2575"/>
                    </a:lnTo>
                    <a:lnTo>
                      <a:pt x="4291" y="2575"/>
                    </a:lnTo>
                    <a:lnTo>
                      <a:pt x="4297" y="2579"/>
                    </a:lnTo>
                    <a:lnTo>
                      <a:pt x="4304" y="2583"/>
                    </a:lnTo>
                    <a:lnTo>
                      <a:pt x="4310" y="2584"/>
                    </a:lnTo>
                    <a:lnTo>
                      <a:pt x="4315" y="2584"/>
                    </a:lnTo>
                    <a:lnTo>
                      <a:pt x="4318" y="2583"/>
                    </a:lnTo>
                    <a:lnTo>
                      <a:pt x="4322" y="2580"/>
                    </a:lnTo>
                    <a:lnTo>
                      <a:pt x="4327" y="2577"/>
                    </a:lnTo>
                    <a:lnTo>
                      <a:pt x="4334" y="2568"/>
                    </a:lnTo>
                    <a:lnTo>
                      <a:pt x="4342" y="2559"/>
                    </a:lnTo>
                    <a:lnTo>
                      <a:pt x="4348" y="2549"/>
                    </a:lnTo>
                    <a:lnTo>
                      <a:pt x="4351" y="2539"/>
                    </a:lnTo>
                    <a:lnTo>
                      <a:pt x="4353" y="2534"/>
                    </a:lnTo>
                    <a:lnTo>
                      <a:pt x="4354" y="2529"/>
                    </a:lnTo>
                    <a:lnTo>
                      <a:pt x="4357" y="2526"/>
                    </a:lnTo>
                    <a:lnTo>
                      <a:pt x="4360" y="2523"/>
                    </a:lnTo>
                    <a:lnTo>
                      <a:pt x="4364" y="2522"/>
                    </a:lnTo>
                    <a:lnTo>
                      <a:pt x="4367" y="2521"/>
                    </a:lnTo>
                    <a:lnTo>
                      <a:pt x="4372" y="2520"/>
                    </a:lnTo>
                    <a:lnTo>
                      <a:pt x="4377" y="2521"/>
                    </a:lnTo>
                    <a:lnTo>
                      <a:pt x="4381" y="2521"/>
                    </a:lnTo>
                    <a:lnTo>
                      <a:pt x="4385" y="2521"/>
                    </a:lnTo>
                    <a:lnTo>
                      <a:pt x="4389" y="2520"/>
                    </a:lnTo>
                    <a:lnTo>
                      <a:pt x="4391" y="2518"/>
                    </a:lnTo>
                    <a:lnTo>
                      <a:pt x="4393" y="2516"/>
                    </a:lnTo>
                    <a:lnTo>
                      <a:pt x="4395" y="2514"/>
                    </a:lnTo>
                    <a:lnTo>
                      <a:pt x="4395" y="2510"/>
                    </a:lnTo>
                    <a:lnTo>
                      <a:pt x="4396" y="2506"/>
                    </a:lnTo>
                    <a:lnTo>
                      <a:pt x="4396" y="2499"/>
                    </a:lnTo>
                    <a:lnTo>
                      <a:pt x="4399" y="2495"/>
                    </a:lnTo>
                    <a:lnTo>
                      <a:pt x="4400" y="2493"/>
                    </a:lnTo>
                    <a:lnTo>
                      <a:pt x="4403" y="2492"/>
                    </a:lnTo>
                    <a:lnTo>
                      <a:pt x="4405" y="2492"/>
                    </a:lnTo>
                    <a:lnTo>
                      <a:pt x="4409" y="2492"/>
                    </a:lnTo>
                    <a:lnTo>
                      <a:pt x="4415" y="2496"/>
                    </a:lnTo>
                    <a:lnTo>
                      <a:pt x="4420" y="2499"/>
                    </a:lnTo>
                    <a:lnTo>
                      <a:pt x="4422" y="2501"/>
                    </a:lnTo>
                    <a:lnTo>
                      <a:pt x="4424" y="2502"/>
                    </a:lnTo>
                    <a:lnTo>
                      <a:pt x="4425" y="2502"/>
                    </a:lnTo>
                    <a:lnTo>
                      <a:pt x="4428" y="2501"/>
                    </a:lnTo>
                    <a:lnTo>
                      <a:pt x="4429" y="2499"/>
                    </a:lnTo>
                    <a:lnTo>
                      <a:pt x="4430" y="2498"/>
                    </a:lnTo>
                    <a:lnTo>
                      <a:pt x="4430" y="2496"/>
                    </a:lnTo>
                    <a:lnTo>
                      <a:pt x="4430" y="2492"/>
                    </a:lnTo>
                    <a:lnTo>
                      <a:pt x="4428" y="2484"/>
                    </a:lnTo>
                    <a:lnTo>
                      <a:pt x="4424" y="2470"/>
                    </a:lnTo>
                    <a:lnTo>
                      <a:pt x="4421" y="2463"/>
                    </a:lnTo>
                    <a:lnTo>
                      <a:pt x="4418" y="2455"/>
                    </a:lnTo>
                    <a:lnTo>
                      <a:pt x="4414" y="2449"/>
                    </a:lnTo>
                    <a:lnTo>
                      <a:pt x="4409" y="2443"/>
                    </a:lnTo>
                    <a:lnTo>
                      <a:pt x="4404" y="2439"/>
                    </a:lnTo>
                    <a:lnTo>
                      <a:pt x="4398" y="2434"/>
                    </a:lnTo>
                    <a:lnTo>
                      <a:pt x="4392" y="2429"/>
                    </a:lnTo>
                    <a:lnTo>
                      <a:pt x="4386" y="2426"/>
                    </a:lnTo>
                    <a:lnTo>
                      <a:pt x="4370" y="2420"/>
                    </a:lnTo>
                    <a:lnTo>
                      <a:pt x="4353" y="2415"/>
                    </a:lnTo>
                    <a:lnTo>
                      <a:pt x="4346" y="2413"/>
                    </a:lnTo>
                    <a:lnTo>
                      <a:pt x="4340" y="2409"/>
                    </a:lnTo>
                    <a:lnTo>
                      <a:pt x="4337" y="2408"/>
                    </a:lnTo>
                    <a:lnTo>
                      <a:pt x="4336" y="2405"/>
                    </a:lnTo>
                    <a:lnTo>
                      <a:pt x="4336" y="2403"/>
                    </a:lnTo>
                    <a:lnTo>
                      <a:pt x="4337" y="2401"/>
                    </a:lnTo>
                    <a:lnTo>
                      <a:pt x="4339" y="2394"/>
                    </a:lnTo>
                    <a:lnTo>
                      <a:pt x="4340" y="2386"/>
                    </a:lnTo>
                    <a:lnTo>
                      <a:pt x="4339" y="2377"/>
                    </a:lnTo>
                    <a:lnTo>
                      <a:pt x="4337" y="2367"/>
                    </a:lnTo>
                    <a:lnTo>
                      <a:pt x="4333" y="2346"/>
                    </a:lnTo>
                    <a:lnTo>
                      <a:pt x="4327" y="2325"/>
                    </a:lnTo>
                    <a:lnTo>
                      <a:pt x="4326" y="2314"/>
                    </a:lnTo>
                    <a:lnTo>
                      <a:pt x="4323" y="2303"/>
                    </a:lnTo>
                    <a:lnTo>
                      <a:pt x="4323" y="2293"/>
                    </a:lnTo>
                    <a:lnTo>
                      <a:pt x="4323" y="2283"/>
                    </a:lnTo>
                    <a:lnTo>
                      <a:pt x="4324" y="2275"/>
                    </a:lnTo>
                    <a:lnTo>
                      <a:pt x="4328" y="2266"/>
                    </a:lnTo>
                    <a:lnTo>
                      <a:pt x="4333" y="2259"/>
                    </a:lnTo>
                    <a:lnTo>
                      <a:pt x="4340" y="2255"/>
                    </a:lnTo>
                    <a:lnTo>
                      <a:pt x="4345" y="2249"/>
                    </a:lnTo>
                    <a:lnTo>
                      <a:pt x="4348" y="2241"/>
                    </a:lnTo>
                    <a:lnTo>
                      <a:pt x="4351" y="2237"/>
                    </a:lnTo>
                    <a:lnTo>
                      <a:pt x="4354" y="2232"/>
                    </a:lnTo>
                    <a:lnTo>
                      <a:pt x="4359" y="2227"/>
                    </a:lnTo>
                    <a:lnTo>
                      <a:pt x="4365" y="2222"/>
                    </a:lnTo>
                    <a:lnTo>
                      <a:pt x="4384" y="2212"/>
                    </a:lnTo>
                    <a:lnTo>
                      <a:pt x="4409" y="2200"/>
                    </a:lnTo>
                    <a:lnTo>
                      <a:pt x="4433" y="2190"/>
                    </a:lnTo>
                    <a:lnTo>
                      <a:pt x="4452" y="2181"/>
                    </a:lnTo>
                    <a:lnTo>
                      <a:pt x="4460" y="2175"/>
                    </a:lnTo>
                    <a:lnTo>
                      <a:pt x="4467" y="2169"/>
                    </a:lnTo>
                    <a:lnTo>
                      <a:pt x="4475" y="2162"/>
                    </a:lnTo>
                    <a:lnTo>
                      <a:pt x="4481" y="2153"/>
                    </a:lnTo>
                    <a:lnTo>
                      <a:pt x="4488" y="2146"/>
                    </a:lnTo>
                    <a:lnTo>
                      <a:pt x="4493" y="2138"/>
                    </a:lnTo>
                    <a:lnTo>
                      <a:pt x="4497" y="2132"/>
                    </a:lnTo>
                    <a:lnTo>
                      <a:pt x="4499" y="2126"/>
                    </a:lnTo>
                    <a:lnTo>
                      <a:pt x="4502" y="2114"/>
                    </a:lnTo>
                    <a:lnTo>
                      <a:pt x="4503" y="2104"/>
                    </a:lnTo>
                    <a:lnTo>
                      <a:pt x="4502" y="2098"/>
                    </a:lnTo>
                    <a:lnTo>
                      <a:pt x="4500" y="2093"/>
                    </a:lnTo>
                    <a:lnTo>
                      <a:pt x="4498" y="2089"/>
                    </a:lnTo>
                    <a:lnTo>
                      <a:pt x="4494" y="2087"/>
                    </a:lnTo>
                    <a:lnTo>
                      <a:pt x="4491" y="2083"/>
                    </a:lnTo>
                    <a:lnTo>
                      <a:pt x="4488" y="2081"/>
                    </a:lnTo>
                    <a:lnTo>
                      <a:pt x="4488" y="2079"/>
                    </a:lnTo>
                    <a:lnTo>
                      <a:pt x="4488" y="2075"/>
                    </a:lnTo>
                    <a:lnTo>
                      <a:pt x="4490" y="2068"/>
                    </a:lnTo>
                    <a:lnTo>
                      <a:pt x="4490" y="2055"/>
                    </a:lnTo>
                    <a:lnTo>
                      <a:pt x="4490" y="2049"/>
                    </a:lnTo>
                    <a:lnTo>
                      <a:pt x="4490" y="2044"/>
                    </a:lnTo>
                    <a:lnTo>
                      <a:pt x="4491" y="2041"/>
                    </a:lnTo>
                    <a:lnTo>
                      <a:pt x="4493" y="2037"/>
                    </a:lnTo>
                    <a:lnTo>
                      <a:pt x="4496" y="2036"/>
                    </a:lnTo>
                    <a:lnTo>
                      <a:pt x="4498" y="2035"/>
                    </a:lnTo>
                    <a:lnTo>
                      <a:pt x="4502" y="2033"/>
                    </a:lnTo>
                    <a:lnTo>
                      <a:pt x="4505" y="2033"/>
                    </a:lnTo>
                    <a:lnTo>
                      <a:pt x="4512" y="2033"/>
                    </a:lnTo>
                    <a:lnTo>
                      <a:pt x="4518" y="2032"/>
                    </a:lnTo>
                    <a:lnTo>
                      <a:pt x="4525" y="2030"/>
                    </a:lnTo>
                    <a:lnTo>
                      <a:pt x="4534" y="2025"/>
                    </a:lnTo>
                    <a:lnTo>
                      <a:pt x="4538" y="2022"/>
                    </a:lnTo>
                    <a:lnTo>
                      <a:pt x="4542" y="2017"/>
                    </a:lnTo>
                    <a:lnTo>
                      <a:pt x="4544" y="2012"/>
                    </a:lnTo>
                    <a:lnTo>
                      <a:pt x="4546" y="2005"/>
                    </a:lnTo>
                    <a:lnTo>
                      <a:pt x="4549" y="1992"/>
                    </a:lnTo>
                    <a:lnTo>
                      <a:pt x="4553" y="1980"/>
                    </a:lnTo>
                    <a:lnTo>
                      <a:pt x="4555" y="1975"/>
                    </a:lnTo>
                    <a:lnTo>
                      <a:pt x="4559" y="1973"/>
                    </a:lnTo>
                    <a:lnTo>
                      <a:pt x="4563" y="1972"/>
                    </a:lnTo>
                    <a:lnTo>
                      <a:pt x="4568" y="1970"/>
                    </a:lnTo>
                    <a:lnTo>
                      <a:pt x="4573" y="1972"/>
                    </a:lnTo>
                    <a:lnTo>
                      <a:pt x="4578" y="1973"/>
                    </a:lnTo>
                    <a:lnTo>
                      <a:pt x="4582" y="1975"/>
                    </a:lnTo>
                    <a:lnTo>
                      <a:pt x="4587" y="1978"/>
                    </a:lnTo>
                    <a:lnTo>
                      <a:pt x="4595" y="1982"/>
                    </a:lnTo>
                    <a:lnTo>
                      <a:pt x="4603" y="1987"/>
                    </a:lnTo>
                    <a:lnTo>
                      <a:pt x="4606" y="1988"/>
                    </a:lnTo>
                    <a:lnTo>
                      <a:pt x="4610" y="1989"/>
                    </a:lnTo>
                    <a:lnTo>
                      <a:pt x="4614" y="1989"/>
                    </a:lnTo>
                    <a:lnTo>
                      <a:pt x="4618" y="1988"/>
                    </a:lnTo>
                    <a:lnTo>
                      <a:pt x="4622" y="1986"/>
                    </a:lnTo>
                    <a:lnTo>
                      <a:pt x="4625" y="1982"/>
                    </a:lnTo>
                    <a:lnTo>
                      <a:pt x="4629" y="1978"/>
                    </a:lnTo>
                    <a:lnTo>
                      <a:pt x="4632" y="1973"/>
                    </a:lnTo>
                    <a:lnTo>
                      <a:pt x="4636" y="1967"/>
                    </a:lnTo>
                    <a:lnTo>
                      <a:pt x="4638" y="1961"/>
                    </a:lnTo>
                    <a:lnTo>
                      <a:pt x="4641" y="1955"/>
                    </a:lnTo>
                    <a:lnTo>
                      <a:pt x="4642" y="1950"/>
                    </a:lnTo>
                    <a:lnTo>
                      <a:pt x="4642" y="1944"/>
                    </a:lnTo>
                    <a:lnTo>
                      <a:pt x="4641" y="1940"/>
                    </a:lnTo>
                    <a:lnTo>
                      <a:pt x="4638" y="1934"/>
                    </a:lnTo>
                    <a:lnTo>
                      <a:pt x="4636" y="1929"/>
                    </a:lnTo>
                    <a:lnTo>
                      <a:pt x="4631" y="1917"/>
                    </a:lnTo>
                    <a:lnTo>
                      <a:pt x="4626" y="1903"/>
                    </a:lnTo>
                    <a:lnTo>
                      <a:pt x="4625" y="1892"/>
                    </a:lnTo>
                    <a:lnTo>
                      <a:pt x="4625" y="1882"/>
                    </a:lnTo>
                    <a:lnTo>
                      <a:pt x="4625" y="1873"/>
                    </a:lnTo>
                    <a:lnTo>
                      <a:pt x="4626" y="1866"/>
                    </a:lnTo>
                    <a:lnTo>
                      <a:pt x="4626" y="1860"/>
                    </a:lnTo>
                    <a:lnTo>
                      <a:pt x="4629" y="1858"/>
                    </a:lnTo>
                    <a:lnTo>
                      <a:pt x="4631" y="1856"/>
                    </a:lnTo>
                    <a:lnTo>
                      <a:pt x="4636" y="1856"/>
                    </a:lnTo>
                    <a:lnTo>
                      <a:pt x="4642" y="1856"/>
                    </a:lnTo>
                    <a:lnTo>
                      <a:pt x="4647" y="1855"/>
                    </a:lnTo>
                    <a:lnTo>
                      <a:pt x="4654" y="1853"/>
                    </a:lnTo>
                    <a:lnTo>
                      <a:pt x="4661" y="1849"/>
                    </a:lnTo>
                    <a:lnTo>
                      <a:pt x="4668" y="1846"/>
                    </a:lnTo>
                    <a:lnTo>
                      <a:pt x="4673" y="1843"/>
                    </a:lnTo>
                    <a:lnTo>
                      <a:pt x="4677" y="1842"/>
                    </a:lnTo>
                    <a:lnTo>
                      <a:pt x="4683" y="1841"/>
                    </a:lnTo>
                    <a:lnTo>
                      <a:pt x="4688" y="1842"/>
                    </a:lnTo>
                    <a:lnTo>
                      <a:pt x="4692" y="1844"/>
                    </a:lnTo>
                    <a:lnTo>
                      <a:pt x="4695" y="1846"/>
                    </a:lnTo>
                    <a:lnTo>
                      <a:pt x="4698" y="1848"/>
                    </a:lnTo>
                    <a:lnTo>
                      <a:pt x="4702" y="1850"/>
                    </a:lnTo>
                    <a:lnTo>
                      <a:pt x="4706" y="1852"/>
                    </a:lnTo>
                    <a:lnTo>
                      <a:pt x="4710" y="1849"/>
                    </a:lnTo>
                    <a:lnTo>
                      <a:pt x="4712" y="1847"/>
                    </a:lnTo>
                    <a:lnTo>
                      <a:pt x="4716" y="1838"/>
                    </a:lnTo>
                    <a:lnTo>
                      <a:pt x="4718" y="1830"/>
                    </a:lnTo>
                    <a:lnTo>
                      <a:pt x="4720" y="1821"/>
                    </a:lnTo>
                    <a:lnTo>
                      <a:pt x="4723" y="1811"/>
                    </a:lnTo>
                    <a:lnTo>
                      <a:pt x="4723" y="1803"/>
                    </a:lnTo>
                    <a:lnTo>
                      <a:pt x="4723" y="1796"/>
                    </a:lnTo>
                    <a:lnTo>
                      <a:pt x="4723" y="1790"/>
                    </a:lnTo>
                    <a:lnTo>
                      <a:pt x="4720" y="1784"/>
                    </a:lnTo>
                    <a:lnTo>
                      <a:pt x="4718" y="1778"/>
                    </a:lnTo>
                    <a:lnTo>
                      <a:pt x="4716" y="1772"/>
                    </a:lnTo>
                    <a:lnTo>
                      <a:pt x="4710" y="1762"/>
                    </a:lnTo>
                    <a:lnTo>
                      <a:pt x="4706" y="1754"/>
                    </a:lnTo>
                    <a:lnTo>
                      <a:pt x="4705" y="1751"/>
                    </a:lnTo>
                    <a:lnTo>
                      <a:pt x="4706" y="1746"/>
                    </a:lnTo>
                    <a:lnTo>
                      <a:pt x="4708" y="1742"/>
                    </a:lnTo>
                    <a:lnTo>
                      <a:pt x="4711" y="1739"/>
                    </a:lnTo>
                    <a:lnTo>
                      <a:pt x="4719" y="1729"/>
                    </a:lnTo>
                    <a:lnTo>
                      <a:pt x="4727" y="1721"/>
                    </a:lnTo>
                    <a:lnTo>
                      <a:pt x="4735" y="1715"/>
                    </a:lnTo>
                    <a:lnTo>
                      <a:pt x="4742" y="1709"/>
                    </a:lnTo>
                    <a:lnTo>
                      <a:pt x="4751" y="1703"/>
                    </a:lnTo>
                    <a:lnTo>
                      <a:pt x="4759" y="1698"/>
                    </a:lnTo>
                    <a:lnTo>
                      <a:pt x="4764" y="1695"/>
                    </a:lnTo>
                    <a:lnTo>
                      <a:pt x="4767" y="1692"/>
                    </a:lnTo>
                    <a:lnTo>
                      <a:pt x="4765" y="1690"/>
                    </a:lnTo>
                    <a:lnTo>
                      <a:pt x="4759" y="1688"/>
                    </a:lnTo>
                    <a:lnTo>
                      <a:pt x="4754" y="1685"/>
                    </a:lnTo>
                    <a:lnTo>
                      <a:pt x="4746" y="1683"/>
                    </a:lnTo>
                    <a:lnTo>
                      <a:pt x="4740" y="1678"/>
                    </a:lnTo>
                    <a:lnTo>
                      <a:pt x="4736" y="1674"/>
                    </a:lnTo>
                    <a:lnTo>
                      <a:pt x="4727" y="1664"/>
                    </a:lnTo>
                    <a:lnTo>
                      <a:pt x="4723" y="1655"/>
                    </a:lnTo>
                    <a:lnTo>
                      <a:pt x="4717" y="1648"/>
                    </a:lnTo>
                    <a:lnTo>
                      <a:pt x="4710" y="1642"/>
                    </a:lnTo>
                    <a:lnTo>
                      <a:pt x="4704" y="1638"/>
                    </a:lnTo>
                    <a:lnTo>
                      <a:pt x="4696" y="1629"/>
                    </a:lnTo>
                    <a:lnTo>
                      <a:pt x="4692" y="1622"/>
                    </a:lnTo>
                    <a:lnTo>
                      <a:pt x="4688" y="1616"/>
                    </a:lnTo>
                    <a:lnTo>
                      <a:pt x="4686" y="1608"/>
                    </a:lnTo>
                    <a:lnTo>
                      <a:pt x="4685" y="1592"/>
                    </a:lnTo>
                    <a:lnTo>
                      <a:pt x="4683" y="1579"/>
                    </a:lnTo>
                    <a:lnTo>
                      <a:pt x="4681" y="1565"/>
                    </a:lnTo>
                    <a:lnTo>
                      <a:pt x="4677" y="1551"/>
                    </a:lnTo>
                    <a:lnTo>
                      <a:pt x="4673" y="1538"/>
                    </a:lnTo>
                    <a:lnTo>
                      <a:pt x="4668" y="1529"/>
                    </a:lnTo>
                    <a:lnTo>
                      <a:pt x="4663" y="1524"/>
                    </a:lnTo>
                    <a:lnTo>
                      <a:pt x="4658" y="1518"/>
                    </a:lnTo>
                    <a:lnTo>
                      <a:pt x="4652" y="1513"/>
                    </a:lnTo>
                    <a:lnTo>
                      <a:pt x="4642" y="1506"/>
                    </a:lnTo>
                    <a:lnTo>
                      <a:pt x="4632" y="1499"/>
                    </a:lnTo>
                    <a:lnTo>
                      <a:pt x="4628" y="1494"/>
                    </a:lnTo>
                    <a:lnTo>
                      <a:pt x="4625" y="1489"/>
                    </a:lnTo>
                    <a:lnTo>
                      <a:pt x="4623" y="1483"/>
                    </a:lnTo>
                    <a:lnTo>
                      <a:pt x="4622" y="1478"/>
                    </a:lnTo>
                    <a:lnTo>
                      <a:pt x="4622" y="1472"/>
                    </a:lnTo>
                    <a:lnTo>
                      <a:pt x="4623" y="1468"/>
                    </a:lnTo>
                    <a:lnTo>
                      <a:pt x="4626" y="1463"/>
                    </a:lnTo>
                    <a:lnTo>
                      <a:pt x="4630" y="1459"/>
                    </a:lnTo>
                    <a:lnTo>
                      <a:pt x="4643" y="1453"/>
                    </a:lnTo>
                    <a:lnTo>
                      <a:pt x="4657" y="1449"/>
                    </a:lnTo>
                    <a:lnTo>
                      <a:pt x="4663" y="1447"/>
                    </a:lnTo>
                    <a:lnTo>
                      <a:pt x="4667" y="1445"/>
                    </a:lnTo>
                    <a:lnTo>
                      <a:pt x="4668" y="1444"/>
                    </a:lnTo>
                    <a:lnTo>
                      <a:pt x="4669" y="1443"/>
                    </a:lnTo>
                    <a:lnTo>
                      <a:pt x="4669" y="1440"/>
                    </a:lnTo>
                    <a:lnTo>
                      <a:pt x="4669" y="1439"/>
                    </a:lnTo>
                    <a:lnTo>
                      <a:pt x="4663" y="1425"/>
                    </a:lnTo>
                    <a:lnTo>
                      <a:pt x="4658" y="1411"/>
                    </a:lnTo>
                    <a:lnTo>
                      <a:pt x="4655" y="1405"/>
                    </a:lnTo>
                    <a:lnTo>
                      <a:pt x="4649" y="1396"/>
                    </a:lnTo>
                    <a:lnTo>
                      <a:pt x="4643" y="1389"/>
                    </a:lnTo>
                    <a:lnTo>
                      <a:pt x="4637" y="1383"/>
                    </a:lnTo>
                    <a:lnTo>
                      <a:pt x="4624" y="1371"/>
                    </a:lnTo>
                    <a:lnTo>
                      <a:pt x="4607" y="1356"/>
                    </a:lnTo>
                    <a:lnTo>
                      <a:pt x="4604" y="1351"/>
                    </a:lnTo>
                    <a:lnTo>
                      <a:pt x="4601" y="1348"/>
                    </a:lnTo>
                    <a:lnTo>
                      <a:pt x="4599" y="1343"/>
                    </a:lnTo>
                    <a:lnTo>
                      <a:pt x="4599" y="1339"/>
                    </a:lnTo>
                    <a:lnTo>
                      <a:pt x="4599" y="1331"/>
                    </a:lnTo>
                    <a:lnTo>
                      <a:pt x="4599" y="1319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5" name="西藏"/>
              <p:cNvSpPr/>
              <p:nvPr>
                <p:custDataLst>
                  <p:tags r:id="rId42"/>
                </p:custDataLst>
              </p:nvPr>
            </p:nvSpPr>
            <p:spPr bwMode="auto">
              <a:xfrm>
                <a:off x="837333" y="3022371"/>
                <a:ext cx="2617916" cy="1723351"/>
              </a:xfrm>
              <a:custGeom>
                <a:avLst/>
                <a:gdLst>
                  <a:gd name="T0" fmla="*/ 7031 w 7150"/>
                  <a:gd name="T1" fmla="*/ 2898 h 4733"/>
                  <a:gd name="T2" fmla="*/ 7084 w 7150"/>
                  <a:gd name="T3" fmla="*/ 3189 h 4733"/>
                  <a:gd name="T4" fmla="*/ 7132 w 7150"/>
                  <a:gd name="T5" fmla="*/ 3593 h 4733"/>
                  <a:gd name="T6" fmla="*/ 7083 w 7150"/>
                  <a:gd name="T7" fmla="*/ 4058 h 4733"/>
                  <a:gd name="T8" fmla="*/ 6950 w 7150"/>
                  <a:gd name="T9" fmla="*/ 4115 h 4733"/>
                  <a:gd name="T10" fmla="*/ 6864 w 7150"/>
                  <a:gd name="T11" fmla="*/ 4456 h 4733"/>
                  <a:gd name="T12" fmla="*/ 6653 w 7150"/>
                  <a:gd name="T13" fmla="*/ 4387 h 4733"/>
                  <a:gd name="T14" fmla="*/ 6435 w 7150"/>
                  <a:gd name="T15" fmla="*/ 4373 h 4733"/>
                  <a:gd name="T16" fmla="*/ 6285 w 7150"/>
                  <a:gd name="T17" fmla="*/ 4528 h 4733"/>
                  <a:gd name="T18" fmla="*/ 5894 w 7150"/>
                  <a:gd name="T19" fmla="*/ 4318 h 4733"/>
                  <a:gd name="T20" fmla="*/ 5095 w 7150"/>
                  <a:gd name="T21" fmla="*/ 4600 h 4733"/>
                  <a:gd name="T22" fmla="*/ 4581 w 7150"/>
                  <a:gd name="T23" fmla="*/ 4667 h 4733"/>
                  <a:gd name="T24" fmla="*/ 4323 w 7150"/>
                  <a:gd name="T25" fmla="*/ 4387 h 4733"/>
                  <a:gd name="T26" fmla="*/ 4127 w 7150"/>
                  <a:gd name="T27" fmla="*/ 4124 h 4733"/>
                  <a:gd name="T28" fmla="*/ 3734 w 7150"/>
                  <a:gd name="T29" fmla="*/ 3951 h 4733"/>
                  <a:gd name="T30" fmla="*/ 3334 w 7150"/>
                  <a:gd name="T31" fmla="*/ 4075 h 4733"/>
                  <a:gd name="T32" fmla="*/ 3190 w 7150"/>
                  <a:gd name="T33" fmla="*/ 4078 h 4733"/>
                  <a:gd name="T34" fmla="*/ 2955 w 7150"/>
                  <a:gd name="T35" fmla="*/ 3920 h 4733"/>
                  <a:gd name="T36" fmla="*/ 2594 w 7150"/>
                  <a:gd name="T37" fmla="*/ 3863 h 4733"/>
                  <a:gd name="T38" fmla="*/ 2351 w 7150"/>
                  <a:gd name="T39" fmla="*/ 3763 h 4733"/>
                  <a:gd name="T40" fmla="*/ 2160 w 7150"/>
                  <a:gd name="T41" fmla="*/ 3684 h 4733"/>
                  <a:gd name="T42" fmla="*/ 1969 w 7150"/>
                  <a:gd name="T43" fmla="*/ 3499 h 4733"/>
                  <a:gd name="T44" fmla="*/ 1780 w 7150"/>
                  <a:gd name="T45" fmla="*/ 3293 h 4733"/>
                  <a:gd name="T46" fmla="*/ 1629 w 7150"/>
                  <a:gd name="T47" fmla="*/ 2969 h 4733"/>
                  <a:gd name="T48" fmla="*/ 1363 w 7150"/>
                  <a:gd name="T49" fmla="*/ 2779 h 4733"/>
                  <a:gd name="T50" fmla="*/ 1145 w 7150"/>
                  <a:gd name="T51" fmla="*/ 2528 h 4733"/>
                  <a:gd name="T52" fmla="*/ 887 w 7150"/>
                  <a:gd name="T53" fmla="*/ 2246 h 4733"/>
                  <a:gd name="T54" fmla="*/ 664 w 7150"/>
                  <a:gd name="T55" fmla="*/ 2360 h 4733"/>
                  <a:gd name="T56" fmla="*/ 352 w 7150"/>
                  <a:gd name="T57" fmla="*/ 1998 h 4733"/>
                  <a:gd name="T58" fmla="*/ 125 w 7150"/>
                  <a:gd name="T59" fmla="*/ 1758 h 4733"/>
                  <a:gd name="T60" fmla="*/ 23 w 7150"/>
                  <a:gd name="T61" fmla="*/ 1458 h 4733"/>
                  <a:gd name="T62" fmla="*/ 27 w 7150"/>
                  <a:gd name="T63" fmla="*/ 1129 h 4733"/>
                  <a:gd name="T64" fmla="*/ 224 w 7150"/>
                  <a:gd name="T65" fmla="*/ 1144 h 4733"/>
                  <a:gd name="T66" fmla="*/ 359 w 7150"/>
                  <a:gd name="T67" fmla="*/ 803 h 4733"/>
                  <a:gd name="T68" fmla="*/ 437 w 7150"/>
                  <a:gd name="T69" fmla="*/ 372 h 4733"/>
                  <a:gd name="T70" fmla="*/ 787 w 7150"/>
                  <a:gd name="T71" fmla="*/ 344 h 4733"/>
                  <a:gd name="T72" fmla="*/ 1055 w 7150"/>
                  <a:gd name="T73" fmla="*/ 24 h 4733"/>
                  <a:gd name="T74" fmla="*/ 1310 w 7150"/>
                  <a:gd name="T75" fmla="*/ 95 h 4733"/>
                  <a:gd name="T76" fmla="*/ 1717 w 7150"/>
                  <a:gd name="T77" fmla="*/ 148 h 4733"/>
                  <a:gd name="T78" fmla="*/ 1955 w 7150"/>
                  <a:gd name="T79" fmla="*/ 233 h 4733"/>
                  <a:gd name="T80" fmla="*/ 2298 w 7150"/>
                  <a:gd name="T81" fmla="*/ 363 h 4733"/>
                  <a:gd name="T82" fmla="*/ 2787 w 7150"/>
                  <a:gd name="T83" fmla="*/ 352 h 4733"/>
                  <a:gd name="T84" fmla="*/ 3146 w 7150"/>
                  <a:gd name="T85" fmla="*/ 232 h 4733"/>
                  <a:gd name="T86" fmla="*/ 3464 w 7150"/>
                  <a:gd name="T87" fmla="*/ 224 h 4733"/>
                  <a:gd name="T88" fmla="*/ 3869 w 7150"/>
                  <a:gd name="T89" fmla="*/ 266 h 4733"/>
                  <a:gd name="T90" fmla="*/ 4125 w 7150"/>
                  <a:gd name="T91" fmla="*/ 413 h 4733"/>
                  <a:gd name="T92" fmla="*/ 4261 w 7150"/>
                  <a:gd name="T93" fmla="*/ 634 h 4733"/>
                  <a:gd name="T94" fmla="*/ 4122 w 7150"/>
                  <a:gd name="T95" fmla="*/ 857 h 4733"/>
                  <a:gd name="T96" fmla="*/ 4192 w 7150"/>
                  <a:gd name="T97" fmla="*/ 1090 h 4733"/>
                  <a:gd name="T98" fmla="*/ 4111 w 7150"/>
                  <a:gd name="T99" fmla="*/ 1367 h 4733"/>
                  <a:gd name="T100" fmla="*/ 4156 w 7150"/>
                  <a:gd name="T101" fmla="*/ 1628 h 4733"/>
                  <a:gd name="T102" fmla="*/ 4388 w 7150"/>
                  <a:gd name="T103" fmla="*/ 1878 h 4733"/>
                  <a:gd name="T104" fmla="*/ 4596 w 7150"/>
                  <a:gd name="T105" fmla="*/ 1882 h 4733"/>
                  <a:gd name="T106" fmla="*/ 4870 w 7150"/>
                  <a:gd name="T107" fmla="*/ 2140 h 4733"/>
                  <a:gd name="T108" fmla="*/ 5218 w 7150"/>
                  <a:gd name="T109" fmla="*/ 2265 h 4733"/>
                  <a:gd name="T110" fmla="*/ 5507 w 7150"/>
                  <a:gd name="T111" fmla="*/ 2375 h 4733"/>
                  <a:gd name="T112" fmla="*/ 5780 w 7150"/>
                  <a:gd name="T113" fmla="*/ 2421 h 4733"/>
                  <a:gd name="T114" fmla="*/ 5919 w 7150"/>
                  <a:gd name="T115" fmla="*/ 2566 h 4733"/>
                  <a:gd name="T116" fmla="*/ 6049 w 7150"/>
                  <a:gd name="T117" fmla="*/ 2783 h 4733"/>
                  <a:gd name="T118" fmla="*/ 6193 w 7150"/>
                  <a:gd name="T119" fmla="*/ 2848 h 4733"/>
                  <a:gd name="T120" fmla="*/ 6276 w 7150"/>
                  <a:gd name="T121" fmla="*/ 2763 h 4733"/>
                  <a:gd name="T122" fmla="*/ 6478 w 7150"/>
                  <a:gd name="T123" fmla="*/ 2718 h 4733"/>
                  <a:gd name="T124" fmla="*/ 6657 w 7150"/>
                  <a:gd name="T125" fmla="*/ 2594 h 4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150" h="4733">
                    <a:moveTo>
                      <a:pt x="6802" y="2524"/>
                    </a:moveTo>
                    <a:lnTo>
                      <a:pt x="6813" y="2533"/>
                    </a:lnTo>
                    <a:lnTo>
                      <a:pt x="6822" y="2540"/>
                    </a:lnTo>
                    <a:lnTo>
                      <a:pt x="6833" y="2547"/>
                    </a:lnTo>
                    <a:lnTo>
                      <a:pt x="6848" y="2555"/>
                    </a:lnTo>
                    <a:lnTo>
                      <a:pt x="6861" y="2564"/>
                    </a:lnTo>
                    <a:lnTo>
                      <a:pt x="6871" y="2568"/>
                    </a:lnTo>
                    <a:lnTo>
                      <a:pt x="6881" y="2572"/>
                    </a:lnTo>
                    <a:lnTo>
                      <a:pt x="6894" y="2577"/>
                    </a:lnTo>
                    <a:lnTo>
                      <a:pt x="6906" y="2581"/>
                    </a:lnTo>
                    <a:lnTo>
                      <a:pt x="6915" y="2586"/>
                    </a:lnTo>
                    <a:lnTo>
                      <a:pt x="6923" y="2593"/>
                    </a:lnTo>
                    <a:lnTo>
                      <a:pt x="6931" y="2602"/>
                    </a:lnTo>
                    <a:lnTo>
                      <a:pt x="6938" y="2610"/>
                    </a:lnTo>
                    <a:lnTo>
                      <a:pt x="6942" y="2618"/>
                    </a:lnTo>
                    <a:lnTo>
                      <a:pt x="6945" y="2625"/>
                    </a:lnTo>
                    <a:lnTo>
                      <a:pt x="6946" y="2634"/>
                    </a:lnTo>
                    <a:lnTo>
                      <a:pt x="6949" y="2642"/>
                    </a:lnTo>
                    <a:lnTo>
                      <a:pt x="6949" y="2651"/>
                    </a:lnTo>
                    <a:lnTo>
                      <a:pt x="6949" y="2662"/>
                    </a:lnTo>
                    <a:lnTo>
                      <a:pt x="6950" y="2671"/>
                    </a:lnTo>
                    <a:lnTo>
                      <a:pt x="6952" y="2679"/>
                    </a:lnTo>
                    <a:lnTo>
                      <a:pt x="6955" y="2685"/>
                    </a:lnTo>
                    <a:lnTo>
                      <a:pt x="6962" y="2697"/>
                    </a:lnTo>
                    <a:lnTo>
                      <a:pt x="6968" y="2709"/>
                    </a:lnTo>
                    <a:lnTo>
                      <a:pt x="6971" y="2718"/>
                    </a:lnTo>
                    <a:lnTo>
                      <a:pt x="6978" y="2728"/>
                    </a:lnTo>
                    <a:lnTo>
                      <a:pt x="6986" y="2738"/>
                    </a:lnTo>
                    <a:lnTo>
                      <a:pt x="6992" y="2747"/>
                    </a:lnTo>
                    <a:lnTo>
                      <a:pt x="6996" y="2754"/>
                    </a:lnTo>
                    <a:lnTo>
                      <a:pt x="7001" y="2761"/>
                    </a:lnTo>
                    <a:lnTo>
                      <a:pt x="7005" y="2769"/>
                    </a:lnTo>
                    <a:lnTo>
                      <a:pt x="7007" y="2779"/>
                    </a:lnTo>
                    <a:lnTo>
                      <a:pt x="7007" y="2789"/>
                    </a:lnTo>
                    <a:lnTo>
                      <a:pt x="7006" y="2798"/>
                    </a:lnTo>
                    <a:lnTo>
                      <a:pt x="7005" y="2806"/>
                    </a:lnTo>
                    <a:lnTo>
                      <a:pt x="7002" y="2812"/>
                    </a:lnTo>
                    <a:lnTo>
                      <a:pt x="6996" y="2819"/>
                    </a:lnTo>
                    <a:lnTo>
                      <a:pt x="6993" y="2826"/>
                    </a:lnTo>
                    <a:lnTo>
                      <a:pt x="6993" y="2830"/>
                    </a:lnTo>
                    <a:lnTo>
                      <a:pt x="6994" y="2833"/>
                    </a:lnTo>
                    <a:lnTo>
                      <a:pt x="6997" y="2838"/>
                    </a:lnTo>
                    <a:lnTo>
                      <a:pt x="7001" y="2840"/>
                    </a:lnTo>
                    <a:lnTo>
                      <a:pt x="7003" y="2844"/>
                    </a:lnTo>
                    <a:lnTo>
                      <a:pt x="7006" y="2848"/>
                    </a:lnTo>
                    <a:lnTo>
                      <a:pt x="7008" y="2852"/>
                    </a:lnTo>
                    <a:lnTo>
                      <a:pt x="7009" y="2858"/>
                    </a:lnTo>
                    <a:lnTo>
                      <a:pt x="7011" y="2867"/>
                    </a:lnTo>
                    <a:lnTo>
                      <a:pt x="7014" y="2875"/>
                    </a:lnTo>
                    <a:lnTo>
                      <a:pt x="7020" y="2883"/>
                    </a:lnTo>
                    <a:lnTo>
                      <a:pt x="7025" y="2890"/>
                    </a:lnTo>
                    <a:lnTo>
                      <a:pt x="7031" y="2898"/>
                    </a:lnTo>
                    <a:lnTo>
                      <a:pt x="7037" y="2905"/>
                    </a:lnTo>
                    <a:lnTo>
                      <a:pt x="7041" y="2911"/>
                    </a:lnTo>
                    <a:lnTo>
                      <a:pt x="7044" y="2918"/>
                    </a:lnTo>
                    <a:lnTo>
                      <a:pt x="7045" y="2927"/>
                    </a:lnTo>
                    <a:lnTo>
                      <a:pt x="7049" y="2937"/>
                    </a:lnTo>
                    <a:lnTo>
                      <a:pt x="7052" y="2946"/>
                    </a:lnTo>
                    <a:lnTo>
                      <a:pt x="7058" y="2955"/>
                    </a:lnTo>
                    <a:lnTo>
                      <a:pt x="7065" y="2964"/>
                    </a:lnTo>
                    <a:lnTo>
                      <a:pt x="7077" y="2976"/>
                    </a:lnTo>
                    <a:lnTo>
                      <a:pt x="7089" y="2989"/>
                    </a:lnTo>
                    <a:lnTo>
                      <a:pt x="7098" y="3000"/>
                    </a:lnTo>
                    <a:lnTo>
                      <a:pt x="7108" y="3010"/>
                    </a:lnTo>
                    <a:lnTo>
                      <a:pt x="7120" y="3026"/>
                    </a:lnTo>
                    <a:lnTo>
                      <a:pt x="7132" y="3039"/>
                    </a:lnTo>
                    <a:lnTo>
                      <a:pt x="7139" y="3048"/>
                    </a:lnTo>
                    <a:lnTo>
                      <a:pt x="7144" y="3054"/>
                    </a:lnTo>
                    <a:lnTo>
                      <a:pt x="7147" y="3063"/>
                    </a:lnTo>
                    <a:lnTo>
                      <a:pt x="7148" y="3066"/>
                    </a:lnTo>
                    <a:lnTo>
                      <a:pt x="7148" y="3070"/>
                    </a:lnTo>
                    <a:lnTo>
                      <a:pt x="7148" y="3073"/>
                    </a:lnTo>
                    <a:lnTo>
                      <a:pt x="7147" y="3077"/>
                    </a:lnTo>
                    <a:lnTo>
                      <a:pt x="7141" y="3083"/>
                    </a:lnTo>
                    <a:lnTo>
                      <a:pt x="7131" y="3091"/>
                    </a:lnTo>
                    <a:lnTo>
                      <a:pt x="7120" y="3098"/>
                    </a:lnTo>
                    <a:lnTo>
                      <a:pt x="7113" y="3104"/>
                    </a:lnTo>
                    <a:lnTo>
                      <a:pt x="7109" y="3106"/>
                    </a:lnTo>
                    <a:lnTo>
                      <a:pt x="7106" y="3107"/>
                    </a:lnTo>
                    <a:lnTo>
                      <a:pt x="7103" y="3107"/>
                    </a:lnTo>
                    <a:lnTo>
                      <a:pt x="7100" y="3106"/>
                    </a:lnTo>
                    <a:lnTo>
                      <a:pt x="7094" y="3102"/>
                    </a:lnTo>
                    <a:lnTo>
                      <a:pt x="7089" y="3097"/>
                    </a:lnTo>
                    <a:lnTo>
                      <a:pt x="7084" y="3090"/>
                    </a:lnTo>
                    <a:lnTo>
                      <a:pt x="7079" y="3084"/>
                    </a:lnTo>
                    <a:lnTo>
                      <a:pt x="7076" y="3079"/>
                    </a:lnTo>
                    <a:lnTo>
                      <a:pt x="7071" y="3077"/>
                    </a:lnTo>
                    <a:lnTo>
                      <a:pt x="7065" y="3078"/>
                    </a:lnTo>
                    <a:lnTo>
                      <a:pt x="7059" y="3081"/>
                    </a:lnTo>
                    <a:lnTo>
                      <a:pt x="7057" y="3083"/>
                    </a:lnTo>
                    <a:lnTo>
                      <a:pt x="7055" y="3087"/>
                    </a:lnTo>
                    <a:lnTo>
                      <a:pt x="7052" y="3090"/>
                    </a:lnTo>
                    <a:lnTo>
                      <a:pt x="7050" y="3094"/>
                    </a:lnTo>
                    <a:lnTo>
                      <a:pt x="7049" y="3106"/>
                    </a:lnTo>
                    <a:lnTo>
                      <a:pt x="7049" y="3121"/>
                    </a:lnTo>
                    <a:lnTo>
                      <a:pt x="7050" y="3128"/>
                    </a:lnTo>
                    <a:lnTo>
                      <a:pt x="7051" y="3135"/>
                    </a:lnTo>
                    <a:lnTo>
                      <a:pt x="7052" y="3142"/>
                    </a:lnTo>
                    <a:lnTo>
                      <a:pt x="7056" y="3147"/>
                    </a:lnTo>
                    <a:lnTo>
                      <a:pt x="7068" y="3161"/>
                    </a:lnTo>
                    <a:lnTo>
                      <a:pt x="7078" y="3174"/>
                    </a:lnTo>
                    <a:lnTo>
                      <a:pt x="7082" y="3179"/>
                    </a:lnTo>
                    <a:lnTo>
                      <a:pt x="7083" y="3184"/>
                    </a:lnTo>
                    <a:lnTo>
                      <a:pt x="7084" y="3189"/>
                    </a:lnTo>
                    <a:lnTo>
                      <a:pt x="7084" y="3196"/>
                    </a:lnTo>
                    <a:lnTo>
                      <a:pt x="7085" y="3203"/>
                    </a:lnTo>
                    <a:lnTo>
                      <a:pt x="7087" y="3209"/>
                    </a:lnTo>
                    <a:lnTo>
                      <a:pt x="7089" y="3215"/>
                    </a:lnTo>
                    <a:lnTo>
                      <a:pt x="7094" y="3220"/>
                    </a:lnTo>
                    <a:lnTo>
                      <a:pt x="7098" y="3224"/>
                    </a:lnTo>
                    <a:lnTo>
                      <a:pt x="7102" y="3229"/>
                    </a:lnTo>
                    <a:lnTo>
                      <a:pt x="7104" y="3235"/>
                    </a:lnTo>
                    <a:lnTo>
                      <a:pt x="7106" y="3242"/>
                    </a:lnTo>
                    <a:lnTo>
                      <a:pt x="7104" y="3253"/>
                    </a:lnTo>
                    <a:lnTo>
                      <a:pt x="7103" y="3265"/>
                    </a:lnTo>
                    <a:lnTo>
                      <a:pt x="7103" y="3271"/>
                    </a:lnTo>
                    <a:lnTo>
                      <a:pt x="7103" y="3277"/>
                    </a:lnTo>
                    <a:lnTo>
                      <a:pt x="7104" y="3281"/>
                    </a:lnTo>
                    <a:lnTo>
                      <a:pt x="7107" y="3285"/>
                    </a:lnTo>
                    <a:lnTo>
                      <a:pt x="7120" y="3300"/>
                    </a:lnTo>
                    <a:lnTo>
                      <a:pt x="7138" y="3318"/>
                    </a:lnTo>
                    <a:lnTo>
                      <a:pt x="7144" y="3328"/>
                    </a:lnTo>
                    <a:lnTo>
                      <a:pt x="7147" y="3335"/>
                    </a:lnTo>
                    <a:lnTo>
                      <a:pt x="7148" y="3341"/>
                    </a:lnTo>
                    <a:lnTo>
                      <a:pt x="7148" y="3347"/>
                    </a:lnTo>
                    <a:lnTo>
                      <a:pt x="7148" y="3353"/>
                    </a:lnTo>
                    <a:lnTo>
                      <a:pt x="7146" y="3359"/>
                    </a:lnTo>
                    <a:lnTo>
                      <a:pt x="7141" y="3363"/>
                    </a:lnTo>
                    <a:lnTo>
                      <a:pt x="7138" y="3368"/>
                    </a:lnTo>
                    <a:lnTo>
                      <a:pt x="7135" y="3372"/>
                    </a:lnTo>
                    <a:lnTo>
                      <a:pt x="7135" y="3374"/>
                    </a:lnTo>
                    <a:lnTo>
                      <a:pt x="7135" y="3378"/>
                    </a:lnTo>
                    <a:lnTo>
                      <a:pt x="7137" y="3381"/>
                    </a:lnTo>
                    <a:lnTo>
                      <a:pt x="7140" y="3390"/>
                    </a:lnTo>
                    <a:lnTo>
                      <a:pt x="7142" y="3397"/>
                    </a:lnTo>
                    <a:lnTo>
                      <a:pt x="7144" y="3400"/>
                    </a:lnTo>
                    <a:lnTo>
                      <a:pt x="7142" y="3405"/>
                    </a:lnTo>
                    <a:lnTo>
                      <a:pt x="7141" y="3409"/>
                    </a:lnTo>
                    <a:lnTo>
                      <a:pt x="7140" y="3412"/>
                    </a:lnTo>
                    <a:lnTo>
                      <a:pt x="7138" y="3417"/>
                    </a:lnTo>
                    <a:lnTo>
                      <a:pt x="7137" y="3423"/>
                    </a:lnTo>
                    <a:lnTo>
                      <a:pt x="7135" y="3429"/>
                    </a:lnTo>
                    <a:lnTo>
                      <a:pt x="7135" y="3435"/>
                    </a:lnTo>
                    <a:lnTo>
                      <a:pt x="7137" y="3450"/>
                    </a:lnTo>
                    <a:lnTo>
                      <a:pt x="7138" y="3464"/>
                    </a:lnTo>
                    <a:lnTo>
                      <a:pt x="7139" y="3478"/>
                    </a:lnTo>
                    <a:lnTo>
                      <a:pt x="7140" y="3488"/>
                    </a:lnTo>
                    <a:lnTo>
                      <a:pt x="7139" y="3499"/>
                    </a:lnTo>
                    <a:lnTo>
                      <a:pt x="7138" y="3508"/>
                    </a:lnTo>
                    <a:lnTo>
                      <a:pt x="7138" y="3519"/>
                    </a:lnTo>
                    <a:lnTo>
                      <a:pt x="7137" y="3529"/>
                    </a:lnTo>
                    <a:lnTo>
                      <a:pt x="7135" y="3541"/>
                    </a:lnTo>
                    <a:lnTo>
                      <a:pt x="7134" y="3556"/>
                    </a:lnTo>
                    <a:lnTo>
                      <a:pt x="7133" y="3571"/>
                    </a:lnTo>
                    <a:lnTo>
                      <a:pt x="7132" y="3583"/>
                    </a:lnTo>
                    <a:lnTo>
                      <a:pt x="7132" y="3593"/>
                    </a:lnTo>
                    <a:lnTo>
                      <a:pt x="7133" y="3604"/>
                    </a:lnTo>
                    <a:lnTo>
                      <a:pt x="7134" y="3614"/>
                    </a:lnTo>
                    <a:lnTo>
                      <a:pt x="7137" y="3621"/>
                    </a:lnTo>
                    <a:lnTo>
                      <a:pt x="7139" y="3629"/>
                    </a:lnTo>
                    <a:lnTo>
                      <a:pt x="7141" y="3638"/>
                    </a:lnTo>
                    <a:lnTo>
                      <a:pt x="7144" y="3650"/>
                    </a:lnTo>
                    <a:lnTo>
                      <a:pt x="7146" y="3662"/>
                    </a:lnTo>
                    <a:lnTo>
                      <a:pt x="7148" y="3674"/>
                    </a:lnTo>
                    <a:lnTo>
                      <a:pt x="7150" y="3686"/>
                    </a:lnTo>
                    <a:lnTo>
                      <a:pt x="7150" y="3699"/>
                    </a:lnTo>
                    <a:lnTo>
                      <a:pt x="7150" y="3713"/>
                    </a:lnTo>
                    <a:lnTo>
                      <a:pt x="7147" y="3727"/>
                    </a:lnTo>
                    <a:lnTo>
                      <a:pt x="7145" y="3738"/>
                    </a:lnTo>
                    <a:lnTo>
                      <a:pt x="7141" y="3747"/>
                    </a:lnTo>
                    <a:lnTo>
                      <a:pt x="7137" y="3756"/>
                    </a:lnTo>
                    <a:lnTo>
                      <a:pt x="7131" y="3763"/>
                    </a:lnTo>
                    <a:lnTo>
                      <a:pt x="7127" y="3770"/>
                    </a:lnTo>
                    <a:lnTo>
                      <a:pt x="7122" y="3777"/>
                    </a:lnTo>
                    <a:lnTo>
                      <a:pt x="7120" y="3785"/>
                    </a:lnTo>
                    <a:lnTo>
                      <a:pt x="7116" y="3796"/>
                    </a:lnTo>
                    <a:lnTo>
                      <a:pt x="7114" y="3808"/>
                    </a:lnTo>
                    <a:lnTo>
                      <a:pt x="7112" y="3821"/>
                    </a:lnTo>
                    <a:lnTo>
                      <a:pt x="7113" y="3834"/>
                    </a:lnTo>
                    <a:lnTo>
                      <a:pt x="7115" y="3847"/>
                    </a:lnTo>
                    <a:lnTo>
                      <a:pt x="7120" y="3860"/>
                    </a:lnTo>
                    <a:lnTo>
                      <a:pt x="7123" y="3872"/>
                    </a:lnTo>
                    <a:lnTo>
                      <a:pt x="7125" y="3880"/>
                    </a:lnTo>
                    <a:lnTo>
                      <a:pt x="7126" y="3891"/>
                    </a:lnTo>
                    <a:lnTo>
                      <a:pt x="7125" y="3903"/>
                    </a:lnTo>
                    <a:lnTo>
                      <a:pt x="7123" y="3917"/>
                    </a:lnTo>
                    <a:lnTo>
                      <a:pt x="7122" y="3929"/>
                    </a:lnTo>
                    <a:lnTo>
                      <a:pt x="7122" y="3942"/>
                    </a:lnTo>
                    <a:lnTo>
                      <a:pt x="7122" y="3959"/>
                    </a:lnTo>
                    <a:lnTo>
                      <a:pt x="7123" y="3977"/>
                    </a:lnTo>
                    <a:lnTo>
                      <a:pt x="7126" y="3989"/>
                    </a:lnTo>
                    <a:lnTo>
                      <a:pt x="7129" y="3997"/>
                    </a:lnTo>
                    <a:lnTo>
                      <a:pt x="7132" y="4005"/>
                    </a:lnTo>
                    <a:lnTo>
                      <a:pt x="7134" y="4014"/>
                    </a:lnTo>
                    <a:lnTo>
                      <a:pt x="7135" y="4018"/>
                    </a:lnTo>
                    <a:lnTo>
                      <a:pt x="7135" y="4023"/>
                    </a:lnTo>
                    <a:lnTo>
                      <a:pt x="7134" y="4024"/>
                    </a:lnTo>
                    <a:lnTo>
                      <a:pt x="7127" y="4025"/>
                    </a:lnTo>
                    <a:lnTo>
                      <a:pt x="7116" y="4025"/>
                    </a:lnTo>
                    <a:lnTo>
                      <a:pt x="7100" y="4024"/>
                    </a:lnTo>
                    <a:lnTo>
                      <a:pt x="7087" y="4024"/>
                    </a:lnTo>
                    <a:lnTo>
                      <a:pt x="7082" y="4027"/>
                    </a:lnTo>
                    <a:lnTo>
                      <a:pt x="7079" y="4030"/>
                    </a:lnTo>
                    <a:lnTo>
                      <a:pt x="7078" y="4035"/>
                    </a:lnTo>
                    <a:lnTo>
                      <a:pt x="7077" y="4041"/>
                    </a:lnTo>
                    <a:lnTo>
                      <a:pt x="7078" y="4047"/>
                    </a:lnTo>
                    <a:lnTo>
                      <a:pt x="7079" y="4053"/>
                    </a:lnTo>
                    <a:lnTo>
                      <a:pt x="7083" y="4058"/>
                    </a:lnTo>
                    <a:lnTo>
                      <a:pt x="7085" y="4062"/>
                    </a:lnTo>
                    <a:lnTo>
                      <a:pt x="7089" y="4066"/>
                    </a:lnTo>
                    <a:lnTo>
                      <a:pt x="7091" y="4071"/>
                    </a:lnTo>
                    <a:lnTo>
                      <a:pt x="7093" y="4074"/>
                    </a:lnTo>
                    <a:lnTo>
                      <a:pt x="7093" y="4078"/>
                    </a:lnTo>
                    <a:lnTo>
                      <a:pt x="7093" y="4083"/>
                    </a:lnTo>
                    <a:lnTo>
                      <a:pt x="7091" y="4086"/>
                    </a:lnTo>
                    <a:lnTo>
                      <a:pt x="7089" y="4090"/>
                    </a:lnTo>
                    <a:lnTo>
                      <a:pt x="7085" y="4093"/>
                    </a:lnTo>
                    <a:lnTo>
                      <a:pt x="7076" y="4100"/>
                    </a:lnTo>
                    <a:lnTo>
                      <a:pt x="7066" y="4110"/>
                    </a:lnTo>
                    <a:lnTo>
                      <a:pt x="7063" y="4115"/>
                    </a:lnTo>
                    <a:lnTo>
                      <a:pt x="7058" y="4119"/>
                    </a:lnTo>
                    <a:lnTo>
                      <a:pt x="7055" y="4125"/>
                    </a:lnTo>
                    <a:lnTo>
                      <a:pt x="7052" y="4132"/>
                    </a:lnTo>
                    <a:lnTo>
                      <a:pt x="7051" y="4138"/>
                    </a:lnTo>
                    <a:lnTo>
                      <a:pt x="7050" y="4143"/>
                    </a:lnTo>
                    <a:lnTo>
                      <a:pt x="7051" y="4149"/>
                    </a:lnTo>
                    <a:lnTo>
                      <a:pt x="7052" y="4153"/>
                    </a:lnTo>
                    <a:lnTo>
                      <a:pt x="7056" y="4161"/>
                    </a:lnTo>
                    <a:lnTo>
                      <a:pt x="7059" y="4168"/>
                    </a:lnTo>
                    <a:lnTo>
                      <a:pt x="7060" y="4171"/>
                    </a:lnTo>
                    <a:lnTo>
                      <a:pt x="7060" y="4174"/>
                    </a:lnTo>
                    <a:lnTo>
                      <a:pt x="7060" y="4176"/>
                    </a:lnTo>
                    <a:lnTo>
                      <a:pt x="7058" y="4179"/>
                    </a:lnTo>
                    <a:lnTo>
                      <a:pt x="7053" y="4182"/>
                    </a:lnTo>
                    <a:lnTo>
                      <a:pt x="7044" y="4188"/>
                    </a:lnTo>
                    <a:lnTo>
                      <a:pt x="7039" y="4191"/>
                    </a:lnTo>
                    <a:lnTo>
                      <a:pt x="7034" y="4193"/>
                    </a:lnTo>
                    <a:lnTo>
                      <a:pt x="7030" y="4194"/>
                    </a:lnTo>
                    <a:lnTo>
                      <a:pt x="7026" y="4193"/>
                    </a:lnTo>
                    <a:lnTo>
                      <a:pt x="7022" y="4193"/>
                    </a:lnTo>
                    <a:lnTo>
                      <a:pt x="7020" y="4191"/>
                    </a:lnTo>
                    <a:lnTo>
                      <a:pt x="7018" y="4188"/>
                    </a:lnTo>
                    <a:lnTo>
                      <a:pt x="7015" y="4184"/>
                    </a:lnTo>
                    <a:lnTo>
                      <a:pt x="7014" y="4172"/>
                    </a:lnTo>
                    <a:lnTo>
                      <a:pt x="7013" y="4154"/>
                    </a:lnTo>
                    <a:lnTo>
                      <a:pt x="7012" y="4136"/>
                    </a:lnTo>
                    <a:lnTo>
                      <a:pt x="7012" y="4121"/>
                    </a:lnTo>
                    <a:lnTo>
                      <a:pt x="7011" y="4115"/>
                    </a:lnTo>
                    <a:lnTo>
                      <a:pt x="7009" y="4111"/>
                    </a:lnTo>
                    <a:lnTo>
                      <a:pt x="7007" y="4108"/>
                    </a:lnTo>
                    <a:lnTo>
                      <a:pt x="7005" y="4105"/>
                    </a:lnTo>
                    <a:lnTo>
                      <a:pt x="7001" y="4104"/>
                    </a:lnTo>
                    <a:lnTo>
                      <a:pt x="6997" y="4104"/>
                    </a:lnTo>
                    <a:lnTo>
                      <a:pt x="6993" y="4104"/>
                    </a:lnTo>
                    <a:lnTo>
                      <a:pt x="6988" y="4105"/>
                    </a:lnTo>
                    <a:lnTo>
                      <a:pt x="6975" y="4108"/>
                    </a:lnTo>
                    <a:lnTo>
                      <a:pt x="6962" y="4110"/>
                    </a:lnTo>
                    <a:lnTo>
                      <a:pt x="6956" y="4111"/>
                    </a:lnTo>
                    <a:lnTo>
                      <a:pt x="6952" y="4113"/>
                    </a:lnTo>
                    <a:lnTo>
                      <a:pt x="6950" y="4115"/>
                    </a:lnTo>
                    <a:lnTo>
                      <a:pt x="6949" y="4117"/>
                    </a:lnTo>
                    <a:lnTo>
                      <a:pt x="6950" y="4124"/>
                    </a:lnTo>
                    <a:lnTo>
                      <a:pt x="6952" y="4135"/>
                    </a:lnTo>
                    <a:lnTo>
                      <a:pt x="6953" y="4147"/>
                    </a:lnTo>
                    <a:lnTo>
                      <a:pt x="6953" y="4163"/>
                    </a:lnTo>
                    <a:lnTo>
                      <a:pt x="6952" y="4182"/>
                    </a:lnTo>
                    <a:lnTo>
                      <a:pt x="6950" y="4199"/>
                    </a:lnTo>
                    <a:lnTo>
                      <a:pt x="6951" y="4219"/>
                    </a:lnTo>
                    <a:lnTo>
                      <a:pt x="6950" y="4226"/>
                    </a:lnTo>
                    <a:lnTo>
                      <a:pt x="6940" y="4229"/>
                    </a:lnTo>
                    <a:lnTo>
                      <a:pt x="6930" y="4233"/>
                    </a:lnTo>
                    <a:lnTo>
                      <a:pt x="6927" y="4236"/>
                    </a:lnTo>
                    <a:lnTo>
                      <a:pt x="6925" y="4239"/>
                    </a:lnTo>
                    <a:lnTo>
                      <a:pt x="6923" y="4244"/>
                    </a:lnTo>
                    <a:lnTo>
                      <a:pt x="6921" y="4251"/>
                    </a:lnTo>
                    <a:lnTo>
                      <a:pt x="6920" y="4267"/>
                    </a:lnTo>
                    <a:lnTo>
                      <a:pt x="6920" y="4286"/>
                    </a:lnTo>
                    <a:lnTo>
                      <a:pt x="6920" y="4296"/>
                    </a:lnTo>
                    <a:lnTo>
                      <a:pt x="6923" y="4307"/>
                    </a:lnTo>
                    <a:lnTo>
                      <a:pt x="6925" y="4317"/>
                    </a:lnTo>
                    <a:lnTo>
                      <a:pt x="6927" y="4325"/>
                    </a:lnTo>
                    <a:lnTo>
                      <a:pt x="6936" y="4339"/>
                    </a:lnTo>
                    <a:lnTo>
                      <a:pt x="6943" y="4350"/>
                    </a:lnTo>
                    <a:lnTo>
                      <a:pt x="6946" y="4355"/>
                    </a:lnTo>
                    <a:lnTo>
                      <a:pt x="6949" y="4361"/>
                    </a:lnTo>
                    <a:lnTo>
                      <a:pt x="6951" y="4368"/>
                    </a:lnTo>
                    <a:lnTo>
                      <a:pt x="6953" y="4374"/>
                    </a:lnTo>
                    <a:lnTo>
                      <a:pt x="6953" y="4381"/>
                    </a:lnTo>
                    <a:lnTo>
                      <a:pt x="6953" y="4387"/>
                    </a:lnTo>
                    <a:lnTo>
                      <a:pt x="6951" y="4392"/>
                    </a:lnTo>
                    <a:lnTo>
                      <a:pt x="6948" y="4396"/>
                    </a:lnTo>
                    <a:lnTo>
                      <a:pt x="6945" y="4400"/>
                    </a:lnTo>
                    <a:lnTo>
                      <a:pt x="6943" y="4405"/>
                    </a:lnTo>
                    <a:lnTo>
                      <a:pt x="6942" y="4408"/>
                    </a:lnTo>
                    <a:lnTo>
                      <a:pt x="6940" y="4414"/>
                    </a:lnTo>
                    <a:lnTo>
                      <a:pt x="6939" y="4419"/>
                    </a:lnTo>
                    <a:lnTo>
                      <a:pt x="6938" y="4425"/>
                    </a:lnTo>
                    <a:lnTo>
                      <a:pt x="6937" y="4431"/>
                    </a:lnTo>
                    <a:lnTo>
                      <a:pt x="6933" y="4437"/>
                    </a:lnTo>
                    <a:lnTo>
                      <a:pt x="6930" y="4443"/>
                    </a:lnTo>
                    <a:lnTo>
                      <a:pt x="6924" y="4447"/>
                    </a:lnTo>
                    <a:lnTo>
                      <a:pt x="6919" y="4451"/>
                    </a:lnTo>
                    <a:lnTo>
                      <a:pt x="6913" y="4453"/>
                    </a:lnTo>
                    <a:lnTo>
                      <a:pt x="6907" y="4453"/>
                    </a:lnTo>
                    <a:lnTo>
                      <a:pt x="6901" y="4453"/>
                    </a:lnTo>
                    <a:lnTo>
                      <a:pt x="6896" y="4452"/>
                    </a:lnTo>
                    <a:lnTo>
                      <a:pt x="6892" y="4450"/>
                    </a:lnTo>
                    <a:lnTo>
                      <a:pt x="6888" y="4447"/>
                    </a:lnTo>
                    <a:lnTo>
                      <a:pt x="6883" y="4447"/>
                    </a:lnTo>
                    <a:lnTo>
                      <a:pt x="6879" y="4447"/>
                    </a:lnTo>
                    <a:lnTo>
                      <a:pt x="6874" y="4450"/>
                    </a:lnTo>
                    <a:lnTo>
                      <a:pt x="6864" y="4456"/>
                    </a:lnTo>
                    <a:lnTo>
                      <a:pt x="6856" y="4463"/>
                    </a:lnTo>
                    <a:lnTo>
                      <a:pt x="6852" y="4466"/>
                    </a:lnTo>
                    <a:lnTo>
                      <a:pt x="6848" y="4469"/>
                    </a:lnTo>
                    <a:lnTo>
                      <a:pt x="6843" y="4471"/>
                    </a:lnTo>
                    <a:lnTo>
                      <a:pt x="6839" y="4472"/>
                    </a:lnTo>
                    <a:lnTo>
                      <a:pt x="6835" y="4474"/>
                    </a:lnTo>
                    <a:lnTo>
                      <a:pt x="6830" y="4472"/>
                    </a:lnTo>
                    <a:lnTo>
                      <a:pt x="6826" y="4471"/>
                    </a:lnTo>
                    <a:lnTo>
                      <a:pt x="6824" y="4470"/>
                    </a:lnTo>
                    <a:lnTo>
                      <a:pt x="6819" y="4463"/>
                    </a:lnTo>
                    <a:lnTo>
                      <a:pt x="6817" y="4455"/>
                    </a:lnTo>
                    <a:lnTo>
                      <a:pt x="6816" y="4445"/>
                    </a:lnTo>
                    <a:lnTo>
                      <a:pt x="6814" y="4433"/>
                    </a:lnTo>
                    <a:lnTo>
                      <a:pt x="6816" y="4421"/>
                    </a:lnTo>
                    <a:lnTo>
                      <a:pt x="6816" y="4413"/>
                    </a:lnTo>
                    <a:lnTo>
                      <a:pt x="6814" y="4405"/>
                    </a:lnTo>
                    <a:lnTo>
                      <a:pt x="6812" y="4398"/>
                    </a:lnTo>
                    <a:lnTo>
                      <a:pt x="6804" y="4381"/>
                    </a:lnTo>
                    <a:lnTo>
                      <a:pt x="6797" y="4362"/>
                    </a:lnTo>
                    <a:lnTo>
                      <a:pt x="6795" y="4356"/>
                    </a:lnTo>
                    <a:lnTo>
                      <a:pt x="6793" y="4352"/>
                    </a:lnTo>
                    <a:lnTo>
                      <a:pt x="6789" y="4349"/>
                    </a:lnTo>
                    <a:lnTo>
                      <a:pt x="6787" y="4346"/>
                    </a:lnTo>
                    <a:lnTo>
                      <a:pt x="6783" y="4345"/>
                    </a:lnTo>
                    <a:lnTo>
                      <a:pt x="6780" y="4346"/>
                    </a:lnTo>
                    <a:lnTo>
                      <a:pt x="6776" y="4348"/>
                    </a:lnTo>
                    <a:lnTo>
                      <a:pt x="6772" y="4351"/>
                    </a:lnTo>
                    <a:lnTo>
                      <a:pt x="6768" y="4356"/>
                    </a:lnTo>
                    <a:lnTo>
                      <a:pt x="6766" y="4362"/>
                    </a:lnTo>
                    <a:lnTo>
                      <a:pt x="6764" y="4368"/>
                    </a:lnTo>
                    <a:lnTo>
                      <a:pt x="6764" y="4375"/>
                    </a:lnTo>
                    <a:lnTo>
                      <a:pt x="6767" y="4389"/>
                    </a:lnTo>
                    <a:lnTo>
                      <a:pt x="6770" y="4402"/>
                    </a:lnTo>
                    <a:lnTo>
                      <a:pt x="6773" y="4407"/>
                    </a:lnTo>
                    <a:lnTo>
                      <a:pt x="6772" y="4412"/>
                    </a:lnTo>
                    <a:lnTo>
                      <a:pt x="6769" y="4415"/>
                    </a:lnTo>
                    <a:lnTo>
                      <a:pt x="6767" y="4418"/>
                    </a:lnTo>
                    <a:lnTo>
                      <a:pt x="6757" y="4422"/>
                    </a:lnTo>
                    <a:lnTo>
                      <a:pt x="6747" y="4426"/>
                    </a:lnTo>
                    <a:lnTo>
                      <a:pt x="6732" y="4431"/>
                    </a:lnTo>
                    <a:lnTo>
                      <a:pt x="6723" y="4436"/>
                    </a:lnTo>
                    <a:lnTo>
                      <a:pt x="6718" y="4437"/>
                    </a:lnTo>
                    <a:lnTo>
                      <a:pt x="6712" y="4439"/>
                    </a:lnTo>
                    <a:lnTo>
                      <a:pt x="6705" y="4440"/>
                    </a:lnTo>
                    <a:lnTo>
                      <a:pt x="6696" y="4440"/>
                    </a:lnTo>
                    <a:lnTo>
                      <a:pt x="6688" y="4439"/>
                    </a:lnTo>
                    <a:lnTo>
                      <a:pt x="6682" y="4438"/>
                    </a:lnTo>
                    <a:lnTo>
                      <a:pt x="6676" y="4434"/>
                    </a:lnTo>
                    <a:lnTo>
                      <a:pt x="6673" y="4431"/>
                    </a:lnTo>
                    <a:lnTo>
                      <a:pt x="6666" y="4420"/>
                    </a:lnTo>
                    <a:lnTo>
                      <a:pt x="6660" y="4405"/>
                    </a:lnTo>
                    <a:lnTo>
                      <a:pt x="6653" y="4387"/>
                    </a:lnTo>
                    <a:lnTo>
                      <a:pt x="6647" y="4369"/>
                    </a:lnTo>
                    <a:lnTo>
                      <a:pt x="6643" y="4361"/>
                    </a:lnTo>
                    <a:lnTo>
                      <a:pt x="6640" y="4354"/>
                    </a:lnTo>
                    <a:lnTo>
                      <a:pt x="6636" y="4349"/>
                    </a:lnTo>
                    <a:lnTo>
                      <a:pt x="6633" y="4345"/>
                    </a:lnTo>
                    <a:lnTo>
                      <a:pt x="6629" y="4344"/>
                    </a:lnTo>
                    <a:lnTo>
                      <a:pt x="6627" y="4344"/>
                    </a:lnTo>
                    <a:lnTo>
                      <a:pt x="6623" y="4345"/>
                    </a:lnTo>
                    <a:lnTo>
                      <a:pt x="6621" y="4348"/>
                    </a:lnTo>
                    <a:lnTo>
                      <a:pt x="6615" y="4354"/>
                    </a:lnTo>
                    <a:lnTo>
                      <a:pt x="6609" y="4358"/>
                    </a:lnTo>
                    <a:lnTo>
                      <a:pt x="6605" y="4359"/>
                    </a:lnTo>
                    <a:lnTo>
                      <a:pt x="6600" y="4358"/>
                    </a:lnTo>
                    <a:lnTo>
                      <a:pt x="6596" y="4357"/>
                    </a:lnTo>
                    <a:lnTo>
                      <a:pt x="6592" y="4354"/>
                    </a:lnTo>
                    <a:lnTo>
                      <a:pt x="6587" y="4349"/>
                    </a:lnTo>
                    <a:lnTo>
                      <a:pt x="6584" y="4342"/>
                    </a:lnTo>
                    <a:lnTo>
                      <a:pt x="6580" y="4335"/>
                    </a:lnTo>
                    <a:lnTo>
                      <a:pt x="6578" y="4326"/>
                    </a:lnTo>
                    <a:lnTo>
                      <a:pt x="6577" y="4317"/>
                    </a:lnTo>
                    <a:lnTo>
                      <a:pt x="6574" y="4307"/>
                    </a:lnTo>
                    <a:lnTo>
                      <a:pt x="6572" y="4299"/>
                    </a:lnTo>
                    <a:lnTo>
                      <a:pt x="6568" y="4292"/>
                    </a:lnTo>
                    <a:lnTo>
                      <a:pt x="6564" y="4285"/>
                    </a:lnTo>
                    <a:lnTo>
                      <a:pt x="6559" y="4279"/>
                    </a:lnTo>
                    <a:lnTo>
                      <a:pt x="6553" y="4275"/>
                    </a:lnTo>
                    <a:lnTo>
                      <a:pt x="6546" y="4273"/>
                    </a:lnTo>
                    <a:lnTo>
                      <a:pt x="6537" y="4273"/>
                    </a:lnTo>
                    <a:lnTo>
                      <a:pt x="6529" y="4272"/>
                    </a:lnTo>
                    <a:lnTo>
                      <a:pt x="6521" y="4272"/>
                    </a:lnTo>
                    <a:lnTo>
                      <a:pt x="6514" y="4274"/>
                    </a:lnTo>
                    <a:lnTo>
                      <a:pt x="6510" y="4275"/>
                    </a:lnTo>
                    <a:lnTo>
                      <a:pt x="6507" y="4276"/>
                    </a:lnTo>
                    <a:lnTo>
                      <a:pt x="6503" y="4280"/>
                    </a:lnTo>
                    <a:lnTo>
                      <a:pt x="6499" y="4282"/>
                    </a:lnTo>
                    <a:lnTo>
                      <a:pt x="6497" y="4287"/>
                    </a:lnTo>
                    <a:lnTo>
                      <a:pt x="6495" y="4292"/>
                    </a:lnTo>
                    <a:lnTo>
                      <a:pt x="6492" y="4296"/>
                    </a:lnTo>
                    <a:lnTo>
                      <a:pt x="6490" y="4304"/>
                    </a:lnTo>
                    <a:lnTo>
                      <a:pt x="6487" y="4324"/>
                    </a:lnTo>
                    <a:lnTo>
                      <a:pt x="6486" y="4338"/>
                    </a:lnTo>
                    <a:lnTo>
                      <a:pt x="6485" y="4344"/>
                    </a:lnTo>
                    <a:lnTo>
                      <a:pt x="6483" y="4348"/>
                    </a:lnTo>
                    <a:lnTo>
                      <a:pt x="6478" y="4351"/>
                    </a:lnTo>
                    <a:lnTo>
                      <a:pt x="6472" y="4354"/>
                    </a:lnTo>
                    <a:lnTo>
                      <a:pt x="6464" y="4355"/>
                    </a:lnTo>
                    <a:lnTo>
                      <a:pt x="6455" y="4356"/>
                    </a:lnTo>
                    <a:lnTo>
                      <a:pt x="6451" y="4357"/>
                    </a:lnTo>
                    <a:lnTo>
                      <a:pt x="6447" y="4358"/>
                    </a:lnTo>
                    <a:lnTo>
                      <a:pt x="6445" y="4361"/>
                    </a:lnTo>
                    <a:lnTo>
                      <a:pt x="6441" y="4363"/>
                    </a:lnTo>
                    <a:lnTo>
                      <a:pt x="6435" y="4373"/>
                    </a:lnTo>
                    <a:lnTo>
                      <a:pt x="6430" y="4380"/>
                    </a:lnTo>
                    <a:lnTo>
                      <a:pt x="6427" y="4387"/>
                    </a:lnTo>
                    <a:lnTo>
                      <a:pt x="6426" y="4393"/>
                    </a:lnTo>
                    <a:lnTo>
                      <a:pt x="6424" y="4398"/>
                    </a:lnTo>
                    <a:lnTo>
                      <a:pt x="6423" y="4401"/>
                    </a:lnTo>
                    <a:lnTo>
                      <a:pt x="6422" y="4405"/>
                    </a:lnTo>
                    <a:lnTo>
                      <a:pt x="6420" y="4407"/>
                    </a:lnTo>
                    <a:lnTo>
                      <a:pt x="6414" y="4413"/>
                    </a:lnTo>
                    <a:lnTo>
                      <a:pt x="6408" y="4419"/>
                    </a:lnTo>
                    <a:lnTo>
                      <a:pt x="6407" y="4420"/>
                    </a:lnTo>
                    <a:lnTo>
                      <a:pt x="6405" y="4422"/>
                    </a:lnTo>
                    <a:lnTo>
                      <a:pt x="6405" y="4425"/>
                    </a:lnTo>
                    <a:lnTo>
                      <a:pt x="6407" y="4427"/>
                    </a:lnTo>
                    <a:lnTo>
                      <a:pt x="6409" y="4433"/>
                    </a:lnTo>
                    <a:lnTo>
                      <a:pt x="6413" y="4440"/>
                    </a:lnTo>
                    <a:lnTo>
                      <a:pt x="6417" y="4447"/>
                    </a:lnTo>
                    <a:lnTo>
                      <a:pt x="6421" y="4455"/>
                    </a:lnTo>
                    <a:lnTo>
                      <a:pt x="6423" y="4462"/>
                    </a:lnTo>
                    <a:lnTo>
                      <a:pt x="6423" y="4470"/>
                    </a:lnTo>
                    <a:lnTo>
                      <a:pt x="6422" y="4485"/>
                    </a:lnTo>
                    <a:lnTo>
                      <a:pt x="6423" y="4502"/>
                    </a:lnTo>
                    <a:lnTo>
                      <a:pt x="6423" y="4509"/>
                    </a:lnTo>
                    <a:lnTo>
                      <a:pt x="6422" y="4516"/>
                    </a:lnTo>
                    <a:lnTo>
                      <a:pt x="6421" y="4522"/>
                    </a:lnTo>
                    <a:lnTo>
                      <a:pt x="6419" y="4527"/>
                    </a:lnTo>
                    <a:lnTo>
                      <a:pt x="6417" y="4529"/>
                    </a:lnTo>
                    <a:lnTo>
                      <a:pt x="6415" y="4531"/>
                    </a:lnTo>
                    <a:lnTo>
                      <a:pt x="6413" y="4531"/>
                    </a:lnTo>
                    <a:lnTo>
                      <a:pt x="6410" y="4531"/>
                    </a:lnTo>
                    <a:lnTo>
                      <a:pt x="6404" y="4529"/>
                    </a:lnTo>
                    <a:lnTo>
                      <a:pt x="6398" y="4527"/>
                    </a:lnTo>
                    <a:lnTo>
                      <a:pt x="6394" y="4524"/>
                    </a:lnTo>
                    <a:lnTo>
                      <a:pt x="6388" y="4521"/>
                    </a:lnTo>
                    <a:lnTo>
                      <a:pt x="6385" y="4520"/>
                    </a:lnTo>
                    <a:lnTo>
                      <a:pt x="6382" y="4521"/>
                    </a:lnTo>
                    <a:lnTo>
                      <a:pt x="6378" y="4522"/>
                    </a:lnTo>
                    <a:lnTo>
                      <a:pt x="6375" y="4525"/>
                    </a:lnTo>
                    <a:lnTo>
                      <a:pt x="6356" y="4538"/>
                    </a:lnTo>
                    <a:lnTo>
                      <a:pt x="6332" y="4552"/>
                    </a:lnTo>
                    <a:lnTo>
                      <a:pt x="6309" y="4566"/>
                    </a:lnTo>
                    <a:lnTo>
                      <a:pt x="6294" y="4576"/>
                    </a:lnTo>
                    <a:lnTo>
                      <a:pt x="6290" y="4578"/>
                    </a:lnTo>
                    <a:lnTo>
                      <a:pt x="6288" y="4579"/>
                    </a:lnTo>
                    <a:lnTo>
                      <a:pt x="6285" y="4579"/>
                    </a:lnTo>
                    <a:lnTo>
                      <a:pt x="6284" y="4577"/>
                    </a:lnTo>
                    <a:lnTo>
                      <a:pt x="6284" y="4571"/>
                    </a:lnTo>
                    <a:lnTo>
                      <a:pt x="6285" y="4558"/>
                    </a:lnTo>
                    <a:lnTo>
                      <a:pt x="6287" y="4547"/>
                    </a:lnTo>
                    <a:lnTo>
                      <a:pt x="6288" y="4538"/>
                    </a:lnTo>
                    <a:lnTo>
                      <a:pt x="6288" y="4533"/>
                    </a:lnTo>
                    <a:lnTo>
                      <a:pt x="6287" y="4529"/>
                    </a:lnTo>
                    <a:lnTo>
                      <a:pt x="6285" y="4528"/>
                    </a:lnTo>
                    <a:lnTo>
                      <a:pt x="6281" y="4526"/>
                    </a:lnTo>
                    <a:lnTo>
                      <a:pt x="6274" y="4522"/>
                    </a:lnTo>
                    <a:lnTo>
                      <a:pt x="6265" y="4519"/>
                    </a:lnTo>
                    <a:lnTo>
                      <a:pt x="6258" y="4515"/>
                    </a:lnTo>
                    <a:lnTo>
                      <a:pt x="6254" y="4512"/>
                    </a:lnTo>
                    <a:lnTo>
                      <a:pt x="6250" y="4508"/>
                    </a:lnTo>
                    <a:lnTo>
                      <a:pt x="6246" y="4503"/>
                    </a:lnTo>
                    <a:lnTo>
                      <a:pt x="6243" y="4497"/>
                    </a:lnTo>
                    <a:lnTo>
                      <a:pt x="6240" y="4493"/>
                    </a:lnTo>
                    <a:lnTo>
                      <a:pt x="6235" y="4494"/>
                    </a:lnTo>
                    <a:lnTo>
                      <a:pt x="6231" y="4496"/>
                    </a:lnTo>
                    <a:lnTo>
                      <a:pt x="6225" y="4496"/>
                    </a:lnTo>
                    <a:lnTo>
                      <a:pt x="6218" y="4496"/>
                    </a:lnTo>
                    <a:lnTo>
                      <a:pt x="6214" y="4495"/>
                    </a:lnTo>
                    <a:lnTo>
                      <a:pt x="6209" y="4494"/>
                    </a:lnTo>
                    <a:lnTo>
                      <a:pt x="6206" y="4491"/>
                    </a:lnTo>
                    <a:lnTo>
                      <a:pt x="6202" y="4488"/>
                    </a:lnTo>
                    <a:lnTo>
                      <a:pt x="6189" y="4472"/>
                    </a:lnTo>
                    <a:lnTo>
                      <a:pt x="6177" y="4459"/>
                    </a:lnTo>
                    <a:lnTo>
                      <a:pt x="6162" y="4451"/>
                    </a:lnTo>
                    <a:lnTo>
                      <a:pt x="6146" y="4444"/>
                    </a:lnTo>
                    <a:lnTo>
                      <a:pt x="6133" y="4432"/>
                    </a:lnTo>
                    <a:lnTo>
                      <a:pt x="6117" y="4415"/>
                    </a:lnTo>
                    <a:lnTo>
                      <a:pt x="6096" y="4398"/>
                    </a:lnTo>
                    <a:lnTo>
                      <a:pt x="6082" y="4384"/>
                    </a:lnTo>
                    <a:lnTo>
                      <a:pt x="6075" y="4374"/>
                    </a:lnTo>
                    <a:lnTo>
                      <a:pt x="6068" y="4365"/>
                    </a:lnTo>
                    <a:lnTo>
                      <a:pt x="6062" y="4368"/>
                    </a:lnTo>
                    <a:lnTo>
                      <a:pt x="6054" y="4373"/>
                    </a:lnTo>
                    <a:lnTo>
                      <a:pt x="6046" y="4375"/>
                    </a:lnTo>
                    <a:lnTo>
                      <a:pt x="6038" y="4374"/>
                    </a:lnTo>
                    <a:lnTo>
                      <a:pt x="6030" y="4373"/>
                    </a:lnTo>
                    <a:lnTo>
                      <a:pt x="6024" y="4369"/>
                    </a:lnTo>
                    <a:lnTo>
                      <a:pt x="6018" y="4365"/>
                    </a:lnTo>
                    <a:lnTo>
                      <a:pt x="6013" y="4359"/>
                    </a:lnTo>
                    <a:lnTo>
                      <a:pt x="6010" y="4354"/>
                    </a:lnTo>
                    <a:lnTo>
                      <a:pt x="6008" y="4346"/>
                    </a:lnTo>
                    <a:lnTo>
                      <a:pt x="6007" y="4339"/>
                    </a:lnTo>
                    <a:lnTo>
                      <a:pt x="6007" y="4332"/>
                    </a:lnTo>
                    <a:lnTo>
                      <a:pt x="6007" y="4330"/>
                    </a:lnTo>
                    <a:lnTo>
                      <a:pt x="6006" y="4327"/>
                    </a:lnTo>
                    <a:lnTo>
                      <a:pt x="6004" y="4326"/>
                    </a:lnTo>
                    <a:lnTo>
                      <a:pt x="6001" y="4324"/>
                    </a:lnTo>
                    <a:lnTo>
                      <a:pt x="5993" y="4323"/>
                    </a:lnTo>
                    <a:lnTo>
                      <a:pt x="5983" y="4323"/>
                    </a:lnTo>
                    <a:lnTo>
                      <a:pt x="5963" y="4325"/>
                    </a:lnTo>
                    <a:lnTo>
                      <a:pt x="5943" y="4327"/>
                    </a:lnTo>
                    <a:lnTo>
                      <a:pt x="5930" y="4329"/>
                    </a:lnTo>
                    <a:lnTo>
                      <a:pt x="5918" y="4331"/>
                    </a:lnTo>
                    <a:lnTo>
                      <a:pt x="5912" y="4329"/>
                    </a:lnTo>
                    <a:lnTo>
                      <a:pt x="5904" y="4324"/>
                    </a:lnTo>
                    <a:lnTo>
                      <a:pt x="5894" y="4318"/>
                    </a:lnTo>
                    <a:lnTo>
                      <a:pt x="5886" y="4310"/>
                    </a:lnTo>
                    <a:lnTo>
                      <a:pt x="5873" y="4296"/>
                    </a:lnTo>
                    <a:lnTo>
                      <a:pt x="5861" y="4285"/>
                    </a:lnTo>
                    <a:lnTo>
                      <a:pt x="5854" y="4280"/>
                    </a:lnTo>
                    <a:lnTo>
                      <a:pt x="5846" y="4277"/>
                    </a:lnTo>
                    <a:lnTo>
                      <a:pt x="5836" y="4275"/>
                    </a:lnTo>
                    <a:lnTo>
                      <a:pt x="5824" y="4276"/>
                    </a:lnTo>
                    <a:lnTo>
                      <a:pt x="5799" y="4281"/>
                    </a:lnTo>
                    <a:lnTo>
                      <a:pt x="5774" y="4288"/>
                    </a:lnTo>
                    <a:lnTo>
                      <a:pt x="5749" y="4295"/>
                    </a:lnTo>
                    <a:lnTo>
                      <a:pt x="5722" y="4302"/>
                    </a:lnTo>
                    <a:lnTo>
                      <a:pt x="5708" y="4305"/>
                    </a:lnTo>
                    <a:lnTo>
                      <a:pt x="5696" y="4310"/>
                    </a:lnTo>
                    <a:lnTo>
                      <a:pt x="5686" y="4314"/>
                    </a:lnTo>
                    <a:lnTo>
                      <a:pt x="5678" y="4319"/>
                    </a:lnTo>
                    <a:lnTo>
                      <a:pt x="5666" y="4331"/>
                    </a:lnTo>
                    <a:lnTo>
                      <a:pt x="5655" y="4344"/>
                    </a:lnTo>
                    <a:lnTo>
                      <a:pt x="5647" y="4357"/>
                    </a:lnTo>
                    <a:lnTo>
                      <a:pt x="5641" y="4371"/>
                    </a:lnTo>
                    <a:lnTo>
                      <a:pt x="5638" y="4379"/>
                    </a:lnTo>
                    <a:lnTo>
                      <a:pt x="5634" y="4386"/>
                    </a:lnTo>
                    <a:lnTo>
                      <a:pt x="5629" y="4392"/>
                    </a:lnTo>
                    <a:lnTo>
                      <a:pt x="5623" y="4396"/>
                    </a:lnTo>
                    <a:lnTo>
                      <a:pt x="5616" y="4400"/>
                    </a:lnTo>
                    <a:lnTo>
                      <a:pt x="5607" y="4403"/>
                    </a:lnTo>
                    <a:lnTo>
                      <a:pt x="5596" y="4407"/>
                    </a:lnTo>
                    <a:lnTo>
                      <a:pt x="5585" y="4411"/>
                    </a:lnTo>
                    <a:lnTo>
                      <a:pt x="5560" y="4418"/>
                    </a:lnTo>
                    <a:lnTo>
                      <a:pt x="5538" y="4425"/>
                    </a:lnTo>
                    <a:lnTo>
                      <a:pt x="5514" y="4434"/>
                    </a:lnTo>
                    <a:lnTo>
                      <a:pt x="5487" y="4444"/>
                    </a:lnTo>
                    <a:lnTo>
                      <a:pt x="5456" y="4455"/>
                    </a:lnTo>
                    <a:lnTo>
                      <a:pt x="5425" y="4466"/>
                    </a:lnTo>
                    <a:lnTo>
                      <a:pt x="5393" y="4478"/>
                    </a:lnTo>
                    <a:lnTo>
                      <a:pt x="5361" y="4488"/>
                    </a:lnTo>
                    <a:lnTo>
                      <a:pt x="5345" y="4491"/>
                    </a:lnTo>
                    <a:lnTo>
                      <a:pt x="5331" y="4495"/>
                    </a:lnTo>
                    <a:lnTo>
                      <a:pt x="5318" y="4497"/>
                    </a:lnTo>
                    <a:lnTo>
                      <a:pt x="5305" y="4499"/>
                    </a:lnTo>
                    <a:lnTo>
                      <a:pt x="5283" y="4499"/>
                    </a:lnTo>
                    <a:lnTo>
                      <a:pt x="5267" y="4497"/>
                    </a:lnTo>
                    <a:lnTo>
                      <a:pt x="5250" y="4495"/>
                    </a:lnTo>
                    <a:lnTo>
                      <a:pt x="5231" y="4496"/>
                    </a:lnTo>
                    <a:lnTo>
                      <a:pt x="5219" y="4499"/>
                    </a:lnTo>
                    <a:lnTo>
                      <a:pt x="5210" y="4503"/>
                    </a:lnTo>
                    <a:lnTo>
                      <a:pt x="5201" y="4508"/>
                    </a:lnTo>
                    <a:lnTo>
                      <a:pt x="5193" y="4515"/>
                    </a:lnTo>
                    <a:lnTo>
                      <a:pt x="5177" y="4529"/>
                    </a:lnTo>
                    <a:lnTo>
                      <a:pt x="5166" y="4543"/>
                    </a:lnTo>
                    <a:lnTo>
                      <a:pt x="5148" y="4558"/>
                    </a:lnTo>
                    <a:lnTo>
                      <a:pt x="5123" y="4578"/>
                    </a:lnTo>
                    <a:lnTo>
                      <a:pt x="5095" y="4600"/>
                    </a:lnTo>
                    <a:lnTo>
                      <a:pt x="5073" y="4617"/>
                    </a:lnTo>
                    <a:lnTo>
                      <a:pt x="5063" y="4626"/>
                    </a:lnTo>
                    <a:lnTo>
                      <a:pt x="5055" y="4635"/>
                    </a:lnTo>
                    <a:lnTo>
                      <a:pt x="5048" y="4646"/>
                    </a:lnTo>
                    <a:lnTo>
                      <a:pt x="5042" y="4657"/>
                    </a:lnTo>
                    <a:lnTo>
                      <a:pt x="5036" y="4669"/>
                    </a:lnTo>
                    <a:lnTo>
                      <a:pt x="5032" y="4679"/>
                    </a:lnTo>
                    <a:lnTo>
                      <a:pt x="5029" y="4690"/>
                    </a:lnTo>
                    <a:lnTo>
                      <a:pt x="5027" y="4701"/>
                    </a:lnTo>
                    <a:lnTo>
                      <a:pt x="5025" y="4705"/>
                    </a:lnTo>
                    <a:lnTo>
                      <a:pt x="5023" y="4708"/>
                    </a:lnTo>
                    <a:lnTo>
                      <a:pt x="5021" y="4710"/>
                    </a:lnTo>
                    <a:lnTo>
                      <a:pt x="5018" y="4711"/>
                    </a:lnTo>
                    <a:lnTo>
                      <a:pt x="5011" y="4712"/>
                    </a:lnTo>
                    <a:lnTo>
                      <a:pt x="5003" y="4711"/>
                    </a:lnTo>
                    <a:lnTo>
                      <a:pt x="4993" y="4709"/>
                    </a:lnTo>
                    <a:lnTo>
                      <a:pt x="4983" y="4707"/>
                    </a:lnTo>
                    <a:lnTo>
                      <a:pt x="4972" y="4705"/>
                    </a:lnTo>
                    <a:lnTo>
                      <a:pt x="4961" y="4708"/>
                    </a:lnTo>
                    <a:lnTo>
                      <a:pt x="4958" y="4709"/>
                    </a:lnTo>
                    <a:lnTo>
                      <a:pt x="4954" y="4711"/>
                    </a:lnTo>
                    <a:lnTo>
                      <a:pt x="4950" y="4715"/>
                    </a:lnTo>
                    <a:lnTo>
                      <a:pt x="4947" y="4718"/>
                    </a:lnTo>
                    <a:lnTo>
                      <a:pt x="4943" y="4722"/>
                    </a:lnTo>
                    <a:lnTo>
                      <a:pt x="4940" y="4726"/>
                    </a:lnTo>
                    <a:lnTo>
                      <a:pt x="4934" y="4728"/>
                    </a:lnTo>
                    <a:lnTo>
                      <a:pt x="4928" y="4730"/>
                    </a:lnTo>
                    <a:lnTo>
                      <a:pt x="4916" y="4732"/>
                    </a:lnTo>
                    <a:lnTo>
                      <a:pt x="4902" y="4733"/>
                    </a:lnTo>
                    <a:lnTo>
                      <a:pt x="4886" y="4733"/>
                    </a:lnTo>
                    <a:lnTo>
                      <a:pt x="4871" y="4732"/>
                    </a:lnTo>
                    <a:lnTo>
                      <a:pt x="4839" y="4730"/>
                    </a:lnTo>
                    <a:lnTo>
                      <a:pt x="4811" y="4729"/>
                    </a:lnTo>
                    <a:lnTo>
                      <a:pt x="4791" y="4729"/>
                    </a:lnTo>
                    <a:lnTo>
                      <a:pt x="4774" y="4728"/>
                    </a:lnTo>
                    <a:lnTo>
                      <a:pt x="4759" y="4728"/>
                    </a:lnTo>
                    <a:lnTo>
                      <a:pt x="4745" y="4727"/>
                    </a:lnTo>
                    <a:lnTo>
                      <a:pt x="4740" y="4726"/>
                    </a:lnTo>
                    <a:lnTo>
                      <a:pt x="4734" y="4723"/>
                    </a:lnTo>
                    <a:lnTo>
                      <a:pt x="4729" y="4721"/>
                    </a:lnTo>
                    <a:lnTo>
                      <a:pt x="4725" y="4718"/>
                    </a:lnTo>
                    <a:lnTo>
                      <a:pt x="4716" y="4712"/>
                    </a:lnTo>
                    <a:lnTo>
                      <a:pt x="4707" y="4707"/>
                    </a:lnTo>
                    <a:lnTo>
                      <a:pt x="4694" y="4703"/>
                    </a:lnTo>
                    <a:lnTo>
                      <a:pt x="4676" y="4702"/>
                    </a:lnTo>
                    <a:lnTo>
                      <a:pt x="4656" y="4701"/>
                    </a:lnTo>
                    <a:lnTo>
                      <a:pt x="4638" y="4698"/>
                    </a:lnTo>
                    <a:lnTo>
                      <a:pt x="4620" y="4691"/>
                    </a:lnTo>
                    <a:lnTo>
                      <a:pt x="4606" y="4684"/>
                    </a:lnTo>
                    <a:lnTo>
                      <a:pt x="4595" y="4677"/>
                    </a:lnTo>
                    <a:lnTo>
                      <a:pt x="4587" y="4671"/>
                    </a:lnTo>
                    <a:lnTo>
                      <a:pt x="4581" y="4667"/>
                    </a:lnTo>
                    <a:lnTo>
                      <a:pt x="4574" y="4664"/>
                    </a:lnTo>
                    <a:lnTo>
                      <a:pt x="4568" y="4663"/>
                    </a:lnTo>
                    <a:lnTo>
                      <a:pt x="4559" y="4660"/>
                    </a:lnTo>
                    <a:lnTo>
                      <a:pt x="4550" y="4660"/>
                    </a:lnTo>
                    <a:lnTo>
                      <a:pt x="4538" y="4660"/>
                    </a:lnTo>
                    <a:lnTo>
                      <a:pt x="4524" y="4663"/>
                    </a:lnTo>
                    <a:lnTo>
                      <a:pt x="4506" y="4664"/>
                    </a:lnTo>
                    <a:lnTo>
                      <a:pt x="4490" y="4666"/>
                    </a:lnTo>
                    <a:lnTo>
                      <a:pt x="4477" y="4669"/>
                    </a:lnTo>
                    <a:lnTo>
                      <a:pt x="4464" y="4670"/>
                    </a:lnTo>
                    <a:lnTo>
                      <a:pt x="4452" y="4670"/>
                    </a:lnTo>
                    <a:lnTo>
                      <a:pt x="4435" y="4670"/>
                    </a:lnTo>
                    <a:lnTo>
                      <a:pt x="4418" y="4669"/>
                    </a:lnTo>
                    <a:lnTo>
                      <a:pt x="4404" y="4666"/>
                    </a:lnTo>
                    <a:lnTo>
                      <a:pt x="4391" y="4665"/>
                    </a:lnTo>
                    <a:lnTo>
                      <a:pt x="4370" y="4664"/>
                    </a:lnTo>
                    <a:lnTo>
                      <a:pt x="4356" y="4663"/>
                    </a:lnTo>
                    <a:lnTo>
                      <a:pt x="4354" y="4660"/>
                    </a:lnTo>
                    <a:lnTo>
                      <a:pt x="4352" y="4657"/>
                    </a:lnTo>
                    <a:lnTo>
                      <a:pt x="4352" y="4654"/>
                    </a:lnTo>
                    <a:lnTo>
                      <a:pt x="4352" y="4651"/>
                    </a:lnTo>
                    <a:lnTo>
                      <a:pt x="4355" y="4641"/>
                    </a:lnTo>
                    <a:lnTo>
                      <a:pt x="4358" y="4632"/>
                    </a:lnTo>
                    <a:lnTo>
                      <a:pt x="4360" y="4622"/>
                    </a:lnTo>
                    <a:lnTo>
                      <a:pt x="4360" y="4614"/>
                    </a:lnTo>
                    <a:lnTo>
                      <a:pt x="4360" y="4606"/>
                    </a:lnTo>
                    <a:lnTo>
                      <a:pt x="4357" y="4600"/>
                    </a:lnTo>
                    <a:lnTo>
                      <a:pt x="4351" y="4587"/>
                    </a:lnTo>
                    <a:lnTo>
                      <a:pt x="4344" y="4572"/>
                    </a:lnTo>
                    <a:lnTo>
                      <a:pt x="4342" y="4564"/>
                    </a:lnTo>
                    <a:lnTo>
                      <a:pt x="4342" y="4556"/>
                    </a:lnTo>
                    <a:lnTo>
                      <a:pt x="4342" y="4546"/>
                    </a:lnTo>
                    <a:lnTo>
                      <a:pt x="4345" y="4537"/>
                    </a:lnTo>
                    <a:lnTo>
                      <a:pt x="4349" y="4527"/>
                    </a:lnTo>
                    <a:lnTo>
                      <a:pt x="4354" y="4518"/>
                    </a:lnTo>
                    <a:lnTo>
                      <a:pt x="4360" y="4509"/>
                    </a:lnTo>
                    <a:lnTo>
                      <a:pt x="4367" y="4501"/>
                    </a:lnTo>
                    <a:lnTo>
                      <a:pt x="4379" y="4489"/>
                    </a:lnTo>
                    <a:lnTo>
                      <a:pt x="4388" y="4480"/>
                    </a:lnTo>
                    <a:lnTo>
                      <a:pt x="4391" y="4475"/>
                    </a:lnTo>
                    <a:lnTo>
                      <a:pt x="4391" y="4470"/>
                    </a:lnTo>
                    <a:lnTo>
                      <a:pt x="4389" y="4465"/>
                    </a:lnTo>
                    <a:lnTo>
                      <a:pt x="4386" y="4458"/>
                    </a:lnTo>
                    <a:lnTo>
                      <a:pt x="4377" y="4439"/>
                    </a:lnTo>
                    <a:lnTo>
                      <a:pt x="4372" y="4420"/>
                    </a:lnTo>
                    <a:lnTo>
                      <a:pt x="4368" y="4411"/>
                    </a:lnTo>
                    <a:lnTo>
                      <a:pt x="4363" y="4402"/>
                    </a:lnTo>
                    <a:lnTo>
                      <a:pt x="4361" y="4399"/>
                    </a:lnTo>
                    <a:lnTo>
                      <a:pt x="4356" y="4396"/>
                    </a:lnTo>
                    <a:lnTo>
                      <a:pt x="4352" y="4394"/>
                    </a:lnTo>
                    <a:lnTo>
                      <a:pt x="4348" y="4393"/>
                    </a:lnTo>
                    <a:lnTo>
                      <a:pt x="4323" y="4387"/>
                    </a:lnTo>
                    <a:lnTo>
                      <a:pt x="4293" y="4380"/>
                    </a:lnTo>
                    <a:lnTo>
                      <a:pt x="4266" y="4371"/>
                    </a:lnTo>
                    <a:lnTo>
                      <a:pt x="4243" y="4364"/>
                    </a:lnTo>
                    <a:lnTo>
                      <a:pt x="4240" y="4362"/>
                    </a:lnTo>
                    <a:lnTo>
                      <a:pt x="4237" y="4359"/>
                    </a:lnTo>
                    <a:lnTo>
                      <a:pt x="4234" y="4357"/>
                    </a:lnTo>
                    <a:lnTo>
                      <a:pt x="4231" y="4354"/>
                    </a:lnTo>
                    <a:lnTo>
                      <a:pt x="4229" y="4346"/>
                    </a:lnTo>
                    <a:lnTo>
                      <a:pt x="4226" y="4337"/>
                    </a:lnTo>
                    <a:lnTo>
                      <a:pt x="4226" y="4327"/>
                    </a:lnTo>
                    <a:lnTo>
                      <a:pt x="4228" y="4317"/>
                    </a:lnTo>
                    <a:lnTo>
                      <a:pt x="4230" y="4304"/>
                    </a:lnTo>
                    <a:lnTo>
                      <a:pt x="4234" y="4289"/>
                    </a:lnTo>
                    <a:lnTo>
                      <a:pt x="4237" y="4276"/>
                    </a:lnTo>
                    <a:lnTo>
                      <a:pt x="4242" y="4262"/>
                    </a:lnTo>
                    <a:lnTo>
                      <a:pt x="4244" y="4255"/>
                    </a:lnTo>
                    <a:lnTo>
                      <a:pt x="4245" y="4248"/>
                    </a:lnTo>
                    <a:lnTo>
                      <a:pt x="4245" y="4242"/>
                    </a:lnTo>
                    <a:lnTo>
                      <a:pt x="4244" y="4235"/>
                    </a:lnTo>
                    <a:lnTo>
                      <a:pt x="4234" y="4225"/>
                    </a:lnTo>
                    <a:lnTo>
                      <a:pt x="4225" y="4216"/>
                    </a:lnTo>
                    <a:lnTo>
                      <a:pt x="4226" y="4212"/>
                    </a:lnTo>
                    <a:lnTo>
                      <a:pt x="4229" y="4210"/>
                    </a:lnTo>
                    <a:lnTo>
                      <a:pt x="4232" y="4209"/>
                    </a:lnTo>
                    <a:lnTo>
                      <a:pt x="4237" y="4206"/>
                    </a:lnTo>
                    <a:lnTo>
                      <a:pt x="4241" y="4204"/>
                    </a:lnTo>
                    <a:lnTo>
                      <a:pt x="4244" y="4201"/>
                    </a:lnTo>
                    <a:lnTo>
                      <a:pt x="4245" y="4199"/>
                    </a:lnTo>
                    <a:lnTo>
                      <a:pt x="4244" y="4194"/>
                    </a:lnTo>
                    <a:lnTo>
                      <a:pt x="4242" y="4190"/>
                    </a:lnTo>
                    <a:lnTo>
                      <a:pt x="4238" y="4186"/>
                    </a:lnTo>
                    <a:lnTo>
                      <a:pt x="4234" y="4184"/>
                    </a:lnTo>
                    <a:lnTo>
                      <a:pt x="4229" y="4180"/>
                    </a:lnTo>
                    <a:lnTo>
                      <a:pt x="4219" y="4175"/>
                    </a:lnTo>
                    <a:lnTo>
                      <a:pt x="4211" y="4171"/>
                    </a:lnTo>
                    <a:lnTo>
                      <a:pt x="4202" y="4160"/>
                    </a:lnTo>
                    <a:lnTo>
                      <a:pt x="4194" y="4151"/>
                    </a:lnTo>
                    <a:lnTo>
                      <a:pt x="4188" y="4143"/>
                    </a:lnTo>
                    <a:lnTo>
                      <a:pt x="4185" y="4136"/>
                    </a:lnTo>
                    <a:lnTo>
                      <a:pt x="4179" y="4124"/>
                    </a:lnTo>
                    <a:lnTo>
                      <a:pt x="4172" y="4115"/>
                    </a:lnTo>
                    <a:lnTo>
                      <a:pt x="4167" y="4111"/>
                    </a:lnTo>
                    <a:lnTo>
                      <a:pt x="4163" y="4109"/>
                    </a:lnTo>
                    <a:lnTo>
                      <a:pt x="4159" y="4106"/>
                    </a:lnTo>
                    <a:lnTo>
                      <a:pt x="4155" y="4106"/>
                    </a:lnTo>
                    <a:lnTo>
                      <a:pt x="4152" y="4106"/>
                    </a:lnTo>
                    <a:lnTo>
                      <a:pt x="4147" y="4109"/>
                    </a:lnTo>
                    <a:lnTo>
                      <a:pt x="4143" y="4112"/>
                    </a:lnTo>
                    <a:lnTo>
                      <a:pt x="4139" y="4116"/>
                    </a:lnTo>
                    <a:lnTo>
                      <a:pt x="4135" y="4119"/>
                    </a:lnTo>
                    <a:lnTo>
                      <a:pt x="4130" y="4123"/>
                    </a:lnTo>
                    <a:lnTo>
                      <a:pt x="4127" y="4124"/>
                    </a:lnTo>
                    <a:lnTo>
                      <a:pt x="4121" y="4125"/>
                    </a:lnTo>
                    <a:lnTo>
                      <a:pt x="4116" y="4127"/>
                    </a:lnTo>
                    <a:lnTo>
                      <a:pt x="4110" y="4127"/>
                    </a:lnTo>
                    <a:lnTo>
                      <a:pt x="4104" y="4125"/>
                    </a:lnTo>
                    <a:lnTo>
                      <a:pt x="4098" y="4124"/>
                    </a:lnTo>
                    <a:lnTo>
                      <a:pt x="4091" y="4122"/>
                    </a:lnTo>
                    <a:lnTo>
                      <a:pt x="4087" y="4121"/>
                    </a:lnTo>
                    <a:lnTo>
                      <a:pt x="4086" y="4122"/>
                    </a:lnTo>
                    <a:lnTo>
                      <a:pt x="4085" y="4128"/>
                    </a:lnTo>
                    <a:lnTo>
                      <a:pt x="4083" y="4135"/>
                    </a:lnTo>
                    <a:lnTo>
                      <a:pt x="4079" y="4141"/>
                    </a:lnTo>
                    <a:lnTo>
                      <a:pt x="4077" y="4143"/>
                    </a:lnTo>
                    <a:lnTo>
                      <a:pt x="4073" y="4148"/>
                    </a:lnTo>
                    <a:lnTo>
                      <a:pt x="4071" y="4149"/>
                    </a:lnTo>
                    <a:lnTo>
                      <a:pt x="4068" y="4149"/>
                    </a:lnTo>
                    <a:lnTo>
                      <a:pt x="4066" y="4149"/>
                    </a:lnTo>
                    <a:lnTo>
                      <a:pt x="4062" y="4148"/>
                    </a:lnTo>
                    <a:lnTo>
                      <a:pt x="4055" y="4143"/>
                    </a:lnTo>
                    <a:lnTo>
                      <a:pt x="4047" y="4137"/>
                    </a:lnTo>
                    <a:lnTo>
                      <a:pt x="4037" y="4131"/>
                    </a:lnTo>
                    <a:lnTo>
                      <a:pt x="4027" y="4127"/>
                    </a:lnTo>
                    <a:lnTo>
                      <a:pt x="4010" y="4117"/>
                    </a:lnTo>
                    <a:lnTo>
                      <a:pt x="3992" y="4106"/>
                    </a:lnTo>
                    <a:lnTo>
                      <a:pt x="3984" y="4100"/>
                    </a:lnTo>
                    <a:lnTo>
                      <a:pt x="3976" y="4093"/>
                    </a:lnTo>
                    <a:lnTo>
                      <a:pt x="3969" y="4087"/>
                    </a:lnTo>
                    <a:lnTo>
                      <a:pt x="3963" y="4079"/>
                    </a:lnTo>
                    <a:lnTo>
                      <a:pt x="3952" y="4065"/>
                    </a:lnTo>
                    <a:lnTo>
                      <a:pt x="3941" y="4052"/>
                    </a:lnTo>
                    <a:lnTo>
                      <a:pt x="3936" y="4048"/>
                    </a:lnTo>
                    <a:lnTo>
                      <a:pt x="3929" y="4045"/>
                    </a:lnTo>
                    <a:lnTo>
                      <a:pt x="3923" y="4042"/>
                    </a:lnTo>
                    <a:lnTo>
                      <a:pt x="3915" y="4041"/>
                    </a:lnTo>
                    <a:lnTo>
                      <a:pt x="3900" y="4042"/>
                    </a:lnTo>
                    <a:lnTo>
                      <a:pt x="3886" y="4041"/>
                    </a:lnTo>
                    <a:lnTo>
                      <a:pt x="3879" y="4040"/>
                    </a:lnTo>
                    <a:lnTo>
                      <a:pt x="3871" y="4036"/>
                    </a:lnTo>
                    <a:lnTo>
                      <a:pt x="3862" y="4033"/>
                    </a:lnTo>
                    <a:lnTo>
                      <a:pt x="3851" y="4027"/>
                    </a:lnTo>
                    <a:lnTo>
                      <a:pt x="3829" y="4014"/>
                    </a:lnTo>
                    <a:lnTo>
                      <a:pt x="3813" y="4003"/>
                    </a:lnTo>
                    <a:lnTo>
                      <a:pt x="3797" y="3991"/>
                    </a:lnTo>
                    <a:lnTo>
                      <a:pt x="3782" y="3978"/>
                    </a:lnTo>
                    <a:lnTo>
                      <a:pt x="3778" y="3976"/>
                    </a:lnTo>
                    <a:lnTo>
                      <a:pt x="3774" y="3973"/>
                    </a:lnTo>
                    <a:lnTo>
                      <a:pt x="3770" y="3972"/>
                    </a:lnTo>
                    <a:lnTo>
                      <a:pt x="3765" y="3971"/>
                    </a:lnTo>
                    <a:lnTo>
                      <a:pt x="3757" y="3970"/>
                    </a:lnTo>
                    <a:lnTo>
                      <a:pt x="3751" y="3967"/>
                    </a:lnTo>
                    <a:lnTo>
                      <a:pt x="3744" y="3960"/>
                    </a:lnTo>
                    <a:lnTo>
                      <a:pt x="3739" y="3953"/>
                    </a:lnTo>
                    <a:lnTo>
                      <a:pt x="3734" y="3951"/>
                    </a:lnTo>
                    <a:lnTo>
                      <a:pt x="3730" y="3949"/>
                    </a:lnTo>
                    <a:lnTo>
                      <a:pt x="3727" y="3949"/>
                    </a:lnTo>
                    <a:lnTo>
                      <a:pt x="3725" y="3951"/>
                    </a:lnTo>
                    <a:lnTo>
                      <a:pt x="3724" y="3953"/>
                    </a:lnTo>
                    <a:lnTo>
                      <a:pt x="3722" y="3957"/>
                    </a:lnTo>
                    <a:lnTo>
                      <a:pt x="3721" y="3960"/>
                    </a:lnTo>
                    <a:lnTo>
                      <a:pt x="3719" y="3962"/>
                    </a:lnTo>
                    <a:lnTo>
                      <a:pt x="3717" y="3964"/>
                    </a:lnTo>
                    <a:lnTo>
                      <a:pt x="3713" y="3964"/>
                    </a:lnTo>
                    <a:lnTo>
                      <a:pt x="3705" y="3961"/>
                    </a:lnTo>
                    <a:lnTo>
                      <a:pt x="3694" y="3959"/>
                    </a:lnTo>
                    <a:lnTo>
                      <a:pt x="3688" y="3957"/>
                    </a:lnTo>
                    <a:lnTo>
                      <a:pt x="3682" y="3952"/>
                    </a:lnTo>
                    <a:lnTo>
                      <a:pt x="3676" y="3947"/>
                    </a:lnTo>
                    <a:lnTo>
                      <a:pt x="3670" y="3942"/>
                    </a:lnTo>
                    <a:lnTo>
                      <a:pt x="3659" y="3932"/>
                    </a:lnTo>
                    <a:lnTo>
                      <a:pt x="3650" y="3926"/>
                    </a:lnTo>
                    <a:lnTo>
                      <a:pt x="3643" y="3924"/>
                    </a:lnTo>
                    <a:lnTo>
                      <a:pt x="3637" y="3922"/>
                    </a:lnTo>
                    <a:lnTo>
                      <a:pt x="3634" y="3921"/>
                    </a:lnTo>
                    <a:lnTo>
                      <a:pt x="3632" y="3919"/>
                    </a:lnTo>
                    <a:lnTo>
                      <a:pt x="3631" y="3915"/>
                    </a:lnTo>
                    <a:lnTo>
                      <a:pt x="3629" y="3910"/>
                    </a:lnTo>
                    <a:lnTo>
                      <a:pt x="3626" y="3905"/>
                    </a:lnTo>
                    <a:lnTo>
                      <a:pt x="3623" y="3902"/>
                    </a:lnTo>
                    <a:lnTo>
                      <a:pt x="3618" y="3900"/>
                    </a:lnTo>
                    <a:lnTo>
                      <a:pt x="3612" y="3900"/>
                    </a:lnTo>
                    <a:lnTo>
                      <a:pt x="3606" y="3900"/>
                    </a:lnTo>
                    <a:lnTo>
                      <a:pt x="3601" y="3901"/>
                    </a:lnTo>
                    <a:lnTo>
                      <a:pt x="3595" y="3904"/>
                    </a:lnTo>
                    <a:lnTo>
                      <a:pt x="3592" y="3908"/>
                    </a:lnTo>
                    <a:lnTo>
                      <a:pt x="3587" y="3915"/>
                    </a:lnTo>
                    <a:lnTo>
                      <a:pt x="3582" y="3919"/>
                    </a:lnTo>
                    <a:lnTo>
                      <a:pt x="3576" y="3920"/>
                    </a:lnTo>
                    <a:lnTo>
                      <a:pt x="3564" y="3919"/>
                    </a:lnTo>
                    <a:lnTo>
                      <a:pt x="3551" y="3917"/>
                    </a:lnTo>
                    <a:lnTo>
                      <a:pt x="3538" y="3916"/>
                    </a:lnTo>
                    <a:lnTo>
                      <a:pt x="3527" y="3919"/>
                    </a:lnTo>
                    <a:lnTo>
                      <a:pt x="3517" y="3923"/>
                    </a:lnTo>
                    <a:lnTo>
                      <a:pt x="3507" y="3928"/>
                    </a:lnTo>
                    <a:lnTo>
                      <a:pt x="3498" y="3934"/>
                    </a:lnTo>
                    <a:lnTo>
                      <a:pt x="3484" y="3946"/>
                    </a:lnTo>
                    <a:lnTo>
                      <a:pt x="3468" y="3960"/>
                    </a:lnTo>
                    <a:lnTo>
                      <a:pt x="3455" y="3973"/>
                    </a:lnTo>
                    <a:lnTo>
                      <a:pt x="3444" y="3985"/>
                    </a:lnTo>
                    <a:lnTo>
                      <a:pt x="3434" y="3995"/>
                    </a:lnTo>
                    <a:lnTo>
                      <a:pt x="3417" y="4008"/>
                    </a:lnTo>
                    <a:lnTo>
                      <a:pt x="3398" y="4021"/>
                    </a:lnTo>
                    <a:lnTo>
                      <a:pt x="3379" y="4034"/>
                    </a:lnTo>
                    <a:lnTo>
                      <a:pt x="3365" y="4045"/>
                    </a:lnTo>
                    <a:lnTo>
                      <a:pt x="3350" y="4056"/>
                    </a:lnTo>
                    <a:lnTo>
                      <a:pt x="3334" y="4075"/>
                    </a:lnTo>
                    <a:lnTo>
                      <a:pt x="3323" y="4090"/>
                    </a:lnTo>
                    <a:lnTo>
                      <a:pt x="3317" y="4096"/>
                    </a:lnTo>
                    <a:lnTo>
                      <a:pt x="3315" y="4102"/>
                    </a:lnTo>
                    <a:lnTo>
                      <a:pt x="3315" y="4108"/>
                    </a:lnTo>
                    <a:lnTo>
                      <a:pt x="3316" y="4113"/>
                    </a:lnTo>
                    <a:lnTo>
                      <a:pt x="3316" y="4119"/>
                    </a:lnTo>
                    <a:lnTo>
                      <a:pt x="3315" y="4125"/>
                    </a:lnTo>
                    <a:lnTo>
                      <a:pt x="3311" y="4132"/>
                    </a:lnTo>
                    <a:lnTo>
                      <a:pt x="3302" y="4140"/>
                    </a:lnTo>
                    <a:lnTo>
                      <a:pt x="3297" y="4143"/>
                    </a:lnTo>
                    <a:lnTo>
                      <a:pt x="3292" y="4148"/>
                    </a:lnTo>
                    <a:lnTo>
                      <a:pt x="3290" y="4153"/>
                    </a:lnTo>
                    <a:lnTo>
                      <a:pt x="3287" y="4157"/>
                    </a:lnTo>
                    <a:lnTo>
                      <a:pt x="3286" y="4162"/>
                    </a:lnTo>
                    <a:lnTo>
                      <a:pt x="3285" y="4168"/>
                    </a:lnTo>
                    <a:lnTo>
                      <a:pt x="3286" y="4175"/>
                    </a:lnTo>
                    <a:lnTo>
                      <a:pt x="3287" y="4182"/>
                    </a:lnTo>
                    <a:lnTo>
                      <a:pt x="3292" y="4197"/>
                    </a:lnTo>
                    <a:lnTo>
                      <a:pt x="3296" y="4210"/>
                    </a:lnTo>
                    <a:lnTo>
                      <a:pt x="3296" y="4214"/>
                    </a:lnTo>
                    <a:lnTo>
                      <a:pt x="3296" y="4219"/>
                    </a:lnTo>
                    <a:lnTo>
                      <a:pt x="3294" y="4224"/>
                    </a:lnTo>
                    <a:lnTo>
                      <a:pt x="3292" y="4228"/>
                    </a:lnTo>
                    <a:lnTo>
                      <a:pt x="3289" y="4231"/>
                    </a:lnTo>
                    <a:lnTo>
                      <a:pt x="3285" y="4233"/>
                    </a:lnTo>
                    <a:lnTo>
                      <a:pt x="3279" y="4236"/>
                    </a:lnTo>
                    <a:lnTo>
                      <a:pt x="3274" y="4238"/>
                    </a:lnTo>
                    <a:lnTo>
                      <a:pt x="3261" y="4244"/>
                    </a:lnTo>
                    <a:lnTo>
                      <a:pt x="3248" y="4251"/>
                    </a:lnTo>
                    <a:lnTo>
                      <a:pt x="3241" y="4254"/>
                    </a:lnTo>
                    <a:lnTo>
                      <a:pt x="3234" y="4255"/>
                    </a:lnTo>
                    <a:lnTo>
                      <a:pt x="3227" y="4254"/>
                    </a:lnTo>
                    <a:lnTo>
                      <a:pt x="3221" y="4251"/>
                    </a:lnTo>
                    <a:lnTo>
                      <a:pt x="3214" y="4249"/>
                    </a:lnTo>
                    <a:lnTo>
                      <a:pt x="3209" y="4244"/>
                    </a:lnTo>
                    <a:lnTo>
                      <a:pt x="3204" y="4238"/>
                    </a:lnTo>
                    <a:lnTo>
                      <a:pt x="3201" y="4233"/>
                    </a:lnTo>
                    <a:lnTo>
                      <a:pt x="3195" y="4218"/>
                    </a:lnTo>
                    <a:lnTo>
                      <a:pt x="3185" y="4199"/>
                    </a:lnTo>
                    <a:lnTo>
                      <a:pt x="3177" y="4180"/>
                    </a:lnTo>
                    <a:lnTo>
                      <a:pt x="3170" y="4163"/>
                    </a:lnTo>
                    <a:lnTo>
                      <a:pt x="3166" y="4157"/>
                    </a:lnTo>
                    <a:lnTo>
                      <a:pt x="3164" y="4149"/>
                    </a:lnTo>
                    <a:lnTo>
                      <a:pt x="3163" y="4140"/>
                    </a:lnTo>
                    <a:lnTo>
                      <a:pt x="3161" y="4130"/>
                    </a:lnTo>
                    <a:lnTo>
                      <a:pt x="3163" y="4121"/>
                    </a:lnTo>
                    <a:lnTo>
                      <a:pt x="3166" y="4110"/>
                    </a:lnTo>
                    <a:lnTo>
                      <a:pt x="3168" y="4105"/>
                    </a:lnTo>
                    <a:lnTo>
                      <a:pt x="3172" y="4099"/>
                    </a:lnTo>
                    <a:lnTo>
                      <a:pt x="3176" y="4094"/>
                    </a:lnTo>
                    <a:lnTo>
                      <a:pt x="3180" y="4088"/>
                    </a:lnTo>
                    <a:lnTo>
                      <a:pt x="3190" y="4078"/>
                    </a:lnTo>
                    <a:lnTo>
                      <a:pt x="3198" y="4067"/>
                    </a:lnTo>
                    <a:lnTo>
                      <a:pt x="3207" y="4055"/>
                    </a:lnTo>
                    <a:lnTo>
                      <a:pt x="3212" y="4043"/>
                    </a:lnTo>
                    <a:lnTo>
                      <a:pt x="3217" y="4033"/>
                    </a:lnTo>
                    <a:lnTo>
                      <a:pt x="3222" y="4022"/>
                    </a:lnTo>
                    <a:lnTo>
                      <a:pt x="3224" y="4011"/>
                    </a:lnTo>
                    <a:lnTo>
                      <a:pt x="3227" y="4002"/>
                    </a:lnTo>
                    <a:lnTo>
                      <a:pt x="3228" y="3992"/>
                    </a:lnTo>
                    <a:lnTo>
                      <a:pt x="3228" y="3983"/>
                    </a:lnTo>
                    <a:lnTo>
                      <a:pt x="3227" y="3973"/>
                    </a:lnTo>
                    <a:lnTo>
                      <a:pt x="3226" y="3962"/>
                    </a:lnTo>
                    <a:lnTo>
                      <a:pt x="3223" y="3942"/>
                    </a:lnTo>
                    <a:lnTo>
                      <a:pt x="3220" y="3921"/>
                    </a:lnTo>
                    <a:lnTo>
                      <a:pt x="3222" y="3913"/>
                    </a:lnTo>
                    <a:lnTo>
                      <a:pt x="3221" y="3905"/>
                    </a:lnTo>
                    <a:lnTo>
                      <a:pt x="3207" y="3894"/>
                    </a:lnTo>
                    <a:lnTo>
                      <a:pt x="3195" y="3884"/>
                    </a:lnTo>
                    <a:lnTo>
                      <a:pt x="3185" y="3878"/>
                    </a:lnTo>
                    <a:lnTo>
                      <a:pt x="3177" y="3873"/>
                    </a:lnTo>
                    <a:lnTo>
                      <a:pt x="3172" y="3869"/>
                    </a:lnTo>
                    <a:lnTo>
                      <a:pt x="3167" y="3864"/>
                    </a:lnTo>
                    <a:lnTo>
                      <a:pt x="3159" y="3863"/>
                    </a:lnTo>
                    <a:lnTo>
                      <a:pt x="3152" y="3864"/>
                    </a:lnTo>
                    <a:lnTo>
                      <a:pt x="3145" y="3867"/>
                    </a:lnTo>
                    <a:lnTo>
                      <a:pt x="3140" y="3872"/>
                    </a:lnTo>
                    <a:lnTo>
                      <a:pt x="3134" y="3879"/>
                    </a:lnTo>
                    <a:lnTo>
                      <a:pt x="3130" y="3883"/>
                    </a:lnTo>
                    <a:lnTo>
                      <a:pt x="3126" y="3885"/>
                    </a:lnTo>
                    <a:lnTo>
                      <a:pt x="3116" y="3886"/>
                    </a:lnTo>
                    <a:lnTo>
                      <a:pt x="3109" y="3885"/>
                    </a:lnTo>
                    <a:lnTo>
                      <a:pt x="3103" y="3885"/>
                    </a:lnTo>
                    <a:lnTo>
                      <a:pt x="3085" y="3891"/>
                    </a:lnTo>
                    <a:lnTo>
                      <a:pt x="3071" y="3898"/>
                    </a:lnTo>
                    <a:lnTo>
                      <a:pt x="3065" y="3900"/>
                    </a:lnTo>
                    <a:lnTo>
                      <a:pt x="3057" y="3902"/>
                    </a:lnTo>
                    <a:lnTo>
                      <a:pt x="3047" y="3905"/>
                    </a:lnTo>
                    <a:lnTo>
                      <a:pt x="3035" y="3911"/>
                    </a:lnTo>
                    <a:lnTo>
                      <a:pt x="3029" y="3915"/>
                    </a:lnTo>
                    <a:lnTo>
                      <a:pt x="3022" y="3917"/>
                    </a:lnTo>
                    <a:lnTo>
                      <a:pt x="3015" y="3917"/>
                    </a:lnTo>
                    <a:lnTo>
                      <a:pt x="3008" y="3917"/>
                    </a:lnTo>
                    <a:lnTo>
                      <a:pt x="2995" y="3915"/>
                    </a:lnTo>
                    <a:lnTo>
                      <a:pt x="2984" y="3911"/>
                    </a:lnTo>
                    <a:lnTo>
                      <a:pt x="2981" y="3910"/>
                    </a:lnTo>
                    <a:lnTo>
                      <a:pt x="2977" y="3910"/>
                    </a:lnTo>
                    <a:lnTo>
                      <a:pt x="2975" y="3910"/>
                    </a:lnTo>
                    <a:lnTo>
                      <a:pt x="2972" y="3911"/>
                    </a:lnTo>
                    <a:lnTo>
                      <a:pt x="2968" y="3915"/>
                    </a:lnTo>
                    <a:lnTo>
                      <a:pt x="2963" y="3919"/>
                    </a:lnTo>
                    <a:lnTo>
                      <a:pt x="2960" y="3920"/>
                    </a:lnTo>
                    <a:lnTo>
                      <a:pt x="2957" y="3920"/>
                    </a:lnTo>
                    <a:lnTo>
                      <a:pt x="2955" y="3920"/>
                    </a:lnTo>
                    <a:lnTo>
                      <a:pt x="2951" y="3919"/>
                    </a:lnTo>
                    <a:lnTo>
                      <a:pt x="2944" y="3915"/>
                    </a:lnTo>
                    <a:lnTo>
                      <a:pt x="2938" y="3913"/>
                    </a:lnTo>
                    <a:lnTo>
                      <a:pt x="2922" y="3909"/>
                    </a:lnTo>
                    <a:lnTo>
                      <a:pt x="2907" y="3907"/>
                    </a:lnTo>
                    <a:lnTo>
                      <a:pt x="2897" y="3903"/>
                    </a:lnTo>
                    <a:lnTo>
                      <a:pt x="2884" y="3898"/>
                    </a:lnTo>
                    <a:lnTo>
                      <a:pt x="2877" y="3895"/>
                    </a:lnTo>
                    <a:lnTo>
                      <a:pt x="2872" y="3891"/>
                    </a:lnTo>
                    <a:lnTo>
                      <a:pt x="2868" y="3886"/>
                    </a:lnTo>
                    <a:lnTo>
                      <a:pt x="2867" y="3880"/>
                    </a:lnTo>
                    <a:lnTo>
                      <a:pt x="2864" y="3876"/>
                    </a:lnTo>
                    <a:lnTo>
                      <a:pt x="2862" y="3873"/>
                    </a:lnTo>
                    <a:lnTo>
                      <a:pt x="2858" y="3873"/>
                    </a:lnTo>
                    <a:lnTo>
                      <a:pt x="2855" y="3875"/>
                    </a:lnTo>
                    <a:lnTo>
                      <a:pt x="2845" y="3880"/>
                    </a:lnTo>
                    <a:lnTo>
                      <a:pt x="2838" y="3888"/>
                    </a:lnTo>
                    <a:lnTo>
                      <a:pt x="2823" y="3903"/>
                    </a:lnTo>
                    <a:lnTo>
                      <a:pt x="2808" y="3917"/>
                    </a:lnTo>
                    <a:lnTo>
                      <a:pt x="2806" y="3920"/>
                    </a:lnTo>
                    <a:lnTo>
                      <a:pt x="2802" y="3921"/>
                    </a:lnTo>
                    <a:lnTo>
                      <a:pt x="2799" y="3921"/>
                    </a:lnTo>
                    <a:lnTo>
                      <a:pt x="2794" y="3921"/>
                    </a:lnTo>
                    <a:lnTo>
                      <a:pt x="2786" y="3916"/>
                    </a:lnTo>
                    <a:lnTo>
                      <a:pt x="2776" y="3909"/>
                    </a:lnTo>
                    <a:lnTo>
                      <a:pt x="2758" y="3895"/>
                    </a:lnTo>
                    <a:lnTo>
                      <a:pt x="2742" y="3885"/>
                    </a:lnTo>
                    <a:lnTo>
                      <a:pt x="2738" y="3884"/>
                    </a:lnTo>
                    <a:lnTo>
                      <a:pt x="2735" y="3884"/>
                    </a:lnTo>
                    <a:lnTo>
                      <a:pt x="2732" y="3884"/>
                    </a:lnTo>
                    <a:lnTo>
                      <a:pt x="2729" y="3885"/>
                    </a:lnTo>
                    <a:lnTo>
                      <a:pt x="2722" y="3889"/>
                    </a:lnTo>
                    <a:lnTo>
                      <a:pt x="2714" y="3895"/>
                    </a:lnTo>
                    <a:lnTo>
                      <a:pt x="2711" y="3897"/>
                    </a:lnTo>
                    <a:lnTo>
                      <a:pt x="2707" y="3898"/>
                    </a:lnTo>
                    <a:lnTo>
                      <a:pt x="2704" y="3900"/>
                    </a:lnTo>
                    <a:lnTo>
                      <a:pt x="2700" y="3898"/>
                    </a:lnTo>
                    <a:lnTo>
                      <a:pt x="2694" y="3896"/>
                    </a:lnTo>
                    <a:lnTo>
                      <a:pt x="2692" y="3892"/>
                    </a:lnTo>
                    <a:lnTo>
                      <a:pt x="2692" y="3889"/>
                    </a:lnTo>
                    <a:lnTo>
                      <a:pt x="2689" y="3885"/>
                    </a:lnTo>
                    <a:lnTo>
                      <a:pt x="2687" y="3883"/>
                    </a:lnTo>
                    <a:lnTo>
                      <a:pt x="2683" y="3882"/>
                    </a:lnTo>
                    <a:lnTo>
                      <a:pt x="2676" y="3879"/>
                    </a:lnTo>
                    <a:lnTo>
                      <a:pt x="2668" y="3878"/>
                    </a:lnTo>
                    <a:lnTo>
                      <a:pt x="2649" y="3875"/>
                    </a:lnTo>
                    <a:lnTo>
                      <a:pt x="2636" y="3872"/>
                    </a:lnTo>
                    <a:lnTo>
                      <a:pt x="2623" y="3870"/>
                    </a:lnTo>
                    <a:lnTo>
                      <a:pt x="2611" y="3869"/>
                    </a:lnTo>
                    <a:lnTo>
                      <a:pt x="2605" y="3869"/>
                    </a:lnTo>
                    <a:lnTo>
                      <a:pt x="2600" y="3866"/>
                    </a:lnTo>
                    <a:lnTo>
                      <a:pt x="2594" y="3863"/>
                    </a:lnTo>
                    <a:lnTo>
                      <a:pt x="2591" y="3858"/>
                    </a:lnTo>
                    <a:lnTo>
                      <a:pt x="2582" y="3846"/>
                    </a:lnTo>
                    <a:lnTo>
                      <a:pt x="2574" y="3828"/>
                    </a:lnTo>
                    <a:lnTo>
                      <a:pt x="2569" y="3819"/>
                    </a:lnTo>
                    <a:lnTo>
                      <a:pt x="2563" y="3812"/>
                    </a:lnTo>
                    <a:lnTo>
                      <a:pt x="2557" y="3807"/>
                    </a:lnTo>
                    <a:lnTo>
                      <a:pt x="2552" y="3802"/>
                    </a:lnTo>
                    <a:lnTo>
                      <a:pt x="2540" y="3797"/>
                    </a:lnTo>
                    <a:lnTo>
                      <a:pt x="2529" y="3794"/>
                    </a:lnTo>
                    <a:lnTo>
                      <a:pt x="2524" y="3791"/>
                    </a:lnTo>
                    <a:lnTo>
                      <a:pt x="2522" y="3790"/>
                    </a:lnTo>
                    <a:lnTo>
                      <a:pt x="2521" y="3788"/>
                    </a:lnTo>
                    <a:lnTo>
                      <a:pt x="2519" y="3784"/>
                    </a:lnTo>
                    <a:lnTo>
                      <a:pt x="2519" y="3777"/>
                    </a:lnTo>
                    <a:lnTo>
                      <a:pt x="2516" y="3769"/>
                    </a:lnTo>
                    <a:lnTo>
                      <a:pt x="2512" y="3764"/>
                    </a:lnTo>
                    <a:lnTo>
                      <a:pt x="2509" y="3760"/>
                    </a:lnTo>
                    <a:lnTo>
                      <a:pt x="2505" y="3758"/>
                    </a:lnTo>
                    <a:lnTo>
                      <a:pt x="2500" y="3756"/>
                    </a:lnTo>
                    <a:lnTo>
                      <a:pt x="2491" y="3751"/>
                    </a:lnTo>
                    <a:lnTo>
                      <a:pt x="2484" y="3747"/>
                    </a:lnTo>
                    <a:lnTo>
                      <a:pt x="2480" y="3746"/>
                    </a:lnTo>
                    <a:lnTo>
                      <a:pt x="2478" y="3743"/>
                    </a:lnTo>
                    <a:lnTo>
                      <a:pt x="2475" y="3739"/>
                    </a:lnTo>
                    <a:lnTo>
                      <a:pt x="2473" y="3735"/>
                    </a:lnTo>
                    <a:lnTo>
                      <a:pt x="2470" y="3727"/>
                    </a:lnTo>
                    <a:lnTo>
                      <a:pt x="2467" y="3720"/>
                    </a:lnTo>
                    <a:lnTo>
                      <a:pt x="2465" y="3716"/>
                    </a:lnTo>
                    <a:lnTo>
                      <a:pt x="2462" y="3714"/>
                    </a:lnTo>
                    <a:lnTo>
                      <a:pt x="2460" y="3713"/>
                    </a:lnTo>
                    <a:lnTo>
                      <a:pt x="2456" y="3712"/>
                    </a:lnTo>
                    <a:lnTo>
                      <a:pt x="2449" y="3712"/>
                    </a:lnTo>
                    <a:lnTo>
                      <a:pt x="2441" y="3712"/>
                    </a:lnTo>
                    <a:lnTo>
                      <a:pt x="2431" y="3712"/>
                    </a:lnTo>
                    <a:lnTo>
                      <a:pt x="2424" y="3711"/>
                    </a:lnTo>
                    <a:lnTo>
                      <a:pt x="2418" y="3706"/>
                    </a:lnTo>
                    <a:lnTo>
                      <a:pt x="2414" y="3700"/>
                    </a:lnTo>
                    <a:lnTo>
                      <a:pt x="2411" y="3697"/>
                    </a:lnTo>
                    <a:lnTo>
                      <a:pt x="2409" y="3695"/>
                    </a:lnTo>
                    <a:lnTo>
                      <a:pt x="2407" y="3693"/>
                    </a:lnTo>
                    <a:lnTo>
                      <a:pt x="2404" y="3693"/>
                    </a:lnTo>
                    <a:lnTo>
                      <a:pt x="2402" y="3693"/>
                    </a:lnTo>
                    <a:lnTo>
                      <a:pt x="2401" y="3694"/>
                    </a:lnTo>
                    <a:lnTo>
                      <a:pt x="2398" y="3696"/>
                    </a:lnTo>
                    <a:lnTo>
                      <a:pt x="2397" y="3700"/>
                    </a:lnTo>
                    <a:lnTo>
                      <a:pt x="2392" y="3709"/>
                    </a:lnTo>
                    <a:lnTo>
                      <a:pt x="2385" y="3722"/>
                    </a:lnTo>
                    <a:lnTo>
                      <a:pt x="2378" y="3734"/>
                    </a:lnTo>
                    <a:lnTo>
                      <a:pt x="2372" y="3745"/>
                    </a:lnTo>
                    <a:lnTo>
                      <a:pt x="2365" y="3752"/>
                    </a:lnTo>
                    <a:lnTo>
                      <a:pt x="2358" y="3758"/>
                    </a:lnTo>
                    <a:lnTo>
                      <a:pt x="2351" y="3763"/>
                    </a:lnTo>
                    <a:lnTo>
                      <a:pt x="2345" y="3765"/>
                    </a:lnTo>
                    <a:lnTo>
                      <a:pt x="2341" y="3765"/>
                    </a:lnTo>
                    <a:lnTo>
                      <a:pt x="2338" y="3763"/>
                    </a:lnTo>
                    <a:lnTo>
                      <a:pt x="2333" y="3760"/>
                    </a:lnTo>
                    <a:lnTo>
                      <a:pt x="2327" y="3757"/>
                    </a:lnTo>
                    <a:lnTo>
                      <a:pt x="2316" y="3749"/>
                    </a:lnTo>
                    <a:lnTo>
                      <a:pt x="2304" y="3740"/>
                    </a:lnTo>
                    <a:lnTo>
                      <a:pt x="2294" y="3733"/>
                    </a:lnTo>
                    <a:lnTo>
                      <a:pt x="2282" y="3725"/>
                    </a:lnTo>
                    <a:lnTo>
                      <a:pt x="2271" y="3715"/>
                    </a:lnTo>
                    <a:lnTo>
                      <a:pt x="2264" y="3709"/>
                    </a:lnTo>
                    <a:lnTo>
                      <a:pt x="2261" y="3706"/>
                    </a:lnTo>
                    <a:lnTo>
                      <a:pt x="2261" y="3701"/>
                    </a:lnTo>
                    <a:lnTo>
                      <a:pt x="2260" y="3695"/>
                    </a:lnTo>
                    <a:lnTo>
                      <a:pt x="2261" y="3689"/>
                    </a:lnTo>
                    <a:lnTo>
                      <a:pt x="2263" y="3682"/>
                    </a:lnTo>
                    <a:lnTo>
                      <a:pt x="2265" y="3676"/>
                    </a:lnTo>
                    <a:lnTo>
                      <a:pt x="2269" y="3670"/>
                    </a:lnTo>
                    <a:lnTo>
                      <a:pt x="2271" y="3665"/>
                    </a:lnTo>
                    <a:lnTo>
                      <a:pt x="2277" y="3655"/>
                    </a:lnTo>
                    <a:lnTo>
                      <a:pt x="2280" y="3645"/>
                    </a:lnTo>
                    <a:lnTo>
                      <a:pt x="2282" y="3640"/>
                    </a:lnTo>
                    <a:lnTo>
                      <a:pt x="2282" y="3637"/>
                    </a:lnTo>
                    <a:lnTo>
                      <a:pt x="2280" y="3634"/>
                    </a:lnTo>
                    <a:lnTo>
                      <a:pt x="2278" y="3632"/>
                    </a:lnTo>
                    <a:lnTo>
                      <a:pt x="2272" y="3632"/>
                    </a:lnTo>
                    <a:lnTo>
                      <a:pt x="2265" y="3633"/>
                    </a:lnTo>
                    <a:lnTo>
                      <a:pt x="2257" y="3634"/>
                    </a:lnTo>
                    <a:lnTo>
                      <a:pt x="2250" y="3638"/>
                    </a:lnTo>
                    <a:lnTo>
                      <a:pt x="2241" y="3644"/>
                    </a:lnTo>
                    <a:lnTo>
                      <a:pt x="2232" y="3653"/>
                    </a:lnTo>
                    <a:lnTo>
                      <a:pt x="2228" y="3659"/>
                    </a:lnTo>
                    <a:lnTo>
                      <a:pt x="2225" y="3664"/>
                    </a:lnTo>
                    <a:lnTo>
                      <a:pt x="2222" y="3670"/>
                    </a:lnTo>
                    <a:lnTo>
                      <a:pt x="2221" y="3676"/>
                    </a:lnTo>
                    <a:lnTo>
                      <a:pt x="2220" y="3689"/>
                    </a:lnTo>
                    <a:lnTo>
                      <a:pt x="2217" y="3703"/>
                    </a:lnTo>
                    <a:lnTo>
                      <a:pt x="2216" y="3711"/>
                    </a:lnTo>
                    <a:lnTo>
                      <a:pt x="2214" y="3716"/>
                    </a:lnTo>
                    <a:lnTo>
                      <a:pt x="2212" y="3722"/>
                    </a:lnTo>
                    <a:lnTo>
                      <a:pt x="2209" y="3726"/>
                    </a:lnTo>
                    <a:lnTo>
                      <a:pt x="2206" y="3728"/>
                    </a:lnTo>
                    <a:lnTo>
                      <a:pt x="2200" y="3728"/>
                    </a:lnTo>
                    <a:lnTo>
                      <a:pt x="2194" y="3727"/>
                    </a:lnTo>
                    <a:lnTo>
                      <a:pt x="2185" y="3725"/>
                    </a:lnTo>
                    <a:lnTo>
                      <a:pt x="2178" y="3721"/>
                    </a:lnTo>
                    <a:lnTo>
                      <a:pt x="2171" y="3718"/>
                    </a:lnTo>
                    <a:lnTo>
                      <a:pt x="2166" y="3713"/>
                    </a:lnTo>
                    <a:lnTo>
                      <a:pt x="2162" y="3708"/>
                    </a:lnTo>
                    <a:lnTo>
                      <a:pt x="2160" y="3701"/>
                    </a:lnTo>
                    <a:lnTo>
                      <a:pt x="2160" y="3694"/>
                    </a:lnTo>
                    <a:lnTo>
                      <a:pt x="2160" y="3684"/>
                    </a:lnTo>
                    <a:lnTo>
                      <a:pt x="2160" y="3674"/>
                    </a:lnTo>
                    <a:lnTo>
                      <a:pt x="2158" y="3657"/>
                    </a:lnTo>
                    <a:lnTo>
                      <a:pt x="2153" y="3642"/>
                    </a:lnTo>
                    <a:lnTo>
                      <a:pt x="2150" y="3626"/>
                    </a:lnTo>
                    <a:lnTo>
                      <a:pt x="2145" y="3613"/>
                    </a:lnTo>
                    <a:lnTo>
                      <a:pt x="2139" y="3601"/>
                    </a:lnTo>
                    <a:lnTo>
                      <a:pt x="2132" y="3592"/>
                    </a:lnTo>
                    <a:lnTo>
                      <a:pt x="2128" y="3587"/>
                    </a:lnTo>
                    <a:lnTo>
                      <a:pt x="2125" y="3582"/>
                    </a:lnTo>
                    <a:lnTo>
                      <a:pt x="2121" y="3576"/>
                    </a:lnTo>
                    <a:lnTo>
                      <a:pt x="2119" y="3570"/>
                    </a:lnTo>
                    <a:lnTo>
                      <a:pt x="2118" y="3563"/>
                    </a:lnTo>
                    <a:lnTo>
                      <a:pt x="2115" y="3557"/>
                    </a:lnTo>
                    <a:lnTo>
                      <a:pt x="2115" y="3550"/>
                    </a:lnTo>
                    <a:lnTo>
                      <a:pt x="2115" y="3543"/>
                    </a:lnTo>
                    <a:lnTo>
                      <a:pt x="2116" y="3530"/>
                    </a:lnTo>
                    <a:lnTo>
                      <a:pt x="2118" y="3519"/>
                    </a:lnTo>
                    <a:lnTo>
                      <a:pt x="2118" y="3513"/>
                    </a:lnTo>
                    <a:lnTo>
                      <a:pt x="2118" y="3510"/>
                    </a:lnTo>
                    <a:lnTo>
                      <a:pt x="2116" y="3506"/>
                    </a:lnTo>
                    <a:lnTo>
                      <a:pt x="2114" y="3503"/>
                    </a:lnTo>
                    <a:lnTo>
                      <a:pt x="2112" y="3501"/>
                    </a:lnTo>
                    <a:lnTo>
                      <a:pt x="2108" y="3500"/>
                    </a:lnTo>
                    <a:lnTo>
                      <a:pt x="2106" y="3499"/>
                    </a:lnTo>
                    <a:lnTo>
                      <a:pt x="2103" y="3500"/>
                    </a:lnTo>
                    <a:lnTo>
                      <a:pt x="2100" y="3501"/>
                    </a:lnTo>
                    <a:lnTo>
                      <a:pt x="2096" y="3505"/>
                    </a:lnTo>
                    <a:lnTo>
                      <a:pt x="2094" y="3508"/>
                    </a:lnTo>
                    <a:lnTo>
                      <a:pt x="2090" y="3512"/>
                    </a:lnTo>
                    <a:lnTo>
                      <a:pt x="2086" y="3523"/>
                    </a:lnTo>
                    <a:lnTo>
                      <a:pt x="2081" y="3532"/>
                    </a:lnTo>
                    <a:lnTo>
                      <a:pt x="2078" y="3536"/>
                    </a:lnTo>
                    <a:lnTo>
                      <a:pt x="2076" y="3539"/>
                    </a:lnTo>
                    <a:lnTo>
                      <a:pt x="2074" y="3542"/>
                    </a:lnTo>
                    <a:lnTo>
                      <a:pt x="2071" y="3543"/>
                    </a:lnTo>
                    <a:lnTo>
                      <a:pt x="2069" y="3543"/>
                    </a:lnTo>
                    <a:lnTo>
                      <a:pt x="2067" y="3541"/>
                    </a:lnTo>
                    <a:lnTo>
                      <a:pt x="2064" y="3538"/>
                    </a:lnTo>
                    <a:lnTo>
                      <a:pt x="2062" y="3533"/>
                    </a:lnTo>
                    <a:lnTo>
                      <a:pt x="2058" y="3524"/>
                    </a:lnTo>
                    <a:lnTo>
                      <a:pt x="2053" y="3514"/>
                    </a:lnTo>
                    <a:lnTo>
                      <a:pt x="2046" y="3506"/>
                    </a:lnTo>
                    <a:lnTo>
                      <a:pt x="2038" y="3498"/>
                    </a:lnTo>
                    <a:lnTo>
                      <a:pt x="2033" y="3495"/>
                    </a:lnTo>
                    <a:lnTo>
                      <a:pt x="2027" y="3493"/>
                    </a:lnTo>
                    <a:lnTo>
                      <a:pt x="2020" y="3493"/>
                    </a:lnTo>
                    <a:lnTo>
                      <a:pt x="2012" y="3493"/>
                    </a:lnTo>
                    <a:lnTo>
                      <a:pt x="1995" y="3497"/>
                    </a:lnTo>
                    <a:lnTo>
                      <a:pt x="1983" y="3499"/>
                    </a:lnTo>
                    <a:lnTo>
                      <a:pt x="1979" y="3500"/>
                    </a:lnTo>
                    <a:lnTo>
                      <a:pt x="1974" y="3500"/>
                    </a:lnTo>
                    <a:lnTo>
                      <a:pt x="1969" y="3499"/>
                    </a:lnTo>
                    <a:lnTo>
                      <a:pt x="1964" y="3498"/>
                    </a:lnTo>
                    <a:lnTo>
                      <a:pt x="1958" y="3494"/>
                    </a:lnTo>
                    <a:lnTo>
                      <a:pt x="1954" y="3489"/>
                    </a:lnTo>
                    <a:lnTo>
                      <a:pt x="1948" y="3485"/>
                    </a:lnTo>
                    <a:lnTo>
                      <a:pt x="1943" y="3479"/>
                    </a:lnTo>
                    <a:lnTo>
                      <a:pt x="1937" y="3474"/>
                    </a:lnTo>
                    <a:lnTo>
                      <a:pt x="1932" y="3469"/>
                    </a:lnTo>
                    <a:lnTo>
                      <a:pt x="1926" y="3466"/>
                    </a:lnTo>
                    <a:lnTo>
                      <a:pt x="1921" y="3464"/>
                    </a:lnTo>
                    <a:lnTo>
                      <a:pt x="1916" y="3463"/>
                    </a:lnTo>
                    <a:lnTo>
                      <a:pt x="1911" y="3462"/>
                    </a:lnTo>
                    <a:lnTo>
                      <a:pt x="1906" y="3461"/>
                    </a:lnTo>
                    <a:lnTo>
                      <a:pt x="1902" y="3459"/>
                    </a:lnTo>
                    <a:lnTo>
                      <a:pt x="1899" y="3455"/>
                    </a:lnTo>
                    <a:lnTo>
                      <a:pt x="1897" y="3451"/>
                    </a:lnTo>
                    <a:lnTo>
                      <a:pt x="1895" y="3447"/>
                    </a:lnTo>
                    <a:lnTo>
                      <a:pt x="1895" y="3441"/>
                    </a:lnTo>
                    <a:lnTo>
                      <a:pt x="1895" y="3434"/>
                    </a:lnTo>
                    <a:lnTo>
                      <a:pt x="1897" y="3426"/>
                    </a:lnTo>
                    <a:lnTo>
                      <a:pt x="1899" y="3419"/>
                    </a:lnTo>
                    <a:lnTo>
                      <a:pt x="1902" y="3411"/>
                    </a:lnTo>
                    <a:lnTo>
                      <a:pt x="1906" y="3404"/>
                    </a:lnTo>
                    <a:lnTo>
                      <a:pt x="1911" y="3397"/>
                    </a:lnTo>
                    <a:lnTo>
                      <a:pt x="1916" y="3390"/>
                    </a:lnTo>
                    <a:lnTo>
                      <a:pt x="1921" y="3384"/>
                    </a:lnTo>
                    <a:lnTo>
                      <a:pt x="1931" y="3374"/>
                    </a:lnTo>
                    <a:lnTo>
                      <a:pt x="1937" y="3366"/>
                    </a:lnTo>
                    <a:lnTo>
                      <a:pt x="1942" y="3358"/>
                    </a:lnTo>
                    <a:lnTo>
                      <a:pt x="1945" y="3348"/>
                    </a:lnTo>
                    <a:lnTo>
                      <a:pt x="1945" y="3342"/>
                    </a:lnTo>
                    <a:lnTo>
                      <a:pt x="1944" y="3335"/>
                    </a:lnTo>
                    <a:lnTo>
                      <a:pt x="1941" y="3328"/>
                    </a:lnTo>
                    <a:lnTo>
                      <a:pt x="1936" y="3322"/>
                    </a:lnTo>
                    <a:lnTo>
                      <a:pt x="1930" y="3316"/>
                    </a:lnTo>
                    <a:lnTo>
                      <a:pt x="1924" y="3312"/>
                    </a:lnTo>
                    <a:lnTo>
                      <a:pt x="1920" y="3310"/>
                    </a:lnTo>
                    <a:lnTo>
                      <a:pt x="1917" y="3310"/>
                    </a:lnTo>
                    <a:lnTo>
                      <a:pt x="1914" y="3309"/>
                    </a:lnTo>
                    <a:lnTo>
                      <a:pt x="1911" y="3310"/>
                    </a:lnTo>
                    <a:lnTo>
                      <a:pt x="1900" y="3315"/>
                    </a:lnTo>
                    <a:lnTo>
                      <a:pt x="1888" y="3322"/>
                    </a:lnTo>
                    <a:lnTo>
                      <a:pt x="1882" y="3324"/>
                    </a:lnTo>
                    <a:lnTo>
                      <a:pt x="1876" y="3328"/>
                    </a:lnTo>
                    <a:lnTo>
                      <a:pt x="1870" y="3329"/>
                    </a:lnTo>
                    <a:lnTo>
                      <a:pt x="1863" y="3330"/>
                    </a:lnTo>
                    <a:lnTo>
                      <a:pt x="1850" y="3329"/>
                    </a:lnTo>
                    <a:lnTo>
                      <a:pt x="1836" y="3327"/>
                    </a:lnTo>
                    <a:lnTo>
                      <a:pt x="1822" y="3322"/>
                    </a:lnTo>
                    <a:lnTo>
                      <a:pt x="1807" y="3315"/>
                    </a:lnTo>
                    <a:lnTo>
                      <a:pt x="1794" y="3306"/>
                    </a:lnTo>
                    <a:lnTo>
                      <a:pt x="1785" y="3298"/>
                    </a:lnTo>
                    <a:lnTo>
                      <a:pt x="1780" y="3293"/>
                    </a:lnTo>
                    <a:lnTo>
                      <a:pt x="1778" y="3289"/>
                    </a:lnTo>
                    <a:lnTo>
                      <a:pt x="1776" y="3284"/>
                    </a:lnTo>
                    <a:lnTo>
                      <a:pt x="1775" y="3279"/>
                    </a:lnTo>
                    <a:lnTo>
                      <a:pt x="1775" y="3273"/>
                    </a:lnTo>
                    <a:lnTo>
                      <a:pt x="1774" y="3268"/>
                    </a:lnTo>
                    <a:lnTo>
                      <a:pt x="1772" y="3264"/>
                    </a:lnTo>
                    <a:lnTo>
                      <a:pt x="1769" y="3260"/>
                    </a:lnTo>
                    <a:lnTo>
                      <a:pt x="1762" y="3253"/>
                    </a:lnTo>
                    <a:lnTo>
                      <a:pt x="1755" y="3248"/>
                    </a:lnTo>
                    <a:lnTo>
                      <a:pt x="1746" y="3242"/>
                    </a:lnTo>
                    <a:lnTo>
                      <a:pt x="1732" y="3234"/>
                    </a:lnTo>
                    <a:lnTo>
                      <a:pt x="1721" y="3227"/>
                    </a:lnTo>
                    <a:lnTo>
                      <a:pt x="1710" y="3221"/>
                    </a:lnTo>
                    <a:lnTo>
                      <a:pt x="1706" y="3218"/>
                    </a:lnTo>
                    <a:lnTo>
                      <a:pt x="1703" y="3216"/>
                    </a:lnTo>
                    <a:lnTo>
                      <a:pt x="1700" y="3211"/>
                    </a:lnTo>
                    <a:lnTo>
                      <a:pt x="1697" y="3208"/>
                    </a:lnTo>
                    <a:lnTo>
                      <a:pt x="1694" y="3198"/>
                    </a:lnTo>
                    <a:lnTo>
                      <a:pt x="1693" y="3189"/>
                    </a:lnTo>
                    <a:lnTo>
                      <a:pt x="1692" y="3179"/>
                    </a:lnTo>
                    <a:lnTo>
                      <a:pt x="1690" y="3172"/>
                    </a:lnTo>
                    <a:lnTo>
                      <a:pt x="1687" y="3169"/>
                    </a:lnTo>
                    <a:lnTo>
                      <a:pt x="1684" y="3166"/>
                    </a:lnTo>
                    <a:lnTo>
                      <a:pt x="1680" y="3164"/>
                    </a:lnTo>
                    <a:lnTo>
                      <a:pt x="1675" y="3163"/>
                    </a:lnTo>
                    <a:lnTo>
                      <a:pt x="1669" y="3161"/>
                    </a:lnTo>
                    <a:lnTo>
                      <a:pt x="1662" y="3158"/>
                    </a:lnTo>
                    <a:lnTo>
                      <a:pt x="1655" y="3154"/>
                    </a:lnTo>
                    <a:lnTo>
                      <a:pt x="1649" y="3150"/>
                    </a:lnTo>
                    <a:lnTo>
                      <a:pt x="1643" y="3145"/>
                    </a:lnTo>
                    <a:lnTo>
                      <a:pt x="1639" y="3140"/>
                    </a:lnTo>
                    <a:lnTo>
                      <a:pt x="1636" y="3134"/>
                    </a:lnTo>
                    <a:lnTo>
                      <a:pt x="1635" y="3128"/>
                    </a:lnTo>
                    <a:lnTo>
                      <a:pt x="1636" y="3122"/>
                    </a:lnTo>
                    <a:lnTo>
                      <a:pt x="1639" y="3116"/>
                    </a:lnTo>
                    <a:lnTo>
                      <a:pt x="1641" y="3110"/>
                    </a:lnTo>
                    <a:lnTo>
                      <a:pt x="1643" y="3104"/>
                    </a:lnTo>
                    <a:lnTo>
                      <a:pt x="1649" y="3094"/>
                    </a:lnTo>
                    <a:lnTo>
                      <a:pt x="1652" y="3084"/>
                    </a:lnTo>
                    <a:lnTo>
                      <a:pt x="1648" y="3075"/>
                    </a:lnTo>
                    <a:lnTo>
                      <a:pt x="1645" y="3063"/>
                    </a:lnTo>
                    <a:lnTo>
                      <a:pt x="1642" y="3056"/>
                    </a:lnTo>
                    <a:lnTo>
                      <a:pt x="1640" y="3047"/>
                    </a:lnTo>
                    <a:lnTo>
                      <a:pt x="1640" y="3038"/>
                    </a:lnTo>
                    <a:lnTo>
                      <a:pt x="1641" y="3027"/>
                    </a:lnTo>
                    <a:lnTo>
                      <a:pt x="1645" y="3007"/>
                    </a:lnTo>
                    <a:lnTo>
                      <a:pt x="1648" y="2995"/>
                    </a:lnTo>
                    <a:lnTo>
                      <a:pt x="1648" y="2990"/>
                    </a:lnTo>
                    <a:lnTo>
                      <a:pt x="1647" y="2987"/>
                    </a:lnTo>
                    <a:lnTo>
                      <a:pt x="1645" y="2982"/>
                    </a:lnTo>
                    <a:lnTo>
                      <a:pt x="1641" y="2978"/>
                    </a:lnTo>
                    <a:lnTo>
                      <a:pt x="1629" y="2969"/>
                    </a:lnTo>
                    <a:lnTo>
                      <a:pt x="1614" y="2958"/>
                    </a:lnTo>
                    <a:lnTo>
                      <a:pt x="1606" y="2953"/>
                    </a:lnTo>
                    <a:lnTo>
                      <a:pt x="1601" y="2949"/>
                    </a:lnTo>
                    <a:lnTo>
                      <a:pt x="1596" y="2944"/>
                    </a:lnTo>
                    <a:lnTo>
                      <a:pt x="1592" y="2940"/>
                    </a:lnTo>
                    <a:lnTo>
                      <a:pt x="1591" y="2937"/>
                    </a:lnTo>
                    <a:lnTo>
                      <a:pt x="1587" y="2934"/>
                    </a:lnTo>
                    <a:lnTo>
                      <a:pt x="1585" y="2933"/>
                    </a:lnTo>
                    <a:lnTo>
                      <a:pt x="1582" y="2932"/>
                    </a:lnTo>
                    <a:lnTo>
                      <a:pt x="1573" y="2932"/>
                    </a:lnTo>
                    <a:lnTo>
                      <a:pt x="1562" y="2932"/>
                    </a:lnTo>
                    <a:lnTo>
                      <a:pt x="1553" y="2931"/>
                    </a:lnTo>
                    <a:lnTo>
                      <a:pt x="1546" y="2930"/>
                    </a:lnTo>
                    <a:lnTo>
                      <a:pt x="1542" y="2930"/>
                    </a:lnTo>
                    <a:lnTo>
                      <a:pt x="1539" y="2930"/>
                    </a:lnTo>
                    <a:lnTo>
                      <a:pt x="1536" y="2932"/>
                    </a:lnTo>
                    <a:lnTo>
                      <a:pt x="1534" y="2936"/>
                    </a:lnTo>
                    <a:lnTo>
                      <a:pt x="1528" y="2943"/>
                    </a:lnTo>
                    <a:lnTo>
                      <a:pt x="1522" y="2947"/>
                    </a:lnTo>
                    <a:lnTo>
                      <a:pt x="1516" y="2950"/>
                    </a:lnTo>
                    <a:lnTo>
                      <a:pt x="1509" y="2951"/>
                    </a:lnTo>
                    <a:lnTo>
                      <a:pt x="1499" y="2950"/>
                    </a:lnTo>
                    <a:lnTo>
                      <a:pt x="1490" y="2949"/>
                    </a:lnTo>
                    <a:lnTo>
                      <a:pt x="1485" y="2949"/>
                    </a:lnTo>
                    <a:lnTo>
                      <a:pt x="1480" y="2949"/>
                    </a:lnTo>
                    <a:lnTo>
                      <a:pt x="1476" y="2950"/>
                    </a:lnTo>
                    <a:lnTo>
                      <a:pt x="1471" y="2952"/>
                    </a:lnTo>
                    <a:lnTo>
                      <a:pt x="1464" y="2958"/>
                    </a:lnTo>
                    <a:lnTo>
                      <a:pt x="1458" y="2963"/>
                    </a:lnTo>
                    <a:lnTo>
                      <a:pt x="1452" y="2964"/>
                    </a:lnTo>
                    <a:lnTo>
                      <a:pt x="1444" y="2964"/>
                    </a:lnTo>
                    <a:lnTo>
                      <a:pt x="1439" y="2963"/>
                    </a:lnTo>
                    <a:lnTo>
                      <a:pt x="1435" y="2959"/>
                    </a:lnTo>
                    <a:lnTo>
                      <a:pt x="1432" y="2955"/>
                    </a:lnTo>
                    <a:lnTo>
                      <a:pt x="1429" y="2949"/>
                    </a:lnTo>
                    <a:lnTo>
                      <a:pt x="1425" y="2937"/>
                    </a:lnTo>
                    <a:lnTo>
                      <a:pt x="1420" y="2926"/>
                    </a:lnTo>
                    <a:lnTo>
                      <a:pt x="1414" y="2918"/>
                    </a:lnTo>
                    <a:lnTo>
                      <a:pt x="1407" y="2906"/>
                    </a:lnTo>
                    <a:lnTo>
                      <a:pt x="1402" y="2899"/>
                    </a:lnTo>
                    <a:lnTo>
                      <a:pt x="1400" y="2890"/>
                    </a:lnTo>
                    <a:lnTo>
                      <a:pt x="1396" y="2880"/>
                    </a:lnTo>
                    <a:lnTo>
                      <a:pt x="1394" y="2867"/>
                    </a:lnTo>
                    <a:lnTo>
                      <a:pt x="1392" y="2854"/>
                    </a:lnTo>
                    <a:lnTo>
                      <a:pt x="1390" y="2842"/>
                    </a:lnTo>
                    <a:lnTo>
                      <a:pt x="1388" y="2832"/>
                    </a:lnTo>
                    <a:lnTo>
                      <a:pt x="1385" y="2825"/>
                    </a:lnTo>
                    <a:lnTo>
                      <a:pt x="1378" y="2812"/>
                    </a:lnTo>
                    <a:lnTo>
                      <a:pt x="1372" y="2805"/>
                    </a:lnTo>
                    <a:lnTo>
                      <a:pt x="1368" y="2796"/>
                    </a:lnTo>
                    <a:lnTo>
                      <a:pt x="1364" y="2788"/>
                    </a:lnTo>
                    <a:lnTo>
                      <a:pt x="1363" y="2779"/>
                    </a:lnTo>
                    <a:lnTo>
                      <a:pt x="1364" y="2770"/>
                    </a:lnTo>
                    <a:lnTo>
                      <a:pt x="1364" y="2767"/>
                    </a:lnTo>
                    <a:lnTo>
                      <a:pt x="1363" y="2763"/>
                    </a:lnTo>
                    <a:lnTo>
                      <a:pt x="1362" y="2760"/>
                    </a:lnTo>
                    <a:lnTo>
                      <a:pt x="1358" y="2755"/>
                    </a:lnTo>
                    <a:lnTo>
                      <a:pt x="1354" y="2751"/>
                    </a:lnTo>
                    <a:lnTo>
                      <a:pt x="1350" y="2748"/>
                    </a:lnTo>
                    <a:lnTo>
                      <a:pt x="1344" y="2744"/>
                    </a:lnTo>
                    <a:lnTo>
                      <a:pt x="1337" y="2741"/>
                    </a:lnTo>
                    <a:lnTo>
                      <a:pt x="1324" y="2737"/>
                    </a:lnTo>
                    <a:lnTo>
                      <a:pt x="1312" y="2732"/>
                    </a:lnTo>
                    <a:lnTo>
                      <a:pt x="1306" y="2729"/>
                    </a:lnTo>
                    <a:lnTo>
                      <a:pt x="1301" y="2725"/>
                    </a:lnTo>
                    <a:lnTo>
                      <a:pt x="1297" y="2722"/>
                    </a:lnTo>
                    <a:lnTo>
                      <a:pt x="1294" y="2717"/>
                    </a:lnTo>
                    <a:lnTo>
                      <a:pt x="1287" y="2707"/>
                    </a:lnTo>
                    <a:lnTo>
                      <a:pt x="1278" y="2698"/>
                    </a:lnTo>
                    <a:lnTo>
                      <a:pt x="1268" y="2690"/>
                    </a:lnTo>
                    <a:lnTo>
                      <a:pt x="1255" y="2684"/>
                    </a:lnTo>
                    <a:lnTo>
                      <a:pt x="1243" y="2678"/>
                    </a:lnTo>
                    <a:lnTo>
                      <a:pt x="1233" y="2672"/>
                    </a:lnTo>
                    <a:lnTo>
                      <a:pt x="1224" y="2666"/>
                    </a:lnTo>
                    <a:lnTo>
                      <a:pt x="1217" y="2659"/>
                    </a:lnTo>
                    <a:lnTo>
                      <a:pt x="1201" y="2643"/>
                    </a:lnTo>
                    <a:lnTo>
                      <a:pt x="1188" y="2634"/>
                    </a:lnTo>
                    <a:lnTo>
                      <a:pt x="1184" y="2630"/>
                    </a:lnTo>
                    <a:lnTo>
                      <a:pt x="1182" y="2628"/>
                    </a:lnTo>
                    <a:lnTo>
                      <a:pt x="1184" y="2622"/>
                    </a:lnTo>
                    <a:lnTo>
                      <a:pt x="1190" y="2615"/>
                    </a:lnTo>
                    <a:lnTo>
                      <a:pt x="1196" y="2606"/>
                    </a:lnTo>
                    <a:lnTo>
                      <a:pt x="1199" y="2600"/>
                    </a:lnTo>
                    <a:lnTo>
                      <a:pt x="1199" y="2599"/>
                    </a:lnTo>
                    <a:lnTo>
                      <a:pt x="1199" y="2597"/>
                    </a:lnTo>
                    <a:lnTo>
                      <a:pt x="1196" y="2596"/>
                    </a:lnTo>
                    <a:lnTo>
                      <a:pt x="1194" y="2596"/>
                    </a:lnTo>
                    <a:lnTo>
                      <a:pt x="1186" y="2593"/>
                    </a:lnTo>
                    <a:lnTo>
                      <a:pt x="1175" y="2592"/>
                    </a:lnTo>
                    <a:lnTo>
                      <a:pt x="1170" y="2591"/>
                    </a:lnTo>
                    <a:lnTo>
                      <a:pt x="1167" y="2588"/>
                    </a:lnTo>
                    <a:lnTo>
                      <a:pt x="1165" y="2587"/>
                    </a:lnTo>
                    <a:lnTo>
                      <a:pt x="1165" y="2585"/>
                    </a:lnTo>
                    <a:lnTo>
                      <a:pt x="1165" y="2584"/>
                    </a:lnTo>
                    <a:lnTo>
                      <a:pt x="1167" y="2581"/>
                    </a:lnTo>
                    <a:lnTo>
                      <a:pt x="1168" y="2577"/>
                    </a:lnTo>
                    <a:lnTo>
                      <a:pt x="1169" y="2571"/>
                    </a:lnTo>
                    <a:lnTo>
                      <a:pt x="1168" y="2564"/>
                    </a:lnTo>
                    <a:lnTo>
                      <a:pt x="1167" y="2556"/>
                    </a:lnTo>
                    <a:lnTo>
                      <a:pt x="1164" y="2550"/>
                    </a:lnTo>
                    <a:lnTo>
                      <a:pt x="1162" y="2543"/>
                    </a:lnTo>
                    <a:lnTo>
                      <a:pt x="1158" y="2539"/>
                    </a:lnTo>
                    <a:lnTo>
                      <a:pt x="1154" y="2534"/>
                    </a:lnTo>
                    <a:lnTo>
                      <a:pt x="1145" y="2528"/>
                    </a:lnTo>
                    <a:lnTo>
                      <a:pt x="1137" y="2520"/>
                    </a:lnTo>
                    <a:lnTo>
                      <a:pt x="1127" y="2511"/>
                    </a:lnTo>
                    <a:lnTo>
                      <a:pt x="1118" y="2503"/>
                    </a:lnTo>
                    <a:lnTo>
                      <a:pt x="1106" y="2493"/>
                    </a:lnTo>
                    <a:lnTo>
                      <a:pt x="1094" y="2483"/>
                    </a:lnTo>
                    <a:lnTo>
                      <a:pt x="1082" y="2473"/>
                    </a:lnTo>
                    <a:lnTo>
                      <a:pt x="1074" y="2467"/>
                    </a:lnTo>
                    <a:lnTo>
                      <a:pt x="1058" y="2459"/>
                    </a:lnTo>
                    <a:lnTo>
                      <a:pt x="1045" y="2452"/>
                    </a:lnTo>
                    <a:lnTo>
                      <a:pt x="1042" y="2451"/>
                    </a:lnTo>
                    <a:lnTo>
                      <a:pt x="1039" y="2449"/>
                    </a:lnTo>
                    <a:lnTo>
                      <a:pt x="1038" y="2447"/>
                    </a:lnTo>
                    <a:lnTo>
                      <a:pt x="1038" y="2445"/>
                    </a:lnTo>
                    <a:lnTo>
                      <a:pt x="1038" y="2441"/>
                    </a:lnTo>
                    <a:lnTo>
                      <a:pt x="1039" y="2438"/>
                    </a:lnTo>
                    <a:lnTo>
                      <a:pt x="1041" y="2435"/>
                    </a:lnTo>
                    <a:lnTo>
                      <a:pt x="1044" y="2432"/>
                    </a:lnTo>
                    <a:lnTo>
                      <a:pt x="1047" y="2428"/>
                    </a:lnTo>
                    <a:lnTo>
                      <a:pt x="1048" y="2423"/>
                    </a:lnTo>
                    <a:lnTo>
                      <a:pt x="1048" y="2419"/>
                    </a:lnTo>
                    <a:lnTo>
                      <a:pt x="1047" y="2414"/>
                    </a:lnTo>
                    <a:lnTo>
                      <a:pt x="1042" y="2405"/>
                    </a:lnTo>
                    <a:lnTo>
                      <a:pt x="1036" y="2397"/>
                    </a:lnTo>
                    <a:lnTo>
                      <a:pt x="1032" y="2392"/>
                    </a:lnTo>
                    <a:lnTo>
                      <a:pt x="1030" y="2389"/>
                    </a:lnTo>
                    <a:lnTo>
                      <a:pt x="1029" y="2384"/>
                    </a:lnTo>
                    <a:lnTo>
                      <a:pt x="1028" y="2379"/>
                    </a:lnTo>
                    <a:lnTo>
                      <a:pt x="1026" y="2375"/>
                    </a:lnTo>
                    <a:lnTo>
                      <a:pt x="1028" y="2369"/>
                    </a:lnTo>
                    <a:lnTo>
                      <a:pt x="1030" y="2361"/>
                    </a:lnTo>
                    <a:lnTo>
                      <a:pt x="1032" y="2354"/>
                    </a:lnTo>
                    <a:lnTo>
                      <a:pt x="1036" y="2347"/>
                    </a:lnTo>
                    <a:lnTo>
                      <a:pt x="1037" y="2341"/>
                    </a:lnTo>
                    <a:lnTo>
                      <a:pt x="1037" y="2335"/>
                    </a:lnTo>
                    <a:lnTo>
                      <a:pt x="1036" y="2332"/>
                    </a:lnTo>
                    <a:lnTo>
                      <a:pt x="1032" y="2328"/>
                    </a:lnTo>
                    <a:lnTo>
                      <a:pt x="1029" y="2325"/>
                    </a:lnTo>
                    <a:lnTo>
                      <a:pt x="1024" y="2322"/>
                    </a:lnTo>
                    <a:lnTo>
                      <a:pt x="1018" y="2321"/>
                    </a:lnTo>
                    <a:lnTo>
                      <a:pt x="1006" y="2317"/>
                    </a:lnTo>
                    <a:lnTo>
                      <a:pt x="994" y="2315"/>
                    </a:lnTo>
                    <a:lnTo>
                      <a:pt x="990" y="2313"/>
                    </a:lnTo>
                    <a:lnTo>
                      <a:pt x="984" y="2310"/>
                    </a:lnTo>
                    <a:lnTo>
                      <a:pt x="978" y="2306"/>
                    </a:lnTo>
                    <a:lnTo>
                      <a:pt x="972" y="2301"/>
                    </a:lnTo>
                    <a:lnTo>
                      <a:pt x="957" y="2291"/>
                    </a:lnTo>
                    <a:lnTo>
                      <a:pt x="944" y="2283"/>
                    </a:lnTo>
                    <a:lnTo>
                      <a:pt x="932" y="2276"/>
                    </a:lnTo>
                    <a:lnTo>
                      <a:pt x="922" y="2269"/>
                    </a:lnTo>
                    <a:lnTo>
                      <a:pt x="911" y="2262"/>
                    </a:lnTo>
                    <a:lnTo>
                      <a:pt x="899" y="2253"/>
                    </a:lnTo>
                    <a:lnTo>
                      <a:pt x="887" y="2246"/>
                    </a:lnTo>
                    <a:lnTo>
                      <a:pt x="880" y="2241"/>
                    </a:lnTo>
                    <a:lnTo>
                      <a:pt x="874" y="2240"/>
                    </a:lnTo>
                    <a:lnTo>
                      <a:pt x="867" y="2240"/>
                    </a:lnTo>
                    <a:lnTo>
                      <a:pt x="864" y="2240"/>
                    </a:lnTo>
                    <a:lnTo>
                      <a:pt x="860" y="2241"/>
                    </a:lnTo>
                    <a:lnTo>
                      <a:pt x="858" y="2244"/>
                    </a:lnTo>
                    <a:lnTo>
                      <a:pt x="855" y="2246"/>
                    </a:lnTo>
                    <a:lnTo>
                      <a:pt x="853" y="2250"/>
                    </a:lnTo>
                    <a:lnTo>
                      <a:pt x="850" y="2252"/>
                    </a:lnTo>
                    <a:lnTo>
                      <a:pt x="848" y="2253"/>
                    </a:lnTo>
                    <a:lnTo>
                      <a:pt x="846" y="2253"/>
                    </a:lnTo>
                    <a:lnTo>
                      <a:pt x="840" y="2251"/>
                    </a:lnTo>
                    <a:lnTo>
                      <a:pt x="831" y="2245"/>
                    </a:lnTo>
                    <a:lnTo>
                      <a:pt x="817" y="2233"/>
                    </a:lnTo>
                    <a:lnTo>
                      <a:pt x="809" y="2227"/>
                    </a:lnTo>
                    <a:lnTo>
                      <a:pt x="805" y="2227"/>
                    </a:lnTo>
                    <a:lnTo>
                      <a:pt x="804" y="2228"/>
                    </a:lnTo>
                    <a:lnTo>
                      <a:pt x="803" y="2233"/>
                    </a:lnTo>
                    <a:lnTo>
                      <a:pt x="801" y="2241"/>
                    </a:lnTo>
                    <a:lnTo>
                      <a:pt x="797" y="2257"/>
                    </a:lnTo>
                    <a:lnTo>
                      <a:pt x="791" y="2270"/>
                    </a:lnTo>
                    <a:lnTo>
                      <a:pt x="787" y="2278"/>
                    </a:lnTo>
                    <a:lnTo>
                      <a:pt x="783" y="2289"/>
                    </a:lnTo>
                    <a:lnTo>
                      <a:pt x="776" y="2300"/>
                    </a:lnTo>
                    <a:lnTo>
                      <a:pt x="768" y="2310"/>
                    </a:lnTo>
                    <a:lnTo>
                      <a:pt x="765" y="2315"/>
                    </a:lnTo>
                    <a:lnTo>
                      <a:pt x="761" y="2317"/>
                    </a:lnTo>
                    <a:lnTo>
                      <a:pt x="758" y="2319"/>
                    </a:lnTo>
                    <a:lnTo>
                      <a:pt x="755" y="2320"/>
                    </a:lnTo>
                    <a:lnTo>
                      <a:pt x="749" y="2320"/>
                    </a:lnTo>
                    <a:lnTo>
                      <a:pt x="743" y="2319"/>
                    </a:lnTo>
                    <a:lnTo>
                      <a:pt x="730" y="2317"/>
                    </a:lnTo>
                    <a:lnTo>
                      <a:pt x="717" y="2317"/>
                    </a:lnTo>
                    <a:lnTo>
                      <a:pt x="715" y="2319"/>
                    </a:lnTo>
                    <a:lnTo>
                      <a:pt x="714" y="2320"/>
                    </a:lnTo>
                    <a:lnTo>
                      <a:pt x="714" y="2322"/>
                    </a:lnTo>
                    <a:lnTo>
                      <a:pt x="714" y="2325"/>
                    </a:lnTo>
                    <a:lnTo>
                      <a:pt x="716" y="2332"/>
                    </a:lnTo>
                    <a:lnTo>
                      <a:pt x="720" y="2340"/>
                    </a:lnTo>
                    <a:lnTo>
                      <a:pt x="721" y="2345"/>
                    </a:lnTo>
                    <a:lnTo>
                      <a:pt x="722" y="2350"/>
                    </a:lnTo>
                    <a:lnTo>
                      <a:pt x="722" y="2353"/>
                    </a:lnTo>
                    <a:lnTo>
                      <a:pt x="722" y="2357"/>
                    </a:lnTo>
                    <a:lnTo>
                      <a:pt x="720" y="2360"/>
                    </a:lnTo>
                    <a:lnTo>
                      <a:pt x="716" y="2363"/>
                    </a:lnTo>
                    <a:lnTo>
                      <a:pt x="710" y="2366"/>
                    </a:lnTo>
                    <a:lnTo>
                      <a:pt x="703" y="2367"/>
                    </a:lnTo>
                    <a:lnTo>
                      <a:pt x="695" y="2369"/>
                    </a:lnTo>
                    <a:lnTo>
                      <a:pt x="686" y="2369"/>
                    </a:lnTo>
                    <a:lnTo>
                      <a:pt x="678" y="2366"/>
                    </a:lnTo>
                    <a:lnTo>
                      <a:pt x="671" y="2364"/>
                    </a:lnTo>
                    <a:lnTo>
                      <a:pt x="664" y="2360"/>
                    </a:lnTo>
                    <a:lnTo>
                      <a:pt x="658" y="2356"/>
                    </a:lnTo>
                    <a:lnTo>
                      <a:pt x="653" y="2351"/>
                    </a:lnTo>
                    <a:lnTo>
                      <a:pt x="650" y="2345"/>
                    </a:lnTo>
                    <a:lnTo>
                      <a:pt x="647" y="2339"/>
                    </a:lnTo>
                    <a:lnTo>
                      <a:pt x="646" y="2331"/>
                    </a:lnTo>
                    <a:lnTo>
                      <a:pt x="646" y="2321"/>
                    </a:lnTo>
                    <a:lnTo>
                      <a:pt x="646" y="2312"/>
                    </a:lnTo>
                    <a:lnTo>
                      <a:pt x="647" y="2293"/>
                    </a:lnTo>
                    <a:lnTo>
                      <a:pt x="647" y="2275"/>
                    </a:lnTo>
                    <a:lnTo>
                      <a:pt x="647" y="2268"/>
                    </a:lnTo>
                    <a:lnTo>
                      <a:pt x="646" y="2260"/>
                    </a:lnTo>
                    <a:lnTo>
                      <a:pt x="644" y="2254"/>
                    </a:lnTo>
                    <a:lnTo>
                      <a:pt x="641" y="2249"/>
                    </a:lnTo>
                    <a:lnTo>
                      <a:pt x="638" y="2244"/>
                    </a:lnTo>
                    <a:lnTo>
                      <a:pt x="634" y="2239"/>
                    </a:lnTo>
                    <a:lnTo>
                      <a:pt x="629" y="2235"/>
                    </a:lnTo>
                    <a:lnTo>
                      <a:pt x="625" y="2233"/>
                    </a:lnTo>
                    <a:lnTo>
                      <a:pt x="615" y="2228"/>
                    </a:lnTo>
                    <a:lnTo>
                      <a:pt x="606" y="2222"/>
                    </a:lnTo>
                    <a:lnTo>
                      <a:pt x="597" y="2215"/>
                    </a:lnTo>
                    <a:lnTo>
                      <a:pt x="588" y="2206"/>
                    </a:lnTo>
                    <a:lnTo>
                      <a:pt x="578" y="2193"/>
                    </a:lnTo>
                    <a:lnTo>
                      <a:pt x="568" y="2178"/>
                    </a:lnTo>
                    <a:lnTo>
                      <a:pt x="557" y="2165"/>
                    </a:lnTo>
                    <a:lnTo>
                      <a:pt x="547" y="2155"/>
                    </a:lnTo>
                    <a:lnTo>
                      <a:pt x="544" y="2151"/>
                    </a:lnTo>
                    <a:lnTo>
                      <a:pt x="541" y="2146"/>
                    </a:lnTo>
                    <a:lnTo>
                      <a:pt x="539" y="2142"/>
                    </a:lnTo>
                    <a:lnTo>
                      <a:pt x="538" y="2137"/>
                    </a:lnTo>
                    <a:lnTo>
                      <a:pt x="537" y="2132"/>
                    </a:lnTo>
                    <a:lnTo>
                      <a:pt x="534" y="2127"/>
                    </a:lnTo>
                    <a:lnTo>
                      <a:pt x="532" y="2123"/>
                    </a:lnTo>
                    <a:lnTo>
                      <a:pt x="527" y="2119"/>
                    </a:lnTo>
                    <a:lnTo>
                      <a:pt x="518" y="2114"/>
                    </a:lnTo>
                    <a:lnTo>
                      <a:pt x="505" y="2107"/>
                    </a:lnTo>
                    <a:lnTo>
                      <a:pt x="496" y="2104"/>
                    </a:lnTo>
                    <a:lnTo>
                      <a:pt x="488" y="2099"/>
                    </a:lnTo>
                    <a:lnTo>
                      <a:pt x="481" y="2094"/>
                    </a:lnTo>
                    <a:lnTo>
                      <a:pt x="472" y="2087"/>
                    </a:lnTo>
                    <a:lnTo>
                      <a:pt x="457" y="2073"/>
                    </a:lnTo>
                    <a:lnTo>
                      <a:pt x="440" y="2057"/>
                    </a:lnTo>
                    <a:lnTo>
                      <a:pt x="425" y="2041"/>
                    </a:lnTo>
                    <a:lnTo>
                      <a:pt x="413" y="2026"/>
                    </a:lnTo>
                    <a:lnTo>
                      <a:pt x="407" y="2022"/>
                    </a:lnTo>
                    <a:lnTo>
                      <a:pt x="400" y="2017"/>
                    </a:lnTo>
                    <a:lnTo>
                      <a:pt x="392" y="2014"/>
                    </a:lnTo>
                    <a:lnTo>
                      <a:pt x="383" y="2012"/>
                    </a:lnTo>
                    <a:lnTo>
                      <a:pt x="376" y="2010"/>
                    </a:lnTo>
                    <a:lnTo>
                      <a:pt x="369" y="2007"/>
                    </a:lnTo>
                    <a:lnTo>
                      <a:pt x="362" y="2005"/>
                    </a:lnTo>
                    <a:lnTo>
                      <a:pt x="357" y="2003"/>
                    </a:lnTo>
                    <a:lnTo>
                      <a:pt x="352" y="1998"/>
                    </a:lnTo>
                    <a:lnTo>
                      <a:pt x="349" y="1993"/>
                    </a:lnTo>
                    <a:lnTo>
                      <a:pt x="345" y="1986"/>
                    </a:lnTo>
                    <a:lnTo>
                      <a:pt x="342" y="1980"/>
                    </a:lnTo>
                    <a:lnTo>
                      <a:pt x="338" y="1972"/>
                    </a:lnTo>
                    <a:lnTo>
                      <a:pt x="336" y="1964"/>
                    </a:lnTo>
                    <a:lnTo>
                      <a:pt x="335" y="1956"/>
                    </a:lnTo>
                    <a:lnTo>
                      <a:pt x="335" y="1949"/>
                    </a:lnTo>
                    <a:lnTo>
                      <a:pt x="335" y="1934"/>
                    </a:lnTo>
                    <a:lnTo>
                      <a:pt x="335" y="1917"/>
                    </a:lnTo>
                    <a:lnTo>
                      <a:pt x="335" y="1909"/>
                    </a:lnTo>
                    <a:lnTo>
                      <a:pt x="332" y="1899"/>
                    </a:lnTo>
                    <a:lnTo>
                      <a:pt x="330" y="1890"/>
                    </a:lnTo>
                    <a:lnTo>
                      <a:pt x="326" y="1880"/>
                    </a:lnTo>
                    <a:lnTo>
                      <a:pt x="317" y="1861"/>
                    </a:lnTo>
                    <a:lnTo>
                      <a:pt x="306" y="1844"/>
                    </a:lnTo>
                    <a:lnTo>
                      <a:pt x="296" y="1829"/>
                    </a:lnTo>
                    <a:lnTo>
                      <a:pt x="287" y="1814"/>
                    </a:lnTo>
                    <a:lnTo>
                      <a:pt x="282" y="1808"/>
                    </a:lnTo>
                    <a:lnTo>
                      <a:pt x="277" y="1803"/>
                    </a:lnTo>
                    <a:lnTo>
                      <a:pt x="273" y="1800"/>
                    </a:lnTo>
                    <a:lnTo>
                      <a:pt x="267" y="1799"/>
                    </a:lnTo>
                    <a:lnTo>
                      <a:pt x="256" y="1799"/>
                    </a:lnTo>
                    <a:lnTo>
                      <a:pt x="247" y="1800"/>
                    </a:lnTo>
                    <a:lnTo>
                      <a:pt x="242" y="1799"/>
                    </a:lnTo>
                    <a:lnTo>
                      <a:pt x="237" y="1798"/>
                    </a:lnTo>
                    <a:lnTo>
                      <a:pt x="232" y="1795"/>
                    </a:lnTo>
                    <a:lnTo>
                      <a:pt x="226" y="1790"/>
                    </a:lnTo>
                    <a:lnTo>
                      <a:pt x="222" y="1784"/>
                    </a:lnTo>
                    <a:lnTo>
                      <a:pt x="217" y="1779"/>
                    </a:lnTo>
                    <a:lnTo>
                      <a:pt x="213" y="1773"/>
                    </a:lnTo>
                    <a:lnTo>
                      <a:pt x="210" y="1767"/>
                    </a:lnTo>
                    <a:lnTo>
                      <a:pt x="200" y="1759"/>
                    </a:lnTo>
                    <a:lnTo>
                      <a:pt x="191" y="1752"/>
                    </a:lnTo>
                    <a:lnTo>
                      <a:pt x="189" y="1741"/>
                    </a:lnTo>
                    <a:lnTo>
                      <a:pt x="188" y="1735"/>
                    </a:lnTo>
                    <a:lnTo>
                      <a:pt x="185" y="1734"/>
                    </a:lnTo>
                    <a:lnTo>
                      <a:pt x="182" y="1733"/>
                    </a:lnTo>
                    <a:lnTo>
                      <a:pt x="179" y="1733"/>
                    </a:lnTo>
                    <a:lnTo>
                      <a:pt x="174" y="1733"/>
                    </a:lnTo>
                    <a:lnTo>
                      <a:pt x="166" y="1734"/>
                    </a:lnTo>
                    <a:lnTo>
                      <a:pt x="157" y="1735"/>
                    </a:lnTo>
                    <a:lnTo>
                      <a:pt x="151" y="1736"/>
                    </a:lnTo>
                    <a:lnTo>
                      <a:pt x="148" y="1739"/>
                    </a:lnTo>
                    <a:lnTo>
                      <a:pt x="147" y="1742"/>
                    </a:lnTo>
                    <a:lnTo>
                      <a:pt x="148" y="1749"/>
                    </a:lnTo>
                    <a:lnTo>
                      <a:pt x="148" y="1753"/>
                    </a:lnTo>
                    <a:lnTo>
                      <a:pt x="147" y="1756"/>
                    </a:lnTo>
                    <a:lnTo>
                      <a:pt x="145" y="1759"/>
                    </a:lnTo>
                    <a:lnTo>
                      <a:pt x="144" y="1760"/>
                    </a:lnTo>
                    <a:lnTo>
                      <a:pt x="140" y="1761"/>
                    </a:lnTo>
                    <a:lnTo>
                      <a:pt x="132" y="1760"/>
                    </a:lnTo>
                    <a:lnTo>
                      <a:pt x="125" y="1758"/>
                    </a:lnTo>
                    <a:lnTo>
                      <a:pt x="118" y="1755"/>
                    </a:lnTo>
                    <a:lnTo>
                      <a:pt x="115" y="1753"/>
                    </a:lnTo>
                    <a:lnTo>
                      <a:pt x="112" y="1751"/>
                    </a:lnTo>
                    <a:lnTo>
                      <a:pt x="110" y="1748"/>
                    </a:lnTo>
                    <a:lnTo>
                      <a:pt x="109" y="1743"/>
                    </a:lnTo>
                    <a:lnTo>
                      <a:pt x="107" y="1736"/>
                    </a:lnTo>
                    <a:lnTo>
                      <a:pt x="104" y="1730"/>
                    </a:lnTo>
                    <a:lnTo>
                      <a:pt x="100" y="1728"/>
                    </a:lnTo>
                    <a:lnTo>
                      <a:pt x="98" y="1726"/>
                    </a:lnTo>
                    <a:lnTo>
                      <a:pt x="93" y="1724"/>
                    </a:lnTo>
                    <a:lnTo>
                      <a:pt x="88" y="1723"/>
                    </a:lnTo>
                    <a:lnTo>
                      <a:pt x="82" y="1722"/>
                    </a:lnTo>
                    <a:lnTo>
                      <a:pt x="77" y="1721"/>
                    </a:lnTo>
                    <a:lnTo>
                      <a:pt x="71" y="1718"/>
                    </a:lnTo>
                    <a:lnTo>
                      <a:pt x="63" y="1716"/>
                    </a:lnTo>
                    <a:lnTo>
                      <a:pt x="59" y="1711"/>
                    </a:lnTo>
                    <a:lnTo>
                      <a:pt x="54" y="1705"/>
                    </a:lnTo>
                    <a:lnTo>
                      <a:pt x="49" y="1698"/>
                    </a:lnTo>
                    <a:lnTo>
                      <a:pt x="47" y="1689"/>
                    </a:lnTo>
                    <a:lnTo>
                      <a:pt x="44" y="1667"/>
                    </a:lnTo>
                    <a:lnTo>
                      <a:pt x="44" y="1646"/>
                    </a:lnTo>
                    <a:lnTo>
                      <a:pt x="46" y="1626"/>
                    </a:lnTo>
                    <a:lnTo>
                      <a:pt x="44" y="1608"/>
                    </a:lnTo>
                    <a:lnTo>
                      <a:pt x="41" y="1597"/>
                    </a:lnTo>
                    <a:lnTo>
                      <a:pt x="36" y="1587"/>
                    </a:lnTo>
                    <a:lnTo>
                      <a:pt x="34" y="1577"/>
                    </a:lnTo>
                    <a:lnTo>
                      <a:pt x="33" y="1570"/>
                    </a:lnTo>
                    <a:lnTo>
                      <a:pt x="30" y="1567"/>
                    </a:lnTo>
                    <a:lnTo>
                      <a:pt x="29" y="1565"/>
                    </a:lnTo>
                    <a:lnTo>
                      <a:pt x="28" y="1564"/>
                    </a:lnTo>
                    <a:lnTo>
                      <a:pt x="25" y="1563"/>
                    </a:lnTo>
                    <a:lnTo>
                      <a:pt x="21" y="1563"/>
                    </a:lnTo>
                    <a:lnTo>
                      <a:pt x="16" y="1562"/>
                    </a:lnTo>
                    <a:lnTo>
                      <a:pt x="11" y="1559"/>
                    </a:lnTo>
                    <a:lnTo>
                      <a:pt x="8" y="1556"/>
                    </a:lnTo>
                    <a:lnTo>
                      <a:pt x="5" y="1552"/>
                    </a:lnTo>
                    <a:lnTo>
                      <a:pt x="4" y="1546"/>
                    </a:lnTo>
                    <a:lnTo>
                      <a:pt x="4" y="1538"/>
                    </a:lnTo>
                    <a:lnTo>
                      <a:pt x="6" y="1528"/>
                    </a:lnTo>
                    <a:lnTo>
                      <a:pt x="10" y="1522"/>
                    </a:lnTo>
                    <a:lnTo>
                      <a:pt x="14" y="1516"/>
                    </a:lnTo>
                    <a:lnTo>
                      <a:pt x="16" y="1513"/>
                    </a:lnTo>
                    <a:lnTo>
                      <a:pt x="17" y="1509"/>
                    </a:lnTo>
                    <a:lnTo>
                      <a:pt x="17" y="1507"/>
                    </a:lnTo>
                    <a:lnTo>
                      <a:pt x="17" y="1503"/>
                    </a:lnTo>
                    <a:lnTo>
                      <a:pt x="15" y="1495"/>
                    </a:lnTo>
                    <a:lnTo>
                      <a:pt x="14" y="1487"/>
                    </a:lnTo>
                    <a:lnTo>
                      <a:pt x="14" y="1480"/>
                    </a:lnTo>
                    <a:lnTo>
                      <a:pt x="14" y="1472"/>
                    </a:lnTo>
                    <a:lnTo>
                      <a:pt x="16" y="1468"/>
                    </a:lnTo>
                    <a:lnTo>
                      <a:pt x="18" y="1463"/>
                    </a:lnTo>
                    <a:lnTo>
                      <a:pt x="23" y="1458"/>
                    </a:lnTo>
                    <a:lnTo>
                      <a:pt x="28" y="1456"/>
                    </a:lnTo>
                    <a:lnTo>
                      <a:pt x="42" y="1451"/>
                    </a:lnTo>
                    <a:lnTo>
                      <a:pt x="54" y="1446"/>
                    </a:lnTo>
                    <a:lnTo>
                      <a:pt x="58" y="1444"/>
                    </a:lnTo>
                    <a:lnTo>
                      <a:pt x="61" y="1440"/>
                    </a:lnTo>
                    <a:lnTo>
                      <a:pt x="62" y="1437"/>
                    </a:lnTo>
                    <a:lnTo>
                      <a:pt x="62" y="1430"/>
                    </a:lnTo>
                    <a:lnTo>
                      <a:pt x="58" y="1418"/>
                    </a:lnTo>
                    <a:lnTo>
                      <a:pt x="52" y="1406"/>
                    </a:lnTo>
                    <a:lnTo>
                      <a:pt x="48" y="1399"/>
                    </a:lnTo>
                    <a:lnTo>
                      <a:pt x="44" y="1390"/>
                    </a:lnTo>
                    <a:lnTo>
                      <a:pt x="42" y="1382"/>
                    </a:lnTo>
                    <a:lnTo>
                      <a:pt x="40" y="1371"/>
                    </a:lnTo>
                    <a:lnTo>
                      <a:pt x="37" y="1361"/>
                    </a:lnTo>
                    <a:lnTo>
                      <a:pt x="36" y="1350"/>
                    </a:lnTo>
                    <a:lnTo>
                      <a:pt x="35" y="1340"/>
                    </a:lnTo>
                    <a:lnTo>
                      <a:pt x="35" y="1332"/>
                    </a:lnTo>
                    <a:lnTo>
                      <a:pt x="36" y="1324"/>
                    </a:lnTo>
                    <a:lnTo>
                      <a:pt x="39" y="1318"/>
                    </a:lnTo>
                    <a:lnTo>
                      <a:pt x="41" y="1316"/>
                    </a:lnTo>
                    <a:lnTo>
                      <a:pt x="43" y="1314"/>
                    </a:lnTo>
                    <a:lnTo>
                      <a:pt x="47" y="1312"/>
                    </a:lnTo>
                    <a:lnTo>
                      <a:pt x="49" y="1312"/>
                    </a:lnTo>
                    <a:lnTo>
                      <a:pt x="63" y="1307"/>
                    </a:lnTo>
                    <a:lnTo>
                      <a:pt x="75" y="1302"/>
                    </a:lnTo>
                    <a:lnTo>
                      <a:pt x="79" y="1300"/>
                    </a:lnTo>
                    <a:lnTo>
                      <a:pt x="82" y="1298"/>
                    </a:lnTo>
                    <a:lnTo>
                      <a:pt x="84" y="1294"/>
                    </a:lnTo>
                    <a:lnTo>
                      <a:pt x="82" y="1292"/>
                    </a:lnTo>
                    <a:lnTo>
                      <a:pt x="75" y="1286"/>
                    </a:lnTo>
                    <a:lnTo>
                      <a:pt x="66" y="1279"/>
                    </a:lnTo>
                    <a:lnTo>
                      <a:pt x="60" y="1274"/>
                    </a:lnTo>
                    <a:lnTo>
                      <a:pt x="54" y="1268"/>
                    </a:lnTo>
                    <a:lnTo>
                      <a:pt x="48" y="1262"/>
                    </a:lnTo>
                    <a:lnTo>
                      <a:pt x="43" y="1254"/>
                    </a:lnTo>
                    <a:lnTo>
                      <a:pt x="34" y="1236"/>
                    </a:lnTo>
                    <a:lnTo>
                      <a:pt x="28" y="1220"/>
                    </a:lnTo>
                    <a:lnTo>
                      <a:pt x="25" y="1212"/>
                    </a:lnTo>
                    <a:lnTo>
                      <a:pt x="23" y="1206"/>
                    </a:lnTo>
                    <a:lnTo>
                      <a:pt x="19" y="1200"/>
                    </a:lnTo>
                    <a:lnTo>
                      <a:pt x="16" y="1195"/>
                    </a:lnTo>
                    <a:lnTo>
                      <a:pt x="9" y="1188"/>
                    </a:lnTo>
                    <a:lnTo>
                      <a:pt x="3" y="1179"/>
                    </a:lnTo>
                    <a:lnTo>
                      <a:pt x="0" y="1173"/>
                    </a:lnTo>
                    <a:lnTo>
                      <a:pt x="0" y="1167"/>
                    </a:lnTo>
                    <a:lnTo>
                      <a:pt x="3" y="1161"/>
                    </a:lnTo>
                    <a:lnTo>
                      <a:pt x="6" y="1153"/>
                    </a:lnTo>
                    <a:lnTo>
                      <a:pt x="10" y="1144"/>
                    </a:lnTo>
                    <a:lnTo>
                      <a:pt x="14" y="1137"/>
                    </a:lnTo>
                    <a:lnTo>
                      <a:pt x="19" y="1134"/>
                    </a:lnTo>
                    <a:lnTo>
                      <a:pt x="24" y="1131"/>
                    </a:lnTo>
                    <a:lnTo>
                      <a:pt x="27" y="1129"/>
                    </a:lnTo>
                    <a:lnTo>
                      <a:pt x="29" y="1127"/>
                    </a:lnTo>
                    <a:lnTo>
                      <a:pt x="31" y="1122"/>
                    </a:lnTo>
                    <a:lnTo>
                      <a:pt x="33" y="1117"/>
                    </a:lnTo>
                    <a:lnTo>
                      <a:pt x="36" y="1103"/>
                    </a:lnTo>
                    <a:lnTo>
                      <a:pt x="39" y="1090"/>
                    </a:lnTo>
                    <a:lnTo>
                      <a:pt x="40" y="1084"/>
                    </a:lnTo>
                    <a:lnTo>
                      <a:pt x="41" y="1078"/>
                    </a:lnTo>
                    <a:lnTo>
                      <a:pt x="41" y="1071"/>
                    </a:lnTo>
                    <a:lnTo>
                      <a:pt x="40" y="1064"/>
                    </a:lnTo>
                    <a:lnTo>
                      <a:pt x="36" y="1046"/>
                    </a:lnTo>
                    <a:lnTo>
                      <a:pt x="35" y="1028"/>
                    </a:lnTo>
                    <a:lnTo>
                      <a:pt x="35" y="1020"/>
                    </a:lnTo>
                    <a:lnTo>
                      <a:pt x="36" y="1011"/>
                    </a:lnTo>
                    <a:lnTo>
                      <a:pt x="40" y="1005"/>
                    </a:lnTo>
                    <a:lnTo>
                      <a:pt x="44" y="999"/>
                    </a:lnTo>
                    <a:lnTo>
                      <a:pt x="50" y="997"/>
                    </a:lnTo>
                    <a:lnTo>
                      <a:pt x="58" y="995"/>
                    </a:lnTo>
                    <a:lnTo>
                      <a:pt x="65" y="995"/>
                    </a:lnTo>
                    <a:lnTo>
                      <a:pt x="73" y="993"/>
                    </a:lnTo>
                    <a:lnTo>
                      <a:pt x="80" y="993"/>
                    </a:lnTo>
                    <a:lnTo>
                      <a:pt x="90" y="993"/>
                    </a:lnTo>
                    <a:lnTo>
                      <a:pt x="98" y="992"/>
                    </a:lnTo>
                    <a:lnTo>
                      <a:pt x="107" y="990"/>
                    </a:lnTo>
                    <a:lnTo>
                      <a:pt x="125" y="983"/>
                    </a:lnTo>
                    <a:lnTo>
                      <a:pt x="142" y="978"/>
                    </a:lnTo>
                    <a:lnTo>
                      <a:pt x="149" y="977"/>
                    </a:lnTo>
                    <a:lnTo>
                      <a:pt x="156" y="976"/>
                    </a:lnTo>
                    <a:lnTo>
                      <a:pt x="161" y="977"/>
                    </a:lnTo>
                    <a:lnTo>
                      <a:pt x="165" y="980"/>
                    </a:lnTo>
                    <a:lnTo>
                      <a:pt x="169" y="989"/>
                    </a:lnTo>
                    <a:lnTo>
                      <a:pt x="172" y="997"/>
                    </a:lnTo>
                    <a:lnTo>
                      <a:pt x="172" y="1001"/>
                    </a:lnTo>
                    <a:lnTo>
                      <a:pt x="172" y="1005"/>
                    </a:lnTo>
                    <a:lnTo>
                      <a:pt x="170" y="1009"/>
                    </a:lnTo>
                    <a:lnTo>
                      <a:pt x="168" y="1014"/>
                    </a:lnTo>
                    <a:lnTo>
                      <a:pt x="163" y="1024"/>
                    </a:lnTo>
                    <a:lnTo>
                      <a:pt x="160" y="1041"/>
                    </a:lnTo>
                    <a:lnTo>
                      <a:pt x="157" y="1059"/>
                    </a:lnTo>
                    <a:lnTo>
                      <a:pt x="156" y="1073"/>
                    </a:lnTo>
                    <a:lnTo>
                      <a:pt x="156" y="1079"/>
                    </a:lnTo>
                    <a:lnTo>
                      <a:pt x="156" y="1084"/>
                    </a:lnTo>
                    <a:lnTo>
                      <a:pt x="157" y="1088"/>
                    </a:lnTo>
                    <a:lnTo>
                      <a:pt x="160" y="1093"/>
                    </a:lnTo>
                    <a:lnTo>
                      <a:pt x="163" y="1100"/>
                    </a:lnTo>
                    <a:lnTo>
                      <a:pt x="169" y="1106"/>
                    </a:lnTo>
                    <a:lnTo>
                      <a:pt x="175" y="1116"/>
                    </a:lnTo>
                    <a:lnTo>
                      <a:pt x="182" y="1128"/>
                    </a:lnTo>
                    <a:lnTo>
                      <a:pt x="187" y="1134"/>
                    </a:lnTo>
                    <a:lnTo>
                      <a:pt x="193" y="1137"/>
                    </a:lnTo>
                    <a:lnTo>
                      <a:pt x="199" y="1141"/>
                    </a:lnTo>
                    <a:lnTo>
                      <a:pt x="207" y="1142"/>
                    </a:lnTo>
                    <a:lnTo>
                      <a:pt x="224" y="1144"/>
                    </a:lnTo>
                    <a:lnTo>
                      <a:pt x="239" y="1148"/>
                    </a:lnTo>
                    <a:lnTo>
                      <a:pt x="247" y="1149"/>
                    </a:lnTo>
                    <a:lnTo>
                      <a:pt x="252" y="1149"/>
                    </a:lnTo>
                    <a:lnTo>
                      <a:pt x="255" y="1149"/>
                    </a:lnTo>
                    <a:lnTo>
                      <a:pt x="256" y="1148"/>
                    </a:lnTo>
                    <a:lnTo>
                      <a:pt x="258" y="1147"/>
                    </a:lnTo>
                    <a:lnTo>
                      <a:pt x="258" y="1143"/>
                    </a:lnTo>
                    <a:lnTo>
                      <a:pt x="262" y="1134"/>
                    </a:lnTo>
                    <a:lnTo>
                      <a:pt x="264" y="1125"/>
                    </a:lnTo>
                    <a:lnTo>
                      <a:pt x="266" y="1122"/>
                    </a:lnTo>
                    <a:lnTo>
                      <a:pt x="269" y="1119"/>
                    </a:lnTo>
                    <a:lnTo>
                      <a:pt x="274" y="1117"/>
                    </a:lnTo>
                    <a:lnTo>
                      <a:pt x="280" y="1116"/>
                    </a:lnTo>
                    <a:lnTo>
                      <a:pt x="291" y="1112"/>
                    </a:lnTo>
                    <a:lnTo>
                      <a:pt x="302" y="1108"/>
                    </a:lnTo>
                    <a:lnTo>
                      <a:pt x="313" y="1105"/>
                    </a:lnTo>
                    <a:lnTo>
                      <a:pt x="323" y="1102"/>
                    </a:lnTo>
                    <a:lnTo>
                      <a:pt x="327" y="1099"/>
                    </a:lnTo>
                    <a:lnTo>
                      <a:pt x="332" y="1097"/>
                    </a:lnTo>
                    <a:lnTo>
                      <a:pt x="336" y="1094"/>
                    </a:lnTo>
                    <a:lnTo>
                      <a:pt x="339" y="1090"/>
                    </a:lnTo>
                    <a:lnTo>
                      <a:pt x="344" y="1083"/>
                    </a:lnTo>
                    <a:lnTo>
                      <a:pt x="346" y="1075"/>
                    </a:lnTo>
                    <a:lnTo>
                      <a:pt x="350" y="1067"/>
                    </a:lnTo>
                    <a:lnTo>
                      <a:pt x="351" y="1060"/>
                    </a:lnTo>
                    <a:lnTo>
                      <a:pt x="355" y="1046"/>
                    </a:lnTo>
                    <a:lnTo>
                      <a:pt x="358" y="1034"/>
                    </a:lnTo>
                    <a:lnTo>
                      <a:pt x="359" y="1028"/>
                    </a:lnTo>
                    <a:lnTo>
                      <a:pt x="361" y="1023"/>
                    </a:lnTo>
                    <a:lnTo>
                      <a:pt x="361" y="1017"/>
                    </a:lnTo>
                    <a:lnTo>
                      <a:pt x="359" y="1010"/>
                    </a:lnTo>
                    <a:lnTo>
                      <a:pt x="357" y="999"/>
                    </a:lnTo>
                    <a:lnTo>
                      <a:pt x="355" y="992"/>
                    </a:lnTo>
                    <a:lnTo>
                      <a:pt x="355" y="984"/>
                    </a:lnTo>
                    <a:lnTo>
                      <a:pt x="357" y="970"/>
                    </a:lnTo>
                    <a:lnTo>
                      <a:pt x="361" y="954"/>
                    </a:lnTo>
                    <a:lnTo>
                      <a:pt x="363" y="939"/>
                    </a:lnTo>
                    <a:lnTo>
                      <a:pt x="365" y="924"/>
                    </a:lnTo>
                    <a:lnTo>
                      <a:pt x="367" y="913"/>
                    </a:lnTo>
                    <a:lnTo>
                      <a:pt x="367" y="907"/>
                    </a:lnTo>
                    <a:lnTo>
                      <a:pt x="365" y="900"/>
                    </a:lnTo>
                    <a:lnTo>
                      <a:pt x="364" y="892"/>
                    </a:lnTo>
                    <a:lnTo>
                      <a:pt x="362" y="883"/>
                    </a:lnTo>
                    <a:lnTo>
                      <a:pt x="361" y="877"/>
                    </a:lnTo>
                    <a:lnTo>
                      <a:pt x="361" y="869"/>
                    </a:lnTo>
                    <a:lnTo>
                      <a:pt x="362" y="860"/>
                    </a:lnTo>
                    <a:lnTo>
                      <a:pt x="364" y="852"/>
                    </a:lnTo>
                    <a:lnTo>
                      <a:pt x="369" y="835"/>
                    </a:lnTo>
                    <a:lnTo>
                      <a:pt x="370" y="821"/>
                    </a:lnTo>
                    <a:lnTo>
                      <a:pt x="368" y="814"/>
                    </a:lnTo>
                    <a:lnTo>
                      <a:pt x="364" y="808"/>
                    </a:lnTo>
                    <a:lnTo>
                      <a:pt x="359" y="803"/>
                    </a:lnTo>
                    <a:lnTo>
                      <a:pt x="357" y="798"/>
                    </a:lnTo>
                    <a:lnTo>
                      <a:pt x="352" y="785"/>
                    </a:lnTo>
                    <a:lnTo>
                      <a:pt x="350" y="770"/>
                    </a:lnTo>
                    <a:lnTo>
                      <a:pt x="348" y="753"/>
                    </a:lnTo>
                    <a:lnTo>
                      <a:pt x="343" y="739"/>
                    </a:lnTo>
                    <a:lnTo>
                      <a:pt x="336" y="724"/>
                    </a:lnTo>
                    <a:lnTo>
                      <a:pt x="324" y="703"/>
                    </a:lnTo>
                    <a:lnTo>
                      <a:pt x="313" y="684"/>
                    </a:lnTo>
                    <a:lnTo>
                      <a:pt x="306" y="671"/>
                    </a:lnTo>
                    <a:lnTo>
                      <a:pt x="301" y="652"/>
                    </a:lnTo>
                    <a:lnTo>
                      <a:pt x="295" y="638"/>
                    </a:lnTo>
                    <a:lnTo>
                      <a:pt x="293" y="634"/>
                    </a:lnTo>
                    <a:lnTo>
                      <a:pt x="291" y="627"/>
                    </a:lnTo>
                    <a:lnTo>
                      <a:pt x="291" y="623"/>
                    </a:lnTo>
                    <a:lnTo>
                      <a:pt x="291" y="617"/>
                    </a:lnTo>
                    <a:lnTo>
                      <a:pt x="292" y="612"/>
                    </a:lnTo>
                    <a:lnTo>
                      <a:pt x="294" y="606"/>
                    </a:lnTo>
                    <a:lnTo>
                      <a:pt x="291" y="589"/>
                    </a:lnTo>
                    <a:lnTo>
                      <a:pt x="286" y="573"/>
                    </a:lnTo>
                    <a:lnTo>
                      <a:pt x="288" y="568"/>
                    </a:lnTo>
                    <a:lnTo>
                      <a:pt x="293" y="564"/>
                    </a:lnTo>
                    <a:lnTo>
                      <a:pt x="299" y="562"/>
                    </a:lnTo>
                    <a:lnTo>
                      <a:pt x="305" y="560"/>
                    </a:lnTo>
                    <a:lnTo>
                      <a:pt x="311" y="557"/>
                    </a:lnTo>
                    <a:lnTo>
                      <a:pt x="315" y="556"/>
                    </a:lnTo>
                    <a:lnTo>
                      <a:pt x="320" y="554"/>
                    </a:lnTo>
                    <a:lnTo>
                      <a:pt x="323" y="551"/>
                    </a:lnTo>
                    <a:lnTo>
                      <a:pt x="326" y="541"/>
                    </a:lnTo>
                    <a:lnTo>
                      <a:pt x="327" y="532"/>
                    </a:lnTo>
                    <a:lnTo>
                      <a:pt x="330" y="523"/>
                    </a:lnTo>
                    <a:lnTo>
                      <a:pt x="333" y="507"/>
                    </a:lnTo>
                    <a:lnTo>
                      <a:pt x="337" y="488"/>
                    </a:lnTo>
                    <a:lnTo>
                      <a:pt x="340" y="470"/>
                    </a:lnTo>
                    <a:lnTo>
                      <a:pt x="342" y="454"/>
                    </a:lnTo>
                    <a:lnTo>
                      <a:pt x="339" y="443"/>
                    </a:lnTo>
                    <a:lnTo>
                      <a:pt x="335" y="430"/>
                    </a:lnTo>
                    <a:lnTo>
                      <a:pt x="330" y="412"/>
                    </a:lnTo>
                    <a:lnTo>
                      <a:pt x="329" y="404"/>
                    </a:lnTo>
                    <a:lnTo>
                      <a:pt x="330" y="397"/>
                    </a:lnTo>
                    <a:lnTo>
                      <a:pt x="331" y="394"/>
                    </a:lnTo>
                    <a:lnTo>
                      <a:pt x="333" y="392"/>
                    </a:lnTo>
                    <a:lnTo>
                      <a:pt x="337" y="391"/>
                    </a:lnTo>
                    <a:lnTo>
                      <a:pt x="342" y="390"/>
                    </a:lnTo>
                    <a:lnTo>
                      <a:pt x="361" y="391"/>
                    </a:lnTo>
                    <a:lnTo>
                      <a:pt x="380" y="391"/>
                    </a:lnTo>
                    <a:lnTo>
                      <a:pt x="389" y="390"/>
                    </a:lnTo>
                    <a:lnTo>
                      <a:pt x="398" y="388"/>
                    </a:lnTo>
                    <a:lnTo>
                      <a:pt x="407" y="386"/>
                    </a:lnTo>
                    <a:lnTo>
                      <a:pt x="415" y="384"/>
                    </a:lnTo>
                    <a:lnTo>
                      <a:pt x="422" y="380"/>
                    </a:lnTo>
                    <a:lnTo>
                      <a:pt x="430" y="377"/>
                    </a:lnTo>
                    <a:lnTo>
                      <a:pt x="437" y="372"/>
                    </a:lnTo>
                    <a:lnTo>
                      <a:pt x="441" y="367"/>
                    </a:lnTo>
                    <a:lnTo>
                      <a:pt x="447" y="362"/>
                    </a:lnTo>
                    <a:lnTo>
                      <a:pt x="451" y="355"/>
                    </a:lnTo>
                    <a:lnTo>
                      <a:pt x="456" y="349"/>
                    </a:lnTo>
                    <a:lnTo>
                      <a:pt x="459" y="341"/>
                    </a:lnTo>
                    <a:lnTo>
                      <a:pt x="463" y="335"/>
                    </a:lnTo>
                    <a:lnTo>
                      <a:pt x="468" y="331"/>
                    </a:lnTo>
                    <a:lnTo>
                      <a:pt x="471" y="330"/>
                    </a:lnTo>
                    <a:lnTo>
                      <a:pt x="476" y="329"/>
                    </a:lnTo>
                    <a:lnTo>
                      <a:pt x="480" y="329"/>
                    </a:lnTo>
                    <a:lnTo>
                      <a:pt x="484" y="329"/>
                    </a:lnTo>
                    <a:lnTo>
                      <a:pt x="488" y="328"/>
                    </a:lnTo>
                    <a:lnTo>
                      <a:pt x="490" y="325"/>
                    </a:lnTo>
                    <a:lnTo>
                      <a:pt x="495" y="319"/>
                    </a:lnTo>
                    <a:lnTo>
                      <a:pt x="496" y="316"/>
                    </a:lnTo>
                    <a:lnTo>
                      <a:pt x="497" y="312"/>
                    </a:lnTo>
                    <a:lnTo>
                      <a:pt x="503" y="308"/>
                    </a:lnTo>
                    <a:lnTo>
                      <a:pt x="508" y="304"/>
                    </a:lnTo>
                    <a:lnTo>
                      <a:pt x="513" y="300"/>
                    </a:lnTo>
                    <a:lnTo>
                      <a:pt x="519" y="297"/>
                    </a:lnTo>
                    <a:lnTo>
                      <a:pt x="525" y="296"/>
                    </a:lnTo>
                    <a:lnTo>
                      <a:pt x="529" y="295"/>
                    </a:lnTo>
                    <a:lnTo>
                      <a:pt x="535" y="295"/>
                    </a:lnTo>
                    <a:lnTo>
                      <a:pt x="540" y="297"/>
                    </a:lnTo>
                    <a:lnTo>
                      <a:pt x="545" y="299"/>
                    </a:lnTo>
                    <a:lnTo>
                      <a:pt x="554" y="305"/>
                    </a:lnTo>
                    <a:lnTo>
                      <a:pt x="565" y="310"/>
                    </a:lnTo>
                    <a:lnTo>
                      <a:pt x="578" y="315"/>
                    </a:lnTo>
                    <a:lnTo>
                      <a:pt x="591" y="318"/>
                    </a:lnTo>
                    <a:lnTo>
                      <a:pt x="619" y="323"/>
                    </a:lnTo>
                    <a:lnTo>
                      <a:pt x="642" y="327"/>
                    </a:lnTo>
                    <a:lnTo>
                      <a:pt x="659" y="328"/>
                    </a:lnTo>
                    <a:lnTo>
                      <a:pt x="669" y="328"/>
                    </a:lnTo>
                    <a:lnTo>
                      <a:pt x="672" y="328"/>
                    </a:lnTo>
                    <a:lnTo>
                      <a:pt x="676" y="329"/>
                    </a:lnTo>
                    <a:lnTo>
                      <a:pt x="679" y="330"/>
                    </a:lnTo>
                    <a:lnTo>
                      <a:pt x="684" y="333"/>
                    </a:lnTo>
                    <a:lnTo>
                      <a:pt x="692" y="340"/>
                    </a:lnTo>
                    <a:lnTo>
                      <a:pt x="701" y="343"/>
                    </a:lnTo>
                    <a:lnTo>
                      <a:pt x="704" y="346"/>
                    </a:lnTo>
                    <a:lnTo>
                      <a:pt x="709" y="347"/>
                    </a:lnTo>
                    <a:lnTo>
                      <a:pt x="715" y="347"/>
                    </a:lnTo>
                    <a:lnTo>
                      <a:pt x="721" y="347"/>
                    </a:lnTo>
                    <a:lnTo>
                      <a:pt x="733" y="347"/>
                    </a:lnTo>
                    <a:lnTo>
                      <a:pt x="742" y="347"/>
                    </a:lnTo>
                    <a:lnTo>
                      <a:pt x="751" y="348"/>
                    </a:lnTo>
                    <a:lnTo>
                      <a:pt x="761" y="348"/>
                    </a:lnTo>
                    <a:lnTo>
                      <a:pt x="767" y="349"/>
                    </a:lnTo>
                    <a:lnTo>
                      <a:pt x="773" y="349"/>
                    </a:lnTo>
                    <a:lnTo>
                      <a:pt x="778" y="348"/>
                    </a:lnTo>
                    <a:lnTo>
                      <a:pt x="783" y="347"/>
                    </a:lnTo>
                    <a:lnTo>
                      <a:pt x="787" y="344"/>
                    </a:lnTo>
                    <a:lnTo>
                      <a:pt x="791" y="340"/>
                    </a:lnTo>
                    <a:lnTo>
                      <a:pt x="795" y="334"/>
                    </a:lnTo>
                    <a:lnTo>
                      <a:pt x="798" y="325"/>
                    </a:lnTo>
                    <a:lnTo>
                      <a:pt x="804" y="309"/>
                    </a:lnTo>
                    <a:lnTo>
                      <a:pt x="810" y="297"/>
                    </a:lnTo>
                    <a:lnTo>
                      <a:pt x="817" y="287"/>
                    </a:lnTo>
                    <a:lnTo>
                      <a:pt x="823" y="278"/>
                    </a:lnTo>
                    <a:lnTo>
                      <a:pt x="829" y="268"/>
                    </a:lnTo>
                    <a:lnTo>
                      <a:pt x="834" y="260"/>
                    </a:lnTo>
                    <a:lnTo>
                      <a:pt x="837" y="251"/>
                    </a:lnTo>
                    <a:lnTo>
                      <a:pt x="841" y="241"/>
                    </a:lnTo>
                    <a:lnTo>
                      <a:pt x="842" y="230"/>
                    </a:lnTo>
                    <a:lnTo>
                      <a:pt x="843" y="220"/>
                    </a:lnTo>
                    <a:lnTo>
                      <a:pt x="844" y="216"/>
                    </a:lnTo>
                    <a:lnTo>
                      <a:pt x="847" y="211"/>
                    </a:lnTo>
                    <a:lnTo>
                      <a:pt x="852" y="208"/>
                    </a:lnTo>
                    <a:lnTo>
                      <a:pt x="858" y="204"/>
                    </a:lnTo>
                    <a:lnTo>
                      <a:pt x="865" y="202"/>
                    </a:lnTo>
                    <a:lnTo>
                      <a:pt x="872" y="203"/>
                    </a:lnTo>
                    <a:lnTo>
                      <a:pt x="878" y="204"/>
                    </a:lnTo>
                    <a:lnTo>
                      <a:pt x="884" y="207"/>
                    </a:lnTo>
                    <a:lnTo>
                      <a:pt x="888" y="208"/>
                    </a:lnTo>
                    <a:lnTo>
                      <a:pt x="892" y="208"/>
                    </a:lnTo>
                    <a:lnTo>
                      <a:pt x="894" y="207"/>
                    </a:lnTo>
                    <a:lnTo>
                      <a:pt x="896" y="205"/>
                    </a:lnTo>
                    <a:lnTo>
                      <a:pt x="896" y="203"/>
                    </a:lnTo>
                    <a:lnTo>
                      <a:pt x="897" y="199"/>
                    </a:lnTo>
                    <a:lnTo>
                      <a:pt x="898" y="184"/>
                    </a:lnTo>
                    <a:lnTo>
                      <a:pt x="902" y="170"/>
                    </a:lnTo>
                    <a:lnTo>
                      <a:pt x="905" y="163"/>
                    </a:lnTo>
                    <a:lnTo>
                      <a:pt x="909" y="157"/>
                    </a:lnTo>
                    <a:lnTo>
                      <a:pt x="915" y="151"/>
                    </a:lnTo>
                    <a:lnTo>
                      <a:pt x="921" y="146"/>
                    </a:lnTo>
                    <a:lnTo>
                      <a:pt x="937" y="136"/>
                    </a:lnTo>
                    <a:lnTo>
                      <a:pt x="956" y="126"/>
                    </a:lnTo>
                    <a:lnTo>
                      <a:pt x="976" y="115"/>
                    </a:lnTo>
                    <a:lnTo>
                      <a:pt x="995" y="103"/>
                    </a:lnTo>
                    <a:lnTo>
                      <a:pt x="1013" y="94"/>
                    </a:lnTo>
                    <a:lnTo>
                      <a:pt x="1025" y="87"/>
                    </a:lnTo>
                    <a:lnTo>
                      <a:pt x="1029" y="82"/>
                    </a:lnTo>
                    <a:lnTo>
                      <a:pt x="1031" y="78"/>
                    </a:lnTo>
                    <a:lnTo>
                      <a:pt x="1031" y="73"/>
                    </a:lnTo>
                    <a:lnTo>
                      <a:pt x="1030" y="67"/>
                    </a:lnTo>
                    <a:lnTo>
                      <a:pt x="1028" y="60"/>
                    </a:lnTo>
                    <a:lnTo>
                      <a:pt x="1026" y="54"/>
                    </a:lnTo>
                    <a:lnTo>
                      <a:pt x="1026" y="50"/>
                    </a:lnTo>
                    <a:lnTo>
                      <a:pt x="1028" y="45"/>
                    </a:lnTo>
                    <a:lnTo>
                      <a:pt x="1029" y="40"/>
                    </a:lnTo>
                    <a:lnTo>
                      <a:pt x="1032" y="35"/>
                    </a:lnTo>
                    <a:lnTo>
                      <a:pt x="1037" y="32"/>
                    </a:lnTo>
                    <a:lnTo>
                      <a:pt x="1043" y="28"/>
                    </a:lnTo>
                    <a:lnTo>
                      <a:pt x="1055" y="24"/>
                    </a:lnTo>
                    <a:lnTo>
                      <a:pt x="1066" y="21"/>
                    </a:lnTo>
                    <a:lnTo>
                      <a:pt x="1076" y="16"/>
                    </a:lnTo>
                    <a:lnTo>
                      <a:pt x="1091" y="9"/>
                    </a:lnTo>
                    <a:lnTo>
                      <a:pt x="1099" y="4"/>
                    </a:lnTo>
                    <a:lnTo>
                      <a:pt x="1107" y="1"/>
                    </a:lnTo>
                    <a:lnTo>
                      <a:pt x="1113" y="0"/>
                    </a:lnTo>
                    <a:lnTo>
                      <a:pt x="1119" y="0"/>
                    </a:lnTo>
                    <a:lnTo>
                      <a:pt x="1124" y="2"/>
                    </a:lnTo>
                    <a:lnTo>
                      <a:pt x="1127" y="4"/>
                    </a:lnTo>
                    <a:lnTo>
                      <a:pt x="1130" y="9"/>
                    </a:lnTo>
                    <a:lnTo>
                      <a:pt x="1130" y="15"/>
                    </a:lnTo>
                    <a:lnTo>
                      <a:pt x="1130" y="26"/>
                    </a:lnTo>
                    <a:lnTo>
                      <a:pt x="1130" y="34"/>
                    </a:lnTo>
                    <a:lnTo>
                      <a:pt x="1130" y="38"/>
                    </a:lnTo>
                    <a:lnTo>
                      <a:pt x="1132" y="40"/>
                    </a:lnTo>
                    <a:lnTo>
                      <a:pt x="1135" y="41"/>
                    </a:lnTo>
                    <a:lnTo>
                      <a:pt x="1139" y="43"/>
                    </a:lnTo>
                    <a:lnTo>
                      <a:pt x="1148" y="46"/>
                    </a:lnTo>
                    <a:lnTo>
                      <a:pt x="1157" y="51"/>
                    </a:lnTo>
                    <a:lnTo>
                      <a:pt x="1165" y="58"/>
                    </a:lnTo>
                    <a:lnTo>
                      <a:pt x="1174" y="69"/>
                    </a:lnTo>
                    <a:lnTo>
                      <a:pt x="1177" y="75"/>
                    </a:lnTo>
                    <a:lnTo>
                      <a:pt x="1181" y="78"/>
                    </a:lnTo>
                    <a:lnTo>
                      <a:pt x="1184" y="82"/>
                    </a:lnTo>
                    <a:lnTo>
                      <a:pt x="1188" y="85"/>
                    </a:lnTo>
                    <a:lnTo>
                      <a:pt x="1193" y="87"/>
                    </a:lnTo>
                    <a:lnTo>
                      <a:pt x="1196" y="88"/>
                    </a:lnTo>
                    <a:lnTo>
                      <a:pt x="1201" y="89"/>
                    </a:lnTo>
                    <a:lnTo>
                      <a:pt x="1206" y="89"/>
                    </a:lnTo>
                    <a:lnTo>
                      <a:pt x="1217" y="90"/>
                    </a:lnTo>
                    <a:lnTo>
                      <a:pt x="1225" y="91"/>
                    </a:lnTo>
                    <a:lnTo>
                      <a:pt x="1234" y="96"/>
                    </a:lnTo>
                    <a:lnTo>
                      <a:pt x="1247" y="104"/>
                    </a:lnTo>
                    <a:lnTo>
                      <a:pt x="1261" y="115"/>
                    </a:lnTo>
                    <a:lnTo>
                      <a:pt x="1274" y="123"/>
                    </a:lnTo>
                    <a:lnTo>
                      <a:pt x="1280" y="125"/>
                    </a:lnTo>
                    <a:lnTo>
                      <a:pt x="1284" y="126"/>
                    </a:lnTo>
                    <a:lnTo>
                      <a:pt x="1287" y="125"/>
                    </a:lnTo>
                    <a:lnTo>
                      <a:pt x="1288" y="123"/>
                    </a:lnTo>
                    <a:lnTo>
                      <a:pt x="1290" y="122"/>
                    </a:lnTo>
                    <a:lnTo>
                      <a:pt x="1291" y="120"/>
                    </a:lnTo>
                    <a:lnTo>
                      <a:pt x="1293" y="114"/>
                    </a:lnTo>
                    <a:lnTo>
                      <a:pt x="1294" y="108"/>
                    </a:lnTo>
                    <a:lnTo>
                      <a:pt x="1294" y="103"/>
                    </a:lnTo>
                    <a:lnTo>
                      <a:pt x="1294" y="98"/>
                    </a:lnTo>
                    <a:lnTo>
                      <a:pt x="1294" y="94"/>
                    </a:lnTo>
                    <a:lnTo>
                      <a:pt x="1295" y="90"/>
                    </a:lnTo>
                    <a:lnTo>
                      <a:pt x="1296" y="89"/>
                    </a:lnTo>
                    <a:lnTo>
                      <a:pt x="1299" y="88"/>
                    </a:lnTo>
                    <a:lnTo>
                      <a:pt x="1302" y="88"/>
                    </a:lnTo>
                    <a:lnTo>
                      <a:pt x="1307" y="90"/>
                    </a:lnTo>
                    <a:lnTo>
                      <a:pt x="1310" y="95"/>
                    </a:lnTo>
                    <a:lnTo>
                      <a:pt x="1315" y="100"/>
                    </a:lnTo>
                    <a:lnTo>
                      <a:pt x="1325" y="111"/>
                    </a:lnTo>
                    <a:lnTo>
                      <a:pt x="1334" y="122"/>
                    </a:lnTo>
                    <a:lnTo>
                      <a:pt x="1340" y="127"/>
                    </a:lnTo>
                    <a:lnTo>
                      <a:pt x="1346" y="129"/>
                    </a:lnTo>
                    <a:lnTo>
                      <a:pt x="1352" y="132"/>
                    </a:lnTo>
                    <a:lnTo>
                      <a:pt x="1359" y="134"/>
                    </a:lnTo>
                    <a:lnTo>
                      <a:pt x="1372" y="135"/>
                    </a:lnTo>
                    <a:lnTo>
                      <a:pt x="1385" y="136"/>
                    </a:lnTo>
                    <a:lnTo>
                      <a:pt x="1398" y="136"/>
                    </a:lnTo>
                    <a:lnTo>
                      <a:pt x="1413" y="139"/>
                    </a:lnTo>
                    <a:lnTo>
                      <a:pt x="1419" y="141"/>
                    </a:lnTo>
                    <a:lnTo>
                      <a:pt x="1425" y="145"/>
                    </a:lnTo>
                    <a:lnTo>
                      <a:pt x="1428" y="148"/>
                    </a:lnTo>
                    <a:lnTo>
                      <a:pt x="1431" y="154"/>
                    </a:lnTo>
                    <a:lnTo>
                      <a:pt x="1434" y="167"/>
                    </a:lnTo>
                    <a:lnTo>
                      <a:pt x="1438" y="180"/>
                    </a:lnTo>
                    <a:lnTo>
                      <a:pt x="1440" y="186"/>
                    </a:lnTo>
                    <a:lnTo>
                      <a:pt x="1442" y="191"/>
                    </a:lnTo>
                    <a:lnTo>
                      <a:pt x="1446" y="196"/>
                    </a:lnTo>
                    <a:lnTo>
                      <a:pt x="1450" y="199"/>
                    </a:lnTo>
                    <a:lnTo>
                      <a:pt x="1456" y="203"/>
                    </a:lnTo>
                    <a:lnTo>
                      <a:pt x="1463" y="207"/>
                    </a:lnTo>
                    <a:lnTo>
                      <a:pt x="1470" y="209"/>
                    </a:lnTo>
                    <a:lnTo>
                      <a:pt x="1479" y="211"/>
                    </a:lnTo>
                    <a:lnTo>
                      <a:pt x="1498" y="215"/>
                    </a:lnTo>
                    <a:lnTo>
                      <a:pt x="1516" y="218"/>
                    </a:lnTo>
                    <a:lnTo>
                      <a:pt x="1533" y="221"/>
                    </a:lnTo>
                    <a:lnTo>
                      <a:pt x="1547" y="222"/>
                    </a:lnTo>
                    <a:lnTo>
                      <a:pt x="1553" y="221"/>
                    </a:lnTo>
                    <a:lnTo>
                      <a:pt x="1559" y="220"/>
                    </a:lnTo>
                    <a:lnTo>
                      <a:pt x="1565" y="217"/>
                    </a:lnTo>
                    <a:lnTo>
                      <a:pt x="1571" y="215"/>
                    </a:lnTo>
                    <a:lnTo>
                      <a:pt x="1580" y="208"/>
                    </a:lnTo>
                    <a:lnTo>
                      <a:pt x="1589" y="205"/>
                    </a:lnTo>
                    <a:lnTo>
                      <a:pt x="1596" y="204"/>
                    </a:lnTo>
                    <a:lnTo>
                      <a:pt x="1604" y="204"/>
                    </a:lnTo>
                    <a:lnTo>
                      <a:pt x="1612" y="205"/>
                    </a:lnTo>
                    <a:lnTo>
                      <a:pt x="1620" y="204"/>
                    </a:lnTo>
                    <a:lnTo>
                      <a:pt x="1622" y="203"/>
                    </a:lnTo>
                    <a:lnTo>
                      <a:pt x="1624" y="199"/>
                    </a:lnTo>
                    <a:lnTo>
                      <a:pt x="1627" y="196"/>
                    </a:lnTo>
                    <a:lnTo>
                      <a:pt x="1630" y="189"/>
                    </a:lnTo>
                    <a:lnTo>
                      <a:pt x="1635" y="176"/>
                    </a:lnTo>
                    <a:lnTo>
                      <a:pt x="1642" y="164"/>
                    </a:lnTo>
                    <a:lnTo>
                      <a:pt x="1647" y="160"/>
                    </a:lnTo>
                    <a:lnTo>
                      <a:pt x="1653" y="155"/>
                    </a:lnTo>
                    <a:lnTo>
                      <a:pt x="1659" y="153"/>
                    </a:lnTo>
                    <a:lnTo>
                      <a:pt x="1667" y="152"/>
                    </a:lnTo>
                    <a:lnTo>
                      <a:pt x="1687" y="151"/>
                    </a:lnTo>
                    <a:lnTo>
                      <a:pt x="1708" y="150"/>
                    </a:lnTo>
                    <a:lnTo>
                      <a:pt x="1717" y="148"/>
                    </a:lnTo>
                    <a:lnTo>
                      <a:pt x="1725" y="146"/>
                    </a:lnTo>
                    <a:lnTo>
                      <a:pt x="1729" y="145"/>
                    </a:lnTo>
                    <a:lnTo>
                      <a:pt x="1732" y="144"/>
                    </a:lnTo>
                    <a:lnTo>
                      <a:pt x="1735" y="141"/>
                    </a:lnTo>
                    <a:lnTo>
                      <a:pt x="1737" y="138"/>
                    </a:lnTo>
                    <a:lnTo>
                      <a:pt x="1744" y="127"/>
                    </a:lnTo>
                    <a:lnTo>
                      <a:pt x="1753" y="117"/>
                    </a:lnTo>
                    <a:lnTo>
                      <a:pt x="1759" y="113"/>
                    </a:lnTo>
                    <a:lnTo>
                      <a:pt x="1765" y="109"/>
                    </a:lnTo>
                    <a:lnTo>
                      <a:pt x="1772" y="106"/>
                    </a:lnTo>
                    <a:lnTo>
                      <a:pt x="1780" y="103"/>
                    </a:lnTo>
                    <a:lnTo>
                      <a:pt x="1790" y="101"/>
                    </a:lnTo>
                    <a:lnTo>
                      <a:pt x="1799" y="100"/>
                    </a:lnTo>
                    <a:lnTo>
                      <a:pt x="1807" y="100"/>
                    </a:lnTo>
                    <a:lnTo>
                      <a:pt x="1817" y="101"/>
                    </a:lnTo>
                    <a:lnTo>
                      <a:pt x="1825" y="103"/>
                    </a:lnTo>
                    <a:lnTo>
                      <a:pt x="1834" y="106"/>
                    </a:lnTo>
                    <a:lnTo>
                      <a:pt x="1842" y="110"/>
                    </a:lnTo>
                    <a:lnTo>
                      <a:pt x="1849" y="114"/>
                    </a:lnTo>
                    <a:lnTo>
                      <a:pt x="1861" y="125"/>
                    </a:lnTo>
                    <a:lnTo>
                      <a:pt x="1870" y="133"/>
                    </a:lnTo>
                    <a:lnTo>
                      <a:pt x="1874" y="138"/>
                    </a:lnTo>
                    <a:lnTo>
                      <a:pt x="1878" y="140"/>
                    </a:lnTo>
                    <a:lnTo>
                      <a:pt x="1882" y="144"/>
                    </a:lnTo>
                    <a:lnTo>
                      <a:pt x="1887" y="146"/>
                    </a:lnTo>
                    <a:lnTo>
                      <a:pt x="1889" y="146"/>
                    </a:lnTo>
                    <a:lnTo>
                      <a:pt x="1892" y="146"/>
                    </a:lnTo>
                    <a:lnTo>
                      <a:pt x="1894" y="146"/>
                    </a:lnTo>
                    <a:lnTo>
                      <a:pt x="1897" y="145"/>
                    </a:lnTo>
                    <a:lnTo>
                      <a:pt x="1901" y="141"/>
                    </a:lnTo>
                    <a:lnTo>
                      <a:pt x="1907" y="136"/>
                    </a:lnTo>
                    <a:lnTo>
                      <a:pt x="1912" y="132"/>
                    </a:lnTo>
                    <a:lnTo>
                      <a:pt x="1918" y="128"/>
                    </a:lnTo>
                    <a:lnTo>
                      <a:pt x="1924" y="126"/>
                    </a:lnTo>
                    <a:lnTo>
                      <a:pt x="1930" y="126"/>
                    </a:lnTo>
                    <a:lnTo>
                      <a:pt x="1937" y="128"/>
                    </a:lnTo>
                    <a:lnTo>
                      <a:pt x="1943" y="132"/>
                    </a:lnTo>
                    <a:lnTo>
                      <a:pt x="1950" y="136"/>
                    </a:lnTo>
                    <a:lnTo>
                      <a:pt x="1956" y="141"/>
                    </a:lnTo>
                    <a:lnTo>
                      <a:pt x="1961" y="147"/>
                    </a:lnTo>
                    <a:lnTo>
                      <a:pt x="1964" y="153"/>
                    </a:lnTo>
                    <a:lnTo>
                      <a:pt x="1968" y="159"/>
                    </a:lnTo>
                    <a:lnTo>
                      <a:pt x="1969" y="165"/>
                    </a:lnTo>
                    <a:lnTo>
                      <a:pt x="1968" y="171"/>
                    </a:lnTo>
                    <a:lnTo>
                      <a:pt x="1967" y="176"/>
                    </a:lnTo>
                    <a:lnTo>
                      <a:pt x="1965" y="182"/>
                    </a:lnTo>
                    <a:lnTo>
                      <a:pt x="1963" y="186"/>
                    </a:lnTo>
                    <a:lnTo>
                      <a:pt x="1957" y="197"/>
                    </a:lnTo>
                    <a:lnTo>
                      <a:pt x="1955" y="207"/>
                    </a:lnTo>
                    <a:lnTo>
                      <a:pt x="1954" y="216"/>
                    </a:lnTo>
                    <a:lnTo>
                      <a:pt x="1954" y="226"/>
                    </a:lnTo>
                    <a:lnTo>
                      <a:pt x="1955" y="233"/>
                    </a:lnTo>
                    <a:lnTo>
                      <a:pt x="1957" y="239"/>
                    </a:lnTo>
                    <a:lnTo>
                      <a:pt x="1961" y="246"/>
                    </a:lnTo>
                    <a:lnTo>
                      <a:pt x="1964" y="254"/>
                    </a:lnTo>
                    <a:lnTo>
                      <a:pt x="1969" y="262"/>
                    </a:lnTo>
                    <a:lnTo>
                      <a:pt x="1974" y="268"/>
                    </a:lnTo>
                    <a:lnTo>
                      <a:pt x="1979" y="274"/>
                    </a:lnTo>
                    <a:lnTo>
                      <a:pt x="1983" y="278"/>
                    </a:lnTo>
                    <a:lnTo>
                      <a:pt x="1988" y="280"/>
                    </a:lnTo>
                    <a:lnTo>
                      <a:pt x="1993" y="281"/>
                    </a:lnTo>
                    <a:lnTo>
                      <a:pt x="1999" y="279"/>
                    </a:lnTo>
                    <a:lnTo>
                      <a:pt x="2005" y="275"/>
                    </a:lnTo>
                    <a:lnTo>
                      <a:pt x="2008" y="274"/>
                    </a:lnTo>
                    <a:lnTo>
                      <a:pt x="2012" y="273"/>
                    </a:lnTo>
                    <a:lnTo>
                      <a:pt x="2014" y="273"/>
                    </a:lnTo>
                    <a:lnTo>
                      <a:pt x="2018" y="273"/>
                    </a:lnTo>
                    <a:lnTo>
                      <a:pt x="2025" y="277"/>
                    </a:lnTo>
                    <a:lnTo>
                      <a:pt x="2032" y="280"/>
                    </a:lnTo>
                    <a:lnTo>
                      <a:pt x="2045" y="293"/>
                    </a:lnTo>
                    <a:lnTo>
                      <a:pt x="2055" y="305"/>
                    </a:lnTo>
                    <a:lnTo>
                      <a:pt x="2059" y="310"/>
                    </a:lnTo>
                    <a:lnTo>
                      <a:pt x="2063" y="312"/>
                    </a:lnTo>
                    <a:lnTo>
                      <a:pt x="2067" y="315"/>
                    </a:lnTo>
                    <a:lnTo>
                      <a:pt x="2070" y="317"/>
                    </a:lnTo>
                    <a:lnTo>
                      <a:pt x="2077" y="317"/>
                    </a:lnTo>
                    <a:lnTo>
                      <a:pt x="2086" y="317"/>
                    </a:lnTo>
                    <a:lnTo>
                      <a:pt x="2094" y="318"/>
                    </a:lnTo>
                    <a:lnTo>
                      <a:pt x="2100" y="319"/>
                    </a:lnTo>
                    <a:lnTo>
                      <a:pt x="2105" y="322"/>
                    </a:lnTo>
                    <a:lnTo>
                      <a:pt x="2112" y="330"/>
                    </a:lnTo>
                    <a:lnTo>
                      <a:pt x="2115" y="334"/>
                    </a:lnTo>
                    <a:lnTo>
                      <a:pt x="2119" y="337"/>
                    </a:lnTo>
                    <a:lnTo>
                      <a:pt x="2124" y="341"/>
                    </a:lnTo>
                    <a:lnTo>
                      <a:pt x="2130" y="343"/>
                    </a:lnTo>
                    <a:lnTo>
                      <a:pt x="2141" y="347"/>
                    </a:lnTo>
                    <a:lnTo>
                      <a:pt x="2156" y="348"/>
                    </a:lnTo>
                    <a:lnTo>
                      <a:pt x="2170" y="348"/>
                    </a:lnTo>
                    <a:lnTo>
                      <a:pt x="2183" y="349"/>
                    </a:lnTo>
                    <a:lnTo>
                      <a:pt x="2194" y="352"/>
                    </a:lnTo>
                    <a:lnTo>
                      <a:pt x="2203" y="356"/>
                    </a:lnTo>
                    <a:lnTo>
                      <a:pt x="2212" y="361"/>
                    </a:lnTo>
                    <a:lnTo>
                      <a:pt x="2222" y="363"/>
                    </a:lnTo>
                    <a:lnTo>
                      <a:pt x="2227" y="363"/>
                    </a:lnTo>
                    <a:lnTo>
                      <a:pt x="2233" y="363"/>
                    </a:lnTo>
                    <a:lnTo>
                      <a:pt x="2238" y="361"/>
                    </a:lnTo>
                    <a:lnTo>
                      <a:pt x="2244" y="359"/>
                    </a:lnTo>
                    <a:lnTo>
                      <a:pt x="2253" y="355"/>
                    </a:lnTo>
                    <a:lnTo>
                      <a:pt x="2260" y="353"/>
                    </a:lnTo>
                    <a:lnTo>
                      <a:pt x="2269" y="353"/>
                    </a:lnTo>
                    <a:lnTo>
                      <a:pt x="2279" y="354"/>
                    </a:lnTo>
                    <a:lnTo>
                      <a:pt x="2290" y="358"/>
                    </a:lnTo>
                    <a:lnTo>
                      <a:pt x="2296" y="361"/>
                    </a:lnTo>
                    <a:lnTo>
                      <a:pt x="2298" y="363"/>
                    </a:lnTo>
                    <a:lnTo>
                      <a:pt x="2300" y="366"/>
                    </a:lnTo>
                    <a:lnTo>
                      <a:pt x="2300" y="369"/>
                    </a:lnTo>
                    <a:lnTo>
                      <a:pt x="2300" y="374"/>
                    </a:lnTo>
                    <a:lnTo>
                      <a:pt x="2300" y="378"/>
                    </a:lnTo>
                    <a:lnTo>
                      <a:pt x="2301" y="382"/>
                    </a:lnTo>
                    <a:lnTo>
                      <a:pt x="2302" y="385"/>
                    </a:lnTo>
                    <a:lnTo>
                      <a:pt x="2303" y="387"/>
                    </a:lnTo>
                    <a:lnTo>
                      <a:pt x="2307" y="390"/>
                    </a:lnTo>
                    <a:lnTo>
                      <a:pt x="2311" y="391"/>
                    </a:lnTo>
                    <a:lnTo>
                      <a:pt x="2317" y="391"/>
                    </a:lnTo>
                    <a:lnTo>
                      <a:pt x="2326" y="390"/>
                    </a:lnTo>
                    <a:lnTo>
                      <a:pt x="2345" y="388"/>
                    </a:lnTo>
                    <a:lnTo>
                      <a:pt x="2365" y="386"/>
                    </a:lnTo>
                    <a:lnTo>
                      <a:pt x="2384" y="384"/>
                    </a:lnTo>
                    <a:lnTo>
                      <a:pt x="2402" y="381"/>
                    </a:lnTo>
                    <a:lnTo>
                      <a:pt x="2408" y="379"/>
                    </a:lnTo>
                    <a:lnTo>
                      <a:pt x="2412" y="375"/>
                    </a:lnTo>
                    <a:lnTo>
                      <a:pt x="2416" y="372"/>
                    </a:lnTo>
                    <a:lnTo>
                      <a:pt x="2417" y="367"/>
                    </a:lnTo>
                    <a:lnTo>
                      <a:pt x="2420" y="358"/>
                    </a:lnTo>
                    <a:lnTo>
                      <a:pt x="2422" y="344"/>
                    </a:lnTo>
                    <a:lnTo>
                      <a:pt x="2424" y="338"/>
                    </a:lnTo>
                    <a:lnTo>
                      <a:pt x="2429" y="334"/>
                    </a:lnTo>
                    <a:lnTo>
                      <a:pt x="2434" y="330"/>
                    </a:lnTo>
                    <a:lnTo>
                      <a:pt x="2441" y="328"/>
                    </a:lnTo>
                    <a:lnTo>
                      <a:pt x="2455" y="327"/>
                    </a:lnTo>
                    <a:lnTo>
                      <a:pt x="2471" y="328"/>
                    </a:lnTo>
                    <a:lnTo>
                      <a:pt x="2486" y="329"/>
                    </a:lnTo>
                    <a:lnTo>
                      <a:pt x="2503" y="330"/>
                    </a:lnTo>
                    <a:lnTo>
                      <a:pt x="2523" y="331"/>
                    </a:lnTo>
                    <a:lnTo>
                      <a:pt x="2547" y="333"/>
                    </a:lnTo>
                    <a:lnTo>
                      <a:pt x="2569" y="334"/>
                    </a:lnTo>
                    <a:lnTo>
                      <a:pt x="2585" y="333"/>
                    </a:lnTo>
                    <a:lnTo>
                      <a:pt x="2592" y="331"/>
                    </a:lnTo>
                    <a:lnTo>
                      <a:pt x="2599" y="330"/>
                    </a:lnTo>
                    <a:lnTo>
                      <a:pt x="2606" y="327"/>
                    </a:lnTo>
                    <a:lnTo>
                      <a:pt x="2615" y="323"/>
                    </a:lnTo>
                    <a:lnTo>
                      <a:pt x="2624" y="319"/>
                    </a:lnTo>
                    <a:lnTo>
                      <a:pt x="2632" y="317"/>
                    </a:lnTo>
                    <a:lnTo>
                      <a:pt x="2642" y="315"/>
                    </a:lnTo>
                    <a:lnTo>
                      <a:pt x="2651" y="314"/>
                    </a:lnTo>
                    <a:lnTo>
                      <a:pt x="2668" y="312"/>
                    </a:lnTo>
                    <a:lnTo>
                      <a:pt x="2685" y="311"/>
                    </a:lnTo>
                    <a:lnTo>
                      <a:pt x="2704" y="311"/>
                    </a:lnTo>
                    <a:lnTo>
                      <a:pt x="2726" y="312"/>
                    </a:lnTo>
                    <a:lnTo>
                      <a:pt x="2737" y="314"/>
                    </a:lnTo>
                    <a:lnTo>
                      <a:pt x="2746" y="316"/>
                    </a:lnTo>
                    <a:lnTo>
                      <a:pt x="2755" y="319"/>
                    </a:lnTo>
                    <a:lnTo>
                      <a:pt x="2761" y="324"/>
                    </a:lnTo>
                    <a:lnTo>
                      <a:pt x="2771" y="335"/>
                    </a:lnTo>
                    <a:lnTo>
                      <a:pt x="2781" y="347"/>
                    </a:lnTo>
                    <a:lnTo>
                      <a:pt x="2787" y="352"/>
                    </a:lnTo>
                    <a:lnTo>
                      <a:pt x="2793" y="356"/>
                    </a:lnTo>
                    <a:lnTo>
                      <a:pt x="2799" y="360"/>
                    </a:lnTo>
                    <a:lnTo>
                      <a:pt x="2805" y="363"/>
                    </a:lnTo>
                    <a:lnTo>
                      <a:pt x="2809" y="365"/>
                    </a:lnTo>
                    <a:lnTo>
                      <a:pt x="2813" y="367"/>
                    </a:lnTo>
                    <a:lnTo>
                      <a:pt x="2817" y="371"/>
                    </a:lnTo>
                    <a:lnTo>
                      <a:pt x="2820" y="374"/>
                    </a:lnTo>
                    <a:lnTo>
                      <a:pt x="2827" y="384"/>
                    </a:lnTo>
                    <a:lnTo>
                      <a:pt x="2837" y="394"/>
                    </a:lnTo>
                    <a:lnTo>
                      <a:pt x="2840" y="398"/>
                    </a:lnTo>
                    <a:lnTo>
                      <a:pt x="2843" y="399"/>
                    </a:lnTo>
                    <a:lnTo>
                      <a:pt x="2845" y="400"/>
                    </a:lnTo>
                    <a:lnTo>
                      <a:pt x="2848" y="400"/>
                    </a:lnTo>
                    <a:lnTo>
                      <a:pt x="2851" y="398"/>
                    </a:lnTo>
                    <a:lnTo>
                      <a:pt x="2853" y="397"/>
                    </a:lnTo>
                    <a:lnTo>
                      <a:pt x="2856" y="393"/>
                    </a:lnTo>
                    <a:lnTo>
                      <a:pt x="2859" y="388"/>
                    </a:lnTo>
                    <a:lnTo>
                      <a:pt x="2863" y="384"/>
                    </a:lnTo>
                    <a:lnTo>
                      <a:pt x="2868" y="379"/>
                    </a:lnTo>
                    <a:lnTo>
                      <a:pt x="2874" y="375"/>
                    </a:lnTo>
                    <a:lnTo>
                      <a:pt x="2880" y="372"/>
                    </a:lnTo>
                    <a:lnTo>
                      <a:pt x="2888" y="368"/>
                    </a:lnTo>
                    <a:lnTo>
                      <a:pt x="2896" y="366"/>
                    </a:lnTo>
                    <a:lnTo>
                      <a:pt x="2905" y="365"/>
                    </a:lnTo>
                    <a:lnTo>
                      <a:pt x="2914" y="363"/>
                    </a:lnTo>
                    <a:lnTo>
                      <a:pt x="2938" y="363"/>
                    </a:lnTo>
                    <a:lnTo>
                      <a:pt x="2964" y="363"/>
                    </a:lnTo>
                    <a:lnTo>
                      <a:pt x="2977" y="362"/>
                    </a:lnTo>
                    <a:lnTo>
                      <a:pt x="2990" y="362"/>
                    </a:lnTo>
                    <a:lnTo>
                      <a:pt x="3002" y="360"/>
                    </a:lnTo>
                    <a:lnTo>
                      <a:pt x="3012" y="358"/>
                    </a:lnTo>
                    <a:lnTo>
                      <a:pt x="3021" y="353"/>
                    </a:lnTo>
                    <a:lnTo>
                      <a:pt x="3029" y="348"/>
                    </a:lnTo>
                    <a:lnTo>
                      <a:pt x="3038" y="340"/>
                    </a:lnTo>
                    <a:lnTo>
                      <a:pt x="3045" y="331"/>
                    </a:lnTo>
                    <a:lnTo>
                      <a:pt x="3052" y="322"/>
                    </a:lnTo>
                    <a:lnTo>
                      <a:pt x="3058" y="312"/>
                    </a:lnTo>
                    <a:lnTo>
                      <a:pt x="3064" y="300"/>
                    </a:lnTo>
                    <a:lnTo>
                      <a:pt x="3069" y="290"/>
                    </a:lnTo>
                    <a:lnTo>
                      <a:pt x="3077" y="267"/>
                    </a:lnTo>
                    <a:lnTo>
                      <a:pt x="3084" y="249"/>
                    </a:lnTo>
                    <a:lnTo>
                      <a:pt x="3088" y="242"/>
                    </a:lnTo>
                    <a:lnTo>
                      <a:pt x="3092" y="236"/>
                    </a:lnTo>
                    <a:lnTo>
                      <a:pt x="3098" y="233"/>
                    </a:lnTo>
                    <a:lnTo>
                      <a:pt x="3105" y="230"/>
                    </a:lnTo>
                    <a:lnTo>
                      <a:pt x="3113" y="229"/>
                    </a:lnTo>
                    <a:lnTo>
                      <a:pt x="3120" y="229"/>
                    </a:lnTo>
                    <a:lnTo>
                      <a:pt x="3126" y="230"/>
                    </a:lnTo>
                    <a:lnTo>
                      <a:pt x="3132" y="230"/>
                    </a:lnTo>
                    <a:lnTo>
                      <a:pt x="3136" y="232"/>
                    </a:lnTo>
                    <a:lnTo>
                      <a:pt x="3141" y="232"/>
                    </a:lnTo>
                    <a:lnTo>
                      <a:pt x="3146" y="232"/>
                    </a:lnTo>
                    <a:lnTo>
                      <a:pt x="3151" y="229"/>
                    </a:lnTo>
                    <a:lnTo>
                      <a:pt x="3159" y="226"/>
                    </a:lnTo>
                    <a:lnTo>
                      <a:pt x="3166" y="223"/>
                    </a:lnTo>
                    <a:lnTo>
                      <a:pt x="3168" y="223"/>
                    </a:lnTo>
                    <a:lnTo>
                      <a:pt x="3171" y="223"/>
                    </a:lnTo>
                    <a:lnTo>
                      <a:pt x="3174" y="226"/>
                    </a:lnTo>
                    <a:lnTo>
                      <a:pt x="3177" y="228"/>
                    </a:lnTo>
                    <a:lnTo>
                      <a:pt x="3180" y="230"/>
                    </a:lnTo>
                    <a:lnTo>
                      <a:pt x="3184" y="232"/>
                    </a:lnTo>
                    <a:lnTo>
                      <a:pt x="3186" y="233"/>
                    </a:lnTo>
                    <a:lnTo>
                      <a:pt x="3190" y="233"/>
                    </a:lnTo>
                    <a:lnTo>
                      <a:pt x="3196" y="232"/>
                    </a:lnTo>
                    <a:lnTo>
                      <a:pt x="3201" y="228"/>
                    </a:lnTo>
                    <a:lnTo>
                      <a:pt x="3204" y="226"/>
                    </a:lnTo>
                    <a:lnTo>
                      <a:pt x="3208" y="226"/>
                    </a:lnTo>
                    <a:lnTo>
                      <a:pt x="3214" y="227"/>
                    </a:lnTo>
                    <a:lnTo>
                      <a:pt x="3218" y="227"/>
                    </a:lnTo>
                    <a:lnTo>
                      <a:pt x="3230" y="230"/>
                    </a:lnTo>
                    <a:lnTo>
                      <a:pt x="3240" y="233"/>
                    </a:lnTo>
                    <a:lnTo>
                      <a:pt x="3248" y="234"/>
                    </a:lnTo>
                    <a:lnTo>
                      <a:pt x="3256" y="233"/>
                    </a:lnTo>
                    <a:lnTo>
                      <a:pt x="3261" y="230"/>
                    </a:lnTo>
                    <a:lnTo>
                      <a:pt x="3266" y="228"/>
                    </a:lnTo>
                    <a:lnTo>
                      <a:pt x="3271" y="226"/>
                    </a:lnTo>
                    <a:lnTo>
                      <a:pt x="3277" y="221"/>
                    </a:lnTo>
                    <a:lnTo>
                      <a:pt x="3283" y="216"/>
                    </a:lnTo>
                    <a:lnTo>
                      <a:pt x="3290" y="214"/>
                    </a:lnTo>
                    <a:lnTo>
                      <a:pt x="3297" y="212"/>
                    </a:lnTo>
                    <a:lnTo>
                      <a:pt x="3304" y="212"/>
                    </a:lnTo>
                    <a:lnTo>
                      <a:pt x="3311" y="214"/>
                    </a:lnTo>
                    <a:lnTo>
                      <a:pt x="3318" y="216"/>
                    </a:lnTo>
                    <a:lnTo>
                      <a:pt x="3324" y="218"/>
                    </a:lnTo>
                    <a:lnTo>
                      <a:pt x="3330" y="221"/>
                    </a:lnTo>
                    <a:lnTo>
                      <a:pt x="3338" y="228"/>
                    </a:lnTo>
                    <a:lnTo>
                      <a:pt x="3347" y="234"/>
                    </a:lnTo>
                    <a:lnTo>
                      <a:pt x="3352" y="235"/>
                    </a:lnTo>
                    <a:lnTo>
                      <a:pt x="3356" y="237"/>
                    </a:lnTo>
                    <a:lnTo>
                      <a:pt x="3363" y="239"/>
                    </a:lnTo>
                    <a:lnTo>
                      <a:pt x="3372" y="239"/>
                    </a:lnTo>
                    <a:lnTo>
                      <a:pt x="3390" y="240"/>
                    </a:lnTo>
                    <a:lnTo>
                      <a:pt x="3404" y="243"/>
                    </a:lnTo>
                    <a:lnTo>
                      <a:pt x="3410" y="245"/>
                    </a:lnTo>
                    <a:lnTo>
                      <a:pt x="3415" y="245"/>
                    </a:lnTo>
                    <a:lnTo>
                      <a:pt x="3418" y="243"/>
                    </a:lnTo>
                    <a:lnTo>
                      <a:pt x="3419" y="240"/>
                    </a:lnTo>
                    <a:lnTo>
                      <a:pt x="3422" y="236"/>
                    </a:lnTo>
                    <a:lnTo>
                      <a:pt x="3424" y="233"/>
                    </a:lnTo>
                    <a:lnTo>
                      <a:pt x="3428" y="230"/>
                    </a:lnTo>
                    <a:lnTo>
                      <a:pt x="3432" y="229"/>
                    </a:lnTo>
                    <a:lnTo>
                      <a:pt x="3442" y="227"/>
                    </a:lnTo>
                    <a:lnTo>
                      <a:pt x="3453" y="227"/>
                    </a:lnTo>
                    <a:lnTo>
                      <a:pt x="3464" y="224"/>
                    </a:lnTo>
                    <a:lnTo>
                      <a:pt x="3481" y="220"/>
                    </a:lnTo>
                    <a:lnTo>
                      <a:pt x="3497" y="216"/>
                    </a:lnTo>
                    <a:lnTo>
                      <a:pt x="3511" y="214"/>
                    </a:lnTo>
                    <a:lnTo>
                      <a:pt x="3517" y="214"/>
                    </a:lnTo>
                    <a:lnTo>
                      <a:pt x="3522" y="215"/>
                    </a:lnTo>
                    <a:lnTo>
                      <a:pt x="3526" y="215"/>
                    </a:lnTo>
                    <a:lnTo>
                      <a:pt x="3530" y="217"/>
                    </a:lnTo>
                    <a:lnTo>
                      <a:pt x="3532" y="220"/>
                    </a:lnTo>
                    <a:lnTo>
                      <a:pt x="3535" y="222"/>
                    </a:lnTo>
                    <a:lnTo>
                      <a:pt x="3536" y="227"/>
                    </a:lnTo>
                    <a:lnTo>
                      <a:pt x="3537" y="232"/>
                    </a:lnTo>
                    <a:lnTo>
                      <a:pt x="3538" y="237"/>
                    </a:lnTo>
                    <a:lnTo>
                      <a:pt x="3539" y="242"/>
                    </a:lnTo>
                    <a:lnTo>
                      <a:pt x="3541" y="247"/>
                    </a:lnTo>
                    <a:lnTo>
                      <a:pt x="3543" y="249"/>
                    </a:lnTo>
                    <a:lnTo>
                      <a:pt x="3545" y="252"/>
                    </a:lnTo>
                    <a:lnTo>
                      <a:pt x="3550" y="254"/>
                    </a:lnTo>
                    <a:lnTo>
                      <a:pt x="3555" y="255"/>
                    </a:lnTo>
                    <a:lnTo>
                      <a:pt x="3561" y="255"/>
                    </a:lnTo>
                    <a:lnTo>
                      <a:pt x="3575" y="256"/>
                    </a:lnTo>
                    <a:lnTo>
                      <a:pt x="3588" y="258"/>
                    </a:lnTo>
                    <a:lnTo>
                      <a:pt x="3601" y="259"/>
                    </a:lnTo>
                    <a:lnTo>
                      <a:pt x="3613" y="259"/>
                    </a:lnTo>
                    <a:lnTo>
                      <a:pt x="3623" y="258"/>
                    </a:lnTo>
                    <a:lnTo>
                      <a:pt x="3631" y="259"/>
                    </a:lnTo>
                    <a:lnTo>
                      <a:pt x="3636" y="260"/>
                    </a:lnTo>
                    <a:lnTo>
                      <a:pt x="3639" y="261"/>
                    </a:lnTo>
                    <a:lnTo>
                      <a:pt x="3643" y="265"/>
                    </a:lnTo>
                    <a:lnTo>
                      <a:pt x="3648" y="268"/>
                    </a:lnTo>
                    <a:lnTo>
                      <a:pt x="3651" y="271"/>
                    </a:lnTo>
                    <a:lnTo>
                      <a:pt x="3656" y="273"/>
                    </a:lnTo>
                    <a:lnTo>
                      <a:pt x="3661" y="273"/>
                    </a:lnTo>
                    <a:lnTo>
                      <a:pt x="3667" y="272"/>
                    </a:lnTo>
                    <a:lnTo>
                      <a:pt x="3676" y="268"/>
                    </a:lnTo>
                    <a:lnTo>
                      <a:pt x="3684" y="262"/>
                    </a:lnTo>
                    <a:lnTo>
                      <a:pt x="3692" y="256"/>
                    </a:lnTo>
                    <a:lnTo>
                      <a:pt x="3700" y="251"/>
                    </a:lnTo>
                    <a:lnTo>
                      <a:pt x="3705" y="248"/>
                    </a:lnTo>
                    <a:lnTo>
                      <a:pt x="3709" y="247"/>
                    </a:lnTo>
                    <a:lnTo>
                      <a:pt x="3715" y="247"/>
                    </a:lnTo>
                    <a:lnTo>
                      <a:pt x="3721" y="248"/>
                    </a:lnTo>
                    <a:lnTo>
                      <a:pt x="3734" y="252"/>
                    </a:lnTo>
                    <a:lnTo>
                      <a:pt x="3749" y="258"/>
                    </a:lnTo>
                    <a:lnTo>
                      <a:pt x="3756" y="260"/>
                    </a:lnTo>
                    <a:lnTo>
                      <a:pt x="3764" y="261"/>
                    </a:lnTo>
                    <a:lnTo>
                      <a:pt x="3772" y="262"/>
                    </a:lnTo>
                    <a:lnTo>
                      <a:pt x="3782" y="264"/>
                    </a:lnTo>
                    <a:lnTo>
                      <a:pt x="3801" y="262"/>
                    </a:lnTo>
                    <a:lnTo>
                      <a:pt x="3822" y="261"/>
                    </a:lnTo>
                    <a:lnTo>
                      <a:pt x="3843" y="261"/>
                    </a:lnTo>
                    <a:lnTo>
                      <a:pt x="3860" y="264"/>
                    </a:lnTo>
                    <a:lnTo>
                      <a:pt x="3869" y="266"/>
                    </a:lnTo>
                    <a:lnTo>
                      <a:pt x="3877" y="270"/>
                    </a:lnTo>
                    <a:lnTo>
                      <a:pt x="3886" y="273"/>
                    </a:lnTo>
                    <a:lnTo>
                      <a:pt x="3895" y="278"/>
                    </a:lnTo>
                    <a:lnTo>
                      <a:pt x="3902" y="283"/>
                    </a:lnTo>
                    <a:lnTo>
                      <a:pt x="3908" y="287"/>
                    </a:lnTo>
                    <a:lnTo>
                      <a:pt x="3913" y="292"/>
                    </a:lnTo>
                    <a:lnTo>
                      <a:pt x="3916" y="297"/>
                    </a:lnTo>
                    <a:lnTo>
                      <a:pt x="3919" y="304"/>
                    </a:lnTo>
                    <a:lnTo>
                      <a:pt x="3920" y="311"/>
                    </a:lnTo>
                    <a:lnTo>
                      <a:pt x="3921" y="315"/>
                    </a:lnTo>
                    <a:lnTo>
                      <a:pt x="3922" y="318"/>
                    </a:lnTo>
                    <a:lnTo>
                      <a:pt x="3926" y="323"/>
                    </a:lnTo>
                    <a:lnTo>
                      <a:pt x="3930" y="327"/>
                    </a:lnTo>
                    <a:lnTo>
                      <a:pt x="3940" y="334"/>
                    </a:lnTo>
                    <a:lnTo>
                      <a:pt x="3946" y="340"/>
                    </a:lnTo>
                    <a:lnTo>
                      <a:pt x="3949" y="346"/>
                    </a:lnTo>
                    <a:lnTo>
                      <a:pt x="3952" y="353"/>
                    </a:lnTo>
                    <a:lnTo>
                      <a:pt x="3953" y="358"/>
                    </a:lnTo>
                    <a:lnTo>
                      <a:pt x="3954" y="362"/>
                    </a:lnTo>
                    <a:lnTo>
                      <a:pt x="3958" y="366"/>
                    </a:lnTo>
                    <a:lnTo>
                      <a:pt x="3960" y="368"/>
                    </a:lnTo>
                    <a:lnTo>
                      <a:pt x="3964" y="371"/>
                    </a:lnTo>
                    <a:lnTo>
                      <a:pt x="3969" y="372"/>
                    </a:lnTo>
                    <a:lnTo>
                      <a:pt x="3973" y="371"/>
                    </a:lnTo>
                    <a:lnTo>
                      <a:pt x="3978" y="368"/>
                    </a:lnTo>
                    <a:lnTo>
                      <a:pt x="3985" y="365"/>
                    </a:lnTo>
                    <a:lnTo>
                      <a:pt x="3992" y="363"/>
                    </a:lnTo>
                    <a:lnTo>
                      <a:pt x="3998" y="363"/>
                    </a:lnTo>
                    <a:lnTo>
                      <a:pt x="4004" y="365"/>
                    </a:lnTo>
                    <a:lnTo>
                      <a:pt x="4016" y="371"/>
                    </a:lnTo>
                    <a:lnTo>
                      <a:pt x="4030" y="378"/>
                    </a:lnTo>
                    <a:lnTo>
                      <a:pt x="4041" y="382"/>
                    </a:lnTo>
                    <a:lnTo>
                      <a:pt x="4052" y="387"/>
                    </a:lnTo>
                    <a:lnTo>
                      <a:pt x="4056" y="390"/>
                    </a:lnTo>
                    <a:lnTo>
                      <a:pt x="4061" y="393"/>
                    </a:lnTo>
                    <a:lnTo>
                      <a:pt x="4065" y="397"/>
                    </a:lnTo>
                    <a:lnTo>
                      <a:pt x="4068" y="400"/>
                    </a:lnTo>
                    <a:lnTo>
                      <a:pt x="4072" y="404"/>
                    </a:lnTo>
                    <a:lnTo>
                      <a:pt x="4074" y="407"/>
                    </a:lnTo>
                    <a:lnTo>
                      <a:pt x="4078" y="411"/>
                    </a:lnTo>
                    <a:lnTo>
                      <a:pt x="4081" y="412"/>
                    </a:lnTo>
                    <a:lnTo>
                      <a:pt x="4085" y="413"/>
                    </a:lnTo>
                    <a:lnTo>
                      <a:pt x="4089" y="415"/>
                    </a:lnTo>
                    <a:lnTo>
                      <a:pt x="4092" y="413"/>
                    </a:lnTo>
                    <a:lnTo>
                      <a:pt x="4096" y="412"/>
                    </a:lnTo>
                    <a:lnTo>
                      <a:pt x="4099" y="410"/>
                    </a:lnTo>
                    <a:lnTo>
                      <a:pt x="4103" y="409"/>
                    </a:lnTo>
                    <a:lnTo>
                      <a:pt x="4108" y="409"/>
                    </a:lnTo>
                    <a:lnTo>
                      <a:pt x="4112" y="409"/>
                    </a:lnTo>
                    <a:lnTo>
                      <a:pt x="4117" y="409"/>
                    </a:lnTo>
                    <a:lnTo>
                      <a:pt x="4121" y="411"/>
                    </a:lnTo>
                    <a:lnTo>
                      <a:pt x="4125" y="413"/>
                    </a:lnTo>
                    <a:lnTo>
                      <a:pt x="4128" y="417"/>
                    </a:lnTo>
                    <a:lnTo>
                      <a:pt x="4131" y="422"/>
                    </a:lnTo>
                    <a:lnTo>
                      <a:pt x="4135" y="425"/>
                    </a:lnTo>
                    <a:lnTo>
                      <a:pt x="4141" y="430"/>
                    </a:lnTo>
                    <a:lnTo>
                      <a:pt x="4147" y="435"/>
                    </a:lnTo>
                    <a:lnTo>
                      <a:pt x="4161" y="444"/>
                    </a:lnTo>
                    <a:lnTo>
                      <a:pt x="4173" y="455"/>
                    </a:lnTo>
                    <a:lnTo>
                      <a:pt x="4186" y="468"/>
                    </a:lnTo>
                    <a:lnTo>
                      <a:pt x="4200" y="481"/>
                    </a:lnTo>
                    <a:lnTo>
                      <a:pt x="4217" y="493"/>
                    </a:lnTo>
                    <a:lnTo>
                      <a:pt x="4231" y="505"/>
                    </a:lnTo>
                    <a:lnTo>
                      <a:pt x="4236" y="508"/>
                    </a:lnTo>
                    <a:lnTo>
                      <a:pt x="4237" y="512"/>
                    </a:lnTo>
                    <a:lnTo>
                      <a:pt x="4235" y="514"/>
                    </a:lnTo>
                    <a:lnTo>
                      <a:pt x="4230" y="518"/>
                    </a:lnTo>
                    <a:lnTo>
                      <a:pt x="4224" y="522"/>
                    </a:lnTo>
                    <a:lnTo>
                      <a:pt x="4218" y="525"/>
                    </a:lnTo>
                    <a:lnTo>
                      <a:pt x="4212" y="527"/>
                    </a:lnTo>
                    <a:lnTo>
                      <a:pt x="4205" y="529"/>
                    </a:lnTo>
                    <a:lnTo>
                      <a:pt x="4194" y="530"/>
                    </a:lnTo>
                    <a:lnTo>
                      <a:pt x="4187" y="531"/>
                    </a:lnTo>
                    <a:lnTo>
                      <a:pt x="4185" y="531"/>
                    </a:lnTo>
                    <a:lnTo>
                      <a:pt x="4182" y="532"/>
                    </a:lnTo>
                    <a:lnTo>
                      <a:pt x="4181" y="535"/>
                    </a:lnTo>
                    <a:lnTo>
                      <a:pt x="4179" y="537"/>
                    </a:lnTo>
                    <a:lnTo>
                      <a:pt x="4177" y="541"/>
                    </a:lnTo>
                    <a:lnTo>
                      <a:pt x="4173" y="543"/>
                    </a:lnTo>
                    <a:lnTo>
                      <a:pt x="4168" y="545"/>
                    </a:lnTo>
                    <a:lnTo>
                      <a:pt x="4162" y="546"/>
                    </a:lnTo>
                    <a:lnTo>
                      <a:pt x="4159" y="546"/>
                    </a:lnTo>
                    <a:lnTo>
                      <a:pt x="4156" y="548"/>
                    </a:lnTo>
                    <a:lnTo>
                      <a:pt x="4155" y="550"/>
                    </a:lnTo>
                    <a:lnTo>
                      <a:pt x="4154" y="552"/>
                    </a:lnTo>
                    <a:lnTo>
                      <a:pt x="4153" y="558"/>
                    </a:lnTo>
                    <a:lnTo>
                      <a:pt x="4153" y="564"/>
                    </a:lnTo>
                    <a:lnTo>
                      <a:pt x="4154" y="571"/>
                    </a:lnTo>
                    <a:lnTo>
                      <a:pt x="4155" y="577"/>
                    </a:lnTo>
                    <a:lnTo>
                      <a:pt x="4160" y="585"/>
                    </a:lnTo>
                    <a:lnTo>
                      <a:pt x="4166" y="592"/>
                    </a:lnTo>
                    <a:lnTo>
                      <a:pt x="4174" y="600"/>
                    </a:lnTo>
                    <a:lnTo>
                      <a:pt x="4181" y="608"/>
                    </a:lnTo>
                    <a:lnTo>
                      <a:pt x="4188" y="615"/>
                    </a:lnTo>
                    <a:lnTo>
                      <a:pt x="4196" y="620"/>
                    </a:lnTo>
                    <a:lnTo>
                      <a:pt x="4203" y="624"/>
                    </a:lnTo>
                    <a:lnTo>
                      <a:pt x="4212" y="625"/>
                    </a:lnTo>
                    <a:lnTo>
                      <a:pt x="4224" y="626"/>
                    </a:lnTo>
                    <a:lnTo>
                      <a:pt x="4238" y="626"/>
                    </a:lnTo>
                    <a:lnTo>
                      <a:pt x="4245" y="627"/>
                    </a:lnTo>
                    <a:lnTo>
                      <a:pt x="4250" y="629"/>
                    </a:lnTo>
                    <a:lnTo>
                      <a:pt x="4255" y="630"/>
                    </a:lnTo>
                    <a:lnTo>
                      <a:pt x="4259" y="632"/>
                    </a:lnTo>
                    <a:lnTo>
                      <a:pt x="4261" y="634"/>
                    </a:lnTo>
                    <a:lnTo>
                      <a:pt x="4262" y="638"/>
                    </a:lnTo>
                    <a:lnTo>
                      <a:pt x="4263" y="642"/>
                    </a:lnTo>
                    <a:lnTo>
                      <a:pt x="4263" y="645"/>
                    </a:lnTo>
                    <a:lnTo>
                      <a:pt x="4262" y="649"/>
                    </a:lnTo>
                    <a:lnTo>
                      <a:pt x="4261" y="653"/>
                    </a:lnTo>
                    <a:lnTo>
                      <a:pt x="4259" y="658"/>
                    </a:lnTo>
                    <a:lnTo>
                      <a:pt x="4256" y="663"/>
                    </a:lnTo>
                    <a:lnTo>
                      <a:pt x="4249" y="672"/>
                    </a:lnTo>
                    <a:lnTo>
                      <a:pt x="4241" y="681"/>
                    </a:lnTo>
                    <a:lnTo>
                      <a:pt x="4237" y="687"/>
                    </a:lnTo>
                    <a:lnTo>
                      <a:pt x="4234" y="692"/>
                    </a:lnTo>
                    <a:lnTo>
                      <a:pt x="4231" y="699"/>
                    </a:lnTo>
                    <a:lnTo>
                      <a:pt x="4229" y="705"/>
                    </a:lnTo>
                    <a:lnTo>
                      <a:pt x="4228" y="711"/>
                    </a:lnTo>
                    <a:lnTo>
                      <a:pt x="4228" y="716"/>
                    </a:lnTo>
                    <a:lnTo>
                      <a:pt x="4228" y="722"/>
                    </a:lnTo>
                    <a:lnTo>
                      <a:pt x="4229" y="727"/>
                    </a:lnTo>
                    <a:lnTo>
                      <a:pt x="4232" y="734"/>
                    </a:lnTo>
                    <a:lnTo>
                      <a:pt x="4235" y="741"/>
                    </a:lnTo>
                    <a:lnTo>
                      <a:pt x="4235" y="744"/>
                    </a:lnTo>
                    <a:lnTo>
                      <a:pt x="4235" y="746"/>
                    </a:lnTo>
                    <a:lnTo>
                      <a:pt x="4232" y="747"/>
                    </a:lnTo>
                    <a:lnTo>
                      <a:pt x="4230" y="750"/>
                    </a:lnTo>
                    <a:lnTo>
                      <a:pt x="4225" y="752"/>
                    </a:lnTo>
                    <a:lnTo>
                      <a:pt x="4222" y="754"/>
                    </a:lnTo>
                    <a:lnTo>
                      <a:pt x="4219" y="757"/>
                    </a:lnTo>
                    <a:lnTo>
                      <a:pt x="4217" y="759"/>
                    </a:lnTo>
                    <a:lnTo>
                      <a:pt x="4216" y="763"/>
                    </a:lnTo>
                    <a:lnTo>
                      <a:pt x="4215" y="766"/>
                    </a:lnTo>
                    <a:lnTo>
                      <a:pt x="4216" y="770"/>
                    </a:lnTo>
                    <a:lnTo>
                      <a:pt x="4217" y="772"/>
                    </a:lnTo>
                    <a:lnTo>
                      <a:pt x="4218" y="777"/>
                    </a:lnTo>
                    <a:lnTo>
                      <a:pt x="4219" y="783"/>
                    </a:lnTo>
                    <a:lnTo>
                      <a:pt x="4218" y="787"/>
                    </a:lnTo>
                    <a:lnTo>
                      <a:pt x="4217" y="790"/>
                    </a:lnTo>
                    <a:lnTo>
                      <a:pt x="4215" y="794"/>
                    </a:lnTo>
                    <a:lnTo>
                      <a:pt x="4212" y="797"/>
                    </a:lnTo>
                    <a:lnTo>
                      <a:pt x="4205" y="802"/>
                    </a:lnTo>
                    <a:lnTo>
                      <a:pt x="4198" y="806"/>
                    </a:lnTo>
                    <a:lnTo>
                      <a:pt x="4188" y="808"/>
                    </a:lnTo>
                    <a:lnTo>
                      <a:pt x="4175" y="810"/>
                    </a:lnTo>
                    <a:lnTo>
                      <a:pt x="4160" y="812"/>
                    </a:lnTo>
                    <a:lnTo>
                      <a:pt x="4146" y="814"/>
                    </a:lnTo>
                    <a:lnTo>
                      <a:pt x="4139" y="816"/>
                    </a:lnTo>
                    <a:lnTo>
                      <a:pt x="4134" y="820"/>
                    </a:lnTo>
                    <a:lnTo>
                      <a:pt x="4129" y="823"/>
                    </a:lnTo>
                    <a:lnTo>
                      <a:pt x="4127" y="829"/>
                    </a:lnTo>
                    <a:lnTo>
                      <a:pt x="4124" y="840"/>
                    </a:lnTo>
                    <a:lnTo>
                      <a:pt x="4124" y="848"/>
                    </a:lnTo>
                    <a:lnTo>
                      <a:pt x="4123" y="852"/>
                    </a:lnTo>
                    <a:lnTo>
                      <a:pt x="4123" y="854"/>
                    </a:lnTo>
                    <a:lnTo>
                      <a:pt x="4122" y="857"/>
                    </a:lnTo>
                    <a:lnTo>
                      <a:pt x="4119" y="858"/>
                    </a:lnTo>
                    <a:lnTo>
                      <a:pt x="4114" y="861"/>
                    </a:lnTo>
                    <a:lnTo>
                      <a:pt x="4106" y="865"/>
                    </a:lnTo>
                    <a:lnTo>
                      <a:pt x="4104" y="866"/>
                    </a:lnTo>
                    <a:lnTo>
                      <a:pt x="4100" y="870"/>
                    </a:lnTo>
                    <a:lnTo>
                      <a:pt x="4098" y="872"/>
                    </a:lnTo>
                    <a:lnTo>
                      <a:pt x="4097" y="876"/>
                    </a:lnTo>
                    <a:lnTo>
                      <a:pt x="4096" y="884"/>
                    </a:lnTo>
                    <a:lnTo>
                      <a:pt x="4098" y="894"/>
                    </a:lnTo>
                    <a:lnTo>
                      <a:pt x="4099" y="898"/>
                    </a:lnTo>
                    <a:lnTo>
                      <a:pt x="4102" y="904"/>
                    </a:lnTo>
                    <a:lnTo>
                      <a:pt x="4104" y="908"/>
                    </a:lnTo>
                    <a:lnTo>
                      <a:pt x="4106" y="913"/>
                    </a:lnTo>
                    <a:lnTo>
                      <a:pt x="4114" y="920"/>
                    </a:lnTo>
                    <a:lnTo>
                      <a:pt x="4121" y="927"/>
                    </a:lnTo>
                    <a:lnTo>
                      <a:pt x="4124" y="930"/>
                    </a:lnTo>
                    <a:lnTo>
                      <a:pt x="4127" y="934"/>
                    </a:lnTo>
                    <a:lnTo>
                      <a:pt x="4129" y="939"/>
                    </a:lnTo>
                    <a:lnTo>
                      <a:pt x="4131" y="942"/>
                    </a:lnTo>
                    <a:lnTo>
                      <a:pt x="4131" y="947"/>
                    </a:lnTo>
                    <a:lnTo>
                      <a:pt x="4131" y="951"/>
                    </a:lnTo>
                    <a:lnTo>
                      <a:pt x="4129" y="955"/>
                    </a:lnTo>
                    <a:lnTo>
                      <a:pt x="4128" y="959"/>
                    </a:lnTo>
                    <a:lnTo>
                      <a:pt x="4122" y="967"/>
                    </a:lnTo>
                    <a:lnTo>
                      <a:pt x="4116" y="976"/>
                    </a:lnTo>
                    <a:lnTo>
                      <a:pt x="4111" y="985"/>
                    </a:lnTo>
                    <a:lnTo>
                      <a:pt x="4105" y="995"/>
                    </a:lnTo>
                    <a:lnTo>
                      <a:pt x="4102" y="1004"/>
                    </a:lnTo>
                    <a:lnTo>
                      <a:pt x="4100" y="1012"/>
                    </a:lnTo>
                    <a:lnTo>
                      <a:pt x="4100" y="1016"/>
                    </a:lnTo>
                    <a:lnTo>
                      <a:pt x="4102" y="1020"/>
                    </a:lnTo>
                    <a:lnTo>
                      <a:pt x="4103" y="1023"/>
                    </a:lnTo>
                    <a:lnTo>
                      <a:pt x="4105" y="1027"/>
                    </a:lnTo>
                    <a:lnTo>
                      <a:pt x="4110" y="1033"/>
                    </a:lnTo>
                    <a:lnTo>
                      <a:pt x="4117" y="1036"/>
                    </a:lnTo>
                    <a:lnTo>
                      <a:pt x="4125" y="1037"/>
                    </a:lnTo>
                    <a:lnTo>
                      <a:pt x="4135" y="1037"/>
                    </a:lnTo>
                    <a:lnTo>
                      <a:pt x="4144" y="1035"/>
                    </a:lnTo>
                    <a:lnTo>
                      <a:pt x="4153" y="1033"/>
                    </a:lnTo>
                    <a:lnTo>
                      <a:pt x="4158" y="1031"/>
                    </a:lnTo>
                    <a:lnTo>
                      <a:pt x="4162" y="1031"/>
                    </a:lnTo>
                    <a:lnTo>
                      <a:pt x="4168" y="1033"/>
                    </a:lnTo>
                    <a:lnTo>
                      <a:pt x="4173" y="1035"/>
                    </a:lnTo>
                    <a:lnTo>
                      <a:pt x="4179" y="1037"/>
                    </a:lnTo>
                    <a:lnTo>
                      <a:pt x="4184" y="1040"/>
                    </a:lnTo>
                    <a:lnTo>
                      <a:pt x="4188" y="1043"/>
                    </a:lnTo>
                    <a:lnTo>
                      <a:pt x="4191" y="1047"/>
                    </a:lnTo>
                    <a:lnTo>
                      <a:pt x="4194" y="1056"/>
                    </a:lnTo>
                    <a:lnTo>
                      <a:pt x="4196" y="1067"/>
                    </a:lnTo>
                    <a:lnTo>
                      <a:pt x="4196" y="1078"/>
                    </a:lnTo>
                    <a:lnTo>
                      <a:pt x="4194" y="1086"/>
                    </a:lnTo>
                    <a:lnTo>
                      <a:pt x="4192" y="1090"/>
                    </a:lnTo>
                    <a:lnTo>
                      <a:pt x="4190" y="1093"/>
                    </a:lnTo>
                    <a:lnTo>
                      <a:pt x="4185" y="1097"/>
                    </a:lnTo>
                    <a:lnTo>
                      <a:pt x="4180" y="1099"/>
                    </a:lnTo>
                    <a:lnTo>
                      <a:pt x="4171" y="1103"/>
                    </a:lnTo>
                    <a:lnTo>
                      <a:pt x="4162" y="1105"/>
                    </a:lnTo>
                    <a:lnTo>
                      <a:pt x="4154" y="1109"/>
                    </a:lnTo>
                    <a:lnTo>
                      <a:pt x="4146" y="1112"/>
                    </a:lnTo>
                    <a:lnTo>
                      <a:pt x="4142" y="1115"/>
                    </a:lnTo>
                    <a:lnTo>
                      <a:pt x="4139" y="1117"/>
                    </a:lnTo>
                    <a:lnTo>
                      <a:pt x="4136" y="1119"/>
                    </a:lnTo>
                    <a:lnTo>
                      <a:pt x="4135" y="1123"/>
                    </a:lnTo>
                    <a:lnTo>
                      <a:pt x="4135" y="1130"/>
                    </a:lnTo>
                    <a:lnTo>
                      <a:pt x="4137" y="1136"/>
                    </a:lnTo>
                    <a:lnTo>
                      <a:pt x="4141" y="1141"/>
                    </a:lnTo>
                    <a:lnTo>
                      <a:pt x="4146" y="1146"/>
                    </a:lnTo>
                    <a:lnTo>
                      <a:pt x="4152" y="1149"/>
                    </a:lnTo>
                    <a:lnTo>
                      <a:pt x="4155" y="1155"/>
                    </a:lnTo>
                    <a:lnTo>
                      <a:pt x="4156" y="1157"/>
                    </a:lnTo>
                    <a:lnTo>
                      <a:pt x="4158" y="1161"/>
                    </a:lnTo>
                    <a:lnTo>
                      <a:pt x="4158" y="1165"/>
                    </a:lnTo>
                    <a:lnTo>
                      <a:pt x="4156" y="1168"/>
                    </a:lnTo>
                    <a:lnTo>
                      <a:pt x="4155" y="1173"/>
                    </a:lnTo>
                    <a:lnTo>
                      <a:pt x="4154" y="1178"/>
                    </a:lnTo>
                    <a:lnTo>
                      <a:pt x="4154" y="1181"/>
                    </a:lnTo>
                    <a:lnTo>
                      <a:pt x="4155" y="1187"/>
                    </a:lnTo>
                    <a:lnTo>
                      <a:pt x="4156" y="1198"/>
                    </a:lnTo>
                    <a:lnTo>
                      <a:pt x="4156" y="1211"/>
                    </a:lnTo>
                    <a:lnTo>
                      <a:pt x="4154" y="1225"/>
                    </a:lnTo>
                    <a:lnTo>
                      <a:pt x="4152" y="1238"/>
                    </a:lnTo>
                    <a:lnTo>
                      <a:pt x="4149" y="1249"/>
                    </a:lnTo>
                    <a:lnTo>
                      <a:pt x="4147" y="1256"/>
                    </a:lnTo>
                    <a:lnTo>
                      <a:pt x="4147" y="1260"/>
                    </a:lnTo>
                    <a:lnTo>
                      <a:pt x="4148" y="1263"/>
                    </a:lnTo>
                    <a:lnTo>
                      <a:pt x="4148" y="1267"/>
                    </a:lnTo>
                    <a:lnTo>
                      <a:pt x="4150" y="1272"/>
                    </a:lnTo>
                    <a:lnTo>
                      <a:pt x="4154" y="1279"/>
                    </a:lnTo>
                    <a:lnTo>
                      <a:pt x="4159" y="1283"/>
                    </a:lnTo>
                    <a:lnTo>
                      <a:pt x="4160" y="1285"/>
                    </a:lnTo>
                    <a:lnTo>
                      <a:pt x="4160" y="1287"/>
                    </a:lnTo>
                    <a:lnTo>
                      <a:pt x="4160" y="1289"/>
                    </a:lnTo>
                    <a:lnTo>
                      <a:pt x="4159" y="1293"/>
                    </a:lnTo>
                    <a:lnTo>
                      <a:pt x="4147" y="1307"/>
                    </a:lnTo>
                    <a:lnTo>
                      <a:pt x="4135" y="1321"/>
                    </a:lnTo>
                    <a:lnTo>
                      <a:pt x="4131" y="1330"/>
                    </a:lnTo>
                    <a:lnTo>
                      <a:pt x="4129" y="1336"/>
                    </a:lnTo>
                    <a:lnTo>
                      <a:pt x="4128" y="1343"/>
                    </a:lnTo>
                    <a:lnTo>
                      <a:pt x="4127" y="1350"/>
                    </a:lnTo>
                    <a:lnTo>
                      <a:pt x="4124" y="1357"/>
                    </a:lnTo>
                    <a:lnTo>
                      <a:pt x="4121" y="1362"/>
                    </a:lnTo>
                    <a:lnTo>
                      <a:pt x="4118" y="1364"/>
                    </a:lnTo>
                    <a:lnTo>
                      <a:pt x="4116" y="1365"/>
                    </a:lnTo>
                    <a:lnTo>
                      <a:pt x="4111" y="1367"/>
                    </a:lnTo>
                    <a:lnTo>
                      <a:pt x="4108" y="1368"/>
                    </a:lnTo>
                    <a:lnTo>
                      <a:pt x="4096" y="1368"/>
                    </a:lnTo>
                    <a:lnTo>
                      <a:pt x="4085" y="1369"/>
                    </a:lnTo>
                    <a:lnTo>
                      <a:pt x="4074" y="1370"/>
                    </a:lnTo>
                    <a:lnTo>
                      <a:pt x="4067" y="1374"/>
                    </a:lnTo>
                    <a:lnTo>
                      <a:pt x="4061" y="1380"/>
                    </a:lnTo>
                    <a:lnTo>
                      <a:pt x="4055" y="1388"/>
                    </a:lnTo>
                    <a:lnTo>
                      <a:pt x="4054" y="1393"/>
                    </a:lnTo>
                    <a:lnTo>
                      <a:pt x="4053" y="1398"/>
                    </a:lnTo>
                    <a:lnTo>
                      <a:pt x="4052" y="1402"/>
                    </a:lnTo>
                    <a:lnTo>
                      <a:pt x="4053" y="1407"/>
                    </a:lnTo>
                    <a:lnTo>
                      <a:pt x="4056" y="1417"/>
                    </a:lnTo>
                    <a:lnTo>
                      <a:pt x="4061" y="1427"/>
                    </a:lnTo>
                    <a:lnTo>
                      <a:pt x="4067" y="1438"/>
                    </a:lnTo>
                    <a:lnTo>
                      <a:pt x="4072" y="1446"/>
                    </a:lnTo>
                    <a:lnTo>
                      <a:pt x="4077" y="1453"/>
                    </a:lnTo>
                    <a:lnTo>
                      <a:pt x="4080" y="1459"/>
                    </a:lnTo>
                    <a:lnTo>
                      <a:pt x="4083" y="1466"/>
                    </a:lnTo>
                    <a:lnTo>
                      <a:pt x="4085" y="1474"/>
                    </a:lnTo>
                    <a:lnTo>
                      <a:pt x="4087" y="1480"/>
                    </a:lnTo>
                    <a:lnTo>
                      <a:pt x="4092" y="1483"/>
                    </a:lnTo>
                    <a:lnTo>
                      <a:pt x="4096" y="1485"/>
                    </a:lnTo>
                    <a:lnTo>
                      <a:pt x="4100" y="1485"/>
                    </a:lnTo>
                    <a:lnTo>
                      <a:pt x="4105" y="1487"/>
                    </a:lnTo>
                    <a:lnTo>
                      <a:pt x="4110" y="1488"/>
                    </a:lnTo>
                    <a:lnTo>
                      <a:pt x="4115" y="1491"/>
                    </a:lnTo>
                    <a:lnTo>
                      <a:pt x="4121" y="1497"/>
                    </a:lnTo>
                    <a:lnTo>
                      <a:pt x="4124" y="1504"/>
                    </a:lnTo>
                    <a:lnTo>
                      <a:pt x="4128" y="1513"/>
                    </a:lnTo>
                    <a:lnTo>
                      <a:pt x="4129" y="1516"/>
                    </a:lnTo>
                    <a:lnTo>
                      <a:pt x="4130" y="1520"/>
                    </a:lnTo>
                    <a:lnTo>
                      <a:pt x="4130" y="1524"/>
                    </a:lnTo>
                    <a:lnTo>
                      <a:pt x="4129" y="1526"/>
                    </a:lnTo>
                    <a:lnTo>
                      <a:pt x="4125" y="1531"/>
                    </a:lnTo>
                    <a:lnTo>
                      <a:pt x="4122" y="1535"/>
                    </a:lnTo>
                    <a:lnTo>
                      <a:pt x="4121" y="1537"/>
                    </a:lnTo>
                    <a:lnTo>
                      <a:pt x="4121" y="1540"/>
                    </a:lnTo>
                    <a:lnTo>
                      <a:pt x="4121" y="1544"/>
                    </a:lnTo>
                    <a:lnTo>
                      <a:pt x="4123" y="1548"/>
                    </a:lnTo>
                    <a:lnTo>
                      <a:pt x="4130" y="1558"/>
                    </a:lnTo>
                    <a:lnTo>
                      <a:pt x="4135" y="1567"/>
                    </a:lnTo>
                    <a:lnTo>
                      <a:pt x="4137" y="1572"/>
                    </a:lnTo>
                    <a:lnTo>
                      <a:pt x="4139" y="1576"/>
                    </a:lnTo>
                    <a:lnTo>
                      <a:pt x="4140" y="1581"/>
                    </a:lnTo>
                    <a:lnTo>
                      <a:pt x="4140" y="1587"/>
                    </a:lnTo>
                    <a:lnTo>
                      <a:pt x="4139" y="1597"/>
                    </a:lnTo>
                    <a:lnTo>
                      <a:pt x="4136" y="1607"/>
                    </a:lnTo>
                    <a:lnTo>
                      <a:pt x="4136" y="1610"/>
                    </a:lnTo>
                    <a:lnTo>
                      <a:pt x="4137" y="1614"/>
                    </a:lnTo>
                    <a:lnTo>
                      <a:pt x="4140" y="1617"/>
                    </a:lnTo>
                    <a:lnTo>
                      <a:pt x="4143" y="1621"/>
                    </a:lnTo>
                    <a:lnTo>
                      <a:pt x="4156" y="1628"/>
                    </a:lnTo>
                    <a:lnTo>
                      <a:pt x="4174" y="1635"/>
                    </a:lnTo>
                    <a:lnTo>
                      <a:pt x="4182" y="1640"/>
                    </a:lnTo>
                    <a:lnTo>
                      <a:pt x="4191" y="1645"/>
                    </a:lnTo>
                    <a:lnTo>
                      <a:pt x="4197" y="1651"/>
                    </a:lnTo>
                    <a:lnTo>
                      <a:pt x="4200" y="1657"/>
                    </a:lnTo>
                    <a:lnTo>
                      <a:pt x="4203" y="1663"/>
                    </a:lnTo>
                    <a:lnTo>
                      <a:pt x="4205" y="1669"/>
                    </a:lnTo>
                    <a:lnTo>
                      <a:pt x="4205" y="1673"/>
                    </a:lnTo>
                    <a:lnTo>
                      <a:pt x="4206" y="1678"/>
                    </a:lnTo>
                    <a:lnTo>
                      <a:pt x="4205" y="1686"/>
                    </a:lnTo>
                    <a:lnTo>
                      <a:pt x="4205" y="1697"/>
                    </a:lnTo>
                    <a:lnTo>
                      <a:pt x="4205" y="1709"/>
                    </a:lnTo>
                    <a:lnTo>
                      <a:pt x="4209" y="1724"/>
                    </a:lnTo>
                    <a:lnTo>
                      <a:pt x="4211" y="1732"/>
                    </a:lnTo>
                    <a:lnTo>
                      <a:pt x="4213" y="1739"/>
                    </a:lnTo>
                    <a:lnTo>
                      <a:pt x="4217" y="1745"/>
                    </a:lnTo>
                    <a:lnTo>
                      <a:pt x="4221" y="1749"/>
                    </a:lnTo>
                    <a:lnTo>
                      <a:pt x="4228" y="1760"/>
                    </a:lnTo>
                    <a:lnTo>
                      <a:pt x="4235" y="1774"/>
                    </a:lnTo>
                    <a:lnTo>
                      <a:pt x="4240" y="1780"/>
                    </a:lnTo>
                    <a:lnTo>
                      <a:pt x="4243" y="1786"/>
                    </a:lnTo>
                    <a:lnTo>
                      <a:pt x="4248" y="1791"/>
                    </a:lnTo>
                    <a:lnTo>
                      <a:pt x="4251" y="1795"/>
                    </a:lnTo>
                    <a:lnTo>
                      <a:pt x="4256" y="1797"/>
                    </a:lnTo>
                    <a:lnTo>
                      <a:pt x="4261" y="1798"/>
                    </a:lnTo>
                    <a:lnTo>
                      <a:pt x="4267" y="1799"/>
                    </a:lnTo>
                    <a:lnTo>
                      <a:pt x="4273" y="1799"/>
                    </a:lnTo>
                    <a:lnTo>
                      <a:pt x="4279" y="1799"/>
                    </a:lnTo>
                    <a:lnTo>
                      <a:pt x="4285" y="1800"/>
                    </a:lnTo>
                    <a:lnTo>
                      <a:pt x="4289" y="1803"/>
                    </a:lnTo>
                    <a:lnTo>
                      <a:pt x="4293" y="1805"/>
                    </a:lnTo>
                    <a:lnTo>
                      <a:pt x="4300" y="1811"/>
                    </a:lnTo>
                    <a:lnTo>
                      <a:pt x="4307" y="1816"/>
                    </a:lnTo>
                    <a:lnTo>
                      <a:pt x="4317" y="1818"/>
                    </a:lnTo>
                    <a:lnTo>
                      <a:pt x="4326" y="1819"/>
                    </a:lnTo>
                    <a:lnTo>
                      <a:pt x="4331" y="1819"/>
                    </a:lnTo>
                    <a:lnTo>
                      <a:pt x="4333" y="1821"/>
                    </a:lnTo>
                    <a:lnTo>
                      <a:pt x="4336" y="1822"/>
                    </a:lnTo>
                    <a:lnTo>
                      <a:pt x="4336" y="1824"/>
                    </a:lnTo>
                    <a:lnTo>
                      <a:pt x="4335" y="1830"/>
                    </a:lnTo>
                    <a:lnTo>
                      <a:pt x="4331" y="1836"/>
                    </a:lnTo>
                    <a:lnTo>
                      <a:pt x="4330" y="1838"/>
                    </a:lnTo>
                    <a:lnTo>
                      <a:pt x="4330" y="1841"/>
                    </a:lnTo>
                    <a:lnTo>
                      <a:pt x="4330" y="1843"/>
                    </a:lnTo>
                    <a:lnTo>
                      <a:pt x="4332" y="1846"/>
                    </a:lnTo>
                    <a:lnTo>
                      <a:pt x="4337" y="1852"/>
                    </a:lnTo>
                    <a:lnTo>
                      <a:pt x="4343" y="1858"/>
                    </a:lnTo>
                    <a:lnTo>
                      <a:pt x="4352" y="1865"/>
                    </a:lnTo>
                    <a:lnTo>
                      <a:pt x="4366" y="1872"/>
                    </a:lnTo>
                    <a:lnTo>
                      <a:pt x="4374" y="1874"/>
                    </a:lnTo>
                    <a:lnTo>
                      <a:pt x="4381" y="1877"/>
                    </a:lnTo>
                    <a:lnTo>
                      <a:pt x="4388" y="1878"/>
                    </a:lnTo>
                    <a:lnTo>
                      <a:pt x="4395" y="1878"/>
                    </a:lnTo>
                    <a:lnTo>
                      <a:pt x="4401" y="1875"/>
                    </a:lnTo>
                    <a:lnTo>
                      <a:pt x="4407" y="1873"/>
                    </a:lnTo>
                    <a:lnTo>
                      <a:pt x="4412" y="1871"/>
                    </a:lnTo>
                    <a:lnTo>
                      <a:pt x="4415" y="1867"/>
                    </a:lnTo>
                    <a:lnTo>
                      <a:pt x="4424" y="1858"/>
                    </a:lnTo>
                    <a:lnTo>
                      <a:pt x="4431" y="1849"/>
                    </a:lnTo>
                    <a:lnTo>
                      <a:pt x="4435" y="1846"/>
                    </a:lnTo>
                    <a:lnTo>
                      <a:pt x="4439" y="1842"/>
                    </a:lnTo>
                    <a:lnTo>
                      <a:pt x="4443" y="1840"/>
                    </a:lnTo>
                    <a:lnTo>
                      <a:pt x="4448" y="1837"/>
                    </a:lnTo>
                    <a:lnTo>
                      <a:pt x="4451" y="1837"/>
                    </a:lnTo>
                    <a:lnTo>
                      <a:pt x="4455" y="1837"/>
                    </a:lnTo>
                    <a:lnTo>
                      <a:pt x="4458" y="1838"/>
                    </a:lnTo>
                    <a:lnTo>
                      <a:pt x="4462" y="1842"/>
                    </a:lnTo>
                    <a:lnTo>
                      <a:pt x="4464" y="1846"/>
                    </a:lnTo>
                    <a:lnTo>
                      <a:pt x="4468" y="1848"/>
                    </a:lnTo>
                    <a:lnTo>
                      <a:pt x="4470" y="1850"/>
                    </a:lnTo>
                    <a:lnTo>
                      <a:pt x="4475" y="1853"/>
                    </a:lnTo>
                    <a:lnTo>
                      <a:pt x="4484" y="1854"/>
                    </a:lnTo>
                    <a:lnTo>
                      <a:pt x="4495" y="1854"/>
                    </a:lnTo>
                    <a:lnTo>
                      <a:pt x="4507" y="1854"/>
                    </a:lnTo>
                    <a:lnTo>
                      <a:pt x="4517" y="1850"/>
                    </a:lnTo>
                    <a:lnTo>
                      <a:pt x="4520" y="1849"/>
                    </a:lnTo>
                    <a:lnTo>
                      <a:pt x="4522" y="1846"/>
                    </a:lnTo>
                    <a:lnTo>
                      <a:pt x="4525" y="1842"/>
                    </a:lnTo>
                    <a:lnTo>
                      <a:pt x="4527" y="1838"/>
                    </a:lnTo>
                    <a:lnTo>
                      <a:pt x="4531" y="1831"/>
                    </a:lnTo>
                    <a:lnTo>
                      <a:pt x="4536" y="1827"/>
                    </a:lnTo>
                    <a:lnTo>
                      <a:pt x="4539" y="1824"/>
                    </a:lnTo>
                    <a:lnTo>
                      <a:pt x="4543" y="1824"/>
                    </a:lnTo>
                    <a:lnTo>
                      <a:pt x="4546" y="1823"/>
                    </a:lnTo>
                    <a:lnTo>
                      <a:pt x="4552" y="1824"/>
                    </a:lnTo>
                    <a:lnTo>
                      <a:pt x="4563" y="1825"/>
                    </a:lnTo>
                    <a:lnTo>
                      <a:pt x="4574" y="1827"/>
                    </a:lnTo>
                    <a:lnTo>
                      <a:pt x="4582" y="1828"/>
                    </a:lnTo>
                    <a:lnTo>
                      <a:pt x="4591" y="1829"/>
                    </a:lnTo>
                    <a:lnTo>
                      <a:pt x="4595" y="1830"/>
                    </a:lnTo>
                    <a:lnTo>
                      <a:pt x="4597" y="1831"/>
                    </a:lnTo>
                    <a:lnTo>
                      <a:pt x="4600" y="1833"/>
                    </a:lnTo>
                    <a:lnTo>
                      <a:pt x="4601" y="1834"/>
                    </a:lnTo>
                    <a:lnTo>
                      <a:pt x="4601" y="1836"/>
                    </a:lnTo>
                    <a:lnTo>
                      <a:pt x="4601" y="1837"/>
                    </a:lnTo>
                    <a:lnTo>
                      <a:pt x="4599" y="1840"/>
                    </a:lnTo>
                    <a:lnTo>
                      <a:pt x="4596" y="1841"/>
                    </a:lnTo>
                    <a:lnTo>
                      <a:pt x="4590" y="1846"/>
                    </a:lnTo>
                    <a:lnTo>
                      <a:pt x="4587" y="1853"/>
                    </a:lnTo>
                    <a:lnTo>
                      <a:pt x="4585" y="1856"/>
                    </a:lnTo>
                    <a:lnTo>
                      <a:pt x="4585" y="1861"/>
                    </a:lnTo>
                    <a:lnTo>
                      <a:pt x="4587" y="1866"/>
                    </a:lnTo>
                    <a:lnTo>
                      <a:pt x="4589" y="1872"/>
                    </a:lnTo>
                    <a:lnTo>
                      <a:pt x="4596" y="1882"/>
                    </a:lnTo>
                    <a:lnTo>
                      <a:pt x="4605" y="1894"/>
                    </a:lnTo>
                    <a:lnTo>
                      <a:pt x="4613" y="1907"/>
                    </a:lnTo>
                    <a:lnTo>
                      <a:pt x="4621" y="1923"/>
                    </a:lnTo>
                    <a:lnTo>
                      <a:pt x="4627" y="1938"/>
                    </a:lnTo>
                    <a:lnTo>
                      <a:pt x="4634" y="1953"/>
                    </a:lnTo>
                    <a:lnTo>
                      <a:pt x="4638" y="1960"/>
                    </a:lnTo>
                    <a:lnTo>
                      <a:pt x="4641" y="1968"/>
                    </a:lnTo>
                    <a:lnTo>
                      <a:pt x="4647" y="1975"/>
                    </a:lnTo>
                    <a:lnTo>
                      <a:pt x="4653" y="1982"/>
                    </a:lnTo>
                    <a:lnTo>
                      <a:pt x="4660" y="1989"/>
                    </a:lnTo>
                    <a:lnTo>
                      <a:pt x="4668" y="1997"/>
                    </a:lnTo>
                    <a:lnTo>
                      <a:pt x="4675" y="2001"/>
                    </a:lnTo>
                    <a:lnTo>
                      <a:pt x="4681" y="2006"/>
                    </a:lnTo>
                    <a:lnTo>
                      <a:pt x="4694" y="2013"/>
                    </a:lnTo>
                    <a:lnTo>
                      <a:pt x="4704" y="2017"/>
                    </a:lnTo>
                    <a:lnTo>
                      <a:pt x="4715" y="2020"/>
                    </a:lnTo>
                    <a:lnTo>
                      <a:pt x="4726" y="2025"/>
                    </a:lnTo>
                    <a:lnTo>
                      <a:pt x="4731" y="2029"/>
                    </a:lnTo>
                    <a:lnTo>
                      <a:pt x="4734" y="2032"/>
                    </a:lnTo>
                    <a:lnTo>
                      <a:pt x="4739" y="2036"/>
                    </a:lnTo>
                    <a:lnTo>
                      <a:pt x="4741" y="2041"/>
                    </a:lnTo>
                    <a:lnTo>
                      <a:pt x="4748" y="2052"/>
                    </a:lnTo>
                    <a:lnTo>
                      <a:pt x="4757" y="2067"/>
                    </a:lnTo>
                    <a:lnTo>
                      <a:pt x="4765" y="2080"/>
                    </a:lnTo>
                    <a:lnTo>
                      <a:pt x="4772" y="2088"/>
                    </a:lnTo>
                    <a:lnTo>
                      <a:pt x="4776" y="2089"/>
                    </a:lnTo>
                    <a:lnTo>
                      <a:pt x="4779" y="2089"/>
                    </a:lnTo>
                    <a:lnTo>
                      <a:pt x="4784" y="2088"/>
                    </a:lnTo>
                    <a:lnTo>
                      <a:pt x="4789" y="2087"/>
                    </a:lnTo>
                    <a:lnTo>
                      <a:pt x="4797" y="2081"/>
                    </a:lnTo>
                    <a:lnTo>
                      <a:pt x="4805" y="2075"/>
                    </a:lnTo>
                    <a:lnTo>
                      <a:pt x="4809" y="2073"/>
                    </a:lnTo>
                    <a:lnTo>
                      <a:pt x="4817" y="2073"/>
                    </a:lnTo>
                    <a:lnTo>
                      <a:pt x="4826" y="2074"/>
                    </a:lnTo>
                    <a:lnTo>
                      <a:pt x="4836" y="2076"/>
                    </a:lnTo>
                    <a:lnTo>
                      <a:pt x="4845" y="2080"/>
                    </a:lnTo>
                    <a:lnTo>
                      <a:pt x="4852" y="2083"/>
                    </a:lnTo>
                    <a:lnTo>
                      <a:pt x="4854" y="2086"/>
                    </a:lnTo>
                    <a:lnTo>
                      <a:pt x="4857" y="2088"/>
                    </a:lnTo>
                    <a:lnTo>
                      <a:pt x="4857" y="2090"/>
                    </a:lnTo>
                    <a:lnTo>
                      <a:pt x="4857" y="2094"/>
                    </a:lnTo>
                    <a:lnTo>
                      <a:pt x="4852" y="2104"/>
                    </a:lnTo>
                    <a:lnTo>
                      <a:pt x="4848" y="2112"/>
                    </a:lnTo>
                    <a:lnTo>
                      <a:pt x="4847" y="2115"/>
                    </a:lnTo>
                    <a:lnTo>
                      <a:pt x="4846" y="2120"/>
                    </a:lnTo>
                    <a:lnTo>
                      <a:pt x="4846" y="2124"/>
                    </a:lnTo>
                    <a:lnTo>
                      <a:pt x="4847" y="2130"/>
                    </a:lnTo>
                    <a:lnTo>
                      <a:pt x="4849" y="2134"/>
                    </a:lnTo>
                    <a:lnTo>
                      <a:pt x="4853" y="2137"/>
                    </a:lnTo>
                    <a:lnTo>
                      <a:pt x="4857" y="2139"/>
                    </a:lnTo>
                    <a:lnTo>
                      <a:pt x="4861" y="2140"/>
                    </a:lnTo>
                    <a:lnTo>
                      <a:pt x="4870" y="2140"/>
                    </a:lnTo>
                    <a:lnTo>
                      <a:pt x="4876" y="2138"/>
                    </a:lnTo>
                    <a:lnTo>
                      <a:pt x="4879" y="2137"/>
                    </a:lnTo>
                    <a:lnTo>
                      <a:pt x="4883" y="2137"/>
                    </a:lnTo>
                    <a:lnTo>
                      <a:pt x="4887" y="2139"/>
                    </a:lnTo>
                    <a:lnTo>
                      <a:pt x="4891" y="2143"/>
                    </a:lnTo>
                    <a:lnTo>
                      <a:pt x="4902" y="2142"/>
                    </a:lnTo>
                    <a:lnTo>
                      <a:pt x="4922" y="2143"/>
                    </a:lnTo>
                    <a:lnTo>
                      <a:pt x="4941" y="2156"/>
                    </a:lnTo>
                    <a:lnTo>
                      <a:pt x="4955" y="2167"/>
                    </a:lnTo>
                    <a:lnTo>
                      <a:pt x="4967" y="2169"/>
                    </a:lnTo>
                    <a:lnTo>
                      <a:pt x="4980" y="2170"/>
                    </a:lnTo>
                    <a:lnTo>
                      <a:pt x="4994" y="2170"/>
                    </a:lnTo>
                    <a:lnTo>
                      <a:pt x="5006" y="2169"/>
                    </a:lnTo>
                    <a:lnTo>
                      <a:pt x="5013" y="2167"/>
                    </a:lnTo>
                    <a:lnTo>
                      <a:pt x="5019" y="2165"/>
                    </a:lnTo>
                    <a:lnTo>
                      <a:pt x="5022" y="2165"/>
                    </a:lnTo>
                    <a:lnTo>
                      <a:pt x="5024" y="2167"/>
                    </a:lnTo>
                    <a:lnTo>
                      <a:pt x="5028" y="2168"/>
                    </a:lnTo>
                    <a:lnTo>
                      <a:pt x="5032" y="2171"/>
                    </a:lnTo>
                    <a:lnTo>
                      <a:pt x="5042" y="2180"/>
                    </a:lnTo>
                    <a:lnTo>
                      <a:pt x="5053" y="2188"/>
                    </a:lnTo>
                    <a:lnTo>
                      <a:pt x="5062" y="2194"/>
                    </a:lnTo>
                    <a:lnTo>
                      <a:pt x="5069" y="2197"/>
                    </a:lnTo>
                    <a:lnTo>
                      <a:pt x="5076" y="2200"/>
                    </a:lnTo>
                    <a:lnTo>
                      <a:pt x="5084" y="2199"/>
                    </a:lnTo>
                    <a:lnTo>
                      <a:pt x="5091" y="2196"/>
                    </a:lnTo>
                    <a:lnTo>
                      <a:pt x="5097" y="2194"/>
                    </a:lnTo>
                    <a:lnTo>
                      <a:pt x="5099" y="2193"/>
                    </a:lnTo>
                    <a:lnTo>
                      <a:pt x="5104" y="2192"/>
                    </a:lnTo>
                    <a:lnTo>
                      <a:pt x="5107" y="2192"/>
                    </a:lnTo>
                    <a:lnTo>
                      <a:pt x="5112" y="2192"/>
                    </a:lnTo>
                    <a:lnTo>
                      <a:pt x="5117" y="2193"/>
                    </a:lnTo>
                    <a:lnTo>
                      <a:pt x="5120" y="2195"/>
                    </a:lnTo>
                    <a:lnTo>
                      <a:pt x="5124" y="2197"/>
                    </a:lnTo>
                    <a:lnTo>
                      <a:pt x="5126" y="2200"/>
                    </a:lnTo>
                    <a:lnTo>
                      <a:pt x="5130" y="2214"/>
                    </a:lnTo>
                    <a:lnTo>
                      <a:pt x="5133" y="2230"/>
                    </a:lnTo>
                    <a:lnTo>
                      <a:pt x="5135" y="2232"/>
                    </a:lnTo>
                    <a:lnTo>
                      <a:pt x="5137" y="2234"/>
                    </a:lnTo>
                    <a:lnTo>
                      <a:pt x="5139" y="2235"/>
                    </a:lnTo>
                    <a:lnTo>
                      <a:pt x="5143" y="2237"/>
                    </a:lnTo>
                    <a:lnTo>
                      <a:pt x="5150" y="2237"/>
                    </a:lnTo>
                    <a:lnTo>
                      <a:pt x="5160" y="2235"/>
                    </a:lnTo>
                    <a:lnTo>
                      <a:pt x="5170" y="2233"/>
                    </a:lnTo>
                    <a:lnTo>
                      <a:pt x="5182" y="2232"/>
                    </a:lnTo>
                    <a:lnTo>
                      <a:pt x="5188" y="2232"/>
                    </a:lnTo>
                    <a:lnTo>
                      <a:pt x="5194" y="2233"/>
                    </a:lnTo>
                    <a:lnTo>
                      <a:pt x="5199" y="2235"/>
                    </a:lnTo>
                    <a:lnTo>
                      <a:pt x="5202" y="2239"/>
                    </a:lnTo>
                    <a:lnTo>
                      <a:pt x="5207" y="2247"/>
                    </a:lnTo>
                    <a:lnTo>
                      <a:pt x="5212" y="2257"/>
                    </a:lnTo>
                    <a:lnTo>
                      <a:pt x="5218" y="2265"/>
                    </a:lnTo>
                    <a:lnTo>
                      <a:pt x="5225" y="2276"/>
                    </a:lnTo>
                    <a:lnTo>
                      <a:pt x="5233" y="2284"/>
                    </a:lnTo>
                    <a:lnTo>
                      <a:pt x="5239" y="2290"/>
                    </a:lnTo>
                    <a:lnTo>
                      <a:pt x="5243" y="2293"/>
                    </a:lnTo>
                    <a:lnTo>
                      <a:pt x="5246" y="2294"/>
                    </a:lnTo>
                    <a:lnTo>
                      <a:pt x="5250" y="2295"/>
                    </a:lnTo>
                    <a:lnTo>
                      <a:pt x="5255" y="2294"/>
                    </a:lnTo>
                    <a:lnTo>
                      <a:pt x="5262" y="2294"/>
                    </a:lnTo>
                    <a:lnTo>
                      <a:pt x="5268" y="2294"/>
                    </a:lnTo>
                    <a:lnTo>
                      <a:pt x="5270" y="2295"/>
                    </a:lnTo>
                    <a:lnTo>
                      <a:pt x="5273" y="2297"/>
                    </a:lnTo>
                    <a:lnTo>
                      <a:pt x="5274" y="2300"/>
                    </a:lnTo>
                    <a:lnTo>
                      <a:pt x="5275" y="2302"/>
                    </a:lnTo>
                    <a:lnTo>
                      <a:pt x="5277" y="2310"/>
                    </a:lnTo>
                    <a:lnTo>
                      <a:pt x="5281" y="2317"/>
                    </a:lnTo>
                    <a:lnTo>
                      <a:pt x="5283" y="2320"/>
                    </a:lnTo>
                    <a:lnTo>
                      <a:pt x="5287" y="2323"/>
                    </a:lnTo>
                    <a:lnTo>
                      <a:pt x="5290" y="2325"/>
                    </a:lnTo>
                    <a:lnTo>
                      <a:pt x="5296" y="2326"/>
                    </a:lnTo>
                    <a:lnTo>
                      <a:pt x="5306" y="2325"/>
                    </a:lnTo>
                    <a:lnTo>
                      <a:pt x="5313" y="2322"/>
                    </a:lnTo>
                    <a:lnTo>
                      <a:pt x="5320" y="2319"/>
                    </a:lnTo>
                    <a:lnTo>
                      <a:pt x="5328" y="2312"/>
                    </a:lnTo>
                    <a:lnTo>
                      <a:pt x="5333" y="2308"/>
                    </a:lnTo>
                    <a:lnTo>
                      <a:pt x="5339" y="2306"/>
                    </a:lnTo>
                    <a:lnTo>
                      <a:pt x="5345" y="2303"/>
                    </a:lnTo>
                    <a:lnTo>
                      <a:pt x="5352" y="2302"/>
                    </a:lnTo>
                    <a:lnTo>
                      <a:pt x="5366" y="2302"/>
                    </a:lnTo>
                    <a:lnTo>
                      <a:pt x="5377" y="2302"/>
                    </a:lnTo>
                    <a:lnTo>
                      <a:pt x="5382" y="2303"/>
                    </a:lnTo>
                    <a:lnTo>
                      <a:pt x="5387" y="2306"/>
                    </a:lnTo>
                    <a:lnTo>
                      <a:pt x="5390" y="2307"/>
                    </a:lnTo>
                    <a:lnTo>
                      <a:pt x="5395" y="2310"/>
                    </a:lnTo>
                    <a:lnTo>
                      <a:pt x="5402" y="2317"/>
                    </a:lnTo>
                    <a:lnTo>
                      <a:pt x="5408" y="2327"/>
                    </a:lnTo>
                    <a:lnTo>
                      <a:pt x="5414" y="2338"/>
                    </a:lnTo>
                    <a:lnTo>
                      <a:pt x="5420" y="2347"/>
                    </a:lnTo>
                    <a:lnTo>
                      <a:pt x="5424" y="2351"/>
                    </a:lnTo>
                    <a:lnTo>
                      <a:pt x="5427" y="2353"/>
                    </a:lnTo>
                    <a:lnTo>
                      <a:pt x="5431" y="2354"/>
                    </a:lnTo>
                    <a:lnTo>
                      <a:pt x="5435" y="2354"/>
                    </a:lnTo>
                    <a:lnTo>
                      <a:pt x="5444" y="2353"/>
                    </a:lnTo>
                    <a:lnTo>
                      <a:pt x="5451" y="2353"/>
                    </a:lnTo>
                    <a:lnTo>
                      <a:pt x="5454" y="2354"/>
                    </a:lnTo>
                    <a:lnTo>
                      <a:pt x="5457" y="2356"/>
                    </a:lnTo>
                    <a:lnTo>
                      <a:pt x="5459" y="2357"/>
                    </a:lnTo>
                    <a:lnTo>
                      <a:pt x="5462" y="2359"/>
                    </a:lnTo>
                    <a:lnTo>
                      <a:pt x="5468" y="2365"/>
                    </a:lnTo>
                    <a:lnTo>
                      <a:pt x="5478" y="2370"/>
                    </a:lnTo>
                    <a:lnTo>
                      <a:pt x="5489" y="2373"/>
                    </a:lnTo>
                    <a:lnTo>
                      <a:pt x="5498" y="2376"/>
                    </a:lnTo>
                    <a:lnTo>
                      <a:pt x="5507" y="2375"/>
                    </a:lnTo>
                    <a:lnTo>
                      <a:pt x="5514" y="2372"/>
                    </a:lnTo>
                    <a:lnTo>
                      <a:pt x="5520" y="2367"/>
                    </a:lnTo>
                    <a:lnTo>
                      <a:pt x="5526" y="2361"/>
                    </a:lnTo>
                    <a:lnTo>
                      <a:pt x="5529" y="2358"/>
                    </a:lnTo>
                    <a:lnTo>
                      <a:pt x="5533" y="2356"/>
                    </a:lnTo>
                    <a:lnTo>
                      <a:pt x="5536" y="2354"/>
                    </a:lnTo>
                    <a:lnTo>
                      <a:pt x="5541" y="2354"/>
                    </a:lnTo>
                    <a:lnTo>
                      <a:pt x="5550" y="2354"/>
                    </a:lnTo>
                    <a:lnTo>
                      <a:pt x="5558" y="2356"/>
                    </a:lnTo>
                    <a:lnTo>
                      <a:pt x="5569" y="2357"/>
                    </a:lnTo>
                    <a:lnTo>
                      <a:pt x="5578" y="2357"/>
                    </a:lnTo>
                    <a:lnTo>
                      <a:pt x="5584" y="2357"/>
                    </a:lnTo>
                    <a:lnTo>
                      <a:pt x="5588" y="2354"/>
                    </a:lnTo>
                    <a:lnTo>
                      <a:pt x="5592" y="2352"/>
                    </a:lnTo>
                    <a:lnTo>
                      <a:pt x="5595" y="2348"/>
                    </a:lnTo>
                    <a:lnTo>
                      <a:pt x="5599" y="2342"/>
                    </a:lnTo>
                    <a:lnTo>
                      <a:pt x="5605" y="2339"/>
                    </a:lnTo>
                    <a:lnTo>
                      <a:pt x="5614" y="2337"/>
                    </a:lnTo>
                    <a:lnTo>
                      <a:pt x="5627" y="2335"/>
                    </a:lnTo>
                    <a:lnTo>
                      <a:pt x="5641" y="2335"/>
                    </a:lnTo>
                    <a:lnTo>
                      <a:pt x="5655" y="2333"/>
                    </a:lnTo>
                    <a:lnTo>
                      <a:pt x="5661" y="2332"/>
                    </a:lnTo>
                    <a:lnTo>
                      <a:pt x="5666" y="2331"/>
                    </a:lnTo>
                    <a:lnTo>
                      <a:pt x="5671" y="2328"/>
                    </a:lnTo>
                    <a:lnTo>
                      <a:pt x="5673" y="2325"/>
                    </a:lnTo>
                    <a:lnTo>
                      <a:pt x="5679" y="2319"/>
                    </a:lnTo>
                    <a:lnTo>
                      <a:pt x="5684" y="2314"/>
                    </a:lnTo>
                    <a:lnTo>
                      <a:pt x="5685" y="2313"/>
                    </a:lnTo>
                    <a:lnTo>
                      <a:pt x="5689" y="2313"/>
                    </a:lnTo>
                    <a:lnTo>
                      <a:pt x="5691" y="2314"/>
                    </a:lnTo>
                    <a:lnTo>
                      <a:pt x="5695" y="2317"/>
                    </a:lnTo>
                    <a:lnTo>
                      <a:pt x="5703" y="2327"/>
                    </a:lnTo>
                    <a:lnTo>
                      <a:pt x="5715" y="2337"/>
                    </a:lnTo>
                    <a:lnTo>
                      <a:pt x="5724" y="2346"/>
                    </a:lnTo>
                    <a:lnTo>
                      <a:pt x="5731" y="2353"/>
                    </a:lnTo>
                    <a:lnTo>
                      <a:pt x="5735" y="2359"/>
                    </a:lnTo>
                    <a:lnTo>
                      <a:pt x="5737" y="2365"/>
                    </a:lnTo>
                    <a:lnTo>
                      <a:pt x="5740" y="2372"/>
                    </a:lnTo>
                    <a:lnTo>
                      <a:pt x="5741" y="2380"/>
                    </a:lnTo>
                    <a:lnTo>
                      <a:pt x="5745" y="2390"/>
                    </a:lnTo>
                    <a:lnTo>
                      <a:pt x="5748" y="2397"/>
                    </a:lnTo>
                    <a:lnTo>
                      <a:pt x="5750" y="2401"/>
                    </a:lnTo>
                    <a:lnTo>
                      <a:pt x="5754" y="2403"/>
                    </a:lnTo>
                    <a:lnTo>
                      <a:pt x="5758" y="2404"/>
                    </a:lnTo>
                    <a:lnTo>
                      <a:pt x="5761" y="2405"/>
                    </a:lnTo>
                    <a:lnTo>
                      <a:pt x="5768" y="2407"/>
                    </a:lnTo>
                    <a:lnTo>
                      <a:pt x="5773" y="2409"/>
                    </a:lnTo>
                    <a:lnTo>
                      <a:pt x="5775" y="2411"/>
                    </a:lnTo>
                    <a:lnTo>
                      <a:pt x="5777" y="2414"/>
                    </a:lnTo>
                    <a:lnTo>
                      <a:pt x="5778" y="2416"/>
                    </a:lnTo>
                    <a:lnTo>
                      <a:pt x="5779" y="2420"/>
                    </a:lnTo>
                    <a:lnTo>
                      <a:pt x="5780" y="2421"/>
                    </a:lnTo>
                    <a:lnTo>
                      <a:pt x="5783" y="2422"/>
                    </a:lnTo>
                    <a:lnTo>
                      <a:pt x="5786" y="2422"/>
                    </a:lnTo>
                    <a:lnTo>
                      <a:pt x="5792" y="2420"/>
                    </a:lnTo>
                    <a:lnTo>
                      <a:pt x="5796" y="2417"/>
                    </a:lnTo>
                    <a:lnTo>
                      <a:pt x="5800" y="2417"/>
                    </a:lnTo>
                    <a:lnTo>
                      <a:pt x="5805" y="2417"/>
                    </a:lnTo>
                    <a:lnTo>
                      <a:pt x="5809" y="2419"/>
                    </a:lnTo>
                    <a:lnTo>
                      <a:pt x="5816" y="2422"/>
                    </a:lnTo>
                    <a:lnTo>
                      <a:pt x="5822" y="2428"/>
                    </a:lnTo>
                    <a:lnTo>
                      <a:pt x="5827" y="2433"/>
                    </a:lnTo>
                    <a:lnTo>
                      <a:pt x="5832" y="2435"/>
                    </a:lnTo>
                    <a:lnTo>
                      <a:pt x="5838" y="2438"/>
                    </a:lnTo>
                    <a:lnTo>
                      <a:pt x="5846" y="2440"/>
                    </a:lnTo>
                    <a:lnTo>
                      <a:pt x="5859" y="2442"/>
                    </a:lnTo>
                    <a:lnTo>
                      <a:pt x="5872" y="2445"/>
                    </a:lnTo>
                    <a:lnTo>
                      <a:pt x="5876" y="2447"/>
                    </a:lnTo>
                    <a:lnTo>
                      <a:pt x="5881" y="2449"/>
                    </a:lnTo>
                    <a:lnTo>
                      <a:pt x="5884" y="2452"/>
                    </a:lnTo>
                    <a:lnTo>
                      <a:pt x="5885" y="2455"/>
                    </a:lnTo>
                    <a:lnTo>
                      <a:pt x="5886" y="2460"/>
                    </a:lnTo>
                    <a:lnTo>
                      <a:pt x="5888" y="2465"/>
                    </a:lnTo>
                    <a:lnTo>
                      <a:pt x="5890" y="2467"/>
                    </a:lnTo>
                    <a:lnTo>
                      <a:pt x="5890" y="2468"/>
                    </a:lnTo>
                    <a:lnTo>
                      <a:pt x="5888" y="2470"/>
                    </a:lnTo>
                    <a:lnTo>
                      <a:pt x="5886" y="2471"/>
                    </a:lnTo>
                    <a:lnTo>
                      <a:pt x="5880" y="2472"/>
                    </a:lnTo>
                    <a:lnTo>
                      <a:pt x="5872" y="2472"/>
                    </a:lnTo>
                    <a:lnTo>
                      <a:pt x="5851" y="2473"/>
                    </a:lnTo>
                    <a:lnTo>
                      <a:pt x="5837" y="2476"/>
                    </a:lnTo>
                    <a:lnTo>
                      <a:pt x="5836" y="2476"/>
                    </a:lnTo>
                    <a:lnTo>
                      <a:pt x="5836" y="2478"/>
                    </a:lnTo>
                    <a:lnTo>
                      <a:pt x="5837" y="2480"/>
                    </a:lnTo>
                    <a:lnTo>
                      <a:pt x="5840" y="2482"/>
                    </a:lnTo>
                    <a:lnTo>
                      <a:pt x="5846" y="2486"/>
                    </a:lnTo>
                    <a:lnTo>
                      <a:pt x="5850" y="2490"/>
                    </a:lnTo>
                    <a:lnTo>
                      <a:pt x="5857" y="2495"/>
                    </a:lnTo>
                    <a:lnTo>
                      <a:pt x="5865" y="2498"/>
                    </a:lnTo>
                    <a:lnTo>
                      <a:pt x="5873" y="2499"/>
                    </a:lnTo>
                    <a:lnTo>
                      <a:pt x="5881" y="2501"/>
                    </a:lnTo>
                    <a:lnTo>
                      <a:pt x="5884" y="2502"/>
                    </a:lnTo>
                    <a:lnTo>
                      <a:pt x="5886" y="2503"/>
                    </a:lnTo>
                    <a:lnTo>
                      <a:pt x="5887" y="2506"/>
                    </a:lnTo>
                    <a:lnTo>
                      <a:pt x="5890" y="2509"/>
                    </a:lnTo>
                    <a:lnTo>
                      <a:pt x="5892" y="2518"/>
                    </a:lnTo>
                    <a:lnTo>
                      <a:pt x="5894" y="2528"/>
                    </a:lnTo>
                    <a:lnTo>
                      <a:pt x="5897" y="2549"/>
                    </a:lnTo>
                    <a:lnTo>
                      <a:pt x="5899" y="2564"/>
                    </a:lnTo>
                    <a:lnTo>
                      <a:pt x="5900" y="2566"/>
                    </a:lnTo>
                    <a:lnTo>
                      <a:pt x="5903" y="2568"/>
                    </a:lnTo>
                    <a:lnTo>
                      <a:pt x="5906" y="2568"/>
                    </a:lnTo>
                    <a:lnTo>
                      <a:pt x="5910" y="2568"/>
                    </a:lnTo>
                    <a:lnTo>
                      <a:pt x="5919" y="2566"/>
                    </a:lnTo>
                    <a:lnTo>
                      <a:pt x="5929" y="2566"/>
                    </a:lnTo>
                    <a:lnTo>
                      <a:pt x="5936" y="2567"/>
                    </a:lnTo>
                    <a:lnTo>
                      <a:pt x="5941" y="2568"/>
                    </a:lnTo>
                    <a:lnTo>
                      <a:pt x="5943" y="2569"/>
                    </a:lnTo>
                    <a:lnTo>
                      <a:pt x="5944" y="2571"/>
                    </a:lnTo>
                    <a:lnTo>
                      <a:pt x="5944" y="2574"/>
                    </a:lnTo>
                    <a:lnTo>
                      <a:pt x="5945" y="2578"/>
                    </a:lnTo>
                    <a:lnTo>
                      <a:pt x="5945" y="2586"/>
                    </a:lnTo>
                    <a:lnTo>
                      <a:pt x="5944" y="2594"/>
                    </a:lnTo>
                    <a:lnTo>
                      <a:pt x="5941" y="2603"/>
                    </a:lnTo>
                    <a:lnTo>
                      <a:pt x="5938" y="2610"/>
                    </a:lnTo>
                    <a:lnTo>
                      <a:pt x="5935" y="2615"/>
                    </a:lnTo>
                    <a:lnTo>
                      <a:pt x="5934" y="2618"/>
                    </a:lnTo>
                    <a:lnTo>
                      <a:pt x="5932" y="2622"/>
                    </a:lnTo>
                    <a:lnTo>
                      <a:pt x="5932" y="2625"/>
                    </a:lnTo>
                    <a:lnTo>
                      <a:pt x="5932" y="2630"/>
                    </a:lnTo>
                    <a:lnTo>
                      <a:pt x="5931" y="2635"/>
                    </a:lnTo>
                    <a:lnTo>
                      <a:pt x="5928" y="2640"/>
                    </a:lnTo>
                    <a:lnTo>
                      <a:pt x="5922" y="2642"/>
                    </a:lnTo>
                    <a:lnTo>
                      <a:pt x="5919" y="2643"/>
                    </a:lnTo>
                    <a:lnTo>
                      <a:pt x="5917" y="2644"/>
                    </a:lnTo>
                    <a:lnTo>
                      <a:pt x="5915" y="2647"/>
                    </a:lnTo>
                    <a:lnTo>
                      <a:pt x="5912" y="2649"/>
                    </a:lnTo>
                    <a:lnTo>
                      <a:pt x="5910" y="2653"/>
                    </a:lnTo>
                    <a:lnTo>
                      <a:pt x="5910" y="2657"/>
                    </a:lnTo>
                    <a:lnTo>
                      <a:pt x="5909" y="2662"/>
                    </a:lnTo>
                    <a:lnTo>
                      <a:pt x="5910" y="2668"/>
                    </a:lnTo>
                    <a:lnTo>
                      <a:pt x="5912" y="2682"/>
                    </a:lnTo>
                    <a:lnTo>
                      <a:pt x="5918" y="2699"/>
                    </a:lnTo>
                    <a:lnTo>
                      <a:pt x="5925" y="2717"/>
                    </a:lnTo>
                    <a:lnTo>
                      <a:pt x="5934" y="2733"/>
                    </a:lnTo>
                    <a:lnTo>
                      <a:pt x="5942" y="2747"/>
                    </a:lnTo>
                    <a:lnTo>
                      <a:pt x="5950" y="2757"/>
                    </a:lnTo>
                    <a:lnTo>
                      <a:pt x="5957" y="2763"/>
                    </a:lnTo>
                    <a:lnTo>
                      <a:pt x="5963" y="2767"/>
                    </a:lnTo>
                    <a:lnTo>
                      <a:pt x="5966" y="2767"/>
                    </a:lnTo>
                    <a:lnTo>
                      <a:pt x="5968" y="2767"/>
                    </a:lnTo>
                    <a:lnTo>
                      <a:pt x="5972" y="2766"/>
                    </a:lnTo>
                    <a:lnTo>
                      <a:pt x="5975" y="2764"/>
                    </a:lnTo>
                    <a:lnTo>
                      <a:pt x="5981" y="2761"/>
                    </a:lnTo>
                    <a:lnTo>
                      <a:pt x="5988" y="2757"/>
                    </a:lnTo>
                    <a:lnTo>
                      <a:pt x="5994" y="2754"/>
                    </a:lnTo>
                    <a:lnTo>
                      <a:pt x="6001" y="2754"/>
                    </a:lnTo>
                    <a:lnTo>
                      <a:pt x="6010" y="2755"/>
                    </a:lnTo>
                    <a:lnTo>
                      <a:pt x="6018" y="2757"/>
                    </a:lnTo>
                    <a:lnTo>
                      <a:pt x="6026" y="2761"/>
                    </a:lnTo>
                    <a:lnTo>
                      <a:pt x="6035" y="2766"/>
                    </a:lnTo>
                    <a:lnTo>
                      <a:pt x="6038" y="2768"/>
                    </a:lnTo>
                    <a:lnTo>
                      <a:pt x="6042" y="2772"/>
                    </a:lnTo>
                    <a:lnTo>
                      <a:pt x="6044" y="2775"/>
                    </a:lnTo>
                    <a:lnTo>
                      <a:pt x="6046" y="2780"/>
                    </a:lnTo>
                    <a:lnTo>
                      <a:pt x="6049" y="2783"/>
                    </a:lnTo>
                    <a:lnTo>
                      <a:pt x="6051" y="2785"/>
                    </a:lnTo>
                    <a:lnTo>
                      <a:pt x="6054" y="2785"/>
                    </a:lnTo>
                    <a:lnTo>
                      <a:pt x="6056" y="2783"/>
                    </a:lnTo>
                    <a:lnTo>
                      <a:pt x="6062" y="2777"/>
                    </a:lnTo>
                    <a:lnTo>
                      <a:pt x="6070" y="2772"/>
                    </a:lnTo>
                    <a:lnTo>
                      <a:pt x="6074" y="2768"/>
                    </a:lnTo>
                    <a:lnTo>
                      <a:pt x="6077" y="2762"/>
                    </a:lnTo>
                    <a:lnTo>
                      <a:pt x="6082" y="2756"/>
                    </a:lnTo>
                    <a:lnTo>
                      <a:pt x="6087" y="2749"/>
                    </a:lnTo>
                    <a:lnTo>
                      <a:pt x="6090" y="2743"/>
                    </a:lnTo>
                    <a:lnTo>
                      <a:pt x="6094" y="2738"/>
                    </a:lnTo>
                    <a:lnTo>
                      <a:pt x="6096" y="2737"/>
                    </a:lnTo>
                    <a:lnTo>
                      <a:pt x="6098" y="2736"/>
                    </a:lnTo>
                    <a:lnTo>
                      <a:pt x="6100" y="2736"/>
                    </a:lnTo>
                    <a:lnTo>
                      <a:pt x="6101" y="2737"/>
                    </a:lnTo>
                    <a:lnTo>
                      <a:pt x="6108" y="2745"/>
                    </a:lnTo>
                    <a:lnTo>
                      <a:pt x="6115" y="2757"/>
                    </a:lnTo>
                    <a:lnTo>
                      <a:pt x="6119" y="2763"/>
                    </a:lnTo>
                    <a:lnTo>
                      <a:pt x="6124" y="2768"/>
                    </a:lnTo>
                    <a:lnTo>
                      <a:pt x="6127" y="2772"/>
                    </a:lnTo>
                    <a:lnTo>
                      <a:pt x="6131" y="2774"/>
                    </a:lnTo>
                    <a:lnTo>
                      <a:pt x="6136" y="2775"/>
                    </a:lnTo>
                    <a:lnTo>
                      <a:pt x="6140" y="2779"/>
                    </a:lnTo>
                    <a:lnTo>
                      <a:pt x="6146" y="2785"/>
                    </a:lnTo>
                    <a:lnTo>
                      <a:pt x="6152" y="2792"/>
                    </a:lnTo>
                    <a:lnTo>
                      <a:pt x="6158" y="2799"/>
                    </a:lnTo>
                    <a:lnTo>
                      <a:pt x="6163" y="2806"/>
                    </a:lnTo>
                    <a:lnTo>
                      <a:pt x="6165" y="2812"/>
                    </a:lnTo>
                    <a:lnTo>
                      <a:pt x="6168" y="2817"/>
                    </a:lnTo>
                    <a:lnTo>
                      <a:pt x="6168" y="2833"/>
                    </a:lnTo>
                    <a:lnTo>
                      <a:pt x="6168" y="2850"/>
                    </a:lnTo>
                    <a:lnTo>
                      <a:pt x="6170" y="2854"/>
                    </a:lnTo>
                    <a:lnTo>
                      <a:pt x="6172" y="2858"/>
                    </a:lnTo>
                    <a:lnTo>
                      <a:pt x="6176" y="2862"/>
                    </a:lnTo>
                    <a:lnTo>
                      <a:pt x="6181" y="2865"/>
                    </a:lnTo>
                    <a:lnTo>
                      <a:pt x="6187" y="2868"/>
                    </a:lnTo>
                    <a:lnTo>
                      <a:pt x="6191" y="2870"/>
                    </a:lnTo>
                    <a:lnTo>
                      <a:pt x="6196" y="2869"/>
                    </a:lnTo>
                    <a:lnTo>
                      <a:pt x="6201" y="2868"/>
                    </a:lnTo>
                    <a:lnTo>
                      <a:pt x="6205" y="2865"/>
                    </a:lnTo>
                    <a:lnTo>
                      <a:pt x="6206" y="2862"/>
                    </a:lnTo>
                    <a:lnTo>
                      <a:pt x="6207" y="2859"/>
                    </a:lnTo>
                    <a:lnTo>
                      <a:pt x="6207" y="2858"/>
                    </a:lnTo>
                    <a:lnTo>
                      <a:pt x="6206" y="2856"/>
                    </a:lnTo>
                    <a:lnTo>
                      <a:pt x="6205" y="2855"/>
                    </a:lnTo>
                    <a:lnTo>
                      <a:pt x="6202" y="2855"/>
                    </a:lnTo>
                    <a:lnTo>
                      <a:pt x="6199" y="2855"/>
                    </a:lnTo>
                    <a:lnTo>
                      <a:pt x="6196" y="2855"/>
                    </a:lnTo>
                    <a:lnTo>
                      <a:pt x="6194" y="2855"/>
                    </a:lnTo>
                    <a:lnTo>
                      <a:pt x="6193" y="2852"/>
                    </a:lnTo>
                    <a:lnTo>
                      <a:pt x="6193" y="2850"/>
                    </a:lnTo>
                    <a:lnTo>
                      <a:pt x="6193" y="2848"/>
                    </a:lnTo>
                    <a:lnTo>
                      <a:pt x="6194" y="2844"/>
                    </a:lnTo>
                    <a:lnTo>
                      <a:pt x="6195" y="2840"/>
                    </a:lnTo>
                    <a:lnTo>
                      <a:pt x="6199" y="2837"/>
                    </a:lnTo>
                    <a:lnTo>
                      <a:pt x="6205" y="2829"/>
                    </a:lnTo>
                    <a:lnTo>
                      <a:pt x="6211" y="2819"/>
                    </a:lnTo>
                    <a:lnTo>
                      <a:pt x="6212" y="2814"/>
                    </a:lnTo>
                    <a:lnTo>
                      <a:pt x="6212" y="2810"/>
                    </a:lnTo>
                    <a:lnTo>
                      <a:pt x="6212" y="2804"/>
                    </a:lnTo>
                    <a:lnTo>
                      <a:pt x="6208" y="2799"/>
                    </a:lnTo>
                    <a:lnTo>
                      <a:pt x="6203" y="2791"/>
                    </a:lnTo>
                    <a:lnTo>
                      <a:pt x="6202" y="2785"/>
                    </a:lnTo>
                    <a:lnTo>
                      <a:pt x="6202" y="2779"/>
                    </a:lnTo>
                    <a:lnTo>
                      <a:pt x="6202" y="2769"/>
                    </a:lnTo>
                    <a:lnTo>
                      <a:pt x="6201" y="2763"/>
                    </a:lnTo>
                    <a:lnTo>
                      <a:pt x="6199" y="2758"/>
                    </a:lnTo>
                    <a:lnTo>
                      <a:pt x="6196" y="2754"/>
                    </a:lnTo>
                    <a:lnTo>
                      <a:pt x="6194" y="2749"/>
                    </a:lnTo>
                    <a:lnTo>
                      <a:pt x="6191" y="2745"/>
                    </a:lnTo>
                    <a:lnTo>
                      <a:pt x="6191" y="2742"/>
                    </a:lnTo>
                    <a:lnTo>
                      <a:pt x="6191" y="2741"/>
                    </a:lnTo>
                    <a:lnTo>
                      <a:pt x="6195" y="2739"/>
                    </a:lnTo>
                    <a:lnTo>
                      <a:pt x="6199" y="2739"/>
                    </a:lnTo>
                    <a:lnTo>
                      <a:pt x="6201" y="2738"/>
                    </a:lnTo>
                    <a:lnTo>
                      <a:pt x="6203" y="2738"/>
                    </a:lnTo>
                    <a:lnTo>
                      <a:pt x="6205" y="2737"/>
                    </a:lnTo>
                    <a:lnTo>
                      <a:pt x="6206" y="2732"/>
                    </a:lnTo>
                    <a:lnTo>
                      <a:pt x="6206" y="2725"/>
                    </a:lnTo>
                    <a:lnTo>
                      <a:pt x="6206" y="2720"/>
                    </a:lnTo>
                    <a:lnTo>
                      <a:pt x="6207" y="2717"/>
                    </a:lnTo>
                    <a:lnTo>
                      <a:pt x="6209" y="2714"/>
                    </a:lnTo>
                    <a:lnTo>
                      <a:pt x="6212" y="2712"/>
                    </a:lnTo>
                    <a:lnTo>
                      <a:pt x="6215" y="2711"/>
                    </a:lnTo>
                    <a:lnTo>
                      <a:pt x="6220" y="2709"/>
                    </a:lnTo>
                    <a:lnTo>
                      <a:pt x="6226" y="2709"/>
                    </a:lnTo>
                    <a:lnTo>
                      <a:pt x="6233" y="2707"/>
                    </a:lnTo>
                    <a:lnTo>
                      <a:pt x="6239" y="2709"/>
                    </a:lnTo>
                    <a:lnTo>
                      <a:pt x="6245" y="2709"/>
                    </a:lnTo>
                    <a:lnTo>
                      <a:pt x="6249" y="2711"/>
                    </a:lnTo>
                    <a:lnTo>
                      <a:pt x="6252" y="2712"/>
                    </a:lnTo>
                    <a:lnTo>
                      <a:pt x="6254" y="2716"/>
                    </a:lnTo>
                    <a:lnTo>
                      <a:pt x="6256" y="2718"/>
                    </a:lnTo>
                    <a:lnTo>
                      <a:pt x="6257" y="2722"/>
                    </a:lnTo>
                    <a:lnTo>
                      <a:pt x="6257" y="2726"/>
                    </a:lnTo>
                    <a:lnTo>
                      <a:pt x="6257" y="2735"/>
                    </a:lnTo>
                    <a:lnTo>
                      <a:pt x="6258" y="2741"/>
                    </a:lnTo>
                    <a:lnTo>
                      <a:pt x="6260" y="2744"/>
                    </a:lnTo>
                    <a:lnTo>
                      <a:pt x="6262" y="2748"/>
                    </a:lnTo>
                    <a:lnTo>
                      <a:pt x="6265" y="2750"/>
                    </a:lnTo>
                    <a:lnTo>
                      <a:pt x="6269" y="2754"/>
                    </a:lnTo>
                    <a:lnTo>
                      <a:pt x="6272" y="2756"/>
                    </a:lnTo>
                    <a:lnTo>
                      <a:pt x="6275" y="2760"/>
                    </a:lnTo>
                    <a:lnTo>
                      <a:pt x="6276" y="2763"/>
                    </a:lnTo>
                    <a:lnTo>
                      <a:pt x="6277" y="2767"/>
                    </a:lnTo>
                    <a:lnTo>
                      <a:pt x="6278" y="2774"/>
                    </a:lnTo>
                    <a:lnTo>
                      <a:pt x="6278" y="2781"/>
                    </a:lnTo>
                    <a:lnTo>
                      <a:pt x="6279" y="2785"/>
                    </a:lnTo>
                    <a:lnTo>
                      <a:pt x="6281" y="2789"/>
                    </a:lnTo>
                    <a:lnTo>
                      <a:pt x="6284" y="2792"/>
                    </a:lnTo>
                    <a:lnTo>
                      <a:pt x="6288" y="2795"/>
                    </a:lnTo>
                    <a:lnTo>
                      <a:pt x="6297" y="2800"/>
                    </a:lnTo>
                    <a:lnTo>
                      <a:pt x="6308" y="2805"/>
                    </a:lnTo>
                    <a:lnTo>
                      <a:pt x="6325" y="2810"/>
                    </a:lnTo>
                    <a:lnTo>
                      <a:pt x="6347" y="2818"/>
                    </a:lnTo>
                    <a:lnTo>
                      <a:pt x="6369" y="2826"/>
                    </a:lnTo>
                    <a:lnTo>
                      <a:pt x="6384" y="2833"/>
                    </a:lnTo>
                    <a:lnTo>
                      <a:pt x="6394" y="2839"/>
                    </a:lnTo>
                    <a:lnTo>
                      <a:pt x="6403" y="2844"/>
                    </a:lnTo>
                    <a:lnTo>
                      <a:pt x="6407" y="2845"/>
                    </a:lnTo>
                    <a:lnTo>
                      <a:pt x="6411" y="2846"/>
                    </a:lnTo>
                    <a:lnTo>
                      <a:pt x="6415" y="2845"/>
                    </a:lnTo>
                    <a:lnTo>
                      <a:pt x="6417" y="2845"/>
                    </a:lnTo>
                    <a:lnTo>
                      <a:pt x="6421" y="2843"/>
                    </a:lnTo>
                    <a:lnTo>
                      <a:pt x="6422" y="2838"/>
                    </a:lnTo>
                    <a:lnTo>
                      <a:pt x="6423" y="2835"/>
                    </a:lnTo>
                    <a:lnTo>
                      <a:pt x="6422" y="2829"/>
                    </a:lnTo>
                    <a:lnTo>
                      <a:pt x="6421" y="2823"/>
                    </a:lnTo>
                    <a:lnTo>
                      <a:pt x="6419" y="2817"/>
                    </a:lnTo>
                    <a:lnTo>
                      <a:pt x="6416" y="2811"/>
                    </a:lnTo>
                    <a:lnTo>
                      <a:pt x="6413" y="2806"/>
                    </a:lnTo>
                    <a:lnTo>
                      <a:pt x="6407" y="2796"/>
                    </a:lnTo>
                    <a:lnTo>
                      <a:pt x="6402" y="2787"/>
                    </a:lnTo>
                    <a:lnTo>
                      <a:pt x="6402" y="2782"/>
                    </a:lnTo>
                    <a:lnTo>
                      <a:pt x="6402" y="2777"/>
                    </a:lnTo>
                    <a:lnTo>
                      <a:pt x="6402" y="2772"/>
                    </a:lnTo>
                    <a:lnTo>
                      <a:pt x="6404" y="2766"/>
                    </a:lnTo>
                    <a:lnTo>
                      <a:pt x="6408" y="2755"/>
                    </a:lnTo>
                    <a:lnTo>
                      <a:pt x="6409" y="2745"/>
                    </a:lnTo>
                    <a:lnTo>
                      <a:pt x="6409" y="2741"/>
                    </a:lnTo>
                    <a:lnTo>
                      <a:pt x="6408" y="2736"/>
                    </a:lnTo>
                    <a:lnTo>
                      <a:pt x="6407" y="2731"/>
                    </a:lnTo>
                    <a:lnTo>
                      <a:pt x="6404" y="2725"/>
                    </a:lnTo>
                    <a:lnTo>
                      <a:pt x="6401" y="2714"/>
                    </a:lnTo>
                    <a:lnTo>
                      <a:pt x="6398" y="2705"/>
                    </a:lnTo>
                    <a:lnTo>
                      <a:pt x="6400" y="2701"/>
                    </a:lnTo>
                    <a:lnTo>
                      <a:pt x="6401" y="2699"/>
                    </a:lnTo>
                    <a:lnTo>
                      <a:pt x="6402" y="2697"/>
                    </a:lnTo>
                    <a:lnTo>
                      <a:pt x="6404" y="2697"/>
                    </a:lnTo>
                    <a:lnTo>
                      <a:pt x="6416" y="2700"/>
                    </a:lnTo>
                    <a:lnTo>
                      <a:pt x="6432" y="2709"/>
                    </a:lnTo>
                    <a:lnTo>
                      <a:pt x="6442" y="2712"/>
                    </a:lnTo>
                    <a:lnTo>
                      <a:pt x="6453" y="2716"/>
                    </a:lnTo>
                    <a:lnTo>
                      <a:pt x="6463" y="2718"/>
                    </a:lnTo>
                    <a:lnTo>
                      <a:pt x="6471" y="2718"/>
                    </a:lnTo>
                    <a:lnTo>
                      <a:pt x="6478" y="2718"/>
                    </a:lnTo>
                    <a:lnTo>
                      <a:pt x="6480" y="2716"/>
                    </a:lnTo>
                    <a:lnTo>
                      <a:pt x="6483" y="2711"/>
                    </a:lnTo>
                    <a:lnTo>
                      <a:pt x="6483" y="2705"/>
                    </a:lnTo>
                    <a:lnTo>
                      <a:pt x="6483" y="2701"/>
                    </a:lnTo>
                    <a:lnTo>
                      <a:pt x="6485" y="2699"/>
                    </a:lnTo>
                    <a:lnTo>
                      <a:pt x="6489" y="2698"/>
                    </a:lnTo>
                    <a:lnTo>
                      <a:pt x="6493" y="2697"/>
                    </a:lnTo>
                    <a:lnTo>
                      <a:pt x="6504" y="2695"/>
                    </a:lnTo>
                    <a:lnTo>
                      <a:pt x="6518" y="2697"/>
                    </a:lnTo>
                    <a:lnTo>
                      <a:pt x="6531" y="2699"/>
                    </a:lnTo>
                    <a:lnTo>
                      <a:pt x="6542" y="2703"/>
                    </a:lnTo>
                    <a:lnTo>
                      <a:pt x="6549" y="2706"/>
                    </a:lnTo>
                    <a:lnTo>
                      <a:pt x="6556" y="2709"/>
                    </a:lnTo>
                    <a:lnTo>
                      <a:pt x="6560" y="2710"/>
                    </a:lnTo>
                    <a:lnTo>
                      <a:pt x="6562" y="2710"/>
                    </a:lnTo>
                    <a:lnTo>
                      <a:pt x="6566" y="2710"/>
                    </a:lnTo>
                    <a:lnTo>
                      <a:pt x="6568" y="2709"/>
                    </a:lnTo>
                    <a:lnTo>
                      <a:pt x="6572" y="2704"/>
                    </a:lnTo>
                    <a:lnTo>
                      <a:pt x="6574" y="2699"/>
                    </a:lnTo>
                    <a:lnTo>
                      <a:pt x="6575" y="2691"/>
                    </a:lnTo>
                    <a:lnTo>
                      <a:pt x="6579" y="2684"/>
                    </a:lnTo>
                    <a:lnTo>
                      <a:pt x="6581" y="2681"/>
                    </a:lnTo>
                    <a:lnTo>
                      <a:pt x="6584" y="2680"/>
                    </a:lnTo>
                    <a:lnTo>
                      <a:pt x="6587" y="2680"/>
                    </a:lnTo>
                    <a:lnTo>
                      <a:pt x="6591" y="2681"/>
                    </a:lnTo>
                    <a:lnTo>
                      <a:pt x="6600" y="2686"/>
                    </a:lnTo>
                    <a:lnTo>
                      <a:pt x="6610" y="2687"/>
                    </a:lnTo>
                    <a:lnTo>
                      <a:pt x="6613" y="2687"/>
                    </a:lnTo>
                    <a:lnTo>
                      <a:pt x="6616" y="2686"/>
                    </a:lnTo>
                    <a:lnTo>
                      <a:pt x="6618" y="2684"/>
                    </a:lnTo>
                    <a:lnTo>
                      <a:pt x="6618" y="2680"/>
                    </a:lnTo>
                    <a:lnTo>
                      <a:pt x="6616" y="2671"/>
                    </a:lnTo>
                    <a:lnTo>
                      <a:pt x="6613" y="2659"/>
                    </a:lnTo>
                    <a:lnTo>
                      <a:pt x="6612" y="2651"/>
                    </a:lnTo>
                    <a:lnTo>
                      <a:pt x="6611" y="2644"/>
                    </a:lnTo>
                    <a:lnTo>
                      <a:pt x="6611" y="2636"/>
                    </a:lnTo>
                    <a:lnTo>
                      <a:pt x="6612" y="2627"/>
                    </a:lnTo>
                    <a:lnTo>
                      <a:pt x="6615" y="2618"/>
                    </a:lnTo>
                    <a:lnTo>
                      <a:pt x="6617" y="2612"/>
                    </a:lnTo>
                    <a:lnTo>
                      <a:pt x="6621" y="2608"/>
                    </a:lnTo>
                    <a:lnTo>
                      <a:pt x="6623" y="2605"/>
                    </a:lnTo>
                    <a:lnTo>
                      <a:pt x="6627" y="2604"/>
                    </a:lnTo>
                    <a:lnTo>
                      <a:pt x="6630" y="2604"/>
                    </a:lnTo>
                    <a:lnTo>
                      <a:pt x="6634" y="2605"/>
                    </a:lnTo>
                    <a:lnTo>
                      <a:pt x="6637" y="2606"/>
                    </a:lnTo>
                    <a:lnTo>
                      <a:pt x="6646" y="2610"/>
                    </a:lnTo>
                    <a:lnTo>
                      <a:pt x="6654" y="2611"/>
                    </a:lnTo>
                    <a:lnTo>
                      <a:pt x="6657" y="2611"/>
                    </a:lnTo>
                    <a:lnTo>
                      <a:pt x="6660" y="2610"/>
                    </a:lnTo>
                    <a:lnTo>
                      <a:pt x="6661" y="2608"/>
                    </a:lnTo>
                    <a:lnTo>
                      <a:pt x="6661" y="2604"/>
                    </a:lnTo>
                    <a:lnTo>
                      <a:pt x="6657" y="2594"/>
                    </a:lnTo>
                    <a:lnTo>
                      <a:pt x="6656" y="2587"/>
                    </a:lnTo>
                    <a:lnTo>
                      <a:pt x="6656" y="2584"/>
                    </a:lnTo>
                    <a:lnTo>
                      <a:pt x="6657" y="2580"/>
                    </a:lnTo>
                    <a:lnTo>
                      <a:pt x="6659" y="2578"/>
                    </a:lnTo>
                    <a:lnTo>
                      <a:pt x="6661" y="2575"/>
                    </a:lnTo>
                    <a:lnTo>
                      <a:pt x="6665" y="2574"/>
                    </a:lnTo>
                    <a:lnTo>
                      <a:pt x="6667" y="2571"/>
                    </a:lnTo>
                    <a:lnTo>
                      <a:pt x="6669" y="2568"/>
                    </a:lnTo>
                    <a:lnTo>
                      <a:pt x="6671" y="2565"/>
                    </a:lnTo>
                    <a:lnTo>
                      <a:pt x="6672" y="2562"/>
                    </a:lnTo>
                    <a:lnTo>
                      <a:pt x="6671" y="2559"/>
                    </a:lnTo>
                    <a:lnTo>
                      <a:pt x="6669" y="2556"/>
                    </a:lnTo>
                    <a:lnTo>
                      <a:pt x="6666" y="2555"/>
                    </a:lnTo>
                    <a:lnTo>
                      <a:pt x="6657" y="2550"/>
                    </a:lnTo>
                    <a:lnTo>
                      <a:pt x="6650" y="2547"/>
                    </a:lnTo>
                    <a:lnTo>
                      <a:pt x="6648" y="2543"/>
                    </a:lnTo>
                    <a:lnTo>
                      <a:pt x="6647" y="2541"/>
                    </a:lnTo>
                    <a:lnTo>
                      <a:pt x="6647" y="2537"/>
                    </a:lnTo>
                    <a:lnTo>
                      <a:pt x="6649" y="2533"/>
                    </a:lnTo>
                    <a:lnTo>
                      <a:pt x="6654" y="2524"/>
                    </a:lnTo>
                    <a:lnTo>
                      <a:pt x="6660" y="2517"/>
                    </a:lnTo>
                    <a:lnTo>
                      <a:pt x="6663" y="2514"/>
                    </a:lnTo>
                    <a:lnTo>
                      <a:pt x="6667" y="2511"/>
                    </a:lnTo>
                    <a:lnTo>
                      <a:pt x="6672" y="2509"/>
                    </a:lnTo>
                    <a:lnTo>
                      <a:pt x="6678" y="2508"/>
                    </a:lnTo>
                    <a:lnTo>
                      <a:pt x="6685" y="2509"/>
                    </a:lnTo>
                    <a:lnTo>
                      <a:pt x="6694" y="2512"/>
                    </a:lnTo>
                    <a:lnTo>
                      <a:pt x="6705" y="2517"/>
                    </a:lnTo>
                    <a:lnTo>
                      <a:pt x="6716" y="2523"/>
                    </a:lnTo>
                    <a:lnTo>
                      <a:pt x="6737" y="2534"/>
                    </a:lnTo>
                    <a:lnTo>
                      <a:pt x="6754" y="2541"/>
                    </a:lnTo>
                    <a:lnTo>
                      <a:pt x="6759" y="2541"/>
                    </a:lnTo>
                    <a:lnTo>
                      <a:pt x="6762" y="2540"/>
                    </a:lnTo>
                    <a:lnTo>
                      <a:pt x="6764" y="2539"/>
                    </a:lnTo>
                    <a:lnTo>
                      <a:pt x="6767" y="2536"/>
                    </a:lnTo>
                    <a:lnTo>
                      <a:pt x="6772" y="2529"/>
                    </a:lnTo>
                    <a:lnTo>
                      <a:pt x="6776" y="2521"/>
                    </a:lnTo>
                    <a:lnTo>
                      <a:pt x="6781" y="2517"/>
                    </a:lnTo>
                    <a:lnTo>
                      <a:pt x="6785" y="2515"/>
                    </a:lnTo>
                    <a:lnTo>
                      <a:pt x="6787" y="2514"/>
                    </a:lnTo>
                    <a:lnTo>
                      <a:pt x="6791" y="2515"/>
                    </a:lnTo>
                    <a:lnTo>
                      <a:pt x="6797" y="2518"/>
                    </a:lnTo>
                    <a:lnTo>
                      <a:pt x="6802" y="2524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6" name="新疆"/>
              <p:cNvSpPr/>
              <p:nvPr>
                <p:custDataLst>
                  <p:tags r:id="rId43"/>
                </p:custDataLst>
              </p:nvPr>
            </p:nvSpPr>
            <p:spPr bwMode="auto">
              <a:xfrm>
                <a:off x="613692" y="1106452"/>
                <a:ext cx="2762625" cy="2144323"/>
              </a:xfrm>
              <a:custGeom>
                <a:avLst/>
                <a:gdLst>
                  <a:gd name="T0" fmla="*/ 7312 w 7557"/>
                  <a:gd name="T1" fmla="*/ 2647 h 5874"/>
                  <a:gd name="T2" fmla="*/ 7035 w 7557"/>
                  <a:gd name="T3" fmla="*/ 2362 h 5874"/>
                  <a:gd name="T4" fmla="*/ 6457 w 7557"/>
                  <a:gd name="T5" fmla="*/ 2072 h 5874"/>
                  <a:gd name="T6" fmla="*/ 6089 w 7557"/>
                  <a:gd name="T7" fmla="*/ 1917 h 5874"/>
                  <a:gd name="T8" fmla="*/ 6152 w 7557"/>
                  <a:gd name="T9" fmla="*/ 1496 h 5874"/>
                  <a:gd name="T10" fmla="*/ 6157 w 7557"/>
                  <a:gd name="T11" fmla="*/ 1125 h 5874"/>
                  <a:gd name="T12" fmla="*/ 5989 w 7557"/>
                  <a:gd name="T13" fmla="*/ 736 h 5874"/>
                  <a:gd name="T14" fmla="*/ 5713 w 7557"/>
                  <a:gd name="T15" fmla="*/ 562 h 5874"/>
                  <a:gd name="T16" fmla="*/ 5468 w 7557"/>
                  <a:gd name="T17" fmla="*/ 159 h 5874"/>
                  <a:gd name="T18" fmla="*/ 5285 w 7557"/>
                  <a:gd name="T19" fmla="*/ 0 h 5874"/>
                  <a:gd name="T20" fmla="*/ 5011 w 7557"/>
                  <a:gd name="T21" fmla="*/ 246 h 5874"/>
                  <a:gd name="T22" fmla="*/ 4728 w 7557"/>
                  <a:gd name="T23" fmla="*/ 610 h 5874"/>
                  <a:gd name="T24" fmla="*/ 4421 w 7557"/>
                  <a:gd name="T25" fmla="*/ 791 h 5874"/>
                  <a:gd name="T26" fmla="*/ 4019 w 7557"/>
                  <a:gd name="T27" fmla="*/ 567 h 5874"/>
                  <a:gd name="T28" fmla="*/ 3604 w 7557"/>
                  <a:gd name="T29" fmla="*/ 1072 h 5874"/>
                  <a:gd name="T30" fmla="*/ 3381 w 7557"/>
                  <a:gd name="T31" fmla="*/ 1195 h 5874"/>
                  <a:gd name="T32" fmla="*/ 2975 w 7557"/>
                  <a:gd name="T33" fmla="*/ 1191 h 5874"/>
                  <a:gd name="T34" fmla="*/ 2786 w 7557"/>
                  <a:gd name="T35" fmla="*/ 1257 h 5874"/>
                  <a:gd name="T36" fmla="*/ 2830 w 7557"/>
                  <a:gd name="T37" fmla="*/ 1655 h 5874"/>
                  <a:gd name="T38" fmla="*/ 2723 w 7557"/>
                  <a:gd name="T39" fmla="*/ 2043 h 5874"/>
                  <a:gd name="T40" fmla="*/ 2565 w 7557"/>
                  <a:gd name="T41" fmla="*/ 2244 h 5874"/>
                  <a:gd name="T42" fmla="*/ 2433 w 7557"/>
                  <a:gd name="T43" fmla="*/ 2428 h 5874"/>
                  <a:gd name="T44" fmla="*/ 2035 w 7557"/>
                  <a:gd name="T45" fmla="*/ 2509 h 5874"/>
                  <a:gd name="T46" fmla="*/ 1570 w 7557"/>
                  <a:gd name="T47" fmla="*/ 2614 h 5874"/>
                  <a:gd name="T48" fmla="*/ 1235 w 7557"/>
                  <a:gd name="T49" fmla="*/ 2643 h 5874"/>
                  <a:gd name="T50" fmla="*/ 919 w 7557"/>
                  <a:gd name="T51" fmla="*/ 2730 h 5874"/>
                  <a:gd name="T52" fmla="*/ 693 w 7557"/>
                  <a:gd name="T53" fmla="*/ 2584 h 5874"/>
                  <a:gd name="T54" fmla="*/ 497 w 7557"/>
                  <a:gd name="T55" fmla="*/ 2641 h 5874"/>
                  <a:gd name="T56" fmla="*/ 152 w 7557"/>
                  <a:gd name="T57" fmla="*/ 2851 h 5874"/>
                  <a:gd name="T58" fmla="*/ 59 w 7557"/>
                  <a:gd name="T59" fmla="*/ 3076 h 5874"/>
                  <a:gd name="T60" fmla="*/ 282 w 7557"/>
                  <a:gd name="T61" fmla="*/ 3290 h 5874"/>
                  <a:gd name="T62" fmla="*/ 289 w 7557"/>
                  <a:gd name="T63" fmla="*/ 3698 h 5874"/>
                  <a:gd name="T64" fmla="*/ 153 w 7557"/>
                  <a:gd name="T65" fmla="*/ 3884 h 5874"/>
                  <a:gd name="T66" fmla="*/ 138 w 7557"/>
                  <a:gd name="T67" fmla="*/ 4019 h 5874"/>
                  <a:gd name="T68" fmla="*/ 355 w 7557"/>
                  <a:gd name="T69" fmla="*/ 4188 h 5874"/>
                  <a:gd name="T70" fmla="*/ 345 w 7557"/>
                  <a:gd name="T71" fmla="*/ 4525 h 5874"/>
                  <a:gd name="T72" fmla="*/ 502 w 7557"/>
                  <a:gd name="T73" fmla="*/ 4681 h 5874"/>
                  <a:gd name="T74" fmla="*/ 774 w 7557"/>
                  <a:gd name="T75" fmla="*/ 4931 h 5874"/>
                  <a:gd name="T76" fmla="*/ 908 w 7557"/>
                  <a:gd name="T77" fmla="*/ 5140 h 5874"/>
                  <a:gd name="T78" fmla="*/ 982 w 7557"/>
                  <a:gd name="T79" fmla="*/ 5434 h 5874"/>
                  <a:gd name="T80" fmla="*/ 1204 w 7557"/>
                  <a:gd name="T81" fmla="*/ 5566 h 5874"/>
                  <a:gd name="T82" fmla="*/ 1504 w 7557"/>
                  <a:gd name="T83" fmla="*/ 5456 h 5874"/>
                  <a:gd name="T84" fmla="*/ 1761 w 7557"/>
                  <a:gd name="T85" fmla="*/ 5292 h 5874"/>
                  <a:gd name="T86" fmla="*/ 2054 w 7557"/>
                  <a:gd name="T87" fmla="*/ 5399 h 5874"/>
                  <a:gd name="T88" fmla="*/ 2399 w 7557"/>
                  <a:gd name="T89" fmla="*/ 5361 h 5874"/>
                  <a:gd name="T90" fmla="*/ 2613 w 7557"/>
                  <a:gd name="T91" fmla="*/ 5537 h 5874"/>
                  <a:gd name="T92" fmla="*/ 2924 w 7557"/>
                  <a:gd name="T93" fmla="*/ 5614 h 5874"/>
                  <a:gd name="T94" fmla="*/ 3323 w 7557"/>
                  <a:gd name="T95" fmla="*/ 5575 h 5874"/>
                  <a:gd name="T96" fmla="*/ 3703 w 7557"/>
                  <a:gd name="T97" fmla="*/ 5518 h 5874"/>
                  <a:gd name="T98" fmla="*/ 3978 w 7557"/>
                  <a:gd name="T99" fmla="*/ 5486 h 5874"/>
                  <a:gd name="T100" fmla="*/ 4287 w 7557"/>
                  <a:gd name="T101" fmla="*/ 5524 h 5874"/>
                  <a:gd name="T102" fmla="*/ 4622 w 7557"/>
                  <a:gd name="T103" fmla="*/ 5618 h 5874"/>
                  <a:gd name="T104" fmla="*/ 4994 w 7557"/>
                  <a:gd name="T105" fmla="*/ 5762 h 5874"/>
                  <a:gd name="T106" fmla="*/ 5330 w 7557"/>
                  <a:gd name="T107" fmla="*/ 5856 h 5874"/>
                  <a:gd name="T108" fmla="*/ 5342 w 7557"/>
                  <a:gd name="T109" fmla="*/ 5658 h 5874"/>
                  <a:gd name="T110" fmla="*/ 5448 w 7557"/>
                  <a:gd name="T111" fmla="*/ 5468 h 5874"/>
                  <a:gd name="T112" fmla="*/ 5286 w 7557"/>
                  <a:gd name="T113" fmla="*/ 5100 h 5874"/>
                  <a:gd name="T114" fmla="*/ 5452 w 7557"/>
                  <a:gd name="T115" fmla="*/ 4736 h 5874"/>
                  <a:gd name="T116" fmla="*/ 6021 w 7557"/>
                  <a:gd name="T117" fmla="*/ 4678 h 5874"/>
                  <a:gd name="T118" fmla="*/ 6254 w 7557"/>
                  <a:gd name="T119" fmla="*/ 4258 h 5874"/>
                  <a:gd name="T120" fmla="*/ 6592 w 7557"/>
                  <a:gd name="T121" fmla="*/ 3994 h 5874"/>
                  <a:gd name="T122" fmla="*/ 7097 w 7557"/>
                  <a:gd name="T123" fmla="*/ 3631 h 5874"/>
                  <a:gd name="T124" fmla="*/ 7508 w 7557"/>
                  <a:gd name="T125" fmla="*/ 3279 h 5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57" h="5874">
                    <a:moveTo>
                      <a:pt x="7557" y="3250"/>
                    </a:moveTo>
                    <a:lnTo>
                      <a:pt x="7557" y="3237"/>
                    </a:lnTo>
                    <a:lnTo>
                      <a:pt x="7556" y="3223"/>
                    </a:lnTo>
                    <a:lnTo>
                      <a:pt x="7555" y="3209"/>
                    </a:lnTo>
                    <a:lnTo>
                      <a:pt x="7553" y="3194"/>
                    </a:lnTo>
                    <a:lnTo>
                      <a:pt x="7550" y="3179"/>
                    </a:lnTo>
                    <a:lnTo>
                      <a:pt x="7546" y="3168"/>
                    </a:lnTo>
                    <a:lnTo>
                      <a:pt x="7538" y="3155"/>
                    </a:lnTo>
                    <a:lnTo>
                      <a:pt x="7526" y="3140"/>
                    </a:lnTo>
                    <a:lnTo>
                      <a:pt x="7513" y="3123"/>
                    </a:lnTo>
                    <a:lnTo>
                      <a:pt x="7502" y="3110"/>
                    </a:lnTo>
                    <a:lnTo>
                      <a:pt x="7493" y="3098"/>
                    </a:lnTo>
                    <a:lnTo>
                      <a:pt x="7483" y="3086"/>
                    </a:lnTo>
                    <a:lnTo>
                      <a:pt x="7475" y="3074"/>
                    </a:lnTo>
                    <a:lnTo>
                      <a:pt x="7468" y="3063"/>
                    </a:lnTo>
                    <a:lnTo>
                      <a:pt x="7458" y="3049"/>
                    </a:lnTo>
                    <a:lnTo>
                      <a:pt x="7446" y="3035"/>
                    </a:lnTo>
                    <a:lnTo>
                      <a:pt x="7434" y="3021"/>
                    </a:lnTo>
                    <a:lnTo>
                      <a:pt x="7426" y="3009"/>
                    </a:lnTo>
                    <a:lnTo>
                      <a:pt x="7425" y="3003"/>
                    </a:lnTo>
                    <a:lnTo>
                      <a:pt x="7424" y="2996"/>
                    </a:lnTo>
                    <a:lnTo>
                      <a:pt x="7424" y="2989"/>
                    </a:lnTo>
                    <a:lnTo>
                      <a:pt x="7424" y="2981"/>
                    </a:lnTo>
                    <a:lnTo>
                      <a:pt x="7423" y="2962"/>
                    </a:lnTo>
                    <a:lnTo>
                      <a:pt x="7421" y="2943"/>
                    </a:lnTo>
                    <a:lnTo>
                      <a:pt x="7418" y="2920"/>
                    </a:lnTo>
                    <a:lnTo>
                      <a:pt x="7412" y="2896"/>
                    </a:lnTo>
                    <a:lnTo>
                      <a:pt x="7407" y="2871"/>
                    </a:lnTo>
                    <a:lnTo>
                      <a:pt x="7401" y="2850"/>
                    </a:lnTo>
                    <a:lnTo>
                      <a:pt x="7396" y="2830"/>
                    </a:lnTo>
                    <a:lnTo>
                      <a:pt x="7390" y="2809"/>
                    </a:lnTo>
                    <a:lnTo>
                      <a:pt x="7386" y="2788"/>
                    </a:lnTo>
                    <a:lnTo>
                      <a:pt x="7382" y="2769"/>
                    </a:lnTo>
                    <a:lnTo>
                      <a:pt x="7381" y="2750"/>
                    </a:lnTo>
                    <a:lnTo>
                      <a:pt x="7379" y="2731"/>
                    </a:lnTo>
                    <a:lnTo>
                      <a:pt x="7375" y="2711"/>
                    </a:lnTo>
                    <a:lnTo>
                      <a:pt x="7370" y="2692"/>
                    </a:lnTo>
                    <a:lnTo>
                      <a:pt x="7368" y="2683"/>
                    </a:lnTo>
                    <a:lnTo>
                      <a:pt x="7364" y="2676"/>
                    </a:lnTo>
                    <a:lnTo>
                      <a:pt x="7361" y="2670"/>
                    </a:lnTo>
                    <a:lnTo>
                      <a:pt x="7355" y="2666"/>
                    </a:lnTo>
                    <a:lnTo>
                      <a:pt x="7350" y="2662"/>
                    </a:lnTo>
                    <a:lnTo>
                      <a:pt x="7343" y="2660"/>
                    </a:lnTo>
                    <a:lnTo>
                      <a:pt x="7336" y="2657"/>
                    </a:lnTo>
                    <a:lnTo>
                      <a:pt x="7327" y="2655"/>
                    </a:lnTo>
                    <a:lnTo>
                      <a:pt x="7319" y="2652"/>
                    </a:lnTo>
                    <a:lnTo>
                      <a:pt x="7314" y="2649"/>
                    </a:lnTo>
                    <a:lnTo>
                      <a:pt x="7312" y="2647"/>
                    </a:lnTo>
                    <a:lnTo>
                      <a:pt x="7312" y="2643"/>
                    </a:lnTo>
                    <a:lnTo>
                      <a:pt x="7313" y="2632"/>
                    </a:lnTo>
                    <a:lnTo>
                      <a:pt x="7316" y="2617"/>
                    </a:lnTo>
                    <a:lnTo>
                      <a:pt x="7317" y="2607"/>
                    </a:lnTo>
                    <a:lnTo>
                      <a:pt x="7318" y="2599"/>
                    </a:lnTo>
                    <a:lnTo>
                      <a:pt x="7320" y="2591"/>
                    </a:lnTo>
                    <a:lnTo>
                      <a:pt x="7324" y="2584"/>
                    </a:lnTo>
                    <a:lnTo>
                      <a:pt x="7332" y="2570"/>
                    </a:lnTo>
                    <a:lnTo>
                      <a:pt x="7342" y="2559"/>
                    </a:lnTo>
                    <a:lnTo>
                      <a:pt x="7345" y="2554"/>
                    </a:lnTo>
                    <a:lnTo>
                      <a:pt x="7349" y="2549"/>
                    </a:lnTo>
                    <a:lnTo>
                      <a:pt x="7350" y="2546"/>
                    </a:lnTo>
                    <a:lnTo>
                      <a:pt x="7350" y="2542"/>
                    </a:lnTo>
                    <a:lnTo>
                      <a:pt x="7350" y="2540"/>
                    </a:lnTo>
                    <a:lnTo>
                      <a:pt x="7348" y="2538"/>
                    </a:lnTo>
                    <a:lnTo>
                      <a:pt x="7345" y="2536"/>
                    </a:lnTo>
                    <a:lnTo>
                      <a:pt x="7343" y="2536"/>
                    </a:lnTo>
                    <a:lnTo>
                      <a:pt x="7332" y="2535"/>
                    </a:lnTo>
                    <a:lnTo>
                      <a:pt x="7317" y="2535"/>
                    </a:lnTo>
                    <a:lnTo>
                      <a:pt x="7294" y="2536"/>
                    </a:lnTo>
                    <a:lnTo>
                      <a:pt x="7264" y="2535"/>
                    </a:lnTo>
                    <a:lnTo>
                      <a:pt x="7250" y="2534"/>
                    </a:lnTo>
                    <a:lnTo>
                      <a:pt x="7238" y="2532"/>
                    </a:lnTo>
                    <a:lnTo>
                      <a:pt x="7230" y="2530"/>
                    </a:lnTo>
                    <a:lnTo>
                      <a:pt x="7223" y="2528"/>
                    </a:lnTo>
                    <a:lnTo>
                      <a:pt x="7212" y="2521"/>
                    </a:lnTo>
                    <a:lnTo>
                      <a:pt x="7201" y="2512"/>
                    </a:lnTo>
                    <a:lnTo>
                      <a:pt x="7188" y="2504"/>
                    </a:lnTo>
                    <a:lnTo>
                      <a:pt x="7172" y="2497"/>
                    </a:lnTo>
                    <a:lnTo>
                      <a:pt x="7165" y="2493"/>
                    </a:lnTo>
                    <a:lnTo>
                      <a:pt x="7157" y="2490"/>
                    </a:lnTo>
                    <a:lnTo>
                      <a:pt x="7150" y="2486"/>
                    </a:lnTo>
                    <a:lnTo>
                      <a:pt x="7146" y="2481"/>
                    </a:lnTo>
                    <a:lnTo>
                      <a:pt x="7137" y="2471"/>
                    </a:lnTo>
                    <a:lnTo>
                      <a:pt x="7128" y="2456"/>
                    </a:lnTo>
                    <a:lnTo>
                      <a:pt x="7117" y="2439"/>
                    </a:lnTo>
                    <a:lnTo>
                      <a:pt x="7103" y="2420"/>
                    </a:lnTo>
                    <a:lnTo>
                      <a:pt x="7096" y="2411"/>
                    </a:lnTo>
                    <a:lnTo>
                      <a:pt x="7087" y="2404"/>
                    </a:lnTo>
                    <a:lnTo>
                      <a:pt x="7080" y="2399"/>
                    </a:lnTo>
                    <a:lnTo>
                      <a:pt x="7073" y="2395"/>
                    </a:lnTo>
                    <a:lnTo>
                      <a:pt x="7059" y="2389"/>
                    </a:lnTo>
                    <a:lnTo>
                      <a:pt x="7046" y="2384"/>
                    </a:lnTo>
                    <a:lnTo>
                      <a:pt x="7042" y="2381"/>
                    </a:lnTo>
                    <a:lnTo>
                      <a:pt x="7040" y="2379"/>
                    </a:lnTo>
                    <a:lnTo>
                      <a:pt x="7039" y="2376"/>
                    </a:lnTo>
                    <a:lnTo>
                      <a:pt x="7037" y="2372"/>
                    </a:lnTo>
                    <a:lnTo>
                      <a:pt x="7035" y="2362"/>
                    </a:lnTo>
                    <a:lnTo>
                      <a:pt x="7030" y="2353"/>
                    </a:lnTo>
                    <a:lnTo>
                      <a:pt x="7024" y="2342"/>
                    </a:lnTo>
                    <a:lnTo>
                      <a:pt x="7016" y="2332"/>
                    </a:lnTo>
                    <a:lnTo>
                      <a:pt x="7009" y="2322"/>
                    </a:lnTo>
                    <a:lnTo>
                      <a:pt x="7001" y="2311"/>
                    </a:lnTo>
                    <a:lnTo>
                      <a:pt x="6992" y="2302"/>
                    </a:lnTo>
                    <a:lnTo>
                      <a:pt x="6984" y="2292"/>
                    </a:lnTo>
                    <a:lnTo>
                      <a:pt x="6974" y="2284"/>
                    </a:lnTo>
                    <a:lnTo>
                      <a:pt x="6964" y="2275"/>
                    </a:lnTo>
                    <a:lnTo>
                      <a:pt x="6945" y="2258"/>
                    </a:lnTo>
                    <a:lnTo>
                      <a:pt x="6930" y="2246"/>
                    </a:lnTo>
                    <a:lnTo>
                      <a:pt x="6916" y="2238"/>
                    </a:lnTo>
                    <a:lnTo>
                      <a:pt x="6902" y="2228"/>
                    </a:lnTo>
                    <a:lnTo>
                      <a:pt x="6894" y="2222"/>
                    </a:lnTo>
                    <a:lnTo>
                      <a:pt x="6886" y="2217"/>
                    </a:lnTo>
                    <a:lnTo>
                      <a:pt x="6879" y="2212"/>
                    </a:lnTo>
                    <a:lnTo>
                      <a:pt x="6873" y="2204"/>
                    </a:lnTo>
                    <a:lnTo>
                      <a:pt x="6864" y="2190"/>
                    </a:lnTo>
                    <a:lnTo>
                      <a:pt x="6851" y="2176"/>
                    </a:lnTo>
                    <a:lnTo>
                      <a:pt x="6844" y="2169"/>
                    </a:lnTo>
                    <a:lnTo>
                      <a:pt x="6834" y="2163"/>
                    </a:lnTo>
                    <a:lnTo>
                      <a:pt x="6822" y="2157"/>
                    </a:lnTo>
                    <a:lnTo>
                      <a:pt x="6810" y="2152"/>
                    </a:lnTo>
                    <a:lnTo>
                      <a:pt x="6797" y="2149"/>
                    </a:lnTo>
                    <a:lnTo>
                      <a:pt x="6787" y="2145"/>
                    </a:lnTo>
                    <a:lnTo>
                      <a:pt x="6777" y="2141"/>
                    </a:lnTo>
                    <a:lnTo>
                      <a:pt x="6768" y="2137"/>
                    </a:lnTo>
                    <a:lnTo>
                      <a:pt x="6750" y="2128"/>
                    </a:lnTo>
                    <a:lnTo>
                      <a:pt x="6728" y="2120"/>
                    </a:lnTo>
                    <a:lnTo>
                      <a:pt x="6706" y="2115"/>
                    </a:lnTo>
                    <a:lnTo>
                      <a:pt x="6686" y="2112"/>
                    </a:lnTo>
                    <a:lnTo>
                      <a:pt x="6677" y="2109"/>
                    </a:lnTo>
                    <a:lnTo>
                      <a:pt x="6669" y="2107"/>
                    </a:lnTo>
                    <a:lnTo>
                      <a:pt x="6661" y="2105"/>
                    </a:lnTo>
                    <a:lnTo>
                      <a:pt x="6651" y="2100"/>
                    </a:lnTo>
                    <a:lnTo>
                      <a:pt x="6643" y="2096"/>
                    </a:lnTo>
                    <a:lnTo>
                      <a:pt x="6633" y="2093"/>
                    </a:lnTo>
                    <a:lnTo>
                      <a:pt x="6624" y="2090"/>
                    </a:lnTo>
                    <a:lnTo>
                      <a:pt x="6614" y="2089"/>
                    </a:lnTo>
                    <a:lnTo>
                      <a:pt x="6590" y="2088"/>
                    </a:lnTo>
                    <a:lnTo>
                      <a:pt x="6562" y="2088"/>
                    </a:lnTo>
                    <a:lnTo>
                      <a:pt x="6550" y="2088"/>
                    </a:lnTo>
                    <a:lnTo>
                      <a:pt x="6539" y="2088"/>
                    </a:lnTo>
                    <a:lnTo>
                      <a:pt x="6527" y="2088"/>
                    </a:lnTo>
                    <a:lnTo>
                      <a:pt x="6516" y="2087"/>
                    </a:lnTo>
                    <a:lnTo>
                      <a:pt x="6494" y="2083"/>
                    </a:lnTo>
                    <a:lnTo>
                      <a:pt x="6474" y="2078"/>
                    </a:lnTo>
                    <a:lnTo>
                      <a:pt x="6457" y="2072"/>
                    </a:lnTo>
                    <a:lnTo>
                      <a:pt x="6443" y="2068"/>
                    </a:lnTo>
                    <a:lnTo>
                      <a:pt x="6434" y="2064"/>
                    </a:lnTo>
                    <a:lnTo>
                      <a:pt x="6424" y="2061"/>
                    </a:lnTo>
                    <a:lnTo>
                      <a:pt x="6416" y="2055"/>
                    </a:lnTo>
                    <a:lnTo>
                      <a:pt x="6407" y="2050"/>
                    </a:lnTo>
                    <a:lnTo>
                      <a:pt x="6391" y="2038"/>
                    </a:lnTo>
                    <a:lnTo>
                      <a:pt x="6373" y="2028"/>
                    </a:lnTo>
                    <a:lnTo>
                      <a:pt x="6362" y="2025"/>
                    </a:lnTo>
                    <a:lnTo>
                      <a:pt x="6351" y="2024"/>
                    </a:lnTo>
                    <a:lnTo>
                      <a:pt x="6340" y="2023"/>
                    </a:lnTo>
                    <a:lnTo>
                      <a:pt x="6329" y="2021"/>
                    </a:lnTo>
                    <a:lnTo>
                      <a:pt x="6308" y="2021"/>
                    </a:lnTo>
                    <a:lnTo>
                      <a:pt x="6287" y="2020"/>
                    </a:lnTo>
                    <a:lnTo>
                      <a:pt x="6278" y="2018"/>
                    </a:lnTo>
                    <a:lnTo>
                      <a:pt x="6268" y="2015"/>
                    </a:lnTo>
                    <a:lnTo>
                      <a:pt x="6259" y="2012"/>
                    </a:lnTo>
                    <a:lnTo>
                      <a:pt x="6249" y="2008"/>
                    </a:lnTo>
                    <a:lnTo>
                      <a:pt x="6241" y="2004"/>
                    </a:lnTo>
                    <a:lnTo>
                      <a:pt x="6234" y="1999"/>
                    </a:lnTo>
                    <a:lnTo>
                      <a:pt x="6228" y="1994"/>
                    </a:lnTo>
                    <a:lnTo>
                      <a:pt x="6224" y="1989"/>
                    </a:lnTo>
                    <a:lnTo>
                      <a:pt x="6221" y="1982"/>
                    </a:lnTo>
                    <a:lnTo>
                      <a:pt x="6218" y="1975"/>
                    </a:lnTo>
                    <a:lnTo>
                      <a:pt x="6217" y="1973"/>
                    </a:lnTo>
                    <a:lnTo>
                      <a:pt x="6216" y="1970"/>
                    </a:lnTo>
                    <a:lnTo>
                      <a:pt x="6214" y="1969"/>
                    </a:lnTo>
                    <a:lnTo>
                      <a:pt x="6211" y="1969"/>
                    </a:lnTo>
                    <a:lnTo>
                      <a:pt x="6206" y="1970"/>
                    </a:lnTo>
                    <a:lnTo>
                      <a:pt x="6201" y="1973"/>
                    </a:lnTo>
                    <a:lnTo>
                      <a:pt x="6198" y="1974"/>
                    </a:lnTo>
                    <a:lnTo>
                      <a:pt x="6195" y="1974"/>
                    </a:lnTo>
                    <a:lnTo>
                      <a:pt x="6192" y="1974"/>
                    </a:lnTo>
                    <a:lnTo>
                      <a:pt x="6189" y="1973"/>
                    </a:lnTo>
                    <a:lnTo>
                      <a:pt x="6182" y="1970"/>
                    </a:lnTo>
                    <a:lnTo>
                      <a:pt x="6171" y="1967"/>
                    </a:lnTo>
                    <a:lnTo>
                      <a:pt x="6159" y="1962"/>
                    </a:lnTo>
                    <a:lnTo>
                      <a:pt x="6147" y="1958"/>
                    </a:lnTo>
                    <a:lnTo>
                      <a:pt x="6142" y="1956"/>
                    </a:lnTo>
                    <a:lnTo>
                      <a:pt x="6139" y="1952"/>
                    </a:lnTo>
                    <a:lnTo>
                      <a:pt x="6135" y="1949"/>
                    </a:lnTo>
                    <a:lnTo>
                      <a:pt x="6132" y="1944"/>
                    </a:lnTo>
                    <a:lnTo>
                      <a:pt x="6126" y="1933"/>
                    </a:lnTo>
                    <a:lnTo>
                      <a:pt x="6117" y="1923"/>
                    </a:lnTo>
                    <a:lnTo>
                      <a:pt x="6114" y="1920"/>
                    </a:lnTo>
                    <a:lnTo>
                      <a:pt x="6110" y="1918"/>
                    </a:lnTo>
                    <a:lnTo>
                      <a:pt x="6105" y="1917"/>
                    </a:lnTo>
                    <a:lnTo>
                      <a:pt x="6101" y="1917"/>
                    </a:lnTo>
                    <a:lnTo>
                      <a:pt x="6089" y="1917"/>
                    </a:lnTo>
                    <a:lnTo>
                      <a:pt x="6077" y="1917"/>
                    </a:lnTo>
                    <a:lnTo>
                      <a:pt x="6064" y="1918"/>
                    </a:lnTo>
                    <a:lnTo>
                      <a:pt x="6053" y="1918"/>
                    </a:lnTo>
                    <a:lnTo>
                      <a:pt x="6048" y="1918"/>
                    </a:lnTo>
                    <a:lnTo>
                      <a:pt x="6045" y="1918"/>
                    </a:lnTo>
                    <a:lnTo>
                      <a:pt x="6041" y="1917"/>
                    </a:lnTo>
                    <a:lnTo>
                      <a:pt x="6040" y="1916"/>
                    </a:lnTo>
                    <a:lnTo>
                      <a:pt x="6045" y="1904"/>
                    </a:lnTo>
                    <a:lnTo>
                      <a:pt x="6053" y="1893"/>
                    </a:lnTo>
                    <a:lnTo>
                      <a:pt x="6051" y="1886"/>
                    </a:lnTo>
                    <a:lnTo>
                      <a:pt x="6045" y="1878"/>
                    </a:lnTo>
                    <a:lnTo>
                      <a:pt x="6042" y="1873"/>
                    </a:lnTo>
                    <a:lnTo>
                      <a:pt x="6041" y="1869"/>
                    </a:lnTo>
                    <a:lnTo>
                      <a:pt x="6040" y="1864"/>
                    </a:lnTo>
                    <a:lnTo>
                      <a:pt x="6039" y="1859"/>
                    </a:lnTo>
                    <a:lnTo>
                      <a:pt x="6039" y="1848"/>
                    </a:lnTo>
                    <a:lnTo>
                      <a:pt x="6038" y="1832"/>
                    </a:lnTo>
                    <a:lnTo>
                      <a:pt x="6036" y="1824"/>
                    </a:lnTo>
                    <a:lnTo>
                      <a:pt x="6034" y="1817"/>
                    </a:lnTo>
                    <a:lnTo>
                      <a:pt x="6032" y="1811"/>
                    </a:lnTo>
                    <a:lnTo>
                      <a:pt x="6029" y="1805"/>
                    </a:lnTo>
                    <a:lnTo>
                      <a:pt x="6023" y="1793"/>
                    </a:lnTo>
                    <a:lnTo>
                      <a:pt x="6017" y="1780"/>
                    </a:lnTo>
                    <a:lnTo>
                      <a:pt x="6014" y="1768"/>
                    </a:lnTo>
                    <a:lnTo>
                      <a:pt x="6013" y="1759"/>
                    </a:lnTo>
                    <a:lnTo>
                      <a:pt x="6014" y="1749"/>
                    </a:lnTo>
                    <a:lnTo>
                      <a:pt x="6016" y="1736"/>
                    </a:lnTo>
                    <a:lnTo>
                      <a:pt x="6021" y="1719"/>
                    </a:lnTo>
                    <a:lnTo>
                      <a:pt x="6028" y="1702"/>
                    </a:lnTo>
                    <a:lnTo>
                      <a:pt x="6039" y="1684"/>
                    </a:lnTo>
                    <a:lnTo>
                      <a:pt x="6051" y="1667"/>
                    </a:lnTo>
                    <a:lnTo>
                      <a:pt x="6060" y="1653"/>
                    </a:lnTo>
                    <a:lnTo>
                      <a:pt x="6071" y="1639"/>
                    </a:lnTo>
                    <a:lnTo>
                      <a:pt x="6088" y="1626"/>
                    </a:lnTo>
                    <a:lnTo>
                      <a:pt x="6104" y="1615"/>
                    </a:lnTo>
                    <a:lnTo>
                      <a:pt x="6117" y="1605"/>
                    </a:lnTo>
                    <a:lnTo>
                      <a:pt x="6129" y="1596"/>
                    </a:lnTo>
                    <a:lnTo>
                      <a:pt x="6140" y="1586"/>
                    </a:lnTo>
                    <a:lnTo>
                      <a:pt x="6149" y="1577"/>
                    </a:lnTo>
                    <a:lnTo>
                      <a:pt x="6153" y="1572"/>
                    </a:lnTo>
                    <a:lnTo>
                      <a:pt x="6155" y="1566"/>
                    </a:lnTo>
                    <a:lnTo>
                      <a:pt x="6158" y="1561"/>
                    </a:lnTo>
                    <a:lnTo>
                      <a:pt x="6158" y="1555"/>
                    </a:lnTo>
                    <a:lnTo>
                      <a:pt x="6158" y="1546"/>
                    </a:lnTo>
                    <a:lnTo>
                      <a:pt x="6158" y="1535"/>
                    </a:lnTo>
                    <a:lnTo>
                      <a:pt x="6157" y="1523"/>
                    </a:lnTo>
                    <a:lnTo>
                      <a:pt x="6155" y="1510"/>
                    </a:lnTo>
                    <a:lnTo>
                      <a:pt x="6152" y="1496"/>
                    </a:lnTo>
                    <a:lnTo>
                      <a:pt x="6149" y="1485"/>
                    </a:lnTo>
                    <a:lnTo>
                      <a:pt x="6148" y="1477"/>
                    </a:lnTo>
                    <a:lnTo>
                      <a:pt x="6147" y="1470"/>
                    </a:lnTo>
                    <a:lnTo>
                      <a:pt x="6147" y="1463"/>
                    </a:lnTo>
                    <a:lnTo>
                      <a:pt x="6147" y="1453"/>
                    </a:lnTo>
                    <a:lnTo>
                      <a:pt x="6148" y="1446"/>
                    </a:lnTo>
                    <a:lnTo>
                      <a:pt x="6151" y="1440"/>
                    </a:lnTo>
                    <a:lnTo>
                      <a:pt x="6154" y="1434"/>
                    </a:lnTo>
                    <a:lnTo>
                      <a:pt x="6158" y="1427"/>
                    </a:lnTo>
                    <a:lnTo>
                      <a:pt x="6166" y="1415"/>
                    </a:lnTo>
                    <a:lnTo>
                      <a:pt x="6177" y="1403"/>
                    </a:lnTo>
                    <a:lnTo>
                      <a:pt x="6186" y="1393"/>
                    </a:lnTo>
                    <a:lnTo>
                      <a:pt x="6195" y="1380"/>
                    </a:lnTo>
                    <a:lnTo>
                      <a:pt x="6203" y="1366"/>
                    </a:lnTo>
                    <a:lnTo>
                      <a:pt x="6210" y="1356"/>
                    </a:lnTo>
                    <a:lnTo>
                      <a:pt x="6214" y="1352"/>
                    </a:lnTo>
                    <a:lnTo>
                      <a:pt x="6215" y="1349"/>
                    </a:lnTo>
                    <a:lnTo>
                      <a:pt x="6214" y="1344"/>
                    </a:lnTo>
                    <a:lnTo>
                      <a:pt x="6212" y="1340"/>
                    </a:lnTo>
                    <a:lnTo>
                      <a:pt x="6209" y="1334"/>
                    </a:lnTo>
                    <a:lnTo>
                      <a:pt x="6203" y="1330"/>
                    </a:lnTo>
                    <a:lnTo>
                      <a:pt x="6202" y="1327"/>
                    </a:lnTo>
                    <a:lnTo>
                      <a:pt x="6203" y="1322"/>
                    </a:lnTo>
                    <a:lnTo>
                      <a:pt x="6205" y="1315"/>
                    </a:lnTo>
                    <a:lnTo>
                      <a:pt x="6209" y="1308"/>
                    </a:lnTo>
                    <a:lnTo>
                      <a:pt x="6216" y="1292"/>
                    </a:lnTo>
                    <a:lnTo>
                      <a:pt x="6222" y="1277"/>
                    </a:lnTo>
                    <a:lnTo>
                      <a:pt x="6223" y="1271"/>
                    </a:lnTo>
                    <a:lnTo>
                      <a:pt x="6222" y="1267"/>
                    </a:lnTo>
                    <a:lnTo>
                      <a:pt x="6221" y="1262"/>
                    </a:lnTo>
                    <a:lnTo>
                      <a:pt x="6218" y="1257"/>
                    </a:lnTo>
                    <a:lnTo>
                      <a:pt x="6214" y="1250"/>
                    </a:lnTo>
                    <a:lnTo>
                      <a:pt x="6208" y="1242"/>
                    </a:lnTo>
                    <a:lnTo>
                      <a:pt x="6204" y="1237"/>
                    </a:lnTo>
                    <a:lnTo>
                      <a:pt x="6203" y="1230"/>
                    </a:lnTo>
                    <a:lnTo>
                      <a:pt x="6202" y="1224"/>
                    </a:lnTo>
                    <a:lnTo>
                      <a:pt x="6202" y="1217"/>
                    </a:lnTo>
                    <a:lnTo>
                      <a:pt x="6201" y="1202"/>
                    </a:lnTo>
                    <a:lnTo>
                      <a:pt x="6201" y="1189"/>
                    </a:lnTo>
                    <a:lnTo>
                      <a:pt x="6199" y="1185"/>
                    </a:lnTo>
                    <a:lnTo>
                      <a:pt x="6198" y="1179"/>
                    </a:lnTo>
                    <a:lnTo>
                      <a:pt x="6195" y="1174"/>
                    </a:lnTo>
                    <a:lnTo>
                      <a:pt x="6192" y="1169"/>
                    </a:lnTo>
                    <a:lnTo>
                      <a:pt x="6185" y="1160"/>
                    </a:lnTo>
                    <a:lnTo>
                      <a:pt x="6178" y="1151"/>
                    </a:lnTo>
                    <a:lnTo>
                      <a:pt x="6171" y="1144"/>
                    </a:lnTo>
                    <a:lnTo>
                      <a:pt x="6162" y="1135"/>
                    </a:lnTo>
                    <a:lnTo>
                      <a:pt x="6157" y="1125"/>
                    </a:lnTo>
                    <a:lnTo>
                      <a:pt x="6152" y="1117"/>
                    </a:lnTo>
                    <a:lnTo>
                      <a:pt x="6145" y="1103"/>
                    </a:lnTo>
                    <a:lnTo>
                      <a:pt x="6135" y="1081"/>
                    </a:lnTo>
                    <a:lnTo>
                      <a:pt x="6126" y="1059"/>
                    </a:lnTo>
                    <a:lnTo>
                      <a:pt x="6120" y="1043"/>
                    </a:lnTo>
                    <a:lnTo>
                      <a:pt x="6117" y="1030"/>
                    </a:lnTo>
                    <a:lnTo>
                      <a:pt x="6116" y="1013"/>
                    </a:lnTo>
                    <a:lnTo>
                      <a:pt x="6116" y="997"/>
                    </a:lnTo>
                    <a:lnTo>
                      <a:pt x="6118" y="983"/>
                    </a:lnTo>
                    <a:lnTo>
                      <a:pt x="6120" y="972"/>
                    </a:lnTo>
                    <a:lnTo>
                      <a:pt x="6120" y="964"/>
                    </a:lnTo>
                    <a:lnTo>
                      <a:pt x="6118" y="955"/>
                    </a:lnTo>
                    <a:lnTo>
                      <a:pt x="6115" y="949"/>
                    </a:lnTo>
                    <a:lnTo>
                      <a:pt x="6114" y="942"/>
                    </a:lnTo>
                    <a:lnTo>
                      <a:pt x="6114" y="933"/>
                    </a:lnTo>
                    <a:lnTo>
                      <a:pt x="6115" y="922"/>
                    </a:lnTo>
                    <a:lnTo>
                      <a:pt x="6115" y="909"/>
                    </a:lnTo>
                    <a:lnTo>
                      <a:pt x="6113" y="896"/>
                    </a:lnTo>
                    <a:lnTo>
                      <a:pt x="6110" y="886"/>
                    </a:lnTo>
                    <a:lnTo>
                      <a:pt x="6107" y="877"/>
                    </a:lnTo>
                    <a:lnTo>
                      <a:pt x="6103" y="867"/>
                    </a:lnTo>
                    <a:lnTo>
                      <a:pt x="6101" y="854"/>
                    </a:lnTo>
                    <a:lnTo>
                      <a:pt x="6099" y="842"/>
                    </a:lnTo>
                    <a:lnTo>
                      <a:pt x="6099" y="838"/>
                    </a:lnTo>
                    <a:lnTo>
                      <a:pt x="6098" y="832"/>
                    </a:lnTo>
                    <a:lnTo>
                      <a:pt x="6096" y="827"/>
                    </a:lnTo>
                    <a:lnTo>
                      <a:pt x="6092" y="823"/>
                    </a:lnTo>
                    <a:lnTo>
                      <a:pt x="6080" y="815"/>
                    </a:lnTo>
                    <a:lnTo>
                      <a:pt x="6066" y="808"/>
                    </a:lnTo>
                    <a:lnTo>
                      <a:pt x="6053" y="801"/>
                    </a:lnTo>
                    <a:lnTo>
                      <a:pt x="6042" y="791"/>
                    </a:lnTo>
                    <a:lnTo>
                      <a:pt x="6038" y="786"/>
                    </a:lnTo>
                    <a:lnTo>
                      <a:pt x="6035" y="780"/>
                    </a:lnTo>
                    <a:lnTo>
                      <a:pt x="6034" y="773"/>
                    </a:lnTo>
                    <a:lnTo>
                      <a:pt x="6034" y="766"/>
                    </a:lnTo>
                    <a:lnTo>
                      <a:pt x="6034" y="752"/>
                    </a:lnTo>
                    <a:lnTo>
                      <a:pt x="6034" y="738"/>
                    </a:lnTo>
                    <a:lnTo>
                      <a:pt x="6033" y="734"/>
                    </a:lnTo>
                    <a:lnTo>
                      <a:pt x="6032" y="731"/>
                    </a:lnTo>
                    <a:lnTo>
                      <a:pt x="6029" y="728"/>
                    </a:lnTo>
                    <a:lnTo>
                      <a:pt x="6027" y="726"/>
                    </a:lnTo>
                    <a:lnTo>
                      <a:pt x="6023" y="725"/>
                    </a:lnTo>
                    <a:lnTo>
                      <a:pt x="6021" y="725"/>
                    </a:lnTo>
                    <a:lnTo>
                      <a:pt x="6017" y="725"/>
                    </a:lnTo>
                    <a:lnTo>
                      <a:pt x="6013" y="725"/>
                    </a:lnTo>
                    <a:lnTo>
                      <a:pt x="6006" y="729"/>
                    </a:lnTo>
                    <a:lnTo>
                      <a:pt x="5997" y="734"/>
                    </a:lnTo>
                    <a:lnTo>
                      <a:pt x="5989" y="736"/>
                    </a:lnTo>
                    <a:lnTo>
                      <a:pt x="5982" y="736"/>
                    </a:lnTo>
                    <a:lnTo>
                      <a:pt x="5975" y="735"/>
                    </a:lnTo>
                    <a:lnTo>
                      <a:pt x="5968" y="732"/>
                    </a:lnTo>
                    <a:lnTo>
                      <a:pt x="5960" y="728"/>
                    </a:lnTo>
                    <a:lnTo>
                      <a:pt x="5954" y="723"/>
                    </a:lnTo>
                    <a:lnTo>
                      <a:pt x="5950" y="717"/>
                    </a:lnTo>
                    <a:lnTo>
                      <a:pt x="5945" y="713"/>
                    </a:lnTo>
                    <a:lnTo>
                      <a:pt x="5937" y="701"/>
                    </a:lnTo>
                    <a:lnTo>
                      <a:pt x="5928" y="688"/>
                    </a:lnTo>
                    <a:lnTo>
                      <a:pt x="5925" y="681"/>
                    </a:lnTo>
                    <a:lnTo>
                      <a:pt x="5922" y="672"/>
                    </a:lnTo>
                    <a:lnTo>
                      <a:pt x="5921" y="665"/>
                    </a:lnTo>
                    <a:lnTo>
                      <a:pt x="5920" y="658"/>
                    </a:lnTo>
                    <a:lnTo>
                      <a:pt x="5919" y="652"/>
                    </a:lnTo>
                    <a:lnTo>
                      <a:pt x="5918" y="647"/>
                    </a:lnTo>
                    <a:lnTo>
                      <a:pt x="5915" y="643"/>
                    </a:lnTo>
                    <a:lnTo>
                      <a:pt x="5912" y="638"/>
                    </a:lnTo>
                    <a:lnTo>
                      <a:pt x="5908" y="635"/>
                    </a:lnTo>
                    <a:lnTo>
                      <a:pt x="5903" y="633"/>
                    </a:lnTo>
                    <a:lnTo>
                      <a:pt x="5899" y="632"/>
                    </a:lnTo>
                    <a:lnTo>
                      <a:pt x="5894" y="632"/>
                    </a:lnTo>
                    <a:lnTo>
                      <a:pt x="5883" y="632"/>
                    </a:lnTo>
                    <a:lnTo>
                      <a:pt x="5875" y="631"/>
                    </a:lnTo>
                    <a:lnTo>
                      <a:pt x="5871" y="630"/>
                    </a:lnTo>
                    <a:lnTo>
                      <a:pt x="5869" y="628"/>
                    </a:lnTo>
                    <a:lnTo>
                      <a:pt x="5865" y="626"/>
                    </a:lnTo>
                    <a:lnTo>
                      <a:pt x="5862" y="622"/>
                    </a:lnTo>
                    <a:lnTo>
                      <a:pt x="5858" y="620"/>
                    </a:lnTo>
                    <a:lnTo>
                      <a:pt x="5855" y="620"/>
                    </a:lnTo>
                    <a:lnTo>
                      <a:pt x="5851" y="621"/>
                    </a:lnTo>
                    <a:lnTo>
                      <a:pt x="5847" y="624"/>
                    </a:lnTo>
                    <a:lnTo>
                      <a:pt x="5839" y="630"/>
                    </a:lnTo>
                    <a:lnTo>
                      <a:pt x="5828" y="634"/>
                    </a:lnTo>
                    <a:lnTo>
                      <a:pt x="5822" y="635"/>
                    </a:lnTo>
                    <a:lnTo>
                      <a:pt x="5815" y="634"/>
                    </a:lnTo>
                    <a:lnTo>
                      <a:pt x="5808" y="633"/>
                    </a:lnTo>
                    <a:lnTo>
                      <a:pt x="5801" y="630"/>
                    </a:lnTo>
                    <a:lnTo>
                      <a:pt x="5787" y="624"/>
                    </a:lnTo>
                    <a:lnTo>
                      <a:pt x="5771" y="616"/>
                    </a:lnTo>
                    <a:lnTo>
                      <a:pt x="5767" y="614"/>
                    </a:lnTo>
                    <a:lnTo>
                      <a:pt x="5763" y="612"/>
                    </a:lnTo>
                    <a:lnTo>
                      <a:pt x="5761" y="608"/>
                    </a:lnTo>
                    <a:lnTo>
                      <a:pt x="5758" y="605"/>
                    </a:lnTo>
                    <a:lnTo>
                      <a:pt x="5752" y="595"/>
                    </a:lnTo>
                    <a:lnTo>
                      <a:pt x="5744" y="586"/>
                    </a:lnTo>
                    <a:lnTo>
                      <a:pt x="5733" y="577"/>
                    </a:lnTo>
                    <a:lnTo>
                      <a:pt x="5720" y="568"/>
                    </a:lnTo>
                    <a:lnTo>
                      <a:pt x="5713" y="562"/>
                    </a:lnTo>
                    <a:lnTo>
                      <a:pt x="5706" y="555"/>
                    </a:lnTo>
                    <a:lnTo>
                      <a:pt x="5699" y="546"/>
                    </a:lnTo>
                    <a:lnTo>
                      <a:pt x="5692" y="539"/>
                    </a:lnTo>
                    <a:lnTo>
                      <a:pt x="5685" y="531"/>
                    </a:lnTo>
                    <a:lnTo>
                      <a:pt x="5679" y="524"/>
                    </a:lnTo>
                    <a:lnTo>
                      <a:pt x="5672" y="518"/>
                    </a:lnTo>
                    <a:lnTo>
                      <a:pt x="5666" y="514"/>
                    </a:lnTo>
                    <a:lnTo>
                      <a:pt x="5661" y="511"/>
                    </a:lnTo>
                    <a:lnTo>
                      <a:pt x="5657" y="506"/>
                    </a:lnTo>
                    <a:lnTo>
                      <a:pt x="5656" y="500"/>
                    </a:lnTo>
                    <a:lnTo>
                      <a:pt x="5655" y="494"/>
                    </a:lnTo>
                    <a:lnTo>
                      <a:pt x="5655" y="480"/>
                    </a:lnTo>
                    <a:lnTo>
                      <a:pt x="5656" y="463"/>
                    </a:lnTo>
                    <a:lnTo>
                      <a:pt x="5656" y="450"/>
                    </a:lnTo>
                    <a:lnTo>
                      <a:pt x="5655" y="442"/>
                    </a:lnTo>
                    <a:lnTo>
                      <a:pt x="5651" y="435"/>
                    </a:lnTo>
                    <a:lnTo>
                      <a:pt x="5644" y="423"/>
                    </a:lnTo>
                    <a:lnTo>
                      <a:pt x="5630" y="411"/>
                    </a:lnTo>
                    <a:lnTo>
                      <a:pt x="5612" y="399"/>
                    </a:lnTo>
                    <a:lnTo>
                      <a:pt x="5599" y="383"/>
                    </a:lnTo>
                    <a:lnTo>
                      <a:pt x="5587" y="369"/>
                    </a:lnTo>
                    <a:lnTo>
                      <a:pt x="5575" y="354"/>
                    </a:lnTo>
                    <a:lnTo>
                      <a:pt x="5557" y="337"/>
                    </a:lnTo>
                    <a:lnTo>
                      <a:pt x="5541" y="323"/>
                    </a:lnTo>
                    <a:lnTo>
                      <a:pt x="5528" y="313"/>
                    </a:lnTo>
                    <a:lnTo>
                      <a:pt x="5518" y="309"/>
                    </a:lnTo>
                    <a:lnTo>
                      <a:pt x="5512" y="306"/>
                    </a:lnTo>
                    <a:lnTo>
                      <a:pt x="5507" y="305"/>
                    </a:lnTo>
                    <a:lnTo>
                      <a:pt x="5506" y="301"/>
                    </a:lnTo>
                    <a:lnTo>
                      <a:pt x="5513" y="293"/>
                    </a:lnTo>
                    <a:lnTo>
                      <a:pt x="5530" y="279"/>
                    </a:lnTo>
                    <a:lnTo>
                      <a:pt x="5534" y="274"/>
                    </a:lnTo>
                    <a:lnTo>
                      <a:pt x="5536" y="268"/>
                    </a:lnTo>
                    <a:lnTo>
                      <a:pt x="5537" y="262"/>
                    </a:lnTo>
                    <a:lnTo>
                      <a:pt x="5537" y="255"/>
                    </a:lnTo>
                    <a:lnTo>
                      <a:pt x="5537" y="249"/>
                    </a:lnTo>
                    <a:lnTo>
                      <a:pt x="5535" y="242"/>
                    </a:lnTo>
                    <a:lnTo>
                      <a:pt x="5530" y="236"/>
                    </a:lnTo>
                    <a:lnTo>
                      <a:pt x="5524" y="231"/>
                    </a:lnTo>
                    <a:lnTo>
                      <a:pt x="5517" y="227"/>
                    </a:lnTo>
                    <a:lnTo>
                      <a:pt x="5510" y="219"/>
                    </a:lnTo>
                    <a:lnTo>
                      <a:pt x="5503" y="211"/>
                    </a:lnTo>
                    <a:lnTo>
                      <a:pt x="5494" y="202"/>
                    </a:lnTo>
                    <a:lnTo>
                      <a:pt x="5481" y="185"/>
                    </a:lnTo>
                    <a:lnTo>
                      <a:pt x="5472" y="172"/>
                    </a:lnTo>
                    <a:lnTo>
                      <a:pt x="5469" y="167"/>
                    </a:lnTo>
                    <a:lnTo>
                      <a:pt x="5468" y="162"/>
                    </a:lnTo>
                    <a:lnTo>
                      <a:pt x="5468" y="159"/>
                    </a:lnTo>
                    <a:lnTo>
                      <a:pt x="5469" y="154"/>
                    </a:lnTo>
                    <a:lnTo>
                      <a:pt x="5472" y="151"/>
                    </a:lnTo>
                    <a:lnTo>
                      <a:pt x="5475" y="147"/>
                    </a:lnTo>
                    <a:lnTo>
                      <a:pt x="5479" y="143"/>
                    </a:lnTo>
                    <a:lnTo>
                      <a:pt x="5484" y="141"/>
                    </a:lnTo>
                    <a:lnTo>
                      <a:pt x="5493" y="136"/>
                    </a:lnTo>
                    <a:lnTo>
                      <a:pt x="5505" y="130"/>
                    </a:lnTo>
                    <a:lnTo>
                      <a:pt x="5510" y="128"/>
                    </a:lnTo>
                    <a:lnTo>
                      <a:pt x="5515" y="124"/>
                    </a:lnTo>
                    <a:lnTo>
                      <a:pt x="5517" y="122"/>
                    </a:lnTo>
                    <a:lnTo>
                      <a:pt x="5518" y="118"/>
                    </a:lnTo>
                    <a:lnTo>
                      <a:pt x="5517" y="96"/>
                    </a:lnTo>
                    <a:lnTo>
                      <a:pt x="5516" y="79"/>
                    </a:lnTo>
                    <a:lnTo>
                      <a:pt x="5515" y="67"/>
                    </a:lnTo>
                    <a:lnTo>
                      <a:pt x="5515" y="57"/>
                    </a:lnTo>
                    <a:lnTo>
                      <a:pt x="5515" y="46"/>
                    </a:lnTo>
                    <a:lnTo>
                      <a:pt x="5515" y="39"/>
                    </a:lnTo>
                    <a:lnTo>
                      <a:pt x="5513" y="35"/>
                    </a:lnTo>
                    <a:lnTo>
                      <a:pt x="5511" y="33"/>
                    </a:lnTo>
                    <a:lnTo>
                      <a:pt x="5507" y="32"/>
                    </a:lnTo>
                    <a:lnTo>
                      <a:pt x="5504" y="30"/>
                    </a:lnTo>
                    <a:lnTo>
                      <a:pt x="5490" y="32"/>
                    </a:lnTo>
                    <a:lnTo>
                      <a:pt x="5479" y="32"/>
                    </a:lnTo>
                    <a:lnTo>
                      <a:pt x="5468" y="32"/>
                    </a:lnTo>
                    <a:lnTo>
                      <a:pt x="5455" y="30"/>
                    </a:lnTo>
                    <a:lnTo>
                      <a:pt x="5449" y="30"/>
                    </a:lnTo>
                    <a:lnTo>
                      <a:pt x="5443" y="30"/>
                    </a:lnTo>
                    <a:lnTo>
                      <a:pt x="5440" y="30"/>
                    </a:lnTo>
                    <a:lnTo>
                      <a:pt x="5436" y="32"/>
                    </a:lnTo>
                    <a:lnTo>
                      <a:pt x="5430" y="36"/>
                    </a:lnTo>
                    <a:lnTo>
                      <a:pt x="5425" y="44"/>
                    </a:lnTo>
                    <a:lnTo>
                      <a:pt x="5422" y="51"/>
                    </a:lnTo>
                    <a:lnTo>
                      <a:pt x="5416" y="55"/>
                    </a:lnTo>
                    <a:lnTo>
                      <a:pt x="5412" y="57"/>
                    </a:lnTo>
                    <a:lnTo>
                      <a:pt x="5408" y="58"/>
                    </a:lnTo>
                    <a:lnTo>
                      <a:pt x="5403" y="58"/>
                    </a:lnTo>
                    <a:lnTo>
                      <a:pt x="5397" y="57"/>
                    </a:lnTo>
                    <a:lnTo>
                      <a:pt x="5391" y="55"/>
                    </a:lnTo>
                    <a:lnTo>
                      <a:pt x="5384" y="52"/>
                    </a:lnTo>
                    <a:lnTo>
                      <a:pt x="5378" y="47"/>
                    </a:lnTo>
                    <a:lnTo>
                      <a:pt x="5372" y="41"/>
                    </a:lnTo>
                    <a:lnTo>
                      <a:pt x="5358" y="28"/>
                    </a:lnTo>
                    <a:lnTo>
                      <a:pt x="5342" y="15"/>
                    </a:lnTo>
                    <a:lnTo>
                      <a:pt x="5332" y="10"/>
                    </a:lnTo>
                    <a:lnTo>
                      <a:pt x="5321" y="5"/>
                    </a:lnTo>
                    <a:lnTo>
                      <a:pt x="5309" y="3"/>
                    </a:lnTo>
                    <a:lnTo>
                      <a:pt x="5297" y="1"/>
                    </a:lnTo>
                    <a:lnTo>
                      <a:pt x="5285" y="0"/>
                    </a:lnTo>
                    <a:lnTo>
                      <a:pt x="5273" y="0"/>
                    </a:lnTo>
                    <a:lnTo>
                      <a:pt x="5264" y="0"/>
                    </a:lnTo>
                    <a:lnTo>
                      <a:pt x="5254" y="1"/>
                    </a:lnTo>
                    <a:lnTo>
                      <a:pt x="5251" y="2"/>
                    </a:lnTo>
                    <a:lnTo>
                      <a:pt x="5248" y="3"/>
                    </a:lnTo>
                    <a:lnTo>
                      <a:pt x="5245" y="5"/>
                    </a:lnTo>
                    <a:lnTo>
                      <a:pt x="5242" y="8"/>
                    </a:lnTo>
                    <a:lnTo>
                      <a:pt x="5238" y="14"/>
                    </a:lnTo>
                    <a:lnTo>
                      <a:pt x="5232" y="20"/>
                    </a:lnTo>
                    <a:lnTo>
                      <a:pt x="5216" y="32"/>
                    </a:lnTo>
                    <a:lnTo>
                      <a:pt x="5201" y="41"/>
                    </a:lnTo>
                    <a:lnTo>
                      <a:pt x="5195" y="47"/>
                    </a:lnTo>
                    <a:lnTo>
                      <a:pt x="5190" y="54"/>
                    </a:lnTo>
                    <a:lnTo>
                      <a:pt x="5187" y="63"/>
                    </a:lnTo>
                    <a:lnTo>
                      <a:pt x="5184" y="70"/>
                    </a:lnTo>
                    <a:lnTo>
                      <a:pt x="5183" y="78"/>
                    </a:lnTo>
                    <a:lnTo>
                      <a:pt x="5184" y="84"/>
                    </a:lnTo>
                    <a:lnTo>
                      <a:pt x="5185" y="88"/>
                    </a:lnTo>
                    <a:lnTo>
                      <a:pt x="5187" y="90"/>
                    </a:lnTo>
                    <a:lnTo>
                      <a:pt x="5189" y="92"/>
                    </a:lnTo>
                    <a:lnTo>
                      <a:pt x="5191" y="93"/>
                    </a:lnTo>
                    <a:lnTo>
                      <a:pt x="5196" y="97"/>
                    </a:lnTo>
                    <a:lnTo>
                      <a:pt x="5198" y="101"/>
                    </a:lnTo>
                    <a:lnTo>
                      <a:pt x="5200" y="104"/>
                    </a:lnTo>
                    <a:lnTo>
                      <a:pt x="5200" y="109"/>
                    </a:lnTo>
                    <a:lnTo>
                      <a:pt x="5198" y="114"/>
                    </a:lnTo>
                    <a:lnTo>
                      <a:pt x="5195" y="118"/>
                    </a:lnTo>
                    <a:lnTo>
                      <a:pt x="5192" y="123"/>
                    </a:lnTo>
                    <a:lnTo>
                      <a:pt x="5188" y="127"/>
                    </a:lnTo>
                    <a:lnTo>
                      <a:pt x="5181" y="139"/>
                    </a:lnTo>
                    <a:lnTo>
                      <a:pt x="5173" y="153"/>
                    </a:lnTo>
                    <a:lnTo>
                      <a:pt x="5169" y="161"/>
                    </a:lnTo>
                    <a:lnTo>
                      <a:pt x="5164" y="168"/>
                    </a:lnTo>
                    <a:lnTo>
                      <a:pt x="5159" y="174"/>
                    </a:lnTo>
                    <a:lnTo>
                      <a:pt x="5152" y="180"/>
                    </a:lnTo>
                    <a:lnTo>
                      <a:pt x="5144" y="185"/>
                    </a:lnTo>
                    <a:lnTo>
                      <a:pt x="5137" y="190"/>
                    </a:lnTo>
                    <a:lnTo>
                      <a:pt x="5129" y="194"/>
                    </a:lnTo>
                    <a:lnTo>
                      <a:pt x="5125" y="200"/>
                    </a:lnTo>
                    <a:lnTo>
                      <a:pt x="5114" y="215"/>
                    </a:lnTo>
                    <a:lnTo>
                      <a:pt x="5103" y="227"/>
                    </a:lnTo>
                    <a:lnTo>
                      <a:pt x="5099" y="230"/>
                    </a:lnTo>
                    <a:lnTo>
                      <a:pt x="5094" y="233"/>
                    </a:lnTo>
                    <a:lnTo>
                      <a:pt x="5087" y="235"/>
                    </a:lnTo>
                    <a:lnTo>
                      <a:pt x="5080" y="237"/>
                    </a:lnTo>
                    <a:lnTo>
                      <a:pt x="5061" y="241"/>
                    </a:lnTo>
                    <a:lnTo>
                      <a:pt x="5036" y="243"/>
                    </a:lnTo>
                    <a:lnTo>
                      <a:pt x="5011" y="246"/>
                    </a:lnTo>
                    <a:lnTo>
                      <a:pt x="4989" y="244"/>
                    </a:lnTo>
                    <a:lnTo>
                      <a:pt x="4973" y="242"/>
                    </a:lnTo>
                    <a:lnTo>
                      <a:pt x="4958" y="238"/>
                    </a:lnTo>
                    <a:lnTo>
                      <a:pt x="4943" y="234"/>
                    </a:lnTo>
                    <a:lnTo>
                      <a:pt x="4924" y="228"/>
                    </a:lnTo>
                    <a:lnTo>
                      <a:pt x="4914" y="225"/>
                    </a:lnTo>
                    <a:lnTo>
                      <a:pt x="4905" y="223"/>
                    </a:lnTo>
                    <a:lnTo>
                      <a:pt x="4896" y="223"/>
                    </a:lnTo>
                    <a:lnTo>
                      <a:pt x="4888" y="223"/>
                    </a:lnTo>
                    <a:lnTo>
                      <a:pt x="4879" y="225"/>
                    </a:lnTo>
                    <a:lnTo>
                      <a:pt x="4869" y="227"/>
                    </a:lnTo>
                    <a:lnTo>
                      <a:pt x="4864" y="229"/>
                    </a:lnTo>
                    <a:lnTo>
                      <a:pt x="4860" y="230"/>
                    </a:lnTo>
                    <a:lnTo>
                      <a:pt x="4855" y="233"/>
                    </a:lnTo>
                    <a:lnTo>
                      <a:pt x="4850" y="236"/>
                    </a:lnTo>
                    <a:lnTo>
                      <a:pt x="4843" y="242"/>
                    </a:lnTo>
                    <a:lnTo>
                      <a:pt x="4837" y="250"/>
                    </a:lnTo>
                    <a:lnTo>
                      <a:pt x="4832" y="260"/>
                    </a:lnTo>
                    <a:lnTo>
                      <a:pt x="4828" y="268"/>
                    </a:lnTo>
                    <a:lnTo>
                      <a:pt x="4824" y="276"/>
                    </a:lnTo>
                    <a:lnTo>
                      <a:pt x="4819" y="281"/>
                    </a:lnTo>
                    <a:lnTo>
                      <a:pt x="4814" y="286"/>
                    </a:lnTo>
                    <a:lnTo>
                      <a:pt x="4810" y="290"/>
                    </a:lnTo>
                    <a:lnTo>
                      <a:pt x="4805" y="293"/>
                    </a:lnTo>
                    <a:lnTo>
                      <a:pt x="4800" y="297"/>
                    </a:lnTo>
                    <a:lnTo>
                      <a:pt x="4794" y="301"/>
                    </a:lnTo>
                    <a:lnTo>
                      <a:pt x="4789" y="309"/>
                    </a:lnTo>
                    <a:lnTo>
                      <a:pt x="4781" y="322"/>
                    </a:lnTo>
                    <a:lnTo>
                      <a:pt x="4774" y="338"/>
                    </a:lnTo>
                    <a:lnTo>
                      <a:pt x="4765" y="356"/>
                    </a:lnTo>
                    <a:lnTo>
                      <a:pt x="4754" y="373"/>
                    </a:lnTo>
                    <a:lnTo>
                      <a:pt x="4753" y="374"/>
                    </a:lnTo>
                    <a:lnTo>
                      <a:pt x="4753" y="376"/>
                    </a:lnTo>
                    <a:lnTo>
                      <a:pt x="4754" y="378"/>
                    </a:lnTo>
                    <a:lnTo>
                      <a:pt x="4755" y="380"/>
                    </a:lnTo>
                    <a:lnTo>
                      <a:pt x="4757" y="382"/>
                    </a:lnTo>
                    <a:lnTo>
                      <a:pt x="4759" y="386"/>
                    </a:lnTo>
                    <a:lnTo>
                      <a:pt x="4757" y="402"/>
                    </a:lnTo>
                    <a:lnTo>
                      <a:pt x="4755" y="424"/>
                    </a:lnTo>
                    <a:lnTo>
                      <a:pt x="4751" y="448"/>
                    </a:lnTo>
                    <a:lnTo>
                      <a:pt x="4749" y="465"/>
                    </a:lnTo>
                    <a:lnTo>
                      <a:pt x="4745" y="485"/>
                    </a:lnTo>
                    <a:lnTo>
                      <a:pt x="4740" y="512"/>
                    </a:lnTo>
                    <a:lnTo>
                      <a:pt x="4737" y="527"/>
                    </a:lnTo>
                    <a:lnTo>
                      <a:pt x="4734" y="545"/>
                    </a:lnTo>
                    <a:lnTo>
                      <a:pt x="4731" y="563"/>
                    </a:lnTo>
                    <a:lnTo>
                      <a:pt x="4729" y="581"/>
                    </a:lnTo>
                    <a:lnTo>
                      <a:pt x="4728" y="610"/>
                    </a:lnTo>
                    <a:lnTo>
                      <a:pt x="4729" y="627"/>
                    </a:lnTo>
                    <a:lnTo>
                      <a:pt x="4731" y="635"/>
                    </a:lnTo>
                    <a:lnTo>
                      <a:pt x="4732" y="643"/>
                    </a:lnTo>
                    <a:lnTo>
                      <a:pt x="4731" y="654"/>
                    </a:lnTo>
                    <a:lnTo>
                      <a:pt x="4729" y="670"/>
                    </a:lnTo>
                    <a:lnTo>
                      <a:pt x="4724" y="688"/>
                    </a:lnTo>
                    <a:lnTo>
                      <a:pt x="4719" y="703"/>
                    </a:lnTo>
                    <a:lnTo>
                      <a:pt x="4716" y="710"/>
                    </a:lnTo>
                    <a:lnTo>
                      <a:pt x="4711" y="719"/>
                    </a:lnTo>
                    <a:lnTo>
                      <a:pt x="4705" y="726"/>
                    </a:lnTo>
                    <a:lnTo>
                      <a:pt x="4698" y="734"/>
                    </a:lnTo>
                    <a:lnTo>
                      <a:pt x="4682" y="750"/>
                    </a:lnTo>
                    <a:lnTo>
                      <a:pt x="4669" y="761"/>
                    </a:lnTo>
                    <a:lnTo>
                      <a:pt x="4663" y="766"/>
                    </a:lnTo>
                    <a:lnTo>
                      <a:pt x="4658" y="770"/>
                    </a:lnTo>
                    <a:lnTo>
                      <a:pt x="4652" y="773"/>
                    </a:lnTo>
                    <a:lnTo>
                      <a:pt x="4646" y="775"/>
                    </a:lnTo>
                    <a:lnTo>
                      <a:pt x="4640" y="776"/>
                    </a:lnTo>
                    <a:lnTo>
                      <a:pt x="4633" y="777"/>
                    </a:lnTo>
                    <a:lnTo>
                      <a:pt x="4627" y="777"/>
                    </a:lnTo>
                    <a:lnTo>
                      <a:pt x="4619" y="776"/>
                    </a:lnTo>
                    <a:lnTo>
                      <a:pt x="4614" y="776"/>
                    </a:lnTo>
                    <a:lnTo>
                      <a:pt x="4608" y="776"/>
                    </a:lnTo>
                    <a:lnTo>
                      <a:pt x="4602" y="777"/>
                    </a:lnTo>
                    <a:lnTo>
                      <a:pt x="4597" y="778"/>
                    </a:lnTo>
                    <a:lnTo>
                      <a:pt x="4589" y="782"/>
                    </a:lnTo>
                    <a:lnTo>
                      <a:pt x="4580" y="786"/>
                    </a:lnTo>
                    <a:lnTo>
                      <a:pt x="4573" y="792"/>
                    </a:lnTo>
                    <a:lnTo>
                      <a:pt x="4565" y="796"/>
                    </a:lnTo>
                    <a:lnTo>
                      <a:pt x="4560" y="798"/>
                    </a:lnTo>
                    <a:lnTo>
                      <a:pt x="4555" y="799"/>
                    </a:lnTo>
                    <a:lnTo>
                      <a:pt x="4551" y="801"/>
                    </a:lnTo>
                    <a:lnTo>
                      <a:pt x="4546" y="801"/>
                    </a:lnTo>
                    <a:lnTo>
                      <a:pt x="4537" y="802"/>
                    </a:lnTo>
                    <a:lnTo>
                      <a:pt x="4527" y="805"/>
                    </a:lnTo>
                    <a:lnTo>
                      <a:pt x="4515" y="811"/>
                    </a:lnTo>
                    <a:lnTo>
                      <a:pt x="4502" y="817"/>
                    </a:lnTo>
                    <a:lnTo>
                      <a:pt x="4489" y="823"/>
                    </a:lnTo>
                    <a:lnTo>
                      <a:pt x="4476" y="827"/>
                    </a:lnTo>
                    <a:lnTo>
                      <a:pt x="4470" y="828"/>
                    </a:lnTo>
                    <a:lnTo>
                      <a:pt x="4464" y="829"/>
                    </a:lnTo>
                    <a:lnTo>
                      <a:pt x="4458" y="828"/>
                    </a:lnTo>
                    <a:lnTo>
                      <a:pt x="4453" y="827"/>
                    </a:lnTo>
                    <a:lnTo>
                      <a:pt x="4449" y="824"/>
                    </a:lnTo>
                    <a:lnTo>
                      <a:pt x="4444" y="820"/>
                    </a:lnTo>
                    <a:lnTo>
                      <a:pt x="4438" y="814"/>
                    </a:lnTo>
                    <a:lnTo>
                      <a:pt x="4432" y="807"/>
                    </a:lnTo>
                    <a:lnTo>
                      <a:pt x="4421" y="791"/>
                    </a:lnTo>
                    <a:lnTo>
                      <a:pt x="4415" y="779"/>
                    </a:lnTo>
                    <a:lnTo>
                      <a:pt x="4411" y="766"/>
                    </a:lnTo>
                    <a:lnTo>
                      <a:pt x="4408" y="755"/>
                    </a:lnTo>
                    <a:lnTo>
                      <a:pt x="4407" y="751"/>
                    </a:lnTo>
                    <a:lnTo>
                      <a:pt x="4403" y="747"/>
                    </a:lnTo>
                    <a:lnTo>
                      <a:pt x="4397" y="745"/>
                    </a:lnTo>
                    <a:lnTo>
                      <a:pt x="4390" y="745"/>
                    </a:lnTo>
                    <a:lnTo>
                      <a:pt x="4378" y="744"/>
                    </a:lnTo>
                    <a:lnTo>
                      <a:pt x="4369" y="742"/>
                    </a:lnTo>
                    <a:lnTo>
                      <a:pt x="4359" y="740"/>
                    </a:lnTo>
                    <a:lnTo>
                      <a:pt x="4352" y="736"/>
                    </a:lnTo>
                    <a:lnTo>
                      <a:pt x="4339" y="731"/>
                    </a:lnTo>
                    <a:lnTo>
                      <a:pt x="4323" y="723"/>
                    </a:lnTo>
                    <a:lnTo>
                      <a:pt x="4304" y="716"/>
                    </a:lnTo>
                    <a:lnTo>
                      <a:pt x="4285" y="713"/>
                    </a:lnTo>
                    <a:lnTo>
                      <a:pt x="4277" y="712"/>
                    </a:lnTo>
                    <a:lnTo>
                      <a:pt x="4269" y="710"/>
                    </a:lnTo>
                    <a:lnTo>
                      <a:pt x="4260" y="710"/>
                    </a:lnTo>
                    <a:lnTo>
                      <a:pt x="4253" y="713"/>
                    </a:lnTo>
                    <a:lnTo>
                      <a:pt x="4247" y="714"/>
                    </a:lnTo>
                    <a:lnTo>
                      <a:pt x="4243" y="714"/>
                    </a:lnTo>
                    <a:lnTo>
                      <a:pt x="4237" y="714"/>
                    </a:lnTo>
                    <a:lnTo>
                      <a:pt x="4232" y="713"/>
                    </a:lnTo>
                    <a:lnTo>
                      <a:pt x="4224" y="709"/>
                    </a:lnTo>
                    <a:lnTo>
                      <a:pt x="4218" y="703"/>
                    </a:lnTo>
                    <a:lnTo>
                      <a:pt x="4213" y="698"/>
                    </a:lnTo>
                    <a:lnTo>
                      <a:pt x="4206" y="696"/>
                    </a:lnTo>
                    <a:lnTo>
                      <a:pt x="4197" y="695"/>
                    </a:lnTo>
                    <a:lnTo>
                      <a:pt x="4187" y="694"/>
                    </a:lnTo>
                    <a:lnTo>
                      <a:pt x="4176" y="693"/>
                    </a:lnTo>
                    <a:lnTo>
                      <a:pt x="4168" y="690"/>
                    </a:lnTo>
                    <a:lnTo>
                      <a:pt x="4162" y="687"/>
                    </a:lnTo>
                    <a:lnTo>
                      <a:pt x="4153" y="679"/>
                    </a:lnTo>
                    <a:lnTo>
                      <a:pt x="4144" y="671"/>
                    </a:lnTo>
                    <a:lnTo>
                      <a:pt x="4132" y="664"/>
                    </a:lnTo>
                    <a:lnTo>
                      <a:pt x="4121" y="657"/>
                    </a:lnTo>
                    <a:lnTo>
                      <a:pt x="4110" y="651"/>
                    </a:lnTo>
                    <a:lnTo>
                      <a:pt x="4101" y="641"/>
                    </a:lnTo>
                    <a:lnTo>
                      <a:pt x="4093" y="631"/>
                    </a:lnTo>
                    <a:lnTo>
                      <a:pt x="4081" y="619"/>
                    </a:lnTo>
                    <a:lnTo>
                      <a:pt x="4069" y="607"/>
                    </a:lnTo>
                    <a:lnTo>
                      <a:pt x="4061" y="596"/>
                    </a:lnTo>
                    <a:lnTo>
                      <a:pt x="4050" y="584"/>
                    </a:lnTo>
                    <a:lnTo>
                      <a:pt x="4044" y="580"/>
                    </a:lnTo>
                    <a:lnTo>
                      <a:pt x="4039" y="576"/>
                    </a:lnTo>
                    <a:lnTo>
                      <a:pt x="4033" y="572"/>
                    </a:lnTo>
                    <a:lnTo>
                      <a:pt x="4029" y="570"/>
                    </a:lnTo>
                    <a:lnTo>
                      <a:pt x="4019" y="567"/>
                    </a:lnTo>
                    <a:lnTo>
                      <a:pt x="4013" y="562"/>
                    </a:lnTo>
                    <a:lnTo>
                      <a:pt x="4010" y="557"/>
                    </a:lnTo>
                    <a:lnTo>
                      <a:pt x="4006" y="552"/>
                    </a:lnTo>
                    <a:lnTo>
                      <a:pt x="4003" y="546"/>
                    </a:lnTo>
                    <a:lnTo>
                      <a:pt x="3997" y="540"/>
                    </a:lnTo>
                    <a:lnTo>
                      <a:pt x="3993" y="537"/>
                    </a:lnTo>
                    <a:lnTo>
                      <a:pt x="3988" y="534"/>
                    </a:lnTo>
                    <a:lnTo>
                      <a:pt x="3982" y="533"/>
                    </a:lnTo>
                    <a:lnTo>
                      <a:pt x="3975" y="532"/>
                    </a:lnTo>
                    <a:lnTo>
                      <a:pt x="3968" y="532"/>
                    </a:lnTo>
                    <a:lnTo>
                      <a:pt x="3963" y="534"/>
                    </a:lnTo>
                    <a:lnTo>
                      <a:pt x="3959" y="538"/>
                    </a:lnTo>
                    <a:lnTo>
                      <a:pt x="3955" y="543"/>
                    </a:lnTo>
                    <a:lnTo>
                      <a:pt x="3948" y="557"/>
                    </a:lnTo>
                    <a:lnTo>
                      <a:pt x="3938" y="574"/>
                    </a:lnTo>
                    <a:lnTo>
                      <a:pt x="3929" y="586"/>
                    </a:lnTo>
                    <a:lnTo>
                      <a:pt x="3918" y="601"/>
                    </a:lnTo>
                    <a:lnTo>
                      <a:pt x="3905" y="619"/>
                    </a:lnTo>
                    <a:lnTo>
                      <a:pt x="3892" y="637"/>
                    </a:lnTo>
                    <a:lnTo>
                      <a:pt x="3884" y="646"/>
                    </a:lnTo>
                    <a:lnTo>
                      <a:pt x="3874" y="656"/>
                    </a:lnTo>
                    <a:lnTo>
                      <a:pt x="3866" y="665"/>
                    </a:lnTo>
                    <a:lnTo>
                      <a:pt x="3859" y="673"/>
                    </a:lnTo>
                    <a:lnTo>
                      <a:pt x="3842" y="701"/>
                    </a:lnTo>
                    <a:lnTo>
                      <a:pt x="3824" y="732"/>
                    </a:lnTo>
                    <a:lnTo>
                      <a:pt x="3810" y="759"/>
                    </a:lnTo>
                    <a:lnTo>
                      <a:pt x="3802" y="776"/>
                    </a:lnTo>
                    <a:lnTo>
                      <a:pt x="3791" y="794"/>
                    </a:lnTo>
                    <a:lnTo>
                      <a:pt x="3770" y="822"/>
                    </a:lnTo>
                    <a:lnTo>
                      <a:pt x="3748" y="854"/>
                    </a:lnTo>
                    <a:lnTo>
                      <a:pt x="3730" y="878"/>
                    </a:lnTo>
                    <a:lnTo>
                      <a:pt x="3717" y="897"/>
                    </a:lnTo>
                    <a:lnTo>
                      <a:pt x="3701" y="918"/>
                    </a:lnTo>
                    <a:lnTo>
                      <a:pt x="3684" y="940"/>
                    </a:lnTo>
                    <a:lnTo>
                      <a:pt x="3670" y="959"/>
                    </a:lnTo>
                    <a:lnTo>
                      <a:pt x="3661" y="975"/>
                    </a:lnTo>
                    <a:lnTo>
                      <a:pt x="3654" y="990"/>
                    </a:lnTo>
                    <a:lnTo>
                      <a:pt x="3651" y="997"/>
                    </a:lnTo>
                    <a:lnTo>
                      <a:pt x="3645" y="1003"/>
                    </a:lnTo>
                    <a:lnTo>
                      <a:pt x="3639" y="1007"/>
                    </a:lnTo>
                    <a:lnTo>
                      <a:pt x="3630" y="1012"/>
                    </a:lnTo>
                    <a:lnTo>
                      <a:pt x="3623" y="1016"/>
                    </a:lnTo>
                    <a:lnTo>
                      <a:pt x="3617" y="1021"/>
                    </a:lnTo>
                    <a:lnTo>
                      <a:pt x="3615" y="1025"/>
                    </a:lnTo>
                    <a:lnTo>
                      <a:pt x="3613" y="1030"/>
                    </a:lnTo>
                    <a:lnTo>
                      <a:pt x="3611" y="1044"/>
                    </a:lnTo>
                    <a:lnTo>
                      <a:pt x="3608" y="1061"/>
                    </a:lnTo>
                    <a:lnTo>
                      <a:pt x="3604" y="1072"/>
                    </a:lnTo>
                    <a:lnTo>
                      <a:pt x="3600" y="1082"/>
                    </a:lnTo>
                    <a:lnTo>
                      <a:pt x="3594" y="1093"/>
                    </a:lnTo>
                    <a:lnTo>
                      <a:pt x="3586" y="1104"/>
                    </a:lnTo>
                    <a:lnTo>
                      <a:pt x="3581" y="1116"/>
                    </a:lnTo>
                    <a:lnTo>
                      <a:pt x="3575" y="1128"/>
                    </a:lnTo>
                    <a:lnTo>
                      <a:pt x="3569" y="1141"/>
                    </a:lnTo>
                    <a:lnTo>
                      <a:pt x="3564" y="1154"/>
                    </a:lnTo>
                    <a:lnTo>
                      <a:pt x="3560" y="1164"/>
                    </a:lnTo>
                    <a:lnTo>
                      <a:pt x="3560" y="1174"/>
                    </a:lnTo>
                    <a:lnTo>
                      <a:pt x="3561" y="1181"/>
                    </a:lnTo>
                    <a:lnTo>
                      <a:pt x="3564" y="1187"/>
                    </a:lnTo>
                    <a:lnTo>
                      <a:pt x="3572" y="1194"/>
                    </a:lnTo>
                    <a:lnTo>
                      <a:pt x="3582" y="1201"/>
                    </a:lnTo>
                    <a:lnTo>
                      <a:pt x="3586" y="1207"/>
                    </a:lnTo>
                    <a:lnTo>
                      <a:pt x="3591" y="1214"/>
                    </a:lnTo>
                    <a:lnTo>
                      <a:pt x="3595" y="1224"/>
                    </a:lnTo>
                    <a:lnTo>
                      <a:pt x="3598" y="1235"/>
                    </a:lnTo>
                    <a:lnTo>
                      <a:pt x="3605" y="1259"/>
                    </a:lnTo>
                    <a:lnTo>
                      <a:pt x="3610" y="1286"/>
                    </a:lnTo>
                    <a:lnTo>
                      <a:pt x="3611" y="1297"/>
                    </a:lnTo>
                    <a:lnTo>
                      <a:pt x="3610" y="1306"/>
                    </a:lnTo>
                    <a:lnTo>
                      <a:pt x="3608" y="1313"/>
                    </a:lnTo>
                    <a:lnTo>
                      <a:pt x="3603" y="1317"/>
                    </a:lnTo>
                    <a:lnTo>
                      <a:pt x="3598" y="1320"/>
                    </a:lnTo>
                    <a:lnTo>
                      <a:pt x="3594" y="1321"/>
                    </a:lnTo>
                    <a:lnTo>
                      <a:pt x="3588" y="1320"/>
                    </a:lnTo>
                    <a:lnTo>
                      <a:pt x="3582" y="1320"/>
                    </a:lnTo>
                    <a:lnTo>
                      <a:pt x="3573" y="1317"/>
                    </a:lnTo>
                    <a:lnTo>
                      <a:pt x="3565" y="1311"/>
                    </a:lnTo>
                    <a:lnTo>
                      <a:pt x="3553" y="1303"/>
                    </a:lnTo>
                    <a:lnTo>
                      <a:pt x="3534" y="1294"/>
                    </a:lnTo>
                    <a:lnTo>
                      <a:pt x="3523" y="1290"/>
                    </a:lnTo>
                    <a:lnTo>
                      <a:pt x="3514" y="1287"/>
                    </a:lnTo>
                    <a:lnTo>
                      <a:pt x="3507" y="1286"/>
                    </a:lnTo>
                    <a:lnTo>
                      <a:pt x="3501" y="1284"/>
                    </a:lnTo>
                    <a:lnTo>
                      <a:pt x="3489" y="1284"/>
                    </a:lnTo>
                    <a:lnTo>
                      <a:pt x="3476" y="1282"/>
                    </a:lnTo>
                    <a:lnTo>
                      <a:pt x="3468" y="1280"/>
                    </a:lnTo>
                    <a:lnTo>
                      <a:pt x="3460" y="1275"/>
                    </a:lnTo>
                    <a:lnTo>
                      <a:pt x="3452" y="1268"/>
                    </a:lnTo>
                    <a:lnTo>
                      <a:pt x="3445" y="1261"/>
                    </a:lnTo>
                    <a:lnTo>
                      <a:pt x="3430" y="1243"/>
                    </a:lnTo>
                    <a:lnTo>
                      <a:pt x="3416" y="1225"/>
                    </a:lnTo>
                    <a:lnTo>
                      <a:pt x="3409" y="1217"/>
                    </a:lnTo>
                    <a:lnTo>
                      <a:pt x="3402" y="1210"/>
                    </a:lnTo>
                    <a:lnTo>
                      <a:pt x="3395" y="1204"/>
                    </a:lnTo>
                    <a:lnTo>
                      <a:pt x="3388" y="1199"/>
                    </a:lnTo>
                    <a:lnTo>
                      <a:pt x="3381" y="1195"/>
                    </a:lnTo>
                    <a:lnTo>
                      <a:pt x="3374" y="1193"/>
                    </a:lnTo>
                    <a:lnTo>
                      <a:pt x="3367" y="1192"/>
                    </a:lnTo>
                    <a:lnTo>
                      <a:pt x="3358" y="1192"/>
                    </a:lnTo>
                    <a:lnTo>
                      <a:pt x="3344" y="1194"/>
                    </a:lnTo>
                    <a:lnTo>
                      <a:pt x="3332" y="1198"/>
                    </a:lnTo>
                    <a:lnTo>
                      <a:pt x="3320" y="1204"/>
                    </a:lnTo>
                    <a:lnTo>
                      <a:pt x="3307" y="1210"/>
                    </a:lnTo>
                    <a:lnTo>
                      <a:pt x="3299" y="1212"/>
                    </a:lnTo>
                    <a:lnTo>
                      <a:pt x="3290" y="1214"/>
                    </a:lnTo>
                    <a:lnTo>
                      <a:pt x="3282" y="1214"/>
                    </a:lnTo>
                    <a:lnTo>
                      <a:pt x="3273" y="1215"/>
                    </a:lnTo>
                    <a:lnTo>
                      <a:pt x="3254" y="1213"/>
                    </a:lnTo>
                    <a:lnTo>
                      <a:pt x="3233" y="1211"/>
                    </a:lnTo>
                    <a:lnTo>
                      <a:pt x="3219" y="1207"/>
                    </a:lnTo>
                    <a:lnTo>
                      <a:pt x="3210" y="1206"/>
                    </a:lnTo>
                    <a:lnTo>
                      <a:pt x="3202" y="1206"/>
                    </a:lnTo>
                    <a:lnTo>
                      <a:pt x="3193" y="1210"/>
                    </a:lnTo>
                    <a:lnTo>
                      <a:pt x="3180" y="1213"/>
                    </a:lnTo>
                    <a:lnTo>
                      <a:pt x="3166" y="1214"/>
                    </a:lnTo>
                    <a:lnTo>
                      <a:pt x="3149" y="1215"/>
                    </a:lnTo>
                    <a:lnTo>
                      <a:pt x="3132" y="1215"/>
                    </a:lnTo>
                    <a:lnTo>
                      <a:pt x="3117" y="1217"/>
                    </a:lnTo>
                    <a:lnTo>
                      <a:pt x="3106" y="1217"/>
                    </a:lnTo>
                    <a:lnTo>
                      <a:pt x="3101" y="1217"/>
                    </a:lnTo>
                    <a:lnTo>
                      <a:pt x="3097" y="1215"/>
                    </a:lnTo>
                    <a:lnTo>
                      <a:pt x="3092" y="1213"/>
                    </a:lnTo>
                    <a:lnTo>
                      <a:pt x="3086" y="1210"/>
                    </a:lnTo>
                    <a:lnTo>
                      <a:pt x="3075" y="1201"/>
                    </a:lnTo>
                    <a:lnTo>
                      <a:pt x="3067" y="1194"/>
                    </a:lnTo>
                    <a:lnTo>
                      <a:pt x="3063" y="1193"/>
                    </a:lnTo>
                    <a:lnTo>
                      <a:pt x="3060" y="1192"/>
                    </a:lnTo>
                    <a:lnTo>
                      <a:pt x="3057" y="1192"/>
                    </a:lnTo>
                    <a:lnTo>
                      <a:pt x="3055" y="1192"/>
                    </a:lnTo>
                    <a:lnTo>
                      <a:pt x="3054" y="1198"/>
                    </a:lnTo>
                    <a:lnTo>
                      <a:pt x="3053" y="1204"/>
                    </a:lnTo>
                    <a:lnTo>
                      <a:pt x="3052" y="1206"/>
                    </a:lnTo>
                    <a:lnTo>
                      <a:pt x="3050" y="1208"/>
                    </a:lnTo>
                    <a:lnTo>
                      <a:pt x="3048" y="1210"/>
                    </a:lnTo>
                    <a:lnTo>
                      <a:pt x="3043" y="1210"/>
                    </a:lnTo>
                    <a:lnTo>
                      <a:pt x="3033" y="1208"/>
                    </a:lnTo>
                    <a:lnTo>
                      <a:pt x="3022" y="1205"/>
                    </a:lnTo>
                    <a:lnTo>
                      <a:pt x="3010" y="1201"/>
                    </a:lnTo>
                    <a:lnTo>
                      <a:pt x="2998" y="1196"/>
                    </a:lnTo>
                    <a:lnTo>
                      <a:pt x="2992" y="1193"/>
                    </a:lnTo>
                    <a:lnTo>
                      <a:pt x="2987" y="1192"/>
                    </a:lnTo>
                    <a:lnTo>
                      <a:pt x="2983" y="1191"/>
                    </a:lnTo>
                    <a:lnTo>
                      <a:pt x="2979" y="1191"/>
                    </a:lnTo>
                    <a:lnTo>
                      <a:pt x="2975" y="1191"/>
                    </a:lnTo>
                    <a:lnTo>
                      <a:pt x="2972" y="1193"/>
                    </a:lnTo>
                    <a:lnTo>
                      <a:pt x="2969" y="1196"/>
                    </a:lnTo>
                    <a:lnTo>
                      <a:pt x="2966" y="1201"/>
                    </a:lnTo>
                    <a:lnTo>
                      <a:pt x="2964" y="1205"/>
                    </a:lnTo>
                    <a:lnTo>
                      <a:pt x="2960" y="1208"/>
                    </a:lnTo>
                    <a:lnTo>
                      <a:pt x="2955" y="1210"/>
                    </a:lnTo>
                    <a:lnTo>
                      <a:pt x="2952" y="1210"/>
                    </a:lnTo>
                    <a:lnTo>
                      <a:pt x="2947" y="1210"/>
                    </a:lnTo>
                    <a:lnTo>
                      <a:pt x="2942" y="1208"/>
                    </a:lnTo>
                    <a:lnTo>
                      <a:pt x="2939" y="1206"/>
                    </a:lnTo>
                    <a:lnTo>
                      <a:pt x="2935" y="1204"/>
                    </a:lnTo>
                    <a:lnTo>
                      <a:pt x="2931" y="1201"/>
                    </a:lnTo>
                    <a:lnTo>
                      <a:pt x="2928" y="1200"/>
                    </a:lnTo>
                    <a:lnTo>
                      <a:pt x="2923" y="1200"/>
                    </a:lnTo>
                    <a:lnTo>
                      <a:pt x="2918" y="1200"/>
                    </a:lnTo>
                    <a:lnTo>
                      <a:pt x="2908" y="1202"/>
                    </a:lnTo>
                    <a:lnTo>
                      <a:pt x="2897" y="1207"/>
                    </a:lnTo>
                    <a:lnTo>
                      <a:pt x="2892" y="1208"/>
                    </a:lnTo>
                    <a:lnTo>
                      <a:pt x="2889" y="1208"/>
                    </a:lnTo>
                    <a:lnTo>
                      <a:pt x="2885" y="1206"/>
                    </a:lnTo>
                    <a:lnTo>
                      <a:pt x="2883" y="1204"/>
                    </a:lnTo>
                    <a:lnTo>
                      <a:pt x="2876" y="1196"/>
                    </a:lnTo>
                    <a:lnTo>
                      <a:pt x="2867" y="1189"/>
                    </a:lnTo>
                    <a:lnTo>
                      <a:pt x="2864" y="1188"/>
                    </a:lnTo>
                    <a:lnTo>
                      <a:pt x="2860" y="1188"/>
                    </a:lnTo>
                    <a:lnTo>
                      <a:pt x="2858" y="1189"/>
                    </a:lnTo>
                    <a:lnTo>
                      <a:pt x="2854" y="1192"/>
                    </a:lnTo>
                    <a:lnTo>
                      <a:pt x="2846" y="1198"/>
                    </a:lnTo>
                    <a:lnTo>
                      <a:pt x="2838" y="1202"/>
                    </a:lnTo>
                    <a:lnTo>
                      <a:pt x="2828" y="1205"/>
                    </a:lnTo>
                    <a:lnTo>
                      <a:pt x="2819" y="1206"/>
                    </a:lnTo>
                    <a:lnTo>
                      <a:pt x="2809" y="1208"/>
                    </a:lnTo>
                    <a:lnTo>
                      <a:pt x="2801" y="1212"/>
                    </a:lnTo>
                    <a:lnTo>
                      <a:pt x="2788" y="1220"/>
                    </a:lnTo>
                    <a:lnTo>
                      <a:pt x="2779" y="1227"/>
                    </a:lnTo>
                    <a:lnTo>
                      <a:pt x="2778" y="1231"/>
                    </a:lnTo>
                    <a:lnTo>
                      <a:pt x="2778" y="1233"/>
                    </a:lnTo>
                    <a:lnTo>
                      <a:pt x="2780" y="1235"/>
                    </a:lnTo>
                    <a:lnTo>
                      <a:pt x="2785" y="1236"/>
                    </a:lnTo>
                    <a:lnTo>
                      <a:pt x="2789" y="1237"/>
                    </a:lnTo>
                    <a:lnTo>
                      <a:pt x="2792" y="1238"/>
                    </a:lnTo>
                    <a:lnTo>
                      <a:pt x="2795" y="1239"/>
                    </a:lnTo>
                    <a:lnTo>
                      <a:pt x="2795" y="1242"/>
                    </a:lnTo>
                    <a:lnTo>
                      <a:pt x="2795" y="1245"/>
                    </a:lnTo>
                    <a:lnTo>
                      <a:pt x="2791" y="1249"/>
                    </a:lnTo>
                    <a:lnTo>
                      <a:pt x="2789" y="1251"/>
                    </a:lnTo>
                    <a:lnTo>
                      <a:pt x="2788" y="1254"/>
                    </a:lnTo>
                    <a:lnTo>
                      <a:pt x="2786" y="1257"/>
                    </a:lnTo>
                    <a:lnTo>
                      <a:pt x="2786" y="1261"/>
                    </a:lnTo>
                    <a:lnTo>
                      <a:pt x="2788" y="1264"/>
                    </a:lnTo>
                    <a:lnTo>
                      <a:pt x="2789" y="1268"/>
                    </a:lnTo>
                    <a:lnTo>
                      <a:pt x="2790" y="1271"/>
                    </a:lnTo>
                    <a:lnTo>
                      <a:pt x="2794" y="1274"/>
                    </a:lnTo>
                    <a:lnTo>
                      <a:pt x="2800" y="1280"/>
                    </a:lnTo>
                    <a:lnTo>
                      <a:pt x="2808" y="1283"/>
                    </a:lnTo>
                    <a:lnTo>
                      <a:pt x="2813" y="1284"/>
                    </a:lnTo>
                    <a:lnTo>
                      <a:pt x="2817" y="1286"/>
                    </a:lnTo>
                    <a:lnTo>
                      <a:pt x="2824" y="1286"/>
                    </a:lnTo>
                    <a:lnTo>
                      <a:pt x="2830" y="1286"/>
                    </a:lnTo>
                    <a:lnTo>
                      <a:pt x="2842" y="1283"/>
                    </a:lnTo>
                    <a:lnTo>
                      <a:pt x="2848" y="1284"/>
                    </a:lnTo>
                    <a:lnTo>
                      <a:pt x="2849" y="1286"/>
                    </a:lnTo>
                    <a:lnTo>
                      <a:pt x="2851" y="1289"/>
                    </a:lnTo>
                    <a:lnTo>
                      <a:pt x="2851" y="1294"/>
                    </a:lnTo>
                    <a:lnTo>
                      <a:pt x="2851" y="1301"/>
                    </a:lnTo>
                    <a:lnTo>
                      <a:pt x="2852" y="1307"/>
                    </a:lnTo>
                    <a:lnTo>
                      <a:pt x="2852" y="1312"/>
                    </a:lnTo>
                    <a:lnTo>
                      <a:pt x="2854" y="1317"/>
                    </a:lnTo>
                    <a:lnTo>
                      <a:pt x="2857" y="1320"/>
                    </a:lnTo>
                    <a:lnTo>
                      <a:pt x="2867" y="1331"/>
                    </a:lnTo>
                    <a:lnTo>
                      <a:pt x="2878" y="1340"/>
                    </a:lnTo>
                    <a:lnTo>
                      <a:pt x="2882" y="1344"/>
                    </a:lnTo>
                    <a:lnTo>
                      <a:pt x="2884" y="1350"/>
                    </a:lnTo>
                    <a:lnTo>
                      <a:pt x="2886" y="1356"/>
                    </a:lnTo>
                    <a:lnTo>
                      <a:pt x="2887" y="1362"/>
                    </a:lnTo>
                    <a:lnTo>
                      <a:pt x="2889" y="1369"/>
                    </a:lnTo>
                    <a:lnTo>
                      <a:pt x="2887" y="1377"/>
                    </a:lnTo>
                    <a:lnTo>
                      <a:pt x="2886" y="1385"/>
                    </a:lnTo>
                    <a:lnTo>
                      <a:pt x="2884" y="1395"/>
                    </a:lnTo>
                    <a:lnTo>
                      <a:pt x="2877" y="1409"/>
                    </a:lnTo>
                    <a:lnTo>
                      <a:pt x="2868" y="1427"/>
                    </a:lnTo>
                    <a:lnTo>
                      <a:pt x="2863" y="1451"/>
                    </a:lnTo>
                    <a:lnTo>
                      <a:pt x="2858" y="1476"/>
                    </a:lnTo>
                    <a:lnTo>
                      <a:pt x="2854" y="1498"/>
                    </a:lnTo>
                    <a:lnTo>
                      <a:pt x="2852" y="1516"/>
                    </a:lnTo>
                    <a:lnTo>
                      <a:pt x="2848" y="1528"/>
                    </a:lnTo>
                    <a:lnTo>
                      <a:pt x="2842" y="1542"/>
                    </a:lnTo>
                    <a:lnTo>
                      <a:pt x="2839" y="1559"/>
                    </a:lnTo>
                    <a:lnTo>
                      <a:pt x="2836" y="1576"/>
                    </a:lnTo>
                    <a:lnTo>
                      <a:pt x="2834" y="1589"/>
                    </a:lnTo>
                    <a:lnTo>
                      <a:pt x="2832" y="1601"/>
                    </a:lnTo>
                    <a:lnTo>
                      <a:pt x="2832" y="1612"/>
                    </a:lnTo>
                    <a:lnTo>
                      <a:pt x="2832" y="1627"/>
                    </a:lnTo>
                    <a:lnTo>
                      <a:pt x="2832" y="1635"/>
                    </a:lnTo>
                    <a:lnTo>
                      <a:pt x="2832" y="1645"/>
                    </a:lnTo>
                    <a:lnTo>
                      <a:pt x="2830" y="1655"/>
                    </a:lnTo>
                    <a:lnTo>
                      <a:pt x="2829" y="1666"/>
                    </a:lnTo>
                    <a:lnTo>
                      <a:pt x="2829" y="1677"/>
                    </a:lnTo>
                    <a:lnTo>
                      <a:pt x="2829" y="1686"/>
                    </a:lnTo>
                    <a:lnTo>
                      <a:pt x="2830" y="1697"/>
                    </a:lnTo>
                    <a:lnTo>
                      <a:pt x="2830" y="1708"/>
                    </a:lnTo>
                    <a:lnTo>
                      <a:pt x="2830" y="1725"/>
                    </a:lnTo>
                    <a:lnTo>
                      <a:pt x="2830" y="1743"/>
                    </a:lnTo>
                    <a:lnTo>
                      <a:pt x="2830" y="1759"/>
                    </a:lnTo>
                    <a:lnTo>
                      <a:pt x="2832" y="1773"/>
                    </a:lnTo>
                    <a:lnTo>
                      <a:pt x="2836" y="1803"/>
                    </a:lnTo>
                    <a:lnTo>
                      <a:pt x="2842" y="1834"/>
                    </a:lnTo>
                    <a:lnTo>
                      <a:pt x="2847" y="1862"/>
                    </a:lnTo>
                    <a:lnTo>
                      <a:pt x="2849" y="1885"/>
                    </a:lnTo>
                    <a:lnTo>
                      <a:pt x="2849" y="1892"/>
                    </a:lnTo>
                    <a:lnTo>
                      <a:pt x="2849" y="1899"/>
                    </a:lnTo>
                    <a:lnTo>
                      <a:pt x="2848" y="1905"/>
                    </a:lnTo>
                    <a:lnTo>
                      <a:pt x="2846" y="1911"/>
                    </a:lnTo>
                    <a:lnTo>
                      <a:pt x="2843" y="1916"/>
                    </a:lnTo>
                    <a:lnTo>
                      <a:pt x="2840" y="1922"/>
                    </a:lnTo>
                    <a:lnTo>
                      <a:pt x="2835" y="1926"/>
                    </a:lnTo>
                    <a:lnTo>
                      <a:pt x="2829" y="1931"/>
                    </a:lnTo>
                    <a:lnTo>
                      <a:pt x="2824" y="1937"/>
                    </a:lnTo>
                    <a:lnTo>
                      <a:pt x="2820" y="1942"/>
                    </a:lnTo>
                    <a:lnTo>
                      <a:pt x="2816" y="1946"/>
                    </a:lnTo>
                    <a:lnTo>
                      <a:pt x="2815" y="1951"/>
                    </a:lnTo>
                    <a:lnTo>
                      <a:pt x="2819" y="1960"/>
                    </a:lnTo>
                    <a:lnTo>
                      <a:pt x="2824" y="1967"/>
                    </a:lnTo>
                    <a:lnTo>
                      <a:pt x="2827" y="1973"/>
                    </a:lnTo>
                    <a:lnTo>
                      <a:pt x="2828" y="1979"/>
                    </a:lnTo>
                    <a:lnTo>
                      <a:pt x="2829" y="1987"/>
                    </a:lnTo>
                    <a:lnTo>
                      <a:pt x="2829" y="1995"/>
                    </a:lnTo>
                    <a:lnTo>
                      <a:pt x="2828" y="2012"/>
                    </a:lnTo>
                    <a:lnTo>
                      <a:pt x="2824" y="2027"/>
                    </a:lnTo>
                    <a:lnTo>
                      <a:pt x="2822" y="2032"/>
                    </a:lnTo>
                    <a:lnTo>
                      <a:pt x="2819" y="2036"/>
                    </a:lnTo>
                    <a:lnTo>
                      <a:pt x="2814" y="2037"/>
                    </a:lnTo>
                    <a:lnTo>
                      <a:pt x="2809" y="2037"/>
                    </a:lnTo>
                    <a:lnTo>
                      <a:pt x="2798" y="2034"/>
                    </a:lnTo>
                    <a:lnTo>
                      <a:pt x="2788" y="2030"/>
                    </a:lnTo>
                    <a:lnTo>
                      <a:pt x="2783" y="2028"/>
                    </a:lnTo>
                    <a:lnTo>
                      <a:pt x="2777" y="2027"/>
                    </a:lnTo>
                    <a:lnTo>
                      <a:pt x="2772" y="2027"/>
                    </a:lnTo>
                    <a:lnTo>
                      <a:pt x="2766" y="2030"/>
                    </a:lnTo>
                    <a:lnTo>
                      <a:pt x="2756" y="2033"/>
                    </a:lnTo>
                    <a:lnTo>
                      <a:pt x="2745" y="2039"/>
                    </a:lnTo>
                    <a:lnTo>
                      <a:pt x="2739" y="2042"/>
                    </a:lnTo>
                    <a:lnTo>
                      <a:pt x="2732" y="2043"/>
                    </a:lnTo>
                    <a:lnTo>
                      <a:pt x="2723" y="2043"/>
                    </a:lnTo>
                    <a:lnTo>
                      <a:pt x="2716" y="2044"/>
                    </a:lnTo>
                    <a:lnTo>
                      <a:pt x="2708" y="2044"/>
                    </a:lnTo>
                    <a:lnTo>
                      <a:pt x="2701" y="2045"/>
                    </a:lnTo>
                    <a:lnTo>
                      <a:pt x="2695" y="2046"/>
                    </a:lnTo>
                    <a:lnTo>
                      <a:pt x="2689" y="2050"/>
                    </a:lnTo>
                    <a:lnTo>
                      <a:pt x="2684" y="2055"/>
                    </a:lnTo>
                    <a:lnTo>
                      <a:pt x="2682" y="2061"/>
                    </a:lnTo>
                    <a:lnTo>
                      <a:pt x="2682" y="2065"/>
                    </a:lnTo>
                    <a:lnTo>
                      <a:pt x="2682" y="2071"/>
                    </a:lnTo>
                    <a:lnTo>
                      <a:pt x="2684" y="2077"/>
                    </a:lnTo>
                    <a:lnTo>
                      <a:pt x="2687" y="2082"/>
                    </a:lnTo>
                    <a:lnTo>
                      <a:pt x="2690" y="2088"/>
                    </a:lnTo>
                    <a:lnTo>
                      <a:pt x="2695" y="2093"/>
                    </a:lnTo>
                    <a:lnTo>
                      <a:pt x="2702" y="2100"/>
                    </a:lnTo>
                    <a:lnTo>
                      <a:pt x="2712" y="2109"/>
                    </a:lnTo>
                    <a:lnTo>
                      <a:pt x="2722" y="2120"/>
                    </a:lnTo>
                    <a:lnTo>
                      <a:pt x="2732" y="2130"/>
                    </a:lnTo>
                    <a:lnTo>
                      <a:pt x="2737" y="2134"/>
                    </a:lnTo>
                    <a:lnTo>
                      <a:pt x="2738" y="2137"/>
                    </a:lnTo>
                    <a:lnTo>
                      <a:pt x="2734" y="2137"/>
                    </a:lnTo>
                    <a:lnTo>
                      <a:pt x="2726" y="2135"/>
                    </a:lnTo>
                    <a:lnTo>
                      <a:pt x="2714" y="2135"/>
                    </a:lnTo>
                    <a:lnTo>
                      <a:pt x="2698" y="2134"/>
                    </a:lnTo>
                    <a:lnTo>
                      <a:pt x="2683" y="2135"/>
                    </a:lnTo>
                    <a:lnTo>
                      <a:pt x="2672" y="2137"/>
                    </a:lnTo>
                    <a:lnTo>
                      <a:pt x="2658" y="2138"/>
                    </a:lnTo>
                    <a:lnTo>
                      <a:pt x="2645" y="2138"/>
                    </a:lnTo>
                    <a:lnTo>
                      <a:pt x="2635" y="2135"/>
                    </a:lnTo>
                    <a:lnTo>
                      <a:pt x="2628" y="2132"/>
                    </a:lnTo>
                    <a:lnTo>
                      <a:pt x="2625" y="2130"/>
                    </a:lnTo>
                    <a:lnTo>
                      <a:pt x="2620" y="2128"/>
                    </a:lnTo>
                    <a:lnTo>
                      <a:pt x="2618" y="2128"/>
                    </a:lnTo>
                    <a:lnTo>
                      <a:pt x="2616" y="2130"/>
                    </a:lnTo>
                    <a:lnTo>
                      <a:pt x="2615" y="2132"/>
                    </a:lnTo>
                    <a:lnTo>
                      <a:pt x="2613" y="2134"/>
                    </a:lnTo>
                    <a:lnTo>
                      <a:pt x="2608" y="2145"/>
                    </a:lnTo>
                    <a:lnTo>
                      <a:pt x="2600" y="2156"/>
                    </a:lnTo>
                    <a:lnTo>
                      <a:pt x="2587" y="2173"/>
                    </a:lnTo>
                    <a:lnTo>
                      <a:pt x="2574" y="2190"/>
                    </a:lnTo>
                    <a:lnTo>
                      <a:pt x="2569" y="2197"/>
                    </a:lnTo>
                    <a:lnTo>
                      <a:pt x="2565" y="2203"/>
                    </a:lnTo>
                    <a:lnTo>
                      <a:pt x="2563" y="2210"/>
                    </a:lnTo>
                    <a:lnTo>
                      <a:pt x="2561" y="2216"/>
                    </a:lnTo>
                    <a:lnTo>
                      <a:pt x="2559" y="2222"/>
                    </a:lnTo>
                    <a:lnTo>
                      <a:pt x="2559" y="2228"/>
                    </a:lnTo>
                    <a:lnTo>
                      <a:pt x="2561" y="2233"/>
                    </a:lnTo>
                    <a:lnTo>
                      <a:pt x="2563" y="2239"/>
                    </a:lnTo>
                    <a:lnTo>
                      <a:pt x="2565" y="2244"/>
                    </a:lnTo>
                    <a:lnTo>
                      <a:pt x="2565" y="2247"/>
                    </a:lnTo>
                    <a:lnTo>
                      <a:pt x="2565" y="2252"/>
                    </a:lnTo>
                    <a:lnTo>
                      <a:pt x="2564" y="2257"/>
                    </a:lnTo>
                    <a:lnTo>
                      <a:pt x="2561" y="2265"/>
                    </a:lnTo>
                    <a:lnTo>
                      <a:pt x="2556" y="2275"/>
                    </a:lnTo>
                    <a:lnTo>
                      <a:pt x="2556" y="2278"/>
                    </a:lnTo>
                    <a:lnTo>
                      <a:pt x="2558" y="2283"/>
                    </a:lnTo>
                    <a:lnTo>
                      <a:pt x="2561" y="2290"/>
                    </a:lnTo>
                    <a:lnTo>
                      <a:pt x="2565" y="2297"/>
                    </a:lnTo>
                    <a:lnTo>
                      <a:pt x="2569" y="2305"/>
                    </a:lnTo>
                    <a:lnTo>
                      <a:pt x="2574" y="2316"/>
                    </a:lnTo>
                    <a:lnTo>
                      <a:pt x="2577" y="2327"/>
                    </a:lnTo>
                    <a:lnTo>
                      <a:pt x="2581" y="2338"/>
                    </a:lnTo>
                    <a:lnTo>
                      <a:pt x="2582" y="2346"/>
                    </a:lnTo>
                    <a:lnTo>
                      <a:pt x="2582" y="2354"/>
                    </a:lnTo>
                    <a:lnTo>
                      <a:pt x="2581" y="2364"/>
                    </a:lnTo>
                    <a:lnTo>
                      <a:pt x="2580" y="2372"/>
                    </a:lnTo>
                    <a:lnTo>
                      <a:pt x="2577" y="2386"/>
                    </a:lnTo>
                    <a:lnTo>
                      <a:pt x="2576" y="2396"/>
                    </a:lnTo>
                    <a:lnTo>
                      <a:pt x="2576" y="2399"/>
                    </a:lnTo>
                    <a:lnTo>
                      <a:pt x="2575" y="2402"/>
                    </a:lnTo>
                    <a:lnTo>
                      <a:pt x="2572" y="2404"/>
                    </a:lnTo>
                    <a:lnTo>
                      <a:pt x="2570" y="2405"/>
                    </a:lnTo>
                    <a:lnTo>
                      <a:pt x="2564" y="2406"/>
                    </a:lnTo>
                    <a:lnTo>
                      <a:pt x="2557" y="2406"/>
                    </a:lnTo>
                    <a:lnTo>
                      <a:pt x="2542" y="2403"/>
                    </a:lnTo>
                    <a:lnTo>
                      <a:pt x="2528" y="2403"/>
                    </a:lnTo>
                    <a:lnTo>
                      <a:pt x="2519" y="2403"/>
                    </a:lnTo>
                    <a:lnTo>
                      <a:pt x="2513" y="2402"/>
                    </a:lnTo>
                    <a:lnTo>
                      <a:pt x="2509" y="2402"/>
                    </a:lnTo>
                    <a:lnTo>
                      <a:pt x="2507" y="2402"/>
                    </a:lnTo>
                    <a:lnTo>
                      <a:pt x="2505" y="2403"/>
                    </a:lnTo>
                    <a:lnTo>
                      <a:pt x="2502" y="2405"/>
                    </a:lnTo>
                    <a:lnTo>
                      <a:pt x="2500" y="2410"/>
                    </a:lnTo>
                    <a:lnTo>
                      <a:pt x="2499" y="2415"/>
                    </a:lnTo>
                    <a:lnTo>
                      <a:pt x="2498" y="2421"/>
                    </a:lnTo>
                    <a:lnTo>
                      <a:pt x="2498" y="2428"/>
                    </a:lnTo>
                    <a:lnTo>
                      <a:pt x="2496" y="2433"/>
                    </a:lnTo>
                    <a:lnTo>
                      <a:pt x="2494" y="2437"/>
                    </a:lnTo>
                    <a:lnTo>
                      <a:pt x="2492" y="2439"/>
                    </a:lnTo>
                    <a:lnTo>
                      <a:pt x="2489" y="2439"/>
                    </a:lnTo>
                    <a:lnTo>
                      <a:pt x="2487" y="2439"/>
                    </a:lnTo>
                    <a:lnTo>
                      <a:pt x="2483" y="2439"/>
                    </a:lnTo>
                    <a:lnTo>
                      <a:pt x="2471" y="2435"/>
                    </a:lnTo>
                    <a:lnTo>
                      <a:pt x="2462" y="2433"/>
                    </a:lnTo>
                    <a:lnTo>
                      <a:pt x="2452" y="2431"/>
                    </a:lnTo>
                    <a:lnTo>
                      <a:pt x="2443" y="2429"/>
                    </a:lnTo>
                    <a:lnTo>
                      <a:pt x="2433" y="2428"/>
                    </a:lnTo>
                    <a:lnTo>
                      <a:pt x="2424" y="2427"/>
                    </a:lnTo>
                    <a:lnTo>
                      <a:pt x="2413" y="2427"/>
                    </a:lnTo>
                    <a:lnTo>
                      <a:pt x="2401" y="2424"/>
                    </a:lnTo>
                    <a:lnTo>
                      <a:pt x="2395" y="2424"/>
                    </a:lnTo>
                    <a:lnTo>
                      <a:pt x="2391" y="2424"/>
                    </a:lnTo>
                    <a:lnTo>
                      <a:pt x="2388" y="2425"/>
                    </a:lnTo>
                    <a:lnTo>
                      <a:pt x="2386" y="2428"/>
                    </a:lnTo>
                    <a:lnTo>
                      <a:pt x="2383" y="2434"/>
                    </a:lnTo>
                    <a:lnTo>
                      <a:pt x="2382" y="2440"/>
                    </a:lnTo>
                    <a:lnTo>
                      <a:pt x="2376" y="2443"/>
                    </a:lnTo>
                    <a:lnTo>
                      <a:pt x="2368" y="2448"/>
                    </a:lnTo>
                    <a:lnTo>
                      <a:pt x="2363" y="2456"/>
                    </a:lnTo>
                    <a:lnTo>
                      <a:pt x="2358" y="2464"/>
                    </a:lnTo>
                    <a:lnTo>
                      <a:pt x="2349" y="2464"/>
                    </a:lnTo>
                    <a:lnTo>
                      <a:pt x="2338" y="2461"/>
                    </a:lnTo>
                    <a:lnTo>
                      <a:pt x="2330" y="2461"/>
                    </a:lnTo>
                    <a:lnTo>
                      <a:pt x="2322" y="2462"/>
                    </a:lnTo>
                    <a:lnTo>
                      <a:pt x="2313" y="2462"/>
                    </a:lnTo>
                    <a:lnTo>
                      <a:pt x="2306" y="2465"/>
                    </a:lnTo>
                    <a:lnTo>
                      <a:pt x="2292" y="2468"/>
                    </a:lnTo>
                    <a:lnTo>
                      <a:pt x="2278" y="2473"/>
                    </a:lnTo>
                    <a:lnTo>
                      <a:pt x="2274" y="2474"/>
                    </a:lnTo>
                    <a:lnTo>
                      <a:pt x="2272" y="2473"/>
                    </a:lnTo>
                    <a:lnTo>
                      <a:pt x="2269" y="2472"/>
                    </a:lnTo>
                    <a:lnTo>
                      <a:pt x="2267" y="2469"/>
                    </a:lnTo>
                    <a:lnTo>
                      <a:pt x="2263" y="2465"/>
                    </a:lnTo>
                    <a:lnTo>
                      <a:pt x="2257" y="2458"/>
                    </a:lnTo>
                    <a:lnTo>
                      <a:pt x="2253" y="2456"/>
                    </a:lnTo>
                    <a:lnTo>
                      <a:pt x="2248" y="2456"/>
                    </a:lnTo>
                    <a:lnTo>
                      <a:pt x="2243" y="2458"/>
                    </a:lnTo>
                    <a:lnTo>
                      <a:pt x="2237" y="2460"/>
                    </a:lnTo>
                    <a:lnTo>
                      <a:pt x="2225" y="2466"/>
                    </a:lnTo>
                    <a:lnTo>
                      <a:pt x="2216" y="2468"/>
                    </a:lnTo>
                    <a:lnTo>
                      <a:pt x="2206" y="2471"/>
                    </a:lnTo>
                    <a:lnTo>
                      <a:pt x="2197" y="2473"/>
                    </a:lnTo>
                    <a:lnTo>
                      <a:pt x="2188" y="2475"/>
                    </a:lnTo>
                    <a:lnTo>
                      <a:pt x="2180" y="2479"/>
                    </a:lnTo>
                    <a:lnTo>
                      <a:pt x="2171" y="2483"/>
                    </a:lnTo>
                    <a:lnTo>
                      <a:pt x="2161" y="2485"/>
                    </a:lnTo>
                    <a:lnTo>
                      <a:pt x="2150" y="2487"/>
                    </a:lnTo>
                    <a:lnTo>
                      <a:pt x="2139" y="2488"/>
                    </a:lnTo>
                    <a:lnTo>
                      <a:pt x="2129" y="2490"/>
                    </a:lnTo>
                    <a:lnTo>
                      <a:pt x="2120" y="2491"/>
                    </a:lnTo>
                    <a:lnTo>
                      <a:pt x="2109" y="2493"/>
                    </a:lnTo>
                    <a:lnTo>
                      <a:pt x="2097" y="2496"/>
                    </a:lnTo>
                    <a:lnTo>
                      <a:pt x="2077" y="2502"/>
                    </a:lnTo>
                    <a:lnTo>
                      <a:pt x="2055" y="2505"/>
                    </a:lnTo>
                    <a:lnTo>
                      <a:pt x="2035" y="2509"/>
                    </a:lnTo>
                    <a:lnTo>
                      <a:pt x="2018" y="2512"/>
                    </a:lnTo>
                    <a:lnTo>
                      <a:pt x="2009" y="2513"/>
                    </a:lnTo>
                    <a:lnTo>
                      <a:pt x="1999" y="2516"/>
                    </a:lnTo>
                    <a:lnTo>
                      <a:pt x="1990" y="2518"/>
                    </a:lnTo>
                    <a:lnTo>
                      <a:pt x="1984" y="2522"/>
                    </a:lnTo>
                    <a:lnTo>
                      <a:pt x="1976" y="2529"/>
                    </a:lnTo>
                    <a:lnTo>
                      <a:pt x="1969" y="2531"/>
                    </a:lnTo>
                    <a:lnTo>
                      <a:pt x="1961" y="2534"/>
                    </a:lnTo>
                    <a:lnTo>
                      <a:pt x="1953" y="2535"/>
                    </a:lnTo>
                    <a:lnTo>
                      <a:pt x="1944" y="2537"/>
                    </a:lnTo>
                    <a:lnTo>
                      <a:pt x="1932" y="2540"/>
                    </a:lnTo>
                    <a:lnTo>
                      <a:pt x="1919" y="2541"/>
                    </a:lnTo>
                    <a:lnTo>
                      <a:pt x="1906" y="2542"/>
                    </a:lnTo>
                    <a:lnTo>
                      <a:pt x="1892" y="2542"/>
                    </a:lnTo>
                    <a:lnTo>
                      <a:pt x="1879" y="2541"/>
                    </a:lnTo>
                    <a:lnTo>
                      <a:pt x="1869" y="2540"/>
                    </a:lnTo>
                    <a:lnTo>
                      <a:pt x="1859" y="2538"/>
                    </a:lnTo>
                    <a:lnTo>
                      <a:pt x="1850" y="2535"/>
                    </a:lnTo>
                    <a:lnTo>
                      <a:pt x="1843" y="2534"/>
                    </a:lnTo>
                    <a:lnTo>
                      <a:pt x="1838" y="2535"/>
                    </a:lnTo>
                    <a:lnTo>
                      <a:pt x="1834" y="2536"/>
                    </a:lnTo>
                    <a:lnTo>
                      <a:pt x="1832" y="2543"/>
                    </a:lnTo>
                    <a:lnTo>
                      <a:pt x="1831" y="2554"/>
                    </a:lnTo>
                    <a:lnTo>
                      <a:pt x="1829" y="2559"/>
                    </a:lnTo>
                    <a:lnTo>
                      <a:pt x="1828" y="2565"/>
                    </a:lnTo>
                    <a:lnTo>
                      <a:pt x="1825" y="2570"/>
                    </a:lnTo>
                    <a:lnTo>
                      <a:pt x="1820" y="2575"/>
                    </a:lnTo>
                    <a:lnTo>
                      <a:pt x="1813" y="2580"/>
                    </a:lnTo>
                    <a:lnTo>
                      <a:pt x="1802" y="2585"/>
                    </a:lnTo>
                    <a:lnTo>
                      <a:pt x="1789" y="2588"/>
                    </a:lnTo>
                    <a:lnTo>
                      <a:pt x="1771" y="2589"/>
                    </a:lnTo>
                    <a:lnTo>
                      <a:pt x="1756" y="2593"/>
                    </a:lnTo>
                    <a:lnTo>
                      <a:pt x="1737" y="2598"/>
                    </a:lnTo>
                    <a:lnTo>
                      <a:pt x="1718" y="2606"/>
                    </a:lnTo>
                    <a:lnTo>
                      <a:pt x="1701" y="2614"/>
                    </a:lnTo>
                    <a:lnTo>
                      <a:pt x="1690" y="2620"/>
                    </a:lnTo>
                    <a:lnTo>
                      <a:pt x="1673" y="2628"/>
                    </a:lnTo>
                    <a:lnTo>
                      <a:pt x="1662" y="2632"/>
                    </a:lnTo>
                    <a:lnTo>
                      <a:pt x="1652" y="2635"/>
                    </a:lnTo>
                    <a:lnTo>
                      <a:pt x="1642" y="2636"/>
                    </a:lnTo>
                    <a:lnTo>
                      <a:pt x="1631" y="2636"/>
                    </a:lnTo>
                    <a:lnTo>
                      <a:pt x="1614" y="2635"/>
                    </a:lnTo>
                    <a:lnTo>
                      <a:pt x="1599" y="2633"/>
                    </a:lnTo>
                    <a:lnTo>
                      <a:pt x="1593" y="2632"/>
                    </a:lnTo>
                    <a:lnTo>
                      <a:pt x="1587" y="2630"/>
                    </a:lnTo>
                    <a:lnTo>
                      <a:pt x="1581" y="2626"/>
                    </a:lnTo>
                    <a:lnTo>
                      <a:pt x="1576" y="2620"/>
                    </a:lnTo>
                    <a:lnTo>
                      <a:pt x="1570" y="2614"/>
                    </a:lnTo>
                    <a:lnTo>
                      <a:pt x="1564" y="2610"/>
                    </a:lnTo>
                    <a:lnTo>
                      <a:pt x="1557" y="2604"/>
                    </a:lnTo>
                    <a:lnTo>
                      <a:pt x="1550" y="2600"/>
                    </a:lnTo>
                    <a:lnTo>
                      <a:pt x="1535" y="2593"/>
                    </a:lnTo>
                    <a:lnTo>
                      <a:pt x="1520" y="2589"/>
                    </a:lnTo>
                    <a:lnTo>
                      <a:pt x="1514" y="2588"/>
                    </a:lnTo>
                    <a:lnTo>
                      <a:pt x="1507" y="2589"/>
                    </a:lnTo>
                    <a:lnTo>
                      <a:pt x="1500" y="2591"/>
                    </a:lnTo>
                    <a:lnTo>
                      <a:pt x="1492" y="2592"/>
                    </a:lnTo>
                    <a:lnTo>
                      <a:pt x="1485" y="2594"/>
                    </a:lnTo>
                    <a:lnTo>
                      <a:pt x="1476" y="2595"/>
                    </a:lnTo>
                    <a:lnTo>
                      <a:pt x="1467" y="2595"/>
                    </a:lnTo>
                    <a:lnTo>
                      <a:pt x="1457" y="2593"/>
                    </a:lnTo>
                    <a:lnTo>
                      <a:pt x="1449" y="2591"/>
                    </a:lnTo>
                    <a:lnTo>
                      <a:pt x="1443" y="2588"/>
                    </a:lnTo>
                    <a:lnTo>
                      <a:pt x="1437" y="2585"/>
                    </a:lnTo>
                    <a:lnTo>
                      <a:pt x="1432" y="2581"/>
                    </a:lnTo>
                    <a:lnTo>
                      <a:pt x="1425" y="2573"/>
                    </a:lnTo>
                    <a:lnTo>
                      <a:pt x="1419" y="2562"/>
                    </a:lnTo>
                    <a:lnTo>
                      <a:pt x="1418" y="2559"/>
                    </a:lnTo>
                    <a:lnTo>
                      <a:pt x="1415" y="2557"/>
                    </a:lnTo>
                    <a:lnTo>
                      <a:pt x="1412" y="2555"/>
                    </a:lnTo>
                    <a:lnTo>
                      <a:pt x="1409" y="2554"/>
                    </a:lnTo>
                    <a:lnTo>
                      <a:pt x="1402" y="2553"/>
                    </a:lnTo>
                    <a:lnTo>
                      <a:pt x="1392" y="2551"/>
                    </a:lnTo>
                    <a:lnTo>
                      <a:pt x="1375" y="2553"/>
                    </a:lnTo>
                    <a:lnTo>
                      <a:pt x="1360" y="2553"/>
                    </a:lnTo>
                    <a:lnTo>
                      <a:pt x="1355" y="2554"/>
                    </a:lnTo>
                    <a:lnTo>
                      <a:pt x="1350" y="2555"/>
                    </a:lnTo>
                    <a:lnTo>
                      <a:pt x="1346" y="2556"/>
                    </a:lnTo>
                    <a:lnTo>
                      <a:pt x="1341" y="2559"/>
                    </a:lnTo>
                    <a:lnTo>
                      <a:pt x="1331" y="2562"/>
                    </a:lnTo>
                    <a:lnTo>
                      <a:pt x="1320" y="2566"/>
                    </a:lnTo>
                    <a:lnTo>
                      <a:pt x="1314" y="2567"/>
                    </a:lnTo>
                    <a:lnTo>
                      <a:pt x="1309" y="2569"/>
                    </a:lnTo>
                    <a:lnTo>
                      <a:pt x="1305" y="2573"/>
                    </a:lnTo>
                    <a:lnTo>
                      <a:pt x="1302" y="2578"/>
                    </a:lnTo>
                    <a:lnTo>
                      <a:pt x="1296" y="2587"/>
                    </a:lnTo>
                    <a:lnTo>
                      <a:pt x="1292" y="2599"/>
                    </a:lnTo>
                    <a:lnTo>
                      <a:pt x="1286" y="2610"/>
                    </a:lnTo>
                    <a:lnTo>
                      <a:pt x="1279" y="2620"/>
                    </a:lnTo>
                    <a:lnTo>
                      <a:pt x="1274" y="2625"/>
                    </a:lnTo>
                    <a:lnTo>
                      <a:pt x="1268" y="2630"/>
                    </a:lnTo>
                    <a:lnTo>
                      <a:pt x="1261" y="2633"/>
                    </a:lnTo>
                    <a:lnTo>
                      <a:pt x="1254" y="2636"/>
                    </a:lnTo>
                    <a:lnTo>
                      <a:pt x="1245" y="2637"/>
                    </a:lnTo>
                    <a:lnTo>
                      <a:pt x="1237" y="2639"/>
                    </a:lnTo>
                    <a:lnTo>
                      <a:pt x="1235" y="2643"/>
                    </a:lnTo>
                    <a:lnTo>
                      <a:pt x="1234" y="2647"/>
                    </a:lnTo>
                    <a:lnTo>
                      <a:pt x="1234" y="2651"/>
                    </a:lnTo>
                    <a:lnTo>
                      <a:pt x="1234" y="2657"/>
                    </a:lnTo>
                    <a:lnTo>
                      <a:pt x="1235" y="2668"/>
                    </a:lnTo>
                    <a:lnTo>
                      <a:pt x="1234" y="2679"/>
                    </a:lnTo>
                    <a:lnTo>
                      <a:pt x="1230" y="2685"/>
                    </a:lnTo>
                    <a:lnTo>
                      <a:pt x="1227" y="2689"/>
                    </a:lnTo>
                    <a:lnTo>
                      <a:pt x="1221" y="2694"/>
                    </a:lnTo>
                    <a:lnTo>
                      <a:pt x="1215" y="2699"/>
                    </a:lnTo>
                    <a:lnTo>
                      <a:pt x="1202" y="2711"/>
                    </a:lnTo>
                    <a:lnTo>
                      <a:pt x="1186" y="2725"/>
                    </a:lnTo>
                    <a:lnTo>
                      <a:pt x="1170" y="2742"/>
                    </a:lnTo>
                    <a:lnTo>
                      <a:pt x="1154" y="2756"/>
                    </a:lnTo>
                    <a:lnTo>
                      <a:pt x="1146" y="2762"/>
                    </a:lnTo>
                    <a:lnTo>
                      <a:pt x="1136" y="2767"/>
                    </a:lnTo>
                    <a:lnTo>
                      <a:pt x="1127" y="2770"/>
                    </a:lnTo>
                    <a:lnTo>
                      <a:pt x="1117" y="2773"/>
                    </a:lnTo>
                    <a:lnTo>
                      <a:pt x="1108" y="2774"/>
                    </a:lnTo>
                    <a:lnTo>
                      <a:pt x="1101" y="2774"/>
                    </a:lnTo>
                    <a:lnTo>
                      <a:pt x="1096" y="2774"/>
                    </a:lnTo>
                    <a:lnTo>
                      <a:pt x="1094" y="2773"/>
                    </a:lnTo>
                    <a:lnTo>
                      <a:pt x="1091" y="2769"/>
                    </a:lnTo>
                    <a:lnTo>
                      <a:pt x="1091" y="2765"/>
                    </a:lnTo>
                    <a:lnTo>
                      <a:pt x="1091" y="2762"/>
                    </a:lnTo>
                    <a:lnTo>
                      <a:pt x="1091" y="2757"/>
                    </a:lnTo>
                    <a:lnTo>
                      <a:pt x="1091" y="2751"/>
                    </a:lnTo>
                    <a:lnTo>
                      <a:pt x="1089" y="2746"/>
                    </a:lnTo>
                    <a:lnTo>
                      <a:pt x="1087" y="2743"/>
                    </a:lnTo>
                    <a:lnTo>
                      <a:pt x="1084" y="2739"/>
                    </a:lnTo>
                    <a:lnTo>
                      <a:pt x="1081" y="2738"/>
                    </a:lnTo>
                    <a:lnTo>
                      <a:pt x="1077" y="2737"/>
                    </a:lnTo>
                    <a:lnTo>
                      <a:pt x="1072" y="2737"/>
                    </a:lnTo>
                    <a:lnTo>
                      <a:pt x="1069" y="2739"/>
                    </a:lnTo>
                    <a:lnTo>
                      <a:pt x="1065" y="2742"/>
                    </a:lnTo>
                    <a:lnTo>
                      <a:pt x="1062" y="2743"/>
                    </a:lnTo>
                    <a:lnTo>
                      <a:pt x="1058" y="2743"/>
                    </a:lnTo>
                    <a:lnTo>
                      <a:pt x="1054" y="2743"/>
                    </a:lnTo>
                    <a:lnTo>
                      <a:pt x="1046" y="2740"/>
                    </a:lnTo>
                    <a:lnTo>
                      <a:pt x="1035" y="2738"/>
                    </a:lnTo>
                    <a:lnTo>
                      <a:pt x="1024" y="2733"/>
                    </a:lnTo>
                    <a:lnTo>
                      <a:pt x="1010" y="2730"/>
                    </a:lnTo>
                    <a:lnTo>
                      <a:pt x="1003" y="2727"/>
                    </a:lnTo>
                    <a:lnTo>
                      <a:pt x="996" y="2726"/>
                    </a:lnTo>
                    <a:lnTo>
                      <a:pt x="988" y="2725"/>
                    </a:lnTo>
                    <a:lnTo>
                      <a:pt x="980" y="2725"/>
                    </a:lnTo>
                    <a:lnTo>
                      <a:pt x="959" y="2726"/>
                    </a:lnTo>
                    <a:lnTo>
                      <a:pt x="939" y="2729"/>
                    </a:lnTo>
                    <a:lnTo>
                      <a:pt x="919" y="2730"/>
                    </a:lnTo>
                    <a:lnTo>
                      <a:pt x="902" y="2731"/>
                    </a:lnTo>
                    <a:lnTo>
                      <a:pt x="896" y="2730"/>
                    </a:lnTo>
                    <a:lnTo>
                      <a:pt x="892" y="2727"/>
                    </a:lnTo>
                    <a:lnTo>
                      <a:pt x="889" y="2724"/>
                    </a:lnTo>
                    <a:lnTo>
                      <a:pt x="888" y="2720"/>
                    </a:lnTo>
                    <a:lnTo>
                      <a:pt x="888" y="2712"/>
                    </a:lnTo>
                    <a:lnTo>
                      <a:pt x="888" y="2702"/>
                    </a:lnTo>
                    <a:lnTo>
                      <a:pt x="889" y="2695"/>
                    </a:lnTo>
                    <a:lnTo>
                      <a:pt x="890" y="2688"/>
                    </a:lnTo>
                    <a:lnTo>
                      <a:pt x="893" y="2686"/>
                    </a:lnTo>
                    <a:lnTo>
                      <a:pt x="895" y="2683"/>
                    </a:lnTo>
                    <a:lnTo>
                      <a:pt x="899" y="2681"/>
                    </a:lnTo>
                    <a:lnTo>
                      <a:pt x="902" y="2680"/>
                    </a:lnTo>
                    <a:lnTo>
                      <a:pt x="907" y="2677"/>
                    </a:lnTo>
                    <a:lnTo>
                      <a:pt x="911" y="2675"/>
                    </a:lnTo>
                    <a:lnTo>
                      <a:pt x="914" y="2672"/>
                    </a:lnTo>
                    <a:lnTo>
                      <a:pt x="917" y="2668"/>
                    </a:lnTo>
                    <a:lnTo>
                      <a:pt x="919" y="2663"/>
                    </a:lnTo>
                    <a:lnTo>
                      <a:pt x="919" y="2658"/>
                    </a:lnTo>
                    <a:lnTo>
                      <a:pt x="918" y="2651"/>
                    </a:lnTo>
                    <a:lnTo>
                      <a:pt x="914" y="2645"/>
                    </a:lnTo>
                    <a:lnTo>
                      <a:pt x="911" y="2638"/>
                    </a:lnTo>
                    <a:lnTo>
                      <a:pt x="909" y="2631"/>
                    </a:lnTo>
                    <a:lnTo>
                      <a:pt x="907" y="2625"/>
                    </a:lnTo>
                    <a:lnTo>
                      <a:pt x="907" y="2619"/>
                    </a:lnTo>
                    <a:lnTo>
                      <a:pt x="907" y="2607"/>
                    </a:lnTo>
                    <a:lnTo>
                      <a:pt x="908" y="2594"/>
                    </a:lnTo>
                    <a:lnTo>
                      <a:pt x="908" y="2584"/>
                    </a:lnTo>
                    <a:lnTo>
                      <a:pt x="907" y="2576"/>
                    </a:lnTo>
                    <a:lnTo>
                      <a:pt x="905" y="2574"/>
                    </a:lnTo>
                    <a:lnTo>
                      <a:pt x="902" y="2572"/>
                    </a:lnTo>
                    <a:lnTo>
                      <a:pt x="896" y="2572"/>
                    </a:lnTo>
                    <a:lnTo>
                      <a:pt x="890" y="2572"/>
                    </a:lnTo>
                    <a:lnTo>
                      <a:pt x="875" y="2573"/>
                    </a:lnTo>
                    <a:lnTo>
                      <a:pt x="862" y="2575"/>
                    </a:lnTo>
                    <a:lnTo>
                      <a:pt x="848" y="2580"/>
                    </a:lnTo>
                    <a:lnTo>
                      <a:pt x="829" y="2587"/>
                    </a:lnTo>
                    <a:lnTo>
                      <a:pt x="810" y="2595"/>
                    </a:lnTo>
                    <a:lnTo>
                      <a:pt x="794" y="2601"/>
                    </a:lnTo>
                    <a:lnTo>
                      <a:pt x="786" y="2604"/>
                    </a:lnTo>
                    <a:lnTo>
                      <a:pt x="776" y="2605"/>
                    </a:lnTo>
                    <a:lnTo>
                      <a:pt x="766" y="2606"/>
                    </a:lnTo>
                    <a:lnTo>
                      <a:pt x="752" y="2605"/>
                    </a:lnTo>
                    <a:lnTo>
                      <a:pt x="739" y="2603"/>
                    </a:lnTo>
                    <a:lnTo>
                      <a:pt x="726" y="2599"/>
                    </a:lnTo>
                    <a:lnTo>
                      <a:pt x="713" y="2594"/>
                    </a:lnTo>
                    <a:lnTo>
                      <a:pt x="703" y="2589"/>
                    </a:lnTo>
                    <a:lnTo>
                      <a:pt x="693" y="2584"/>
                    </a:lnTo>
                    <a:lnTo>
                      <a:pt x="686" y="2578"/>
                    </a:lnTo>
                    <a:lnTo>
                      <a:pt x="680" y="2573"/>
                    </a:lnTo>
                    <a:lnTo>
                      <a:pt x="678" y="2568"/>
                    </a:lnTo>
                    <a:lnTo>
                      <a:pt x="674" y="2560"/>
                    </a:lnTo>
                    <a:lnTo>
                      <a:pt x="668" y="2551"/>
                    </a:lnTo>
                    <a:lnTo>
                      <a:pt x="665" y="2548"/>
                    </a:lnTo>
                    <a:lnTo>
                      <a:pt x="661" y="2547"/>
                    </a:lnTo>
                    <a:lnTo>
                      <a:pt x="657" y="2547"/>
                    </a:lnTo>
                    <a:lnTo>
                      <a:pt x="653" y="2549"/>
                    </a:lnTo>
                    <a:lnTo>
                      <a:pt x="649" y="2553"/>
                    </a:lnTo>
                    <a:lnTo>
                      <a:pt x="645" y="2559"/>
                    </a:lnTo>
                    <a:lnTo>
                      <a:pt x="643" y="2565"/>
                    </a:lnTo>
                    <a:lnTo>
                      <a:pt x="642" y="2572"/>
                    </a:lnTo>
                    <a:lnTo>
                      <a:pt x="642" y="2579"/>
                    </a:lnTo>
                    <a:lnTo>
                      <a:pt x="643" y="2586"/>
                    </a:lnTo>
                    <a:lnTo>
                      <a:pt x="647" y="2593"/>
                    </a:lnTo>
                    <a:lnTo>
                      <a:pt x="651" y="2600"/>
                    </a:lnTo>
                    <a:lnTo>
                      <a:pt x="656" y="2606"/>
                    </a:lnTo>
                    <a:lnTo>
                      <a:pt x="660" y="2612"/>
                    </a:lnTo>
                    <a:lnTo>
                      <a:pt x="661" y="2617"/>
                    </a:lnTo>
                    <a:lnTo>
                      <a:pt x="660" y="2620"/>
                    </a:lnTo>
                    <a:lnTo>
                      <a:pt x="659" y="2622"/>
                    </a:lnTo>
                    <a:lnTo>
                      <a:pt x="656" y="2623"/>
                    </a:lnTo>
                    <a:lnTo>
                      <a:pt x="653" y="2623"/>
                    </a:lnTo>
                    <a:lnTo>
                      <a:pt x="649" y="2622"/>
                    </a:lnTo>
                    <a:lnTo>
                      <a:pt x="642" y="2619"/>
                    </a:lnTo>
                    <a:lnTo>
                      <a:pt x="635" y="2614"/>
                    </a:lnTo>
                    <a:lnTo>
                      <a:pt x="626" y="2609"/>
                    </a:lnTo>
                    <a:lnTo>
                      <a:pt x="618" y="2603"/>
                    </a:lnTo>
                    <a:lnTo>
                      <a:pt x="615" y="2600"/>
                    </a:lnTo>
                    <a:lnTo>
                      <a:pt x="610" y="2599"/>
                    </a:lnTo>
                    <a:lnTo>
                      <a:pt x="604" y="2599"/>
                    </a:lnTo>
                    <a:lnTo>
                      <a:pt x="598" y="2599"/>
                    </a:lnTo>
                    <a:lnTo>
                      <a:pt x="592" y="2600"/>
                    </a:lnTo>
                    <a:lnTo>
                      <a:pt x="587" y="2604"/>
                    </a:lnTo>
                    <a:lnTo>
                      <a:pt x="582" y="2607"/>
                    </a:lnTo>
                    <a:lnTo>
                      <a:pt x="578" y="2611"/>
                    </a:lnTo>
                    <a:lnTo>
                      <a:pt x="573" y="2614"/>
                    </a:lnTo>
                    <a:lnTo>
                      <a:pt x="567" y="2617"/>
                    </a:lnTo>
                    <a:lnTo>
                      <a:pt x="559" y="2618"/>
                    </a:lnTo>
                    <a:lnTo>
                      <a:pt x="550" y="2616"/>
                    </a:lnTo>
                    <a:lnTo>
                      <a:pt x="544" y="2616"/>
                    </a:lnTo>
                    <a:lnTo>
                      <a:pt x="540" y="2618"/>
                    </a:lnTo>
                    <a:lnTo>
                      <a:pt x="535" y="2620"/>
                    </a:lnTo>
                    <a:lnTo>
                      <a:pt x="530" y="2623"/>
                    </a:lnTo>
                    <a:lnTo>
                      <a:pt x="519" y="2629"/>
                    </a:lnTo>
                    <a:lnTo>
                      <a:pt x="508" y="2635"/>
                    </a:lnTo>
                    <a:lnTo>
                      <a:pt x="497" y="2641"/>
                    </a:lnTo>
                    <a:lnTo>
                      <a:pt x="484" y="2647"/>
                    </a:lnTo>
                    <a:lnTo>
                      <a:pt x="476" y="2650"/>
                    </a:lnTo>
                    <a:lnTo>
                      <a:pt x="466" y="2652"/>
                    </a:lnTo>
                    <a:lnTo>
                      <a:pt x="458" y="2654"/>
                    </a:lnTo>
                    <a:lnTo>
                      <a:pt x="449" y="2654"/>
                    </a:lnTo>
                    <a:lnTo>
                      <a:pt x="441" y="2654"/>
                    </a:lnTo>
                    <a:lnTo>
                      <a:pt x="434" y="2650"/>
                    </a:lnTo>
                    <a:lnTo>
                      <a:pt x="432" y="2649"/>
                    </a:lnTo>
                    <a:lnTo>
                      <a:pt x="429" y="2647"/>
                    </a:lnTo>
                    <a:lnTo>
                      <a:pt x="427" y="2643"/>
                    </a:lnTo>
                    <a:lnTo>
                      <a:pt x="426" y="2639"/>
                    </a:lnTo>
                    <a:lnTo>
                      <a:pt x="421" y="2633"/>
                    </a:lnTo>
                    <a:lnTo>
                      <a:pt x="416" y="2630"/>
                    </a:lnTo>
                    <a:lnTo>
                      <a:pt x="410" y="2629"/>
                    </a:lnTo>
                    <a:lnTo>
                      <a:pt x="403" y="2628"/>
                    </a:lnTo>
                    <a:lnTo>
                      <a:pt x="388" y="2628"/>
                    </a:lnTo>
                    <a:lnTo>
                      <a:pt x="370" y="2626"/>
                    </a:lnTo>
                    <a:lnTo>
                      <a:pt x="360" y="2624"/>
                    </a:lnTo>
                    <a:lnTo>
                      <a:pt x="349" y="2622"/>
                    </a:lnTo>
                    <a:lnTo>
                      <a:pt x="340" y="2625"/>
                    </a:lnTo>
                    <a:lnTo>
                      <a:pt x="332" y="2630"/>
                    </a:lnTo>
                    <a:lnTo>
                      <a:pt x="321" y="2630"/>
                    </a:lnTo>
                    <a:lnTo>
                      <a:pt x="314" y="2632"/>
                    </a:lnTo>
                    <a:lnTo>
                      <a:pt x="316" y="2647"/>
                    </a:lnTo>
                    <a:lnTo>
                      <a:pt x="317" y="2658"/>
                    </a:lnTo>
                    <a:lnTo>
                      <a:pt x="309" y="2667"/>
                    </a:lnTo>
                    <a:lnTo>
                      <a:pt x="297" y="2675"/>
                    </a:lnTo>
                    <a:lnTo>
                      <a:pt x="283" y="2685"/>
                    </a:lnTo>
                    <a:lnTo>
                      <a:pt x="263" y="2699"/>
                    </a:lnTo>
                    <a:lnTo>
                      <a:pt x="253" y="2707"/>
                    </a:lnTo>
                    <a:lnTo>
                      <a:pt x="246" y="2714"/>
                    </a:lnTo>
                    <a:lnTo>
                      <a:pt x="244" y="2721"/>
                    </a:lnTo>
                    <a:lnTo>
                      <a:pt x="243" y="2730"/>
                    </a:lnTo>
                    <a:lnTo>
                      <a:pt x="244" y="2746"/>
                    </a:lnTo>
                    <a:lnTo>
                      <a:pt x="245" y="2768"/>
                    </a:lnTo>
                    <a:lnTo>
                      <a:pt x="244" y="2780"/>
                    </a:lnTo>
                    <a:lnTo>
                      <a:pt x="241" y="2789"/>
                    </a:lnTo>
                    <a:lnTo>
                      <a:pt x="238" y="2799"/>
                    </a:lnTo>
                    <a:lnTo>
                      <a:pt x="233" y="2806"/>
                    </a:lnTo>
                    <a:lnTo>
                      <a:pt x="227" y="2813"/>
                    </a:lnTo>
                    <a:lnTo>
                      <a:pt x="220" y="2820"/>
                    </a:lnTo>
                    <a:lnTo>
                      <a:pt x="213" y="2826"/>
                    </a:lnTo>
                    <a:lnTo>
                      <a:pt x="204" y="2832"/>
                    </a:lnTo>
                    <a:lnTo>
                      <a:pt x="195" y="2837"/>
                    </a:lnTo>
                    <a:lnTo>
                      <a:pt x="185" y="2841"/>
                    </a:lnTo>
                    <a:lnTo>
                      <a:pt x="175" y="2845"/>
                    </a:lnTo>
                    <a:lnTo>
                      <a:pt x="164" y="2849"/>
                    </a:lnTo>
                    <a:lnTo>
                      <a:pt x="152" y="2851"/>
                    </a:lnTo>
                    <a:lnTo>
                      <a:pt x="140" y="2852"/>
                    </a:lnTo>
                    <a:lnTo>
                      <a:pt x="130" y="2852"/>
                    </a:lnTo>
                    <a:lnTo>
                      <a:pt x="118" y="2852"/>
                    </a:lnTo>
                    <a:lnTo>
                      <a:pt x="106" y="2852"/>
                    </a:lnTo>
                    <a:lnTo>
                      <a:pt x="95" y="2853"/>
                    </a:lnTo>
                    <a:lnTo>
                      <a:pt x="86" y="2855"/>
                    </a:lnTo>
                    <a:lnTo>
                      <a:pt x="76" y="2856"/>
                    </a:lnTo>
                    <a:lnTo>
                      <a:pt x="69" y="2859"/>
                    </a:lnTo>
                    <a:lnTo>
                      <a:pt x="62" y="2863"/>
                    </a:lnTo>
                    <a:lnTo>
                      <a:pt x="56" y="2866"/>
                    </a:lnTo>
                    <a:lnTo>
                      <a:pt x="52" y="2871"/>
                    </a:lnTo>
                    <a:lnTo>
                      <a:pt x="50" y="2877"/>
                    </a:lnTo>
                    <a:lnTo>
                      <a:pt x="50" y="2883"/>
                    </a:lnTo>
                    <a:lnTo>
                      <a:pt x="52" y="2890"/>
                    </a:lnTo>
                    <a:lnTo>
                      <a:pt x="56" y="2896"/>
                    </a:lnTo>
                    <a:lnTo>
                      <a:pt x="64" y="2910"/>
                    </a:lnTo>
                    <a:lnTo>
                      <a:pt x="75" y="2926"/>
                    </a:lnTo>
                    <a:lnTo>
                      <a:pt x="80" y="2934"/>
                    </a:lnTo>
                    <a:lnTo>
                      <a:pt x="83" y="2943"/>
                    </a:lnTo>
                    <a:lnTo>
                      <a:pt x="86" y="2952"/>
                    </a:lnTo>
                    <a:lnTo>
                      <a:pt x="88" y="2962"/>
                    </a:lnTo>
                    <a:lnTo>
                      <a:pt x="92" y="2981"/>
                    </a:lnTo>
                    <a:lnTo>
                      <a:pt x="93" y="2995"/>
                    </a:lnTo>
                    <a:lnTo>
                      <a:pt x="94" y="3007"/>
                    </a:lnTo>
                    <a:lnTo>
                      <a:pt x="95" y="3016"/>
                    </a:lnTo>
                    <a:lnTo>
                      <a:pt x="96" y="3020"/>
                    </a:lnTo>
                    <a:lnTo>
                      <a:pt x="97" y="3023"/>
                    </a:lnTo>
                    <a:lnTo>
                      <a:pt x="100" y="3026"/>
                    </a:lnTo>
                    <a:lnTo>
                      <a:pt x="102" y="3027"/>
                    </a:lnTo>
                    <a:lnTo>
                      <a:pt x="106" y="3028"/>
                    </a:lnTo>
                    <a:lnTo>
                      <a:pt x="108" y="3030"/>
                    </a:lnTo>
                    <a:lnTo>
                      <a:pt x="109" y="3034"/>
                    </a:lnTo>
                    <a:lnTo>
                      <a:pt x="111" y="3038"/>
                    </a:lnTo>
                    <a:lnTo>
                      <a:pt x="112" y="3048"/>
                    </a:lnTo>
                    <a:lnTo>
                      <a:pt x="111" y="3060"/>
                    </a:lnTo>
                    <a:lnTo>
                      <a:pt x="109" y="3066"/>
                    </a:lnTo>
                    <a:lnTo>
                      <a:pt x="107" y="3071"/>
                    </a:lnTo>
                    <a:lnTo>
                      <a:pt x="105" y="3073"/>
                    </a:lnTo>
                    <a:lnTo>
                      <a:pt x="101" y="3074"/>
                    </a:lnTo>
                    <a:lnTo>
                      <a:pt x="99" y="3074"/>
                    </a:lnTo>
                    <a:lnTo>
                      <a:pt x="95" y="3074"/>
                    </a:lnTo>
                    <a:lnTo>
                      <a:pt x="92" y="3073"/>
                    </a:lnTo>
                    <a:lnTo>
                      <a:pt x="88" y="3071"/>
                    </a:lnTo>
                    <a:lnTo>
                      <a:pt x="84" y="3070"/>
                    </a:lnTo>
                    <a:lnTo>
                      <a:pt x="81" y="3068"/>
                    </a:lnTo>
                    <a:lnTo>
                      <a:pt x="76" y="3070"/>
                    </a:lnTo>
                    <a:lnTo>
                      <a:pt x="71" y="3071"/>
                    </a:lnTo>
                    <a:lnTo>
                      <a:pt x="59" y="3076"/>
                    </a:lnTo>
                    <a:lnTo>
                      <a:pt x="45" y="3083"/>
                    </a:lnTo>
                    <a:lnTo>
                      <a:pt x="29" y="3090"/>
                    </a:lnTo>
                    <a:lnTo>
                      <a:pt x="14" y="3095"/>
                    </a:lnTo>
                    <a:lnTo>
                      <a:pt x="8" y="3097"/>
                    </a:lnTo>
                    <a:lnTo>
                      <a:pt x="5" y="3101"/>
                    </a:lnTo>
                    <a:lnTo>
                      <a:pt x="1" y="3105"/>
                    </a:lnTo>
                    <a:lnTo>
                      <a:pt x="0" y="3111"/>
                    </a:lnTo>
                    <a:lnTo>
                      <a:pt x="0" y="3118"/>
                    </a:lnTo>
                    <a:lnTo>
                      <a:pt x="2" y="3128"/>
                    </a:lnTo>
                    <a:lnTo>
                      <a:pt x="5" y="3135"/>
                    </a:lnTo>
                    <a:lnTo>
                      <a:pt x="10" y="3142"/>
                    </a:lnTo>
                    <a:lnTo>
                      <a:pt x="20" y="3148"/>
                    </a:lnTo>
                    <a:lnTo>
                      <a:pt x="32" y="3154"/>
                    </a:lnTo>
                    <a:lnTo>
                      <a:pt x="37" y="3160"/>
                    </a:lnTo>
                    <a:lnTo>
                      <a:pt x="39" y="3167"/>
                    </a:lnTo>
                    <a:lnTo>
                      <a:pt x="42" y="3175"/>
                    </a:lnTo>
                    <a:lnTo>
                      <a:pt x="43" y="3185"/>
                    </a:lnTo>
                    <a:lnTo>
                      <a:pt x="44" y="3194"/>
                    </a:lnTo>
                    <a:lnTo>
                      <a:pt x="46" y="3204"/>
                    </a:lnTo>
                    <a:lnTo>
                      <a:pt x="50" y="3212"/>
                    </a:lnTo>
                    <a:lnTo>
                      <a:pt x="55" y="3219"/>
                    </a:lnTo>
                    <a:lnTo>
                      <a:pt x="68" y="3233"/>
                    </a:lnTo>
                    <a:lnTo>
                      <a:pt x="81" y="3248"/>
                    </a:lnTo>
                    <a:lnTo>
                      <a:pt x="87" y="3254"/>
                    </a:lnTo>
                    <a:lnTo>
                      <a:pt x="94" y="3259"/>
                    </a:lnTo>
                    <a:lnTo>
                      <a:pt x="100" y="3262"/>
                    </a:lnTo>
                    <a:lnTo>
                      <a:pt x="107" y="3263"/>
                    </a:lnTo>
                    <a:lnTo>
                      <a:pt x="114" y="3262"/>
                    </a:lnTo>
                    <a:lnTo>
                      <a:pt x="119" y="3261"/>
                    </a:lnTo>
                    <a:lnTo>
                      <a:pt x="121" y="3260"/>
                    </a:lnTo>
                    <a:lnTo>
                      <a:pt x="125" y="3256"/>
                    </a:lnTo>
                    <a:lnTo>
                      <a:pt x="128" y="3249"/>
                    </a:lnTo>
                    <a:lnTo>
                      <a:pt x="133" y="3240"/>
                    </a:lnTo>
                    <a:lnTo>
                      <a:pt x="137" y="3235"/>
                    </a:lnTo>
                    <a:lnTo>
                      <a:pt x="140" y="3230"/>
                    </a:lnTo>
                    <a:lnTo>
                      <a:pt x="145" y="3228"/>
                    </a:lnTo>
                    <a:lnTo>
                      <a:pt x="151" y="3225"/>
                    </a:lnTo>
                    <a:lnTo>
                      <a:pt x="156" y="3224"/>
                    </a:lnTo>
                    <a:lnTo>
                      <a:pt x="162" y="3224"/>
                    </a:lnTo>
                    <a:lnTo>
                      <a:pt x="169" y="3227"/>
                    </a:lnTo>
                    <a:lnTo>
                      <a:pt x="175" y="3229"/>
                    </a:lnTo>
                    <a:lnTo>
                      <a:pt x="191" y="3238"/>
                    </a:lnTo>
                    <a:lnTo>
                      <a:pt x="210" y="3249"/>
                    </a:lnTo>
                    <a:lnTo>
                      <a:pt x="229" y="3259"/>
                    </a:lnTo>
                    <a:lnTo>
                      <a:pt x="245" y="3267"/>
                    </a:lnTo>
                    <a:lnTo>
                      <a:pt x="258" y="3274"/>
                    </a:lnTo>
                    <a:lnTo>
                      <a:pt x="275" y="3284"/>
                    </a:lnTo>
                    <a:lnTo>
                      <a:pt x="282" y="3290"/>
                    </a:lnTo>
                    <a:lnTo>
                      <a:pt x="289" y="3297"/>
                    </a:lnTo>
                    <a:lnTo>
                      <a:pt x="295" y="3303"/>
                    </a:lnTo>
                    <a:lnTo>
                      <a:pt x="300" y="3310"/>
                    </a:lnTo>
                    <a:lnTo>
                      <a:pt x="309" y="3328"/>
                    </a:lnTo>
                    <a:lnTo>
                      <a:pt x="319" y="3344"/>
                    </a:lnTo>
                    <a:lnTo>
                      <a:pt x="332" y="3357"/>
                    </a:lnTo>
                    <a:lnTo>
                      <a:pt x="342" y="3369"/>
                    </a:lnTo>
                    <a:lnTo>
                      <a:pt x="346" y="3375"/>
                    </a:lnTo>
                    <a:lnTo>
                      <a:pt x="347" y="3382"/>
                    </a:lnTo>
                    <a:lnTo>
                      <a:pt x="348" y="3389"/>
                    </a:lnTo>
                    <a:lnTo>
                      <a:pt x="348" y="3397"/>
                    </a:lnTo>
                    <a:lnTo>
                      <a:pt x="346" y="3402"/>
                    </a:lnTo>
                    <a:lnTo>
                      <a:pt x="342" y="3408"/>
                    </a:lnTo>
                    <a:lnTo>
                      <a:pt x="339" y="3413"/>
                    </a:lnTo>
                    <a:lnTo>
                      <a:pt x="332" y="3417"/>
                    </a:lnTo>
                    <a:lnTo>
                      <a:pt x="326" y="3419"/>
                    </a:lnTo>
                    <a:lnTo>
                      <a:pt x="320" y="3424"/>
                    </a:lnTo>
                    <a:lnTo>
                      <a:pt x="315" y="3429"/>
                    </a:lnTo>
                    <a:lnTo>
                      <a:pt x="310" y="3436"/>
                    </a:lnTo>
                    <a:lnTo>
                      <a:pt x="307" y="3443"/>
                    </a:lnTo>
                    <a:lnTo>
                      <a:pt x="303" y="3452"/>
                    </a:lnTo>
                    <a:lnTo>
                      <a:pt x="300" y="3462"/>
                    </a:lnTo>
                    <a:lnTo>
                      <a:pt x="297" y="3474"/>
                    </a:lnTo>
                    <a:lnTo>
                      <a:pt x="290" y="3496"/>
                    </a:lnTo>
                    <a:lnTo>
                      <a:pt x="285" y="3520"/>
                    </a:lnTo>
                    <a:lnTo>
                      <a:pt x="284" y="3532"/>
                    </a:lnTo>
                    <a:lnTo>
                      <a:pt x="285" y="3543"/>
                    </a:lnTo>
                    <a:lnTo>
                      <a:pt x="286" y="3549"/>
                    </a:lnTo>
                    <a:lnTo>
                      <a:pt x="289" y="3553"/>
                    </a:lnTo>
                    <a:lnTo>
                      <a:pt x="292" y="3558"/>
                    </a:lnTo>
                    <a:lnTo>
                      <a:pt x="296" y="3563"/>
                    </a:lnTo>
                    <a:lnTo>
                      <a:pt x="302" y="3571"/>
                    </a:lnTo>
                    <a:lnTo>
                      <a:pt x="306" y="3577"/>
                    </a:lnTo>
                    <a:lnTo>
                      <a:pt x="307" y="3582"/>
                    </a:lnTo>
                    <a:lnTo>
                      <a:pt x="304" y="3586"/>
                    </a:lnTo>
                    <a:lnTo>
                      <a:pt x="297" y="3596"/>
                    </a:lnTo>
                    <a:lnTo>
                      <a:pt x="288" y="3614"/>
                    </a:lnTo>
                    <a:lnTo>
                      <a:pt x="284" y="3625"/>
                    </a:lnTo>
                    <a:lnTo>
                      <a:pt x="283" y="3634"/>
                    </a:lnTo>
                    <a:lnTo>
                      <a:pt x="284" y="3644"/>
                    </a:lnTo>
                    <a:lnTo>
                      <a:pt x="285" y="3653"/>
                    </a:lnTo>
                    <a:lnTo>
                      <a:pt x="291" y="3669"/>
                    </a:lnTo>
                    <a:lnTo>
                      <a:pt x="296" y="3683"/>
                    </a:lnTo>
                    <a:lnTo>
                      <a:pt x="296" y="3687"/>
                    </a:lnTo>
                    <a:lnTo>
                      <a:pt x="296" y="3689"/>
                    </a:lnTo>
                    <a:lnTo>
                      <a:pt x="295" y="3691"/>
                    </a:lnTo>
                    <a:lnTo>
                      <a:pt x="294" y="3694"/>
                    </a:lnTo>
                    <a:lnTo>
                      <a:pt x="289" y="3698"/>
                    </a:lnTo>
                    <a:lnTo>
                      <a:pt x="283" y="3702"/>
                    </a:lnTo>
                    <a:lnTo>
                      <a:pt x="277" y="3706"/>
                    </a:lnTo>
                    <a:lnTo>
                      <a:pt x="270" y="3709"/>
                    </a:lnTo>
                    <a:lnTo>
                      <a:pt x="262" y="3714"/>
                    </a:lnTo>
                    <a:lnTo>
                      <a:pt x="253" y="3721"/>
                    </a:lnTo>
                    <a:lnTo>
                      <a:pt x="250" y="3725"/>
                    </a:lnTo>
                    <a:lnTo>
                      <a:pt x="247" y="3729"/>
                    </a:lnTo>
                    <a:lnTo>
                      <a:pt x="245" y="3734"/>
                    </a:lnTo>
                    <a:lnTo>
                      <a:pt x="244" y="3739"/>
                    </a:lnTo>
                    <a:lnTo>
                      <a:pt x="243" y="3748"/>
                    </a:lnTo>
                    <a:lnTo>
                      <a:pt x="244" y="3759"/>
                    </a:lnTo>
                    <a:lnTo>
                      <a:pt x="250" y="3778"/>
                    </a:lnTo>
                    <a:lnTo>
                      <a:pt x="256" y="3791"/>
                    </a:lnTo>
                    <a:lnTo>
                      <a:pt x="259" y="3798"/>
                    </a:lnTo>
                    <a:lnTo>
                      <a:pt x="266" y="3809"/>
                    </a:lnTo>
                    <a:lnTo>
                      <a:pt x="273" y="3821"/>
                    </a:lnTo>
                    <a:lnTo>
                      <a:pt x="279" y="3834"/>
                    </a:lnTo>
                    <a:lnTo>
                      <a:pt x="281" y="3839"/>
                    </a:lnTo>
                    <a:lnTo>
                      <a:pt x="282" y="3842"/>
                    </a:lnTo>
                    <a:lnTo>
                      <a:pt x="281" y="3846"/>
                    </a:lnTo>
                    <a:lnTo>
                      <a:pt x="281" y="3849"/>
                    </a:lnTo>
                    <a:lnTo>
                      <a:pt x="278" y="3858"/>
                    </a:lnTo>
                    <a:lnTo>
                      <a:pt x="277" y="3866"/>
                    </a:lnTo>
                    <a:lnTo>
                      <a:pt x="277" y="3871"/>
                    </a:lnTo>
                    <a:lnTo>
                      <a:pt x="276" y="3876"/>
                    </a:lnTo>
                    <a:lnTo>
                      <a:pt x="275" y="3879"/>
                    </a:lnTo>
                    <a:lnTo>
                      <a:pt x="272" y="3881"/>
                    </a:lnTo>
                    <a:lnTo>
                      <a:pt x="270" y="3884"/>
                    </a:lnTo>
                    <a:lnTo>
                      <a:pt x="267" y="3886"/>
                    </a:lnTo>
                    <a:lnTo>
                      <a:pt x="265" y="3887"/>
                    </a:lnTo>
                    <a:lnTo>
                      <a:pt x="262" y="3887"/>
                    </a:lnTo>
                    <a:lnTo>
                      <a:pt x="254" y="3887"/>
                    </a:lnTo>
                    <a:lnTo>
                      <a:pt x="246" y="3887"/>
                    </a:lnTo>
                    <a:lnTo>
                      <a:pt x="239" y="3886"/>
                    </a:lnTo>
                    <a:lnTo>
                      <a:pt x="231" y="3884"/>
                    </a:lnTo>
                    <a:lnTo>
                      <a:pt x="218" y="3881"/>
                    </a:lnTo>
                    <a:lnTo>
                      <a:pt x="207" y="3880"/>
                    </a:lnTo>
                    <a:lnTo>
                      <a:pt x="202" y="3881"/>
                    </a:lnTo>
                    <a:lnTo>
                      <a:pt x="197" y="3883"/>
                    </a:lnTo>
                    <a:lnTo>
                      <a:pt x="191" y="3885"/>
                    </a:lnTo>
                    <a:lnTo>
                      <a:pt x="187" y="3889"/>
                    </a:lnTo>
                    <a:lnTo>
                      <a:pt x="181" y="3891"/>
                    </a:lnTo>
                    <a:lnTo>
                      <a:pt x="175" y="3893"/>
                    </a:lnTo>
                    <a:lnTo>
                      <a:pt x="170" y="3895"/>
                    </a:lnTo>
                    <a:lnTo>
                      <a:pt x="165" y="3893"/>
                    </a:lnTo>
                    <a:lnTo>
                      <a:pt x="162" y="3892"/>
                    </a:lnTo>
                    <a:lnTo>
                      <a:pt x="157" y="3889"/>
                    </a:lnTo>
                    <a:lnTo>
                      <a:pt x="153" y="3884"/>
                    </a:lnTo>
                    <a:lnTo>
                      <a:pt x="149" y="3877"/>
                    </a:lnTo>
                    <a:lnTo>
                      <a:pt x="146" y="3873"/>
                    </a:lnTo>
                    <a:lnTo>
                      <a:pt x="143" y="3868"/>
                    </a:lnTo>
                    <a:lnTo>
                      <a:pt x="139" y="3866"/>
                    </a:lnTo>
                    <a:lnTo>
                      <a:pt x="134" y="3864"/>
                    </a:lnTo>
                    <a:lnTo>
                      <a:pt x="130" y="3861"/>
                    </a:lnTo>
                    <a:lnTo>
                      <a:pt x="125" y="3859"/>
                    </a:lnTo>
                    <a:lnTo>
                      <a:pt x="119" y="3858"/>
                    </a:lnTo>
                    <a:lnTo>
                      <a:pt x="114" y="3858"/>
                    </a:lnTo>
                    <a:lnTo>
                      <a:pt x="102" y="3859"/>
                    </a:lnTo>
                    <a:lnTo>
                      <a:pt x="89" y="3860"/>
                    </a:lnTo>
                    <a:lnTo>
                      <a:pt x="83" y="3857"/>
                    </a:lnTo>
                    <a:lnTo>
                      <a:pt x="76" y="3853"/>
                    </a:lnTo>
                    <a:lnTo>
                      <a:pt x="69" y="3853"/>
                    </a:lnTo>
                    <a:lnTo>
                      <a:pt x="63" y="3853"/>
                    </a:lnTo>
                    <a:lnTo>
                      <a:pt x="57" y="3854"/>
                    </a:lnTo>
                    <a:lnTo>
                      <a:pt x="53" y="3855"/>
                    </a:lnTo>
                    <a:lnTo>
                      <a:pt x="49" y="3860"/>
                    </a:lnTo>
                    <a:lnTo>
                      <a:pt x="46" y="3865"/>
                    </a:lnTo>
                    <a:lnTo>
                      <a:pt x="44" y="3871"/>
                    </a:lnTo>
                    <a:lnTo>
                      <a:pt x="43" y="3878"/>
                    </a:lnTo>
                    <a:lnTo>
                      <a:pt x="42" y="3892"/>
                    </a:lnTo>
                    <a:lnTo>
                      <a:pt x="40" y="3906"/>
                    </a:lnTo>
                    <a:lnTo>
                      <a:pt x="39" y="3916"/>
                    </a:lnTo>
                    <a:lnTo>
                      <a:pt x="39" y="3924"/>
                    </a:lnTo>
                    <a:lnTo>
                      <a:pt x="39" y="3933"/>
                    </a:lnTo>
                    <a:lnTo>
                      <a:pt x="42" y="3939"/>
                    </a:lnTo>
                    <a:lnTo>
                      <a:pt x="44" y="3944"/>
                    </a:lnTo>
                    <a:lnTo>
                      <a:pt x="48" y="3948"/>
                    </a:lnTo>
                    <a:lnTo>
                      <a:pt x="51" y="3949"/>
                    </a:lnTo>
                    <a:lnTo>
                      <a:pt x="56" y="3949"/>
                    </a:lnTo>
                    <a:lnTo>
                      <a:pt x="68" y="3944"/>
                    </a:lnTo>
                    <a:lnTo>
                      <a:pt x="80" y="3941"/>
                    </a:lnTo>
                    <a:lnTo>
                      <a:pt x="84" y="3940"/>
                    </a:lnTo>
                    <a:lnTo>
                      <a:pt x="89" y="3940"/>
                    </a:lnTo>
                    <a:lnTo>
                      <a:pt x="94" y="3940"/>
                    </a:lnTo>
                    <a:lnTo>
                      <a:pt x="97" y="3941"/>
                    </a:lnTo>
                    <a:lnTo>
                      <a:pt x="100" y="3948"/>
                    </a:lnTo>
                    <a:lnTo>
                      <a:pt x="106" y="3959"/>
                    </a:lnTo>
                    <a:lnTo>
                      <a:pt x="119" y="3965"/>
                    </a:lnTo>
                    <a:lnTo>
                      <a:pt x="131" y="3969"/>
                    </a:lnTo>
                    <a:lnTo>
                      <a:pt x="132" y="3978"/>
                    </a:lnTo>
                    <a:lnTo>
                      <a:pt x="132" y="3993"/>
                    </a:lnTo>
                    <a:lnTo>
                      <a:pt x="132" y="4000"/>
                    </a:lnTo>
                    <a:lnTo>
                      <a:pt x="133" y="4007"/>
                    </a:lnTo>
                    <a:lnTo>
                      <a:pt x="134" y="4013"/>
                    </a:lnTo>
                    <a:lnTo>
                      <a:pt x="136" y="4018"/>
                    </a:lnTo>
                    <a:lnTo>
                      <a:pt x="138" y="4019"/>
                    </a:lnTo>
                    <a:lnTo>
                      <a:pt x="141" y="4021"/>
                    </a:lnTo>
                    <a:lnTo>
                      <a:pt x="144" y="4019"/>
                    </a:lnTo>
                    <a:lnTo>
                      <a:pt x="146" y="4018"/>
                    </a:lnTo>
                    <a:lnTo>
                      <a:pt x="152" y="4010"/>
                    </a:lnTo>
                    <a:lnTo>
                      <a:pt x="159" y="4003"/>
                    </a:lnTo>
                    <a:lnTo>
                      <a:pt x="163" y="4002"/>
                    </a:lnTo>
                    <a:lnTo>
                      <a:pt x="168" y="4002"/>
                    </a:lnTo>
                    <a:lnTo>
                      <a:pt x="172" y="4003"/>
                    </a:lnTo>
                    <a:lnTo>
                      <a:pt x="176" y="4004"/>
                    </a:lnTo>
                    <a:lnTo>
                      <a:pt x="185" y="4007"/>
                    </a:lnTo>
                    <a:lnTo>
                      <a:pt x="193" y="4010"/>
                    </a:lnTo>
                    <a:lnTo>
                      <a:pt x="204" y="4012"/>
                    </a:lnTo>
                    <a:lnTo>
                      <a:pt x="215" y="4016"/>
                    </a:lnTo>
                    <a:lnTo>
                      <a:pt x="225" y="4019"/>
                    </a:lnTo>
                    <a:lnTo>
                      <a:pt x="232" y="4025"/>
                    </a:lnTo>
                    <a:lnTo>
                      <a:pt x="240" y="4038"/>
                    </a:lnTo>
                    <a:lnTo>
                      <a:pt x="251" y="4050"/>
                    </a:lnTo>
                    <a:lnTo>
                      <a:pt x="265" y="4057"/>
                    </a:lnTo>
                    <a:lnTo>
                      <a:pt x="277" y="4062"/>
                    </a:lnTo>
                    <a:lnTo>
                      <a:pt x="282" y="4065"/>
                    </a:lnTo>
                    <a:lnTo>
                      <a:pt x="286" y="4067"/>
                    </a:lnTo>
                    <a:lnTo>
                      <a:pt x="289" y="4070"/>
                    </a:lnTo>
                    <a:lnTo>
                      <a:pt x="291" y="4074"/>
                    </a:lnTo>
                    <a:lnTo>
                      <a:pt x="294" y="4085"/>
                    </a:lnTo>
                    <a:lnTo>
                      <a:pt x="295" y="4101"/>
                    </a:lnTo>
                    <a:lnTo>
                      <a:pt x="294" y="4112"/>
                    </a:lnTo>
                    <a:lnTo>
                      <a:pt x="292" y="4123"/>
                    </a:lnTo>
                    <a:lnTo>
                      <a:pt x="291" y="4135"/>
                    </a:lnTo>
                    <a:lnTo>
                      <a:pt x="289" y="4148"/>
                    </a:lnTo>
                    <a:lnTo>
                      <a:pt x="288" y="4154"/>
                    </a:lnTo>
                    <a:lnTo>
                      <a:pt x="286" y="4158"/>
                    </a:lnTo>
                    <a:lnTo>
                      <a:pt x="286" y="4163"/>
                    </a:lnTo>
                    <a:lnTo>
                      <a:pt x="288" y="4168"/>
                    </a:lnTo>
                    <a:lnTo>
                      <a:pt x="290" y="4174"/>
                    </a:lnTo>
                    <a:lnTo>
                      <a:pt x="295" y="4177"/>
                    </a:lnTo>
                    <a:lnTo>
                      <a:pt x="300" y="4179"/>
                    </a:lnTo>
                    <a:lnTo>
                      <a:pt x="303" y="4177"/>
                    </a:lnTo>
                    <a:lnTo>
                      <a:pt x="307" y="4176"/>
                    </a:lnTo>
                    <a:lnTo>
                      <a:pt x="309" y="4173"/>
                    </a:lnTo>
                    <a:lnTo>
                      <a:pt x="310" y="4170"/>
                    </a:lnTo>
                    <a:lnTo>
                      <a:pt x="313" y="4168"/>
                    </a:lnTo>
                    <a:lnTo>
                      <a:pt x="314" y="4166"/>
                    </a:lnTo>
                    <a:lnTo>
                      <a:pt x="317" y="4166"/>
                    </a:lnTo>
                    <a:lnTo>
                      <a:pt x="323" y="4164"/>
                    </a:lnTo>
                    <a:lnTo>
                      <a:pt x="330" y="4167"/>
                    </a:lnTo>
                    <a:lnTo>
                      <a:pt x="339" y="4172"/>
                    </a:lnTo>
                    <a:lnTo>
                      <a:pt x="347" y="4179"/>
                    </a:lnTo>
                    <a:lnTo>
                      <a:pt x="355" y="4188"/>
                    </a:lnTo>
                    <a:lnTo>
                      <a:pt x="364" y="4196"/>
                    </a:lnTo>
                    <a:lnTo>
                      <a:pt x="373" y="4211"/>
                    </a:lnTo>
                    <a:lnTo>
                      <a:pt x="389" y="4232"/>
                    </a:lnTo>
                    <a:lnTo>
                      <a:pt x="404" y="4256"/>
                    </a:lnTo>
                    <a:lnTo>
                      <a:pt x="415" y="4275"/>
                    </a:lnTo>
                    <a:lnTo>
                      <a:pt x="417" y="4281"/>
                    </a:lnTo>
                    <a:lnTo>
                      <a:pt x="417" y="4286"/>
                    </a:lnTo>
                    <a:lnTo>
                      <a:pt x="415" y="4287"/>
                    </a:lnTo>
                    <a:lnTo>
                      <a:pt x="411" y="4290"/>
                    </a:lnTo>
                    <a:lnTo>
                      <a:pt x="410" y="4293"/>
                    </a:lnTo>
                    <a:lnTo>
                      <a:pt x="410" y="4295"/>
                    </a:lnTo>
                    <a:lnTo>
                      <a:pt x="410" y="4297"/>
                    </a:lnTo>
                    <a:lnTo>
                      <a:pt x="410" y="4301"/>
                    </a:lnTo>
                    <a:lnTo>
                      <a:pt x="415" y="4313"/>
                    </a:lnTo>
                    <a:lnTo>
                      <a:pt x="421" y="4330"/>
                    </a:lnTo>
                    <a:lnTo>
                      <a:pt x="426" y="4346"/>
                    </a:lnTo>
                    <a:lnTo>
                      <a:pt x="427" y="4357"/>
                    </a:lnTo>
                    <a:lnTo>
                      <a:pt x="427" y="4360"/>
                    </a:lnTo>
                    <a:lnTo>
                      <a:pt x="424" y="4364"/>
                    </a:lnTo>
                    <a:lnTo>
                      <a:pt x="422" y="4368"/>
                    </a:lnTo>
                    <a:lnTo>
                      <a:pt x="420" y="4370"/>
                    </a:lnTo>
                    <a:lnTo>
                      <a:pt x="412" y="4376"/>
                    </a:lnTo>
                    <a:lnTo>
                      <a:pt x="404" y="4385"/>
                    </a:lnTo>
                    <a:lnTo>
                      <a:pt x="401" y="4391"/>
                    </a:lnTo>
                    <a:lnTo>
                      <a:pt x="398" y="4396"/>
                    </a:lnTo>
                    <a:lnTo>
                      <a:pt x="397" y="4401"/>
                    </a:lnTo>
                    <a:lnTo>
                      <a:pt x="397" y="4406"/>
                    </a:lnTo>
                    <a:lnTo>
                      <a:pt x="399" y="4415"/>
                    </a:lnTo>
                    <a:lnTo>
                      <a:pt x="399" y="4428"/>
                    </a:lnTo>
                    <a:lnTo>
                      <a:pt x="399" y="4433"/>
                    </a:lnTo>
                    <a:lnTo>
                      <a:pt x="397" y="4438"/>
                    </a:lnTo>
                    <a:lnTo>
                      <a:pt x="395" y="4441"/>
                    </a:lnTo>
                    <a:lnTo>
                      <a:pt x="392" y="4445"/>
                    </a:lnTo>
                    <a:lnTo>
                      <a:pt x="384" y="4447"/>
                    </a:lnTo>
                    <a:lnTo>
                      <a:pt x="377" y="4450"/>
                    </a:lnTo>
                    <a:lnTo>
                      <a:pt x="374" y="4458"/>
                    </a:lnTo>
                    <a:lnTo>
                      <a:pt x="373" y="4466"/>
                    </a:lnTo>
                    <a:lnTo>
                      <a:pt x="363" y="4473"/>
                    </a:lnTo>
                    <a:lnTo>
                      <a:pt x="349" y="4482"/>
                    </a:lnTo>
                    <a:lnTo>
                      <a:pt x="346" y="4486"/>
                    </a:lnTo>
                    <a:lnTo>
                      <a:pt x="342" y="4492"/>
                    </a:lnTo>
                    <a:lnTo>
                      <a:pt x="341" y="4497"/>
                    </a:lnTo>
                    <a:lnTo>
                      <a:pt x="339" y="4502"/>
                    </a:lnTo>
                    <a:lnTo>
                      <a:pt x="339" y="4505"/>
                    </a:lnTo>
                    <a:lnTo>
                      <a:pt x="339" y="4510"/>
                    </a:lnTo>
                    <a:lnTo>
                      <a:pt x="340" y="4514"/>
                    </a:lnTo>
                    <a:lnTo>
                      <a:pt x="341" y="4519"/>
                    </a:lnTo>
                    <a:lnTo>
                      <a:pt x="345" y="4525"/>
                    </a:lnTo>
                    <a:lnTo>
                      <a:pt x="348" y="4530"/>
                    </a:lnTo>
                    <a:lnTo>
                      <a:pt x="354" y="4534"/>
                    </a:lnTo>
                    <a:lnTo>
                      <a:pt x="359" y="4536"/>
                    </a:lnTo>
                    <a:lnTo>
                      <a:pt x="369" y="4540"/>
                    </a:lnTo>
                    <a:lnTo>
                      <a:pt x="376" y="4545"/>
                    </a:lnTo>
                    <a:lnTo>
                      <a:pt x="379" y="4547"/>
                    </a:lnTo>
                    <a:lnTo>
                      <a:pt x="382" y="4551"/>
                    </a:lnTo>
                    <a:lnTo>
                      <a:pt x="384" y="4555"/>
                    </a:lnTo>
                    <a:lnTo>
                      <a:pt x="385" y="4560"/>
                    </a:lnTo>
                    <a:lnTo>
                      <a:pt x="388" y="4571"/>
                    </a:lnTo>
                    <a:lnTo>
                      <a:pt x="388" y="4582"/>
                    </a:lnTo>
                    <a:lnTo>
                      <a:pt x="388" y="4588"/>
                    </a:lnTo>
                    <a:lnTo>
                      <a:pt x="385" y="4593"/>
                    </a:lnTo>
                    <a:lnTo>
                      <a:pt x="383" y="4599"/>
                    </a:lnTo>
                    <a:lnTo>
                      <a:pt x="379" y="4607"/>
                    </a:lnTo>
                    <a:lnTo>
                      <a:pt x="376" y="4612"/>
                    </a:lnTo>
                    <a:lnTo>
                      <a:pt x="373" y="4618"/>
                    </a:lnTo>
                    <a:lnTo>
                      <a:pt x="372" y="4623"/>
                    </a:lnTo>
                    <a:lnTo>
                      <a:pt x="372" y="4627"/>
                    </a:lnTo>
                    <a:lnTo>
                      <a:pt x="372" y="4630"/>
                    </a:lnTo>
                    <a:lnTo>
                      <a:pt x="374" y="4634"/>
                    </a:lnTo>
                    <a:lnTo>
                      <a:pt x="377" y="4636"/>
                    </a:lnTo>
                    <a:lnTo>
                      <a:pt x="380" y="4639"/>
                    </a:lnTo>
                    <a:lnTo>
                      <a:pt x="388" y="4643"/>
                    </a:lnTo>
                    <a:lnTo>
                      <a:pt x="397" y="4648"/>
                    </a:lnTo>
                    <a:lnTo>
                      <a:pt x="408" y="4652"/>
                    </a:lnTo>
                    <a:lnTo>
                      <a:pt x="418" y="4656"/>
                    </a:lnTo>
                    <a:lnTo>
                      <a:pt x="423" y="4660"/>
                    </a:lnTo>
                    <a:lnTo>
                      <a:pt x="429" y="4662"/>
                    </a:lnTo>
                    <a:lnTo>
                      <a:pt x="435" y="4665"/>
                    </a:lnTo>
                    <a:lnTo>
                      <a:pt x="441" y="4665"/>
                    </a:lnTo>
                    <a:lnTo>
                      <a:pt x="453" y="4660"/>
                    </a:lnTo>
                    <a:lnTo>
                      <a:pt x="466" y="4653"/>
                    </a:lnTo>
                    <a:lnTo>
                      <a:pt x="481" y="4648"/>
                    </a:lnTo>
                    <a:lnTo>
                      <a:pt x="496" y="4647"/>
                    </a:lnTo>
                    <a:lnTo>
                      <a:pt x="503" y="4646"/>
                    </a:lnTo>
                    <a:lnTo>
                      <a:pt x="508" y="4647"/>
                    </a:lnTo>
                    <a:lnTo>
                      <a:pt x="512" y="4647"/>
                    </a:lnTo>
                    <a:lnTo>
                      <a:pt x="516" y="4649"/>
                    </a:lnTo>
                    <a:lnTo>
                      <a:pt x="519" y="4651"/>
                    </a:lnTo>
                    <a:lnTo>
                      <a:pt x="521" y="4653"/>
                    </a:lnTo>
                    <a:lnTo>
                      <a:pt x="522" y="4656"/>
                    </a:lnTo>
                    <a:lnTo>
                      <a:pt x="522" y="4660"/>
                    </a:lnTo>
                    <a:lnTo>
                      <a:pt x="521" y="4664"/>
                    </a:lnTo>
                    <a:lnTo>
                      <a:pt x="518" y="4668"/>
                    </a:lnTo>
                    <a:lnTo>
                      <a:pt x="514" y="4672"/>
                    </a:lnTo>
                    <a:lnTo>
                      <a:pt x="508" y="4677"/>
                    </a:lnTo>
                    <a:lnTo>
                      <a:pt x="502" y="4681"/>
                    </a:lnTo>
                    <a:lnTo>
                      <a:pt x="499" y="4686"/>
                    </a:lnTo>
                    <a:lnTo>
                      <a:pt x="498" y="4691"/>
                    </a:lnTo>
                    <a:lnTo>
                      <a:pt x="498" y="4694"/>
                    </a:lnTo>
                    <a:lnTo>
                      <a:pt x="500" y="4699"/>
                    </a:lnTo>
                    <a:lnTo>
                      <a:pt x="503" y="4703"/>
                    </a:lnTo>
                    <a:lnTo>
                      <a:pt x="506" y="4706"/>
                    </a:lnTo>
                    <a:lnTo>
                      <a:pt x="511" y="4710"/>
                    </a:lnTo>
                    <a:lnTo>
                      <a:pt x="519" y="4717"/>
                    </a:lnTo>
                    <a:lnTo>
                      <a:pt x="527" y="4727"/>
                    </a:lnTo>
                    <a:lnTo>
                      <a:pt x="533" y="4737"/>
                    </a:lnTo>
                    <a:lnTo>
                      <a:pt x="537" y="4749"/>
                    </a:lnTo>
                    <a:lnTo>
                      <a:pt x="544" y="4762"/>
                    </a:lnTo>
                    <a:lnTo>
                      <a:pt x="556" y="4779"/>
                    </a:lnTo>
                    <a:lnTo>
                      <a:pt x="568" y="4793"/>
                    </a:lnTo>
                    <a:lnTo>
                      <a:pt x="577" y="4805"/>
                    </a:lnTo>
                    <a:lnTo>
                      <a:pt x="580" y="4809"/>
                    </a:lnTo>
                    <a:lnTo>
                      <a:pt x="582" y="4811"/>
                    </a:lnTo>
                    <a:lnTo>
                      <a:pt x="586" y="4813"/>
                    </a:lnTo>
                    <a:lnTo>
                      <a:pt x="590" y="4816"/>
                    </a:lnTo>
                    <a:lnTo>
                      <a:pt x="598" y="4819"/>
                    </a:lnTo>
                    <a:lnTo>
                      <a:pt x="611" y="4822"/>
                    </a:lnTo>
                    <a:lnTo>
                      <a:pt x="617" y="4824"/>
                    </a:lnTo>
                    <a:lnTo>
                      <a:pt x="624" y="4828"/>
                    </a:lnTo>
                    <a:lnTo>
                      <a:pt x="629" y="4831"/>
                    </a:lnTo>
                    <a:lnTo>
                      <a:pt x="634" y="4836"/>
                    </a:lnTo>
                    <a:lnTo>
                      <a:pt x="637" y="4841"/>
                    </a:lnTo>
                    <a:lnTo>
                      <a:pt x="641" y="4847"/>
                    </a:lnTo>
                    <a:lnTo>
                      <a:pt x="643" y="4853"/>
                    </a:lnTo>
                    <a:lnTo>
                      <a:pt x="645" y="4857"/>
                    </a:lnTo>
                    <a:lnTo>
                      <a:pt x="648" y="4863"/>
                    </a:lnTo>
                    <a:lnTo>
                      <a:pt x="650" y="4867"/>
                    </a:lnTo>
                    <a:lnTo>
                      <a:pt x="654" y="4870"/>
                    </a:lnTo>
                    <a:lnTo>
                      <a:pt x="659" y="4873"/>
                    </a:lnTo>
                    <a:lnTo>
                      <a:pt x="668" y="4875"/>
                    </a:lnTo>
                    <a:lnTo>
                      <a:pt x="681" y="4879"/>
                    </a:lnTo>
                    <a:lnTo>
                      <a:pt x="687" y="4880"/>
                    </a:lnTo>
                    <a:lnTo>
                      <a:pt x="693" y="4883"/>
                    </a:lnTo>
                    <a:lnTo>
                      <a:pt x="699" y="4887"/>
                    </a:lnTo>
                    <a:lnTo>
                      <a:pt x="705" y="4891"/>
                    </a:lnTo>
                    <a:lnTo>
                      <a:pt x="714" y="4899"/>
                    </a:lnTo>
                    <a:lnTo>
                      <a:pt x="723" y="4908"/>
                    </a:lnTo>
                    <a:lnTo>
                      <a:pt x="731" y="4916"/>
                    </a:lnTo>
                    <a:lnTo>
                      <a:pt x="742" y="4923"/>
                    </a:lnTo>
                    <a:lnTo>
                      <a:pt x="747" y="4925"/>
                    </a:lnTo>
                    <a:lnTo>
                      <a:pt x="752" y="4927"/>
                    </a:lnTo>
                    <a:lnTo>
                      <a:pt x="757" y="4929"/>
                    </a:lnTo>
                    <a:lnTo>
                      <a:pt x="762" y="4930"/>
                    </a:lnTo>
                    <a:lnTo>
                      <a:pt x="774" y="4931"/>
                    </a:lnTo>
                    <a:lnTo>
                      <a:pt x="786" y="4935"/>
                    </a:lnTo>
                    <a:lnTo>
                      <a:pt x="798" y="4941"/>
                    </a:lnTo>
                    <a:lnTo>
                      <a:pt x="808" y="4946"/>
                    </a:lnTo>
                    <a:lnTo>
                      <a:pt x="813" y="4950"/>
                    </a:lnTo>
                    <a:lnTo>
                      <a:pt x="818" y="4951"/>
                    </a:lnTo>
                    <a:lnTo>
                      <a:pt x="823" y="4952"/>
                    </a:lnTo>
                    <a:lnTo>
                      <a:pt x="827" y="4954"/>
                    </a:lnTo>
                    <a:lnTo>
                      <a:pt x="839" y="4955"/>
                    </a:lnTo>
                    <a:lnTo>
                      <a:pt x="854" y="4956"/>
                    </a:lnTo>
                    <a:lnTo>
                      <a:pt x="863" y="4962"/>
                    </a:lnTo>
                    <a:lnTo>
                      <a:pt x="875" y="4971"/>
                    </a:lnTo>
                    <a:lnTo>
                      <a:pt x="881" y="4975"/>
                    </a:lnTo>
                    <a:lnTo>
                      <a:pt x="887" y="4979"/>
                    </a:lnTo>
                    <a:lnTo>
                      <a:pt x="890" y="4979"/>
                    </a:lnTo>
                    <a:lnTo>
                      <a:pt x="893" y="4979"/>
                    </a:lnTo>
                    <a:lnTo>
                      <a:pt x="895" y="4979"/>
                    </a:lnTo>
                    <a:lnTo>
                      <a:pt x="898" y="4976"/>
                    </a:lnTo>
                    <a:lnTo>
                      <a:pt x="901" y="4973"/>
                    </a:lnTo>
                    <a:lnTo>
                      <a:pt x="906" y="4973"/>
                    </a:lnTo>
                    <a:lnTo>
                      <a:pt x="911" y="4973"/>
                    </a:lnTo>
                    <a:lnTo>
                      <a:pt x="917" y="4974"/>
                    </a:lnTo>
                    <a:lnTo>
                      <a:pt x="927" y="4980"/>
                    </a:lnTo>
                    <a:lnTo>
                      <a:pt x="938" y="4983"/>
                    </a:lnTo>
                    <a:lnTo>
                      <a:pt x="946" y="4986"/>
                    </a:lnTo>
                    <a:lnTo>
                      <a:pt x="953" y="4988"/>
                    </a:lnTo>
                    <a:lnTo>
                      <a:pt x="958" y="4989"/>
                    </a:lnTo>
                    <a:lnTo>
                      <a:pt x="962" y="4992"/>
                    </a:lnTo>
                    <a:lnTo>
                      <a:pt x="963" y="4995"/>
                    </a:lnTo>
                    <a:lnTo>
                      <a:pt x="962" y="4998"/>
                    </a:lnTo>
                    <a:lnTo>
                      <a:pt x="959" y="5001"/>
                    </a:lnTo>
                    <a:lnTo>
                      <a:pt x="955" y="5006"/>
                    </a:lnTo>
                    <a:lnTo>
                      <a:pt x="945" y="5012"/>
                    </a:lnTo>
                    <a:lnTo>
                      <a:pt x="937" y="5017"/>
                    </a:lnTo>
                    <a:lnTo>
                      <a:pt x="927" y="5021"/>
                    </a:lnTo>
                    <a:lnTo>
                      <a:pt x="919" y="5028"/>
                    </a:lnTo>
                    <a:lnTo>
                      <a:pt x="915" y="5033"/>
                    </a:lnTo>
                    <a:lnTo>
                      <a:pt x="913" y="5039"/>
                    </a:lnTo>
                    <a:lnTo>
                      <a:pt x="909" y="5045"/>
                    </a:lnTo>
                    <a:lnTo>
                      <a:pt x="908" y="5051"/>
                    </a:lnTo>
                    <a:lnTo>
                      <a:pt x="905" y="5064"/>
                    </a:lnTo>
                    <a:lnTo>
                      <a:pt x="902" y="5077"/>
                    </a:lnTo>
                    <a:lnTo>
                      <a:pt x="901" y="5090"/>
                    </a:lnTo>
                    <a:lnTo>
                      <a:pt x="901" y="5102"/>
                    </a:lnTo>
                    <a:lnTo>
                      <a:pt x="901" y="5113"/>
                    </a:lnTo>
                    <a:lnTo>
                      <a:pt x="902" y="5121"/>
                    </a:lnTo>
                    <a:lnTo>
                      <a:pt x="903" y="5130"/>
                    </a:lnTo>
                    <a:lnTo>
                      <a:pt x="906" y="5135"/>
                    </a:lnTo>
                    <a:lnTo>
                      <a:pt x="908" y="5140"/>
                    </a:lnTo>
                    <a:lnTo>
                      <a:pt x="913" y="5144"/>
                    </a:lnTo>
                    <a:lnTo>
                      <a:pt x="917" y="5146"/>
                    </a:lnTo>
                    <a:lnTo>
                      <a:pt x="919" y="5150"/>
                    </a:lnTo>
                    <a:lnTo>
                      <a:pt x="920" y="5153"/>
                    </a:lnTo>
                    <a:lnTo>
                      <a:pt x="921" y="5157"/>
                    </a:lnTo>
                    <a:lnTo>
                      <a:pt x="921" y="5162"/>
                    </a:lnTo>
                    <a:lnTo>
                      <a:pt x="919" y="5166"/>
                    </a:lnTo>
                    <a:lnTo>
                      <a:pt x="917" y="5172"/>
                    </a:lnTo>
                    <a:lnTo>
                      <a:pt x="913" y="5179"/>
                    </a:lnTo>
                    <a:lnTo>
                      <a:pt x="911" y="5185"/>
                    </a:lnTo>
                    <a:lnTo>
                      <a:pt x="909" y="5190"/>
                    </a:lnTo>
                    <a:lnTo>
                      <a:pt x="908" y="5195"/>
                    </a:lnTo>
                    <a:lnTo>
                      <a:pt x="909" y="5198"/>
                    </a:lnTo>
                    <a:lnTo>
                      <a:pt x="913" y="5210"/>
                    </a:lnTo>
                    <a:lnTo>
                      <a:pt x="914" y="5228"/>
                    </a:lnTo>
                    <a:lnTo>
                      <a:pt x="914" y="5240"/>
                    </a:lnTo>
                    <a:lnTo>
                      <a:pt x="913" y="5252"/>
                    </a:lnTo>
                    <a:lnTo>
                      <a:pt x="911" y="5263"/>
                    </a:lnTo>
                    <a:lnTo>
                      <a:pt x="909" y="5273"/>
                    </a:lnTo>
                    <a:lnTo>
                      <a:pt x="903" y="5294"/>
                    </a:lnTo>
                    <a:lnTo>
                      <a:pt x="898" y="5311"/>
                    </a:lnTo>
                    <a:lnTo>
                      <a:pt x="896" y="5320"/>
                    </a:lnTo>
                    <a:lnTo>
                      <a:pt x="896" y="5327"/>
                    </a:lnTo>
                    <a:lnTo>
                      <a:pt x="898" y="5333"/>
                    </a:lnTo>
                    <a:lnTo>
                      <a:pt x="900" y="5339"/>
                    </a:lnTo>
                    <a:lnTo>
                      <a:pt x="901" y="5343"/>
                    </a:lnTo>
                    <a:lnTo>
                      <a:pt x="902" y="5349"/>
                    </a:lnTo>
                    <a:lnTo>
                      <a:pt x="902" y="5354"/>
                    </a:lnTo>
                    <a:lnTo>
                      <a:pt x="900" y="5360"/>
                    </a:lnTo>
                    <a:lnTo>
                      <a:pt x="899" y="5365"/>
                    </a:lnTo>
                    <a:lnTo>
                      <a:pt x="898" y="5370"/>
                    </a:lnTo>
                    <a:lnTo>
                      <a:pt x="900" y="5373"/>
                    </a:lnTo>
                    <a:lnTo>
                      <a:pt x="902" y="5377"/>
                    </a:lnTo>
                    <a:lnTo>
                      <a:pt x="908" y="5381"/>
                    </a:lnTo>
                    <a:lnTo>
                      <a:pt x="915" y="5384"/>
                    </a:lnTo>
                    <a:lnTo>
                      <a:pt x="921" y="5386"/>
                    </a:lnTo>
                    <a:lnTo>
                      <a:pt x="927" y="5390"/>
                    </a:lnTo>
                    <a:lnTo>
                      <a:pt x="934" y="5396"/>
                    </a:lnTo>
                    <a:lnTo>
                      <a:pt x="939" y="5402"/>
                    </a:lnTo>
                    <a:lnTo>
                      <a:pt x="945" y="5408"/>
                    </a:lnTo>
                    <a:lnTo>
                      <a:pt x="950" y="5411"/>
                    </a:lnTo>
                    <a:lnTo>
                      <a:pt x="956" y="5415"/>
                    </a:lnTo>
                    <a:lnTo>
                      <a:pt x="963" y="5415"/>
                    </a:lnTo>
                    <a:lnTo>
                      <a:pt x="969" y="5415"/>
                    </a:lnTo>
                    <a:lnTo>
                      <a:pt x="974" y="5417"/>
                    </a:lnTo>
                    <a:lnTo>
                      <a:pt x="977" y="5421"/>
                    </a:lnTo>
                    <a:lnTo>
                      <a:pt x="981" y="5427"/>
                    </a:lnTo>
                    <a:lnTo>
                      <a:pt x="982" y="5434"/>
                    </a:lnTo>
                    <a:lnTo>
                      <a:pt x="982" y="5441"/>
                    </a:lnTo>
                    <a:lnTo>
                      <a:pt x="983" y="5443"/>
                    </a:lnTo>
                    <a:lnTo>
                      <a:pt x="985" y="5446"/>
                    </a:lnTo>
                    <a:lnTo>
                      <a:pt x="988" y="5448"/>
                    </a:lnTo>
                    <a:lnTo>
                      <a:pt x="993" y="5448"/>
                    </a:lnTo>
                    <a:lnTo>
                      <a:pt x="1000" y="5449"/>
                    </a:lnTo>
                    <a:lnTo>
                      <a:pt x="1006" y="5450"/>
                    </a:lnTo>
                    <a:lnTo>
                      <a:pt x="1013" y="5454"/>
                    </a:lnTo>
                    <a:lnTo>
                      <a:pt x="1019" y="5458"/>
                    </a:lnTo>
                    <a:lnTo>
                      <a:pt x="1024" y="5461"/>
                    </a:lnTo>
                    <a:lnTo>
                      <a:pt x="1027" y="5466"/>
                    </a:lnTo>
                    <a:lnTo>
                      <a:pt x="1031" y="5471"/>
                    </a:lnTo>
                    <a:lnTo>
                      <a:pt x="1033" y="5475"/>
                    </a:lnTo>
                    <a:lnTo>
                      <a:pt x="1034" y="5480"/>
                    </a:lnTo>
                    <a:lnTo>
                      <a:pt x="1037" y="5484"/>
                    </a:lnTo>
                    <a:lnTo>
                      <a:pt x="1039" y="5487"/>
                    </a:lnTo>
                    <a:lnTo>
                      <a:pt x="1041" y="5491"/>
                    </a:lnTo>
                    <a:lnTo>
                      <a:pt x="1047" y="5496"/>
                    </a:lnTo>
                    <a:lnTo>
                      <a:pt x="1054" y="5499"/>
                    </a:lnTo>
                    <a:lnTo>
                      <a:pt x="1057" y="5502"/>
                    </a:lnTo>
                    <a:lnTo>
                      <a:pt x="1060" y="5507"/>
                    </a:lnTo>
                    <a:lnTo>
                      <a:pt x="1063" y="5513"/>
                    </a:lnTo>
                    <a:lnTo>
                      <a:pt x="1065" y="5521"/>
                    </a:lnTo>
                    <a:lnTo>
                      <a:pt x="1067" y="5528"/>
                    </a:lnTo>
                    <a:lnTo>
                      <a:pt x="1071" y="5534"/>
                    </a:lnTo>
                    <a:lnTo>
                      <a:pt x="1075" y="5538"/>
                    </a:lnTo>
                    <a:lnTo>
                      <a:pt x="1078" y="5542"/>
                    </a:lnTo>
                    <a:lnTo>
                      <a:pt x="1088" y="5544"/>
                    </a:lnTo>
                    <a:lnTo>
                      <a:pt x="1098" y="5546"/>
                    </a:lnTo>
                    <a:lnTo>
                      <a:pt x="1103" y="5546"/>
                    </a:lnTo>
                    <a:lnTo>
                      <a:pt x="1107" y="5547"/>
                    </a:lnTo>
                    <a:lnTo>
                      <a:pt x="1111" y="5549"/>
                    </a:lnTo>
                    <a:lnTo>
                      <a:pt x="1114" y="5553"/>
                    </a:lnTo>
                    <a:lnTo>
                      <a:pt x="1117" y="5560"/>
                    </a:lnTo>
                    <a:lnTo>
                      <a:pt x="1121" y="5563"/>
                    </a:lnTo>
                    <a:lnTo>
                      <a:pt x="1125" y="5562"/>
                    </a:lnTo>
                    <a:lnTo>
                      <a:pt x="1129" y="5559"/>
                    </a:lnTo>
                    <a:lnTo>
                      <a:pt x="1134" y="5555"/>
                    </a:lnTo>
                    <a:lnTo>
                      <a:pt x="1139" y="5551"/>
                    </a:lnTo>
                    <a:lnTo>
                      <a:pt x="1145" y="5548"/>
                    </a:lnTo>
                    <a:lnTo>
                      <a:pt x="1151" y="5547"/>
                    </a:lnTo>
                    <a:lnTo>
                      <a:pt x="1155" y="5546"/>
                    </a:lnTo>
                    <a:lnTo>
                      <a:pt x="1161" y="5546"/>
                    </a:lnTo>
                    <a:lnTo>
                      <a:pt x="1166" y="5548"/>
                    </a:lnTo>
                    <a:lnTo>
                      <a:pt x="1171" y="5550"/>
                    </a:lnTo>
                    <a:lnTo>
                      <a:pt x="1180" y="5556"/>
                    </a:lnTo>
                    <a:lnTo>
                      <a:pt x="1191" y="5561"/>
                    </a:lnTo>
                    <a:lnTo>
                      <a:pt x="1204" y="5566"/>
                    </a:lnTo>
                    <a:lnTo>
                      <a:pt x="1217" y="5569"/>
                    </a:lnTo>
                    <a:lnTo>
                      <a:pt x="1245" y="5574"/>
                    </a:lnTo>
                    <a:lnTo>
                      <a:pt x="1268" y="5578"/>
                    </a:lnTo>
                    <a:lnTo>
                      <a:pt x="1285" y="5579"/>
                    </a:lnTo>
                    <a:lnTo>
                      <a:pt x="1295" y="5579"/>
                    </a:lnTo>
                    <a:lnTo>
                      <a:pt x="1298" y="5579"/>
                    </a:lnTo>
                    <a:lnTo>
                      <a:pt x="1302" y="5580"/>
                    </a:lnTo>
                    <a:lnTo>
                      <a:pt x="1305" y="5581"/>
                    </a:lnTo>
                    <a:lnTo>
                      <a:pt x="1310" y="5584"/>
                    </a:lnTo>
                    <a:lnTo>
                      <a:pt x="1318" y="5591"/>
                    </a:lnTo>
                    <a:lnTo>
                      <a:pt x="1327" y="5594"/>
                    </a:lnTo>
                    <a:lnTo>
                      <a:pt x="1330" y="5597"/>
                    </a:lnTo>
                    <a:lnTo>
                      <a:pt x="1335" y="5598"/>
                    </a:lnTo>
                    <a:lnTo>
                      <a:pt x="1341" y="5598"/>
                    </a:lnTo>
                    <a:lnTo>
                      <a:pt x="1347" y="5598"/>
                    </a:lnTo>
                    <a:lnTo>
                      <a:pt x="1359" y="5598"/>
                    </a:lnTo>
                    <a:lnTo>
                      <a:pt x="1368" y="5598"/>
                    </a:lnTo>
                    <a:lnTo>
                      <a:pt x="1377" y="5599"/>
                    </a:lnTo>
                    <a:lnTo>
                      <a:pt x="1387" y="5599"/>
                    </a:lnTo>
                    <a:lnTo>
                      <a:pt x="1393" y="5600"/>
                    </a:lnTo>
                    <a:lnTo>
                      <a:pt x="1399" y="5600"/>
                    </a:lnTo>
                    <a:lnTo>
                      <a:pt x="1404" y="5599"/>
                    </a:lnTo>
                    <a:lnTo>
                      <a:pt x="1409" y="5598"/>
                    </a:lnTo>
                    <a:lnTo>
                      <a:pt x="1413" y="5595"/>
                    </a:lnTo>
                    <a:lnTo>
                      <a:pt x="1417" y="5591"/>
                    </a:lnTo>
                    <a:lnTo>
                      <a:pt x="1421" y="5585"/>
                    </a:lnTo>
                    <a:lnTo>
                      <a:pt x="1424" y="5576"/>
                    </a:lnTo>
                    <a:lnTo>
                      <a:pt x="1430" y="5560"/>
                    </a:lnTo>
                    <a:lnTo>
                      <a:pt x="1436" y="5547"/>
                    </a:lnTo>
                    <a:lnTo>
                      <a:pt x="1438" y="5542"/>
                    </a:lnTo>
                    <a:lnTo>
                      <a:pt x="1443" y="5537"/>
                    </a:lnTo>
                    <a:lnTo>
                      <a:pt x="1447" y="5534"/>
                    </a:lnTo>
                    <a:lnTo>
                      <a:pt x="1453" y="5529"/>
                    </a:lnTo>
                    <a:lnTo>
                      <a:pt x="1456" y="5525"/>
                    </a:lnTo>
                    <a:lnTo>
                      <a:pt x="1460" y="5521"/>
                    </a:lnTo>
                    <a:lnTo>
                      <a:pt x="1462" y="5516"/>
                    </a:lnTo>
                    <a:lnTo>
                      <a:pt x="1465" y="5511"/>
                    </a:lnTo>
                    <a:lnTo>
                      <a:pt x="1467" y="5500"/>
                    </a:lnTo>
                    <a:lnTo>
                      <a:pt x="1469" y="5488"/>
                    </a:lnTo>
                    <a:lnTo>
                      <a:pt x="1470" y="5478"/>
                    </a:lnTo>
                    <a:lnTo>
                      <a:pt x="1473" y="5468"/>
                    </a:lnTo>
                    <a:lnTo>
                      <a:pt x="1475" y="5463"/>
                    </a:lnTo>
                    <a:lnTo>
                      <a:pt x="1478" y="5461"/>
                    </a:lnTo>
                    <a:lnTo>
                      <a:pt x="1480" y="5458"/>
                    </a:lnTo>
                    <a:lnTo>
                      <a:pt x="1484" y="5456"/>
                    </a:lnTo>
                    <a:lnTo>
                      <a:pt x="1491" y="5454"/>
                    </a:lnTo>
                    <a:lnTo>
                      <a:pt x="1498" y="5455"/>
                    </a:lnTo>
                    <a:lnTo>
                      <a:pt x="1504" y="5456"/>
                    </a:lnTo>
                    <a:lnTo>
                      <a:pt x="1510" y="5459"/>
                    </a:lnTo>
                    <a:lnTo>
                      <a:pt x="1514" y="5460"/>
                    </a:lnTo>
                    <a:lnTo>
                      <a:pt x="1518" y="5459"/>
                    </a:lnTo>
                    <a:lnTo>
                      <a:pt x="1520" y="5458"/>
                    </a:lnTo>
                    <a:lnTo>
                      <a:pt x="1522" y="5456"/>
                    </a:lnTo>
                    <a:lnTo>
                      <a:pt x="1522" y="5454"/>
                    </a:lnTo>
                    <a:lnTo>
                      <a:pt x="1523" y="5450"/>
                    </a:lnTo>
                    <a:lnTo>
                      <a:pt x="1524" y="5435"/>
                    </a:lnTo>
                    <a:lnTo>
                      <a:pt x="1528" y="5421"/>
                    </a:lnTo>
                    <a:lnTo>
                      <a:pt x="1531" y="5414"/>
                    </a:lnTo>
                    <a:lnTo>
                      <a:pt x="1535" y="5408"/>
                    </a:lnTo>
                    <a:lnTo>
                      <a:pt x="1541" y="5402"/>
                    </a:lnTo>
                    <a:lnTo>
                      <a:pt x="1547" y="5397"/>
                    </a:lnTo>
                    <a:lnTo>
                      <a:pt x="1563" y="5387"/>
                    </a:lnTo>
                    <a:lnTo>
                      <a:pt x="1582" y="5377"/>
                    </a:lnTo>
                    <a:lnTo>
                      <a:pt x="1602" y="5366"/>
                    </a:lnTo>
                    <a:lnTo>
                      <a:pt x="1621" y="5354"/>
                    </a:lnTo>
                    <a:lnTo>
                      <a:pt x="1639" y="5345"/>
                    </a:lnTo>
                    <a:lnTo>
                      <a:pt x="1651" y="5338"/>
                    </a:lnTo>
                    <a:lnTo>
                      <a:pt x="1655" y="5333"/>
                    </a:lnTo>
                    <a:lnTo>
                      <a:pt x="1657" y="5329"/>
                    </a:lnTo>
                    <a:lnTo>
                      <a:pt x="1657" y="5324"/>
                    </a:lnTo>
                    <a:lnTo>
                      <a:pt x="1656" y="5318"/>
                    </a:lnTo>
                    <a:lnTo>
                      <a:pt x="1654" y="5311"/>
                    </a:lnTo>
                    <a:lnTo>
                      <a:pt x="1652" y="5305"/>
                    </a:lnTo>
                    <a:lnTo>
                      <a:pt x="1652" y="5301"/>
                    </a:lnTo>
                    <a:lnTo>
                      <a:pt x="1654" y="5296"/>
                    </a:lnTo>
                    <a:lnTo>
                      <a:pt x="1655" y="5291"/>
                    </a:lnTo>
                    <a:lnTo>
                      <a:pt x="1658" y="5286"/>
                    </a:lnTo>
                    <a:lnTo>
                      <a:pt x="1663" y="5283"/>
                    </a:lnTo>
                    <a:lnTo>
                      <a:pt x="1669" y="5279"/>
                    </a:lnTo>
                    <a:lnTo>
                      <a:pt x="1681" y="5275"/>
                    </a:lnTo>
                    <a:lnTo>
                      <a:pt x="1692" y="5272"/>
                    </a:lnTo>
                    <a:lnTo>
                      <a:pt x="1702" y="5267"/>
                    </a:lnTo>
                    <a:lnTo>
                      <a:pt x="1717" y="5260"/>
                    </a:lnTo>
                    <a:lnTo>
                      <a:pt x="1725" y="5255"/>
                    </a:lnTo>
                    <a:lnTo>
                      <a:pt x="1733" y="5252"/>
                    </a:lnTo>
                    <a:lnTo>
                      <a:pt x="1739" y="5251"/>
                    </a:lnTo>
                    <a:lnTo>
                      <a:pt x="1745" y="5251"/>
                    </a:lnTo>
                    <a:lnTo>
                      <a:pt x="1750" y="5253"/>
                    </a:lnTo>
                    <a:lnTo>
                      <a:pt x="1753" y="5255"/>
                    </a:lnTo>
                    <a:lnTo>
                      <a:pt x="1756" y="5260"/>
                    </a:lnTo>
                    <a:lnTo>
                      <a:pt x="1756" y="5266"/>
                    </a:lnTo>
                    <a:lnTo>
                      <a:pt x="1756" y="5277"/>
                    </a:lnTo>
                    <a:lnTo>
                      <a:pt x="1756" y="5285"/>
                    </a:lnTo>
                    <a:lnTo>
                      <a:pt x="1756" y="5289"/>
                    </a:lnTo>
                    <a:lnTo>
                      <a:pt x="1758" y="5291"/>
                    </a:lnTo>
                    <a:lnTo>
                      <a:pt x="1761" y="5292"/>
                    </a:lnTo>
                    <a:lnTo>
                      <a:pt x="1765" y="5294"/>
                    </a:lnTo>
                    <a:lnTo>
                      <a:pt x="1774" y="5297"/>
                    </a:lnTo>
                    <a:lnTo>
                      <a:pt x="1783" y="5302"/>
                    </a:lnTo>
                    <a:lnTo>
                      <a:pt x="1791" y="5309"/>
                    </a:lnTo>
                    <a:lnTo>
                      <a:pt x="1800" y="5320"/>
                    </a:lnTo>
                    <a:lnTo>
                      <a:pt x="1807" y="5333"/>
                    </a:lnTo>
                    <a:lnTo>
                      <a:pt x="1815" y="5345"/>
                    </a:lnTo>
                    <a:lnTo>
                      <a:pt x="1819" y="5351"/>
                    </a:lnTo>
                    <a:lnTo>
                      <a:pt x="1824" y="5354"/>
                    </a:lnTo>
                    <a:lnTo>
                      <a:pt x="1827" y="5358"/>
                    </a:lnTo>
                    <a:lnTo>
                      <a:pt x="1833" y="5359"/>
                    </a:lnTo>
                    <a:lnTo>
                      <a:pt x="1843" y="5357"/>
                    </a:lnTo>
                    <a:lnTo>
                      <a:pt x="1852" y="5353"/>
                    </a:lnTo>
                    <a:lnTo>
                      <a:pt x="1857" y="5353"/>
                    </a:lnTo>
                    <a:lnTo>
                      <a:pt x="1862" y="5353"/>
                    </a:lnTo>
                    <a:lnTo>
                      <a:pt x="1868" y="5354"/>
                    </a:lnTo>
                    <a:lnTo>
                      <a:pt x="1875" y="5359"/>
                    </a:lnTo>
                    <a:lnTo>
                      <a:pt x="1888" y="5368"/>
                    </a:lnTo>
                    <a:lnTo>
                      <a:pt x="1901" y="5376"/>
                    </a:lnTo>
                    <a:lnTo>
                      <a:pt x="1906" y="5377"/>
                    </a:lnTo>
                    <a:lnTo>
                      <a:pt x="1910" y="5377"/>
                    </a:lnTo>
                    <a:lnTo>
                      <a:pt x="1914" y="5374"/>
                    </a:lnTo>
                    <a:lnTo>
                      <a:pt x="1917" y="5371"/>
                    </a:lnTo>
                    <a:lnTo>
                      <a:pt x="1919" y="5365"/>
                    </a:lnTo>
                    <a:lnTo>
                      <a:pt x="1920" y="5359"/>
                    </a:lnTo>
                    <a:lnTo>
                      <a:pt x="1920" y="5354"/>
                    </a:lnTo>
                    <a:lnTo>
                      <a:pt x="1920" y="5349"/>
                    </a:lnTo>
                    <a:lnTo>
                      <a:pt x="1920" y="5345"/>
                    </a:lnTo>
                    <a:lnTo>
                      <a:pt x="1921" y="5341"/>
                    </a:lnTo>
                    <a:lnTo>
                      <a:pt x="1922" y="5340"/>
                    </a:lnTo>
                    <a:lnTo>
                      <a:pt x="1925" y="5339"/>
                    </a:lnTo>
                    <a:lnTo>
                      <a:pt x="1928" y="5339"/>
                    </a:lnTo>
                    <a:lnTo>
                      <a:pt x="1933" y="5341"/>
                    </a:lnTo>
                    <a:lnTo>
                      <a:pt x="1936" y="5346"/>
                    </a:lnTo>
                    <a:lnTo>
                      <a:pt x="1941" y="5351"/>
                    </a:lnTo>
                    <a:lnTo>
                      <a:pt x="1951" y="5362"/>
                    </a:lnTo>
                    <a:lnTo>
                      <a:pt x="1960" y="5373"/>
                    </a:lnTo>
                    <a:lnTo>
                      <a:pt x="1966" y="5378"/>
                    </a:lnTo>
                    <a:lnTo>
                      <a:pt x="1972" y="5380"/>
                    </a:lnTo>
                    <a:lnTo>
                      <a:pt x="1978" y="5383"/>
                    </a:lnTo>
                    <a:lnTo>
                      <a:pt x="1985" y="5385"/>
                    </a:lnTo>
                    <a:lnTo>
                      <a:pt x="1998" y="5386"/>
                    </a:lnTo>
                    <a:lnTo>
                      <a:pt x="2011" y="5387"/>
                    </a:lnTo>
                    <a:lnTo>
                      <a:pt x="2024" y="5387"/>
                    </a:lnTo>
                    <a:lnTo>
                      <a:pt x="2039" y="5390"/>
                    </a:lnTo>
                    <a:lnTo>
                      <a:pt x="2045" y="5392"/>
                    </a:lnTo>
                    <a:lnTo>
                      <a:pt x="2051" y="5396"/>
                    </a:lnTo>
                    <a:lnTo>
                      <a:pt x="2054" y="5399"/>
                    </a:lnTo>
                    <a:lnTo>
                      <a:pt x="2057" y="5405"/>
                    </a:lnTo>
                    <a:lnTo>
                      <a:pt x="2060" y="5418"/>
                    </a:lnTo>
                    <a:lnTo>
                      <a:pt x="2064" y="5431"/>
                    </a:lnTo>
                    <a:lnTo>
                      <a:pt x="2066" y="5437"/>
                    </a:lnTo>
                    <a:lnTo>
                      <a:pt x="2068" y="5442"/>
                    </a:lnTo>
                    <a:lnTo>
                      <a:pt x="2072" y="5447"/>
                    </a:lnTo>
                    <a:lnTo>
                      <a:pt x="2076" y="5450"/>
                    </a:lnTo>
                    <a:lnTo>
                      <a:pt x="2082" y="5454"/>
                    </a:lnTo>
                    <a:lnTo>
                      <a:pt x="2089" y="5458"/>
                    </a:lnTo>
                    <a:lnTo>
                      <a:pt x="2096" y="5460"/>
                    </a:lnTo>
                    <a:lnTo>
                      <a:pt x="2105" y="5462"/>
                    </a:lnTo>
                    <a:lnTo>
                      <a:pt x="2124" y="5466"/>
                    </a:lnTo>
                    <a:lnTo>
                      <a:pt x="2142" y="5469"/>
                    </a:lnTo>
                    <a:lnTo>
                      <a:pt x="2159" y="5472"/>
                    </a:lnTo>
                    <a:lnTo>
                      <a:pt x="2173" y="5473"/>
                    </a:lnTo>
                    <a:lnTo>
                      <a:pt x="2179" y="5472"/>
                    </a:lnTo>
                    <a:lnTo>
                      <a:pt x="2185" y="5471"/>
                    </a:lnTo>
                    <a:lnTo>
                      <a:pt x="2191" y="5468"/>
                    </a:lnTo>
                    <a:lnTo>
                      <a:pt x="2197" y="5466"/>
                    </a:lnTo>
                    <a:lnTo>
                      <a:pt x="2206" y="5459"/>
                    </a:lnTo>
                    <a:lnTo>
                      <a:pt x="2215" y="5456"/>
                    </a:lnTo>
                    <a:lnTo>
                      <a:pt x="2222" y="5455"/>
                    </a:lnTo>
                    <a:lnTo>
                      <a:pt x="2230" y="5455"/>
                    </a:lnTo>
                    <a:lnTo>
                      <a:pt x="2238" y="5456"/>
                    </a:lnTo>
                    <a:lnTo>
                      <a:pt x="2246" y="5455"/>
                    </a:lnTo>
                    <a:lnTo>
                      <a:pt x="2248" y="5454"/>
                    </a:lnTo>
                    <a:lnTo>
                      <a:pt x="2250" y="5450"/>
                    </a:lnTo>
                    <a:lnTo>
                      <a:pt x="2253" y="5447"/>
                    </a:lnTo>
                    <a:lnTo>
                      <a:pt x="2256" y="5440"/>
                    </a:lnTo>
                    <a:lnTo>
                      <a:pt x="2261" y="5427"/>
                    </a:lnTo>
                    <a:lnTo>
                      <a:pt x="2268" y="5415"/>
                    </a:lnTo>
                    <a:lnTo>
                      <a:pt x="2273" y="5411"/>
                    </a:lnTo>
                    <a:lnTo>
                      <a:pt x="2279" y="5406"/>
                    </a:lnTo>
                    <a:lnTo>
                      <a:pt x="2285" y="5404"/>
                    </a:lnTo>
                    <a:lnTo>
                      <a:pt x="2293" y="5403"/>
                    </a:lnTo>
                    <a:lnTo>
                      <a:pt x="2314" y="5402"/>
                    </a:lnTo>
                    <a:lnTo>
                      <a:pt x="2339" y="5401"/>
                    </a:lnTo>
                    <a:lnTo>
                      <a:pt x="2350" y="5399"/>
                    </a:lnTo>
                    <a:lnTo>
                      <a:pt x="2361" y="5397"/>
                    </a:lnTo>
                    <a:lnTo>
                      <a:pt x="2364" y="5396"/>
                    </a:lnTo>
                    <a:lnTo>
                      <a:pt x="2369" y="5395"/>
                    </a:lnTo>
                    <a:lnTo>
                      <a:pt x="2372" y="5392"/>
                    </a:lnTo>
                    <a:lnTo>
                      <a:pt x="2374" y="5389"/>
                    </a:lnTo>
                    <a:lnTo>
                      <a:pt x="2379" y="5379"/>
                    </a:lnTo>
                    <a:lnTo>
                      <a:pt x="2385" y="5371"/>
                    </a:lnTo>
                    <a:lnTo>
                      <a:pt x="2388" y="5367"/>
                    </a:lnTo>
                    <a:lnTo>
                      <a:pt x="2393" y="5365"/>
                    </a:lnTo>
                    <a:lnTo>
                      <a:pt x="2399" y="5361"/>
                    </a:lnTo>
                    <a:lnTo>
                      <a:pt x="2407" y="5359"/>
                    </a:lnTo>
                    <a:lnTo>
                      <a:pt x="2417" y="5357"/>
                    </a:lnTo>
                    <a:lnTo>
                      <a:pt x="2425" y="5355"/>
                    </a:lnTo>
                    <a:lnTo>
                      <a:pt x="2435" y="5354"/>
                    </a:lnTo>
                    <a:lnTo>
                      <a:pt x="2443" y="5354"/>
                    </a:lnTo>
                    <a:lnTo>
                      <a:pt x="2451" y="5355"/>
                    </a:lnTo>
                    <a:lnTo>
                      <a:pt x="2460" y="5358"/>
                    </a:lnTo>
                    <a:lnTo>
                      <a:pt x="2468" y="5361"/>
                    </a:lnTo>
                    <a:lnTo>
                      <a:pt x="2475" y="5365"/>
                    </a:lnTo>
                    <a:lnTo>
                      <a:pt x="2487" y="5376"/>
                    </a:lnTo>
                    <a:lnTo>
                      <a:pt x="2496" y="5384"/>
                    </a:lnTo>
                    <a:lnTo>
                      <a:pt x="2500" y="5389"/>
                    </a:lnTo>
                    <a:lnTo>
                      <a:pt x="2504" y="5391"/>
                    </a:lnTo>
                    <a:lnTo>
                      <a:pt x="2508" y="5395"/>
                    </a:lnTo>
                    <a:lnTo>
                      <a:pt x="2513" y="5397"/>
                    </a:lnTo>
                    <a:lnTo>
                      <a:pt x="2518" y="5397"/>
                    </a:lnTo>
                    <a:lnTo>
                      <a:pt x="2523" y="5396"/>
                    </a:lnTo>
                    <a:lnTo>
                      <a:pt x="2527" y="5392"/>
                    </a:lnTo>
                    <a:lnTo>
                      <a:pt x="2532" y="5387"/>
                    </a:lnTo>
                    <a:lnTo>
                      <a:pt x="2538" y="5384"/>
                    </a:lnTo>
                    <a:lnTo>
                      <a:pt x="2543" y="5380"/>
                    </a:lnTo>
                    <a:lnTo>
                      <a:pt x="2546" y="5379"/>
                    </a:lnTo>
                    <a:lnTo>
                      <a:pt x="2549" y="5378"/>
                    </a:lnTo>
                    <a:lnTo>
                      <a:pt x="2552" y="5378"/>
                    </a:lnTo>
                    <a:lnTo>
                      <a:pt x="2556" y="5379"/>
                    </a:lnTo>
                    <a:lnTo>
                      <a:pt x="2562" y="5381"/>
                    </a:lnTo>
                    <a:lnTo>
                      <a:pt x="2569" y="5385"/>
                    </a:lnTo>
                    <a:lnTo>
                      <a:pt x="2575" y="5390"/>
                    </a:lnTo>
                    <a:lnTo>
                      <a:pt x="2580" y="5395"/>
                    </a:lnTo>
                    <a:lnTo>
                      <a:pt x="2584" y="5401"/>
                    </a:lnTo>
                    <a:lnTo>
                      <a:pt x="2589" y="5406"/>
                    </a:lnTo>
                    <a:lnTo>
                      <a:pt x="2591" y="5412"/>
                    </a:lnTo>
                    <a:lnTo>
                      <a:pt x="2591" y="5418"/>
                    </a:lnTo>
                    <a:lnTo>
                      <a:pt x="2591" y="5424"/>
                    </a:lnTo>
                    <a:lnTo>
                      <a:pt x="2589" y="5429"/>
                    </a:lnTo>
                    <a:lnTo>
                      <a:pt x="2587" y="5434"/>
                    </a:lnTo>
                    <a:lnTo>
                      <a:pt x="2582" y="5440"/>
                    </a:lnTo>
                    <a:lnTo>
                      <a:pt x="2575" y="5449"/>
                    </a:lnTo>
                    <a:lnTo>
                      <a:pt x="2570" y="5458"/>
                    </a:lnTo>
                    <a:lnTo>
                      <a:pt x="2570" y="5462"/>
                    </a:lnTo>
                    <a:lnTo>
                      <a:pt x="2571" y="5467"/>
                    </a:lnTo>
                    <a:lnTo>
                      <a:pt x="2572" y="5472"/>
                    </a:lnTo>
                    <a:lnTo>
                      <a:pt x="2575" y="5478"/>
                    </a:lnTo>
                    <a:lnTo>
                      <a:pt x="2582" y="5490"/>
                    </a:lnTo>
                    <a:lnTo>
                      <a:pt x="2590" y="5505"/>
                    </a:lnTo>
                    <a:lnTo>
                      <a:pt x="2600" y="5522"/>
                    </a:lnTo>
                    <a:lnTo>
                      <a:pt x="2608" y="5534"/>
                    </a:lnTo>
                    <a:lnTo>
                      <a:pt x="2613" y="5537"/>
                    </a:lnTo>
                    <a:lnTo>
                      <a:pt x="2618" y="5538"/>
                    </a:lnTo>
                    <a:lnTo>
                      <a:pt x="2620" y="5538"/>
                    </a:lnTo>
                    <a:lnTo>
                      <a:pt x="2622" y="5537"/>
                    </a:lnTo>
                    <a:lnTo>
                      <a:pt x="2625" y="5536"/>
                    </a:lnTo>
                    <a:lnTo>
                      <a:pt x="2628" y="5534"/>
                    </a:lnTo>
                    <a:lnTo>
                      <a:pt x="2631" y="5530"/>
                    </a:lnTo>
                    <a:lnTo>
                      <a:pt x="2634" y="5529"/>
                    </a:lnTo>
                    <a:lnTo>
                      <a:pt x="2637" y="5528"/>
                    </a:lnTo>
                    <a:lnTo>
                      <a:pt x="2640" y="5528"/>
                    </a:lnTo>
                    <a:lnTo>
                      <a:pt x="2649" y="5530"/>
                    </a:lnTo>
                    <a:lnTo>
                      <a:pt x="2656" y="5534"/>
                    </a:lnTo>
                    <a:lnTo>
                      <a:pt x="2663" y="5538"/>
                    </a:lnTo>
                    <a:lnTo>
                      <a:pt x="2670" y="5544"/>
                    </a:lnTo>
                    <a:lnTo>
                      <a:pt x="2676" y="5550"/>
                    </a:lnTo>
                    <a:lnTo>
                      <a:pt x="2681" y="5556"/>
                    </a:lnTo>
                    <a:lnTo>
                      <a:pt x="2685" y="5561"/>
                    </a:lnTo>
                    <a:lnTo>
                      <a:pt x="2689" y="5563"/>
                    </a:lnTo>
                    <a:lnTo>
                      <a:pt x="2693" y="5566"/>
                    </a:lnTo>
                    <a:lnTo>
                      <a:pt x="2696" y="5568"/>
                    </a:lnTo>
                    <a:lnTo>
                      <a:pt x="2703" y="5568"/>
                    </a:lnTo>
                    <a:lnTo>
                      <a:pt x="2712" y="5568"/>
                    </a:lnTo>
                    <a:lnTo>
                      <a:pt x="2720" y="5569"/>
                    </a:lnTo>
                    <a:lnTo>
                      <a:pt x="2726" y="5570"/>
                    </a:lnTo>
                    <a:lnTo>
                      <a:pt x="2731" y="5573"/>
                    </a:lnTo>
                    <a:lnTo>
                      <a:pt x="2738" y="5581"/>
                    </a:lnTo>
                    <a:lnTo>
                      <a:pt x="2741" y="5585"/>
                    </a:lnTo>
                    <a:lnTo>
                      <a:pt x="2745" y="5588"/>
                    </a:lnTo>
                    <a:lnTo>
                      <a:pt x="2750" y="5592"/>
                    </a:lnTo>
                    <a:lnTo>
                      <a:pt x="2756" y="5594"/>
                    </a:lnTo>
                    <a:lnTo>
                      <a:pt x="2767" y="5598"/>
                    </a:lnTo>
                    <a:lnTo>
                      <a:pt x="2782" y="5599"/>
                    </a:lnTo>
                    <a:lnTo>
                      <a:pt x="2796" y="5599"/>
                    </a:lnTo>
                    <a:lnTo>
                      <a:pt x="2809" y="5600"/>
                    </a:lnTo>
                    <a:lnTo>
                      <a:pt x="2820" y="5603"/>
                    </a:lnTo>
                    <a:lnTo>
                      <a:pt x="2829" y="5607"/>
                    </a:lnTo>
                    <a:lnTo>
                      <a:pt x="2838" y="5612"/>
                    </a:lnTo>
                    <a:lnTo>
                      <a:pt x="2848" y="5614"/>
                    </a:lnTo>
                    <a:lnTo>
                      <a:pt x="2853" y="5614"/>
                    </a:lnTo>
                    <a:lnTo>
                      <a:pt x="2859" y="5614"/>
                    </a:lnTo>
                    <a:lnTo>
                      <a:pt x="2864" y="5612"/>
                    </a:lnTo>
                    <a:lnTo>
                      <a:pt x="2870" y="5610"/>
                    </a:lnTo>
                    <a:lnTo>
                      <a:pt x="2879" y="5606"/>
                    </a:lnTo>
                    <a:lnTo>
                      <a:pt x="2886" y="5604"/>
                    </a:lnTo>
                    <a:lnTo>
                      <a:pt x="2895" y="5604"/>
                    </a:lnTo>
                    <a:lnTo>
                      <a:pt x="2905" y="5605"/>
                    </a:lnTo>
                    <a:lnTo>
                      <a:pt x="2916" y="5609"/>
                    </a:lnTo>
                    <a:lnTo>
                      <a:pt x="2922" y="5612"/>
                    </a:lnTo>
                    <a:lnTo>
                      <a:pt x="2924" y="5614"/>
                    </a:lnTo>
                    <a:lnTo>
                      <a:pt x="2926" y="5617"/>
                    </a:lnTo>
                    <a:lnTo>
                      <a:pt x="2926" y="5620"/>
                    </a:lnTo>
                    <a:lnTo>
                      <a:pt x="2926" y="5625"/>
                    </a:lnTo>
                    <a:lnTo>
                      <a:pt x="2926" y="5629"/>
                    </a:lnTo>
                    <a:lnTo>
                      <a:pt x="2927" y="5633"/>
                    </a:lnTo>
                    <a:lnTo>
                      <a:pt x="2928" y="5636"/>
                    </a:lnTo>
                    <a:lnTo>
                      <a:pt x="2929" y="5638"/>
                    </a:lnTo>
                    <a:lnTo>
                      <a:pt x="2933" y="5641"/>
                    </a:lnTo>
                    <a:lnTo>
                      <a:pt x="2937" y="5642"/>
                    </a:lnTo>
                    <a:lnTo>
                      <a:pt x="2943" y="5642"/>
                    </a:lnTo>
                    <a:lnTo>
                      <a:pt x="2952" y="5641"/>
                    </a:lnTo>
                    <a:lnTo>
                      <a:pt x="2972" y="5639"/>
                    </a:lnTo>
                    <a:lnTo>
                      <a:pt x="2992" y="5637"/>
                    </a:lnTo>
                    <a:lnTo>
                      <a:pt x="3013" y="5635"/>
                    </a:lnTo>
                    <a:lnTo>
                      <a:pt x="3031" y="5631"/>
                    </a:lnTo>
                    <a:lnTo>
                      <a:pt x="3037" y="5629"/>
                    </a:lnTo>
                    <a:lnTo>
                      <a:pt x="3042" y="5625"/>
                    </a:lnTo>
                    <a:lnTo>
                      <a:pt x="3044" y="5623"/>
                    </a:lnTo>
                    <a:lnTo>
                      <a:pt x="3046" y="5618"/>
                    </a:lnTo>
                    <a:lnTo>
                      <a:pt x="3046" y="5609"/>
                    </a:lnTo>
                    <a:lnTo>
                      <a:pt x="3048" y="5595"/>
                    </a:lnTo>
                    <a:lnTo>
                      <a:pt x="3050" y="5589"/>
                    </a:lnTo>
                    <a:lnTo>
                      <a:pt x="3054" y="5585"/>
                    </a:lnTo>
                    <a:lnTo>
                      <a:pt x="3060" y="5582"/>
                    </a:lnTo>
                    <a:lnTo>
                      <a:pt x="3067" y="5580"/>
                    </a:lnTo>
                    <a:lnTo>
                      <a:pt x="3081" y="5579"/>
                    </a:lnTo>
                    <a:lnTo>
                      <a:pt x="3097" y="5579"/>
                    </a:lnTo>
                    <a:lnTo>
                      <a:pt x="3112" y="5580"/>
                    </a:lnTo>
                    <a:lnTo>
                      <a:pt x="3129" y="5581"/>
                    </a:lnTo>
                    <a:lnTo>
                      <a:pt x="3149" y="5582"/>
                    </a:lnTo>
                    <a:lnTo>
                      <a:pt x="3173" y="5584"/>
                    </a:lnTo>
                    <a:lnTo>
                      <a:pt x="3195" y="5585"/>
                    </a:lnTo>
                    <a:lnTo>
                      <a:pt x="3211" y="5584"/>
                    </a:lnTo>
                    <a:lnTo>
                      <a:pt x="3218" y="5582"/>
                    </a:lnTo>
                    <a:lnTo>
                      <a:pt x="3225" y="5581"/>
                    </a:lnTo>
                    <a:lnTo>
                      <a:pt x="3232" y="5578"/>
                    </a:lnTo>
                    <a:lnTo>
                      <a:pt x="3241" y="5574"/>
                    </a:lnTo>
                    <a:lnTo>
                      <a:pt x="3251" y="5570"/>
                    </a:lnTo>
                    <a:lnTo>
                      <a:pt x="3263" y="5566"/>
                    </a:lnTo>
                    <a:lnTo>
                      <a:pt x="3270" y="5565"/>
                    </a:lnTo>
                    <a:lnTo>
                      <a:pt x="3276" y="5565"/>
                    </a:lnTo>
                    <a:lnTo>
                      <a:pt x="3283" y="5563"/>
                    </a:lnTo>
                    <a:lnTo>
                      <a:pt x="3289" y="5565"/>
                    </a:lnTo>
                    <a:lnTo>
                      <a:pt x="3300" y="5568"/>
                    </a:lnTo>
                    <a:lnTo>
                      <a:pt x="3309" y="5573"/>
                    </a:lnTo>
                    <a:lnTo>
                      <a:pt x="3314" y="5574"/>
                    </a:lnTo>
                    <a:lnTo>
                      <a:pt x="3318" y="5575"/>
                    </a:lnTo>
                    <a:lnTo>
                      <a:pt x="3323" y="5575"/>
                    </a:lnTo>
                    <a:lnTo>
                      <a:pt x="3327" y="5575"/>
                    </a:lnTo>
                    <a:lnTo>
                      <a:pt x="3345" y="5569"/>
                    </a:lnTo>
                    <a:lnTo>
                      <a:pt x="3362" y="5567"/>
                    </a:lnTo>
                    <a:lnTo>
                      <a:pt x="3369" y="5567"/>
                    </a:lnTo>
                    <a:lnTo>
                      <a:pt x="3376" y="5568"/>
                    </a:lnTo>
                    <a:lnTo>
                      <a:pt x="3382" y="5570"/>
                    </a:lnTo>
                    <a:lnTo>
                      <a:pt x="3387" y="5575"/>
                    </a:lnTo>
                    <a:lnTo>
                      <a:pt x="3396" y="5586"/>
                    </a:lnTo>
                    <a:lnTo>
                      <a:pt x="3405" y="5597"/>
                    </a:lnTo>
                    <a:lnTo>
                      <a:pt x="3408" y="5601"/>
                    </a:lnTo>
                    <a:lnTo>
                      <a:pt x="3413" y="5606"/>
                    </a:lnTo>
                    <a:lnTo>
                      <a:pt x="3419" y="5610"/>
                    </a:lnTo>
                    <a:lnTo>
                      <a:pt x="3425" y="5613"/>
                    </a:lnTo>
                    <a:lnTo>
                      <a:pt x="3431" y="5617"/>
                    </a:lnTo>
                    <a:lnTo>
                      <a:pt x="3437" y="5620"/>
                    </a:lnTo>
                    <a:lnTo>
                      <a:pt x="3441" y="5624"/>
                    </a:lnTo>
                    <a:lnTo>
                      <a:pt x="3446" y="5629"/>
                    </a:lnTo>
                    <a:lnTo>
                      <a:pt x="3455" y="5638"/>
                    </a:lnTo>
                    <a:lnTo>
                      <a:pt x="3464" y="5650"/>
                    </a:lnTo>
                    <a:lnTo>
                      <a:pt x="3466" y="5652"/>
                    </a:lnTo>
                    <a:lnTo>
                      <a:pt x="3470" y="5654"/>
                    </a:lnTo>
                    <a:lnTo>
                      <a:pt x="3472" y="5654"/>
                    </a:lnTo>
                    <a:lnTo>
                      <a:pt x="3475" y="5654"/>
                    </a:lnTo>
                    <a:lnTo>
                      <a:pt x="3479" y="5648"/>
                    </a:lnTo>
                    <a:lnTo>
                      <a:pt x="3485" y="5639"/>
                    </a:lnTo>
                    <a:lnTo>
                      <a:pt x="3489" y="5635"/>
                    </a:lnTo>
                    <a:lnTo>
                      <a:pt x="3494" y="5630"/>
                    </a:lnTo>
                    <a:lnTo>
                      <a:pt x="3500" y="5626"/>
                    </a:lnTo>
                    <a:lnTo>
                      <a:pt x="3506" y="5623"/>
                    </a:lnTo>
                    <a:lnTo>
                      <a:pt x="3514" y="5619"/>
                    </a:lnTo>
                    <a:lnTo>
                      <a:pt x="3522" y="5617"/>
                    </a:lnTo>
                    <a:lnTo>
                      <a:pt x="3531" y="5616"/>
                    </a:lnTo>
                    <a:lnTo>
                      <a:pt x="3540" y="5614"/>
                    </a:lnTo>
                    <a:lnTo>
                      <a:pt x="3564" y="5614"/>
                    </a:lnTo>
                    <a:lnTo>
                      <a:pt x="3590" y="5614"/>
                    </a:lnTo>
                    <a:lnTo>
                      <a:pt x="3603" y="5613"/>
                    </a:lnTo>
                    <a:lnTo>
                      <a:pt x="3616" y="5613"/>
                    </a:lnTo>
                    <a:lnTo>
                      <a:pt x="3628" y="5611"/>
                    </a:lnTo>
                    <a:lnTo>
                      <a:pt x="3638" y="5609"/>
                    </a:lnTo>
                    <a:lnTo>
                      <a:pt x="3647" y="5604"/>
                    </a:lnTo>
                    <a:lnTo>
                      <a:pt x="3655" y="5599"/>
                    </a:lnTo>
                    <a:lnTo>
                      <a:pt x="3664" y="5591"/>
                    </a:lnTo>
                    <a:lnTo>
                      <a:pt x="3671" y="5582"/>
                    </a:lnTo>
                    <a:lnTo>
                      <a:pt x="3678" y="5573"/>
                    </a:lnTo>
                    <a:lnTo>
                      <a:pt x="3684" y="5563"/>
                    </a:lnTo>
                    <a:lnTo>
                      <a:pt x="3690" y="5551"/>
                    </a:lnTo>
                    <a:lnTo>
                      <a:pt x="3695" y="5541"/>
                    </a:lnTo>
                    <a:lnTo>
                      <a:pt x="3703" y="5518"/>
                    </a:lnTo>
                    <a:lnTo>
                      <a:pt x="3710" y="5500"/>
                    </a:lnTo>
                    <a:lnTo>
                      <a:pt x="3714" y="5493"/>
                    </a:lnTo>
                    <a:lnTo>
                      <a:pt x="3718" y="5487"/>
                    </a:lnTo>
                    <a:lnTo>
                      <a:pt x="3724" y="5484"/>
                    </a:lnTo>
                    <a:lnTo>
                      <a:pt x="3731" y="5481"/>
                    </a:lnTo>
                    <a:lnTo>
                      <a:pt x="3739" y="5480"/>
                    </a:lnTo>
                    <a:lnTo>
                      <a:pt x="3746" y="5480"/>
                    </a:lnTo>
                    <a:lnTo>
                      <a:pt x="3752" y="5481"/>
                    </a:lnTo>
                    <a:lnTo>
                      <a:pt x="3758" y="5481"/>
                    </a:lnTo>
                    <a:lnTo>
                      <a:pt x="3762" y="5483"/>
                    </a:lnTo>
                    <a:lnTo>
                      <a:pt x="3767" y="5483"/>
                    </a:lnTo>
                    <a:lnTo>
                      <a:pt x="3772" y="5483"/>
                    </a:lnTo>
                    <a:lnTo>
                      <a:pt x="3777" y="5480"/>
                    </a:lnTo>
                    <a:lnTo>
                      <a:pt x="3785" y="5477"/>
                    </a:lnTo>
                    <a:lnTo>
                      <a:pt x="3792" y="5474"/>
                    </a:lnTo>
                    <a:lnTo>
                      <a:pt x="3794" y="5474"/>
                    </a:lnTo>
                    <a:lnTo>
                      <a:pt x="3797" y="5474"/>
                    </a:lnTo>
                    <a:lnTo>
                      <a:pt x="3800" y="5477"/>
                    </a:lnTo>
                    <a:lnTo>
                      <a:pt x="3803" y="5479"/>
                    </a:lnTo>
                    <a:lnTo>
                      <a:pt x="3806" y="5481"/>
                    </a:lnTo>
                    <a:lnTo>
                      <a:pt x="3810" y="5483"/>
                    </a:lnTo>
                    <a:lnTo>
                      <a:pt x="3812" y="5484"/>
                    </a:lnTo>
                    <a:lnTo>
                      <a:pt x="3816" y="5484"/>
                    </a:lnTo>
                    <a:lnTo>
                      <a:pt x="3822" y="5483"/>
                    </a:lnTo>
                    <a:lnTo>
                      <a:pt x="3827" y="5479"/>
                    </a:lnTo>
                    <a:lnTo>
                      <a:pt x="3830" y="5477"/>
                    </a:lnTo>
                    <a:lnTo>
                      <a:pt x="3834" y="5477"/>
                    </a:lnTo>
                    <a:lnTo>
                      <a:pt x="3840" y="5478"/>
                    </a:lnTo>
                    <a:lnTo>
                      <a:pt x="3844" y="5478"/>
                    </a:lnTo>
                    <a:lnTo>
                      <a:pt x="3856" y="5481"/>
                    </a:lnTo>
                    <a:lnTo>
                      <a:pt x="3866" y="5484"/>
                    </a:lnTo>
                    <a:lnTo>
                      <a:pt x="3874" y="5485"/>
                    </a:lnTo>
                    <a:lnTo>
                      <a:pt x="3882" y="5484"/>
                    </a:lnTo>
                    <a:lnTo>
                      <a:pt x="3887" y="5481"/>
                    </a:lnTo>
                    <a:lnTo>
                      <a:pt x="3892" y="5479"/>
                    </a:lnTo>
                    <a:lnTo>
                      <a:pt x="3897" y="5477"/>
                    </a:lnTo>
                    <a:lnTo>
                      <a:pt x="3903" y="5472"/>
                    </a:lnTo>
                    <a:lnTo>
                      <a:pt x="3909" y="5467"/>
                    </a:lnTo>
                    <a:lnTo>
                      <a:pt x="3916" y="5465"/>
                    </a:lnTo>
                    <a:lnTo>
                      <a:pt x="3923" y="5463"/>
                    </a:lnTo>
                    <a:lnTo>
                      <a:pt x="3930" y="5463"/>
                    </a:lnTo>
                    <a:lnTo>
                      <a:pt x="3937" y="5465"/>
                    </a:lnTo>
                    <a:lnTo>
                      <a:pt x="3944" y="5467"/>
                    </a:lnTo>
                    <a:lnTo>
                      <a:pt x="3950" y="5469"/>
                    </a:lnTo>
                    <a:lnTo>
                      <a:pt x="3956" y="5472"/>
                    </a:lnTo>
                    <a:lnTo>
                      <a:pt x="3964" y="5479"/>
                    </a:lnTo>
                    <a:lnTo>
                      <a:pt x="3973" y="5485"/>
                    </a:lnTo>
                    <a:lnTo>
                      <a:pt x="3978" y="5486"/>
                    </a:lnTo>
                    <a:lnTo>
                      <a:pt x="3982" y="5488"/>
                    </a:lnTo>
                    <a:lnTo>
                      <a:pt x="3989" y="5490"/>
                    </a:lnTo>
                    <a:lnTo>
                      <a:pt x="3998" y="5490"/>
                    </a:lnTo>
                    <a:lnTo>
                      <a:pt x="4016" y="5491"/>
                    </a:lnTo>
                    <a:lnTo>
                      <a:pt x="4030" y="5494"/>
                    </a:lnTo>
                    <a:lnTo>
                      <a:pt x="4036" y="5496"/>
                    </a:lnTo>
                    <a:lnTo>
                      <a:pt x="4041" y="5496"/>
                    </a:lnTo>
                    <a:lnTo>
                      <a:pt x="4044" y="5494"/>
                    </a:lnTo>
                    <a:lnTo>
                      <a:pt x="4045" y="5491"/>
                    </a:lnTo>
                    <a:lnTo>
                      <a:pt x="4048" y="5487"/>
                    </a:lnTo>
                    <a:lnTo>
                      <a:pt x="4050" y="5484"/>
                    </a:lnTo>
                    <a:lnTo>
                      <a:pt x="4054" y="5481"/>
                    </a:lnTo>
                    <a:lnTo>
                      <a:pt x="4058" y="5480"/>
                    </a:lnTo>
                    <a:lnTo>
                      <a:pt x="4068" y="5478"/>
                    </a:lnTo>
                    <a:lnTo>
                      <a:pt x="4079" y="5478"/>
                    </a:lnTo>
                    <a:lnTo>
                      <a:pt x="4090" y="5475"/>
                    </a:lnTo>
                    <a:lnTo>
                      <a:pt x="4107" y="5471"/>
                    </a:lnTo>
                    <a:lnTo>
                      <a:pt x="4123" y="5467"/>
                    </a:lnTo>
                    <a:lnTo>
                      <a:pt x="4137" y="5465"/>
                    </a:lnTo>
                    <a:lnTo>
                      <a:pt x="4143" y="5465"/>
                    </a:lnTo>
                    <a:lnTo>
                      <a:pt x="4148" y="5466"/>
                    </a:lnTo>
                    <a:lnTo>
                      <a:pt x="4152" y="5466"/>
                    </a:lnTo>
                    <a:lnTo>
                      <a:pt x="4156" y="5468"/>
                    </a:lnTo>
                    <a:lnTo>
                      <a:pt x="4158" y="5471"/>
                    </a:lnTo>
                    <a:lnTo>
                      <a:pt x="4161" y="5473"/>
                    </a:lnTo>
                    <a:lnTo>
                      <a:pt x="4162" y="5478"/>
                    </a:lnTo>
                    <a:lnTo>
                      <a:pt x="4163" y="5483"/>
                    </a:lnTo>
                    <a:lnTo>
                      <a:pt x="4164" y="5488"/>
                    </a:lnTo>
                    <a:lnTo>
                      <a:pt x="4165" y="5493"/>
                    </a:lnTo>
                    <a:lnTo>
                      <a:pt x="4167" y="5498"/>
                    </a:lnTo>
                    <a:lnTo>
                      <a:pt x="4169" y="5500"/>
                    </a:lnTo>
                    <a:lnTo>
                      <a:pt x="4171" y="5503"/>
                    </a:lnTo>
                    <a:lnTo>
                      <a:pt x="4176" y="5505"/>
                    </a:lnTo>
                    <a:lnTo>
                      <a:pt x="4181" y="5506"/>
                    </a:lnTo>
                    <a:lnTo>
                      <a:pt x="4187" y="5506"/>
                    </a:lnTo>
                    <a:lnTo>
                      <a:pt x="4201" y="5507"/>
                    </a:lnTo>
                    <a:lnTo>
                      <a:pt x="4214" y="5509"/>
                    </a:lnTo>
                    <a:lnTo>
                      <a:pt x="4227" y="5510"/>
                    </a:lnTo>
                    <a:lnTo>
                      <a:pt x="4239" y="5510"/>
                    </a:lnTo>
                    <a:lnTo>
                      <a:pt x="4249" y="5509"/>
                    </a:lnTo>
                    <a:lnTo>
                      <a:pt x="4257" y="5510"/>
                    </a:lnTo>
                    <a:lnTo>
                      <a:pt x="4262" y="5511"/>
                    </a:lnTo>
                    <a:lnTo>
                      <a:pt x="4265" y="5512"/>
                    </a:lnTo>
                    <a:lnTo>
                      <a:pt x="4269" y="5516"/>
                    </a:lnTo>
                    <a:lnTo>
                      <a:pt x="4274" y="5519"/>
                    </a:lnTo>
                    <a:lnTo>
                      <a:pt x="4277" y="5522"/>
                    </a:lnTo>
                    <a:lnTo>
                      <a:pt x="4282" y="5524"/>
                    </a:lnTo>
                    <a:lnTo>
                      <a:pt x="4287" y="5524"/>
                    </a:lnTo>
                    <a:lnTo>
                      <a:pt x="4293" y="5523"/>
                    </a:lnTo>
                    <a:lnTo>
                      <a:pt x="4302" y="5519"/>
                    </a:lnTo>
                    <a:lnTo>
                      <a:pt x="4310" y="5513"/>
                    </a:lnTo>
                    <a:lnTo>
                      <a:pt x="4318" y="5507"/>
                    </a:lnTo>
                    <a:lnTo>
                      <a:pt x="4326" y="5502"/>
                    </a:lnTo>
                    <a:lnTo>
                      <a:pt x="4331" y="5499"/>
                    </a:lnTo>
                    <a:lnTo>
                      <a:pt x="4335" y="5498"/>
                    </a:lnTo>
                    <a:lnTo>
                      <a:pt x="4341" y="5498"/>
                    </a:lnTo>
                    <a:lnTo>
                      <a:pt x="4347" y="5499"/>
                    </a:lnTo>
                    <a:lnTo>
                      <a:pt x="4360" y="5503"/>
                    </a:lnTo>
                    <a:lnTo>
                      <a:pt x="4375" y="5509"/>
                    </a:lnTo>
                    <a:lnTo>
                      <a:pt x="4382" y="5511"/>
                    </a:lnTo>
                    <a:lnTo>
                      <a:pt x="4390" y="5512"/>
                    </a:lnTo>
                    <a:lnTo>
                      <a:pt x="4398" y="5513"/>
                    </a:lnTo>
                    <a:lnTo>
                      <a:pt x="4408" y="5515"/>
                    </a:lnTo>
                    <a:lnTo>
                      <a:pt x="4427" y="5513"/>
                    </a:lnTo>
                    <a:lnTo>
                      <a:pt x="4448" y="5513"/>
                    </a:lnTo>
                    <a:lnTo>
                      <a:pt x="4458" y="5515"/>
                    </a:lnTo>
                    <a:lnTo>
                      <a:pt x="4469" y="5517"/>
                    </a:lnTo>
                    <a:lnTo>
                      <a:pt x="4477" y="5519"/>
                    </a:lnTo>
                    <a:lnTo>
                      <a:pt x="4486" y="5523"/>
                    </a:lnTo>
                    <a:lnTo>
                      <a:pt x="4503" y="5530"/>
                    </a:lnTo>
                    <a:lnTo>
                      <a:pt x="4518" y="5535"/>
                    </a:lnTo>
                    <a:lnTo>
                      <a:pt x="4524" y="5537"/>
                    </a:lnTo>
                    <a:lnTo>
                      <a:pt x="4530" y="5541"/>
                    </a:lnTo>
                    <a:lnTo>
                      <a:pt x="4534" y="5543"/>
                    </a:lnTo>
                    <a:lnTo>
                      <a:pt x="4537" y="5547"/>
                    </a:lnTo>
                    <a:lnTo>
                      <a:pt x="4540" y="5555"/>
                    </a:lnTo>
                    <a:lnTo>
                      <a:pt x="4543" y="5562"/>
                    </a:lnTo>
                    <a:lnTo>
                      <a:pt x="4545" y="5566"/>
                    </a:lnTo>
                    <a:lnTo>
                      <a:pt x="4547" y="5569"/>
                    </a:lnTo>
                    <a:lnTo>
                      <a:pt x="4552" y="5573"/>
                    </a:lnTo>
                    <a:lnTo>
                      <a:pt x="4556" y="5578"/>
                    </a:lnTo>
                    <a:lnTo>
                      <a:pt x="4566" y="5585"/>
                    </a:lnTo>
                    <a:lnTo>
                      <a:pt x="4572" y="5591"/>
                    </a:lnTo>
                    <a:lnTo>
                      <a:pt x="4575" y="5597"/>
                    </a:lnTo>
                    <a:lnTo>
                      <a:pt x="4578" y="5604"/>
                    </a:lnTo>
                    <a:lnTo>
                      <a:pt x="4579" y="5609"/>
                    </a:lnTo>
                    <a:lnTo>
                      <a:pt x="4581" y="5613"/>
                    </a:lnTo>
                    <a:lnTo>
                      <a:pt x="4584" y="5617"/>
                    </a:lnTo>
                    <a:lnTo>
                      <a:pt x="4587" y="5619"/>
                    </a:lnTo>
                    <a:lnTo>
                      <a:pt x="4592" y="5622"/>
                    </a:lnTo>
                    <a:lnTo>
                      <a:pt x="4596" y="5623"/>
                    </a:lnTo>
                    <a:lnTo>
                      <a:pt x="4600" y="5623"/>
                    </a:lnTo>
                    <a:lnTo>
                      <a:pt x="4606" y="5622"/>
                    </a:lnTo>
                    <a:lnTo>
                      <a:pt x="4611" y="5620"/>
                    </a:lnTo>
                    <a:lnTo>
                      <a:pt x="4616" y="5619"/>
                    </a:lnTo>
                    <a:lnTo>
                      <a:pt x="4622" y="5618"/>
                    </a:lnTo>
                    <a:lnTo>
                      <a:pt x="4628" y="5619"/>
                    </a:lnTo>
                    <a:lnTo>
                      <a:pt x="4639" y="5622"/>
                    </a:lnTo>
                    <a:lnTo>
                      <a:pt x="4650" y="5625"/>
                    </a:lnTo>
                    <a:lnTo>
                      <a:pt x="4663" y="5632"/>
                    </a:lnTo>
                    <a:lnTo>
                      <a:pt x="4674" y="5638"/>
                    </a:lnTo>
                    <a:lnTo>
                      <a:pt x="4682" y="5644"/>
                    </a:lnTo>
                    <a:lnTo>
                      <a:pt x="4693" y="5652"/>
                    </a:lnTo>
                    <a:lnTo>
                      <a:pt x="4702" y="5658"/>
                    </a:lnTo>
                    <a:lnTo>
                      <a:pt x="4709" y="5663"/>
                    </a:lnTo>
                    <a:lnTo>
                      <a:pt x="4712" y="5664"/>
                    </a:lnTo>
                    <a:lnTo>
                      <a:pt x="4716" y="5664"/>
                    </a:lnTo>
                    <a:lnTo>
                      <a:pt x="4719" y="5664"/>
                    </a:lnTo>
                    <a:lnTo>
                      <a:pt x="4722" y="5663"/>
                    </a:lnTo>
                    <a:lnTo>
                      <a:pt x="4725" y="5661"/>
                    </a:lnTo>
                    <a:lnTo>
                      <a:pt x="4730" y="5660"/>
                    </a:lnTo>
                    <a:lnTo>
                      <a:pt x="4734" y="5660"/>
                    </a:lnTo>
                    <a:lnTo>
                      <a:pt x="4738" y="5660"/>
                    </a:lnTo>
                    <a:lnTo>
                      <a:pt x="4743" y="5660"/>
                    </a:lnTo>
                    <a:lnTo>
                      <a:pt x="4748" y="5662"/>
                    </a:lnTo>
                    <a:lnTo>
                      <a:pt x="4751" y="5664"/>
                    </a:lnTo>
                    <a:lnTo>
                      <a:pt x="4754" y="5668"/>
                    </a:lnTo>
                    <a:lnTo>
                      <a:pt x="4757" y="5673"/>
                    </a:lnTo>
                    <a:lnTo>
                      <a:pt x="4761" y="5676"/>
                    </a:lnTo>
                    <a:lnTo>
                      <a:pt x="4767" y="5681"/>
                    </a:lnTo>
                    <a:lnTo>
                      <a:pt x="4773" y="5686"/>
                    </a:lnTo>
                    <a:lnTo>
                      <a:pt x="4787" y="5695"/>
                    </a:lnTo>
                    <a:lnTo>
                      <a:pt x="4799" y="5706"/>
                    </a:lnTo>
                    <a:lnTo>
                      <a:pt x="4812" y="5719"/>
                    </a:lnTo>
                    <a:lnTo>
                      <a:pt x="4826" y="5732"/>
                    </a:lnTo>
                    <a:lnTo>
                      <a:pt x="4843" y="5744"/>
                    </a:lnTo>
                    <a:lnTo>
                      <a:pt x="4857" y="5756"/>
                    </a:lnTo>
                    <a:lnTo>
                      <a:pt x="4874" y="5765"/>
                    </a:lnTo>
                    <a:lnTo>
                      <a:pt x="4892" y="5774"/>
                    </a:lnTo>
                    <a:lnTo>
                      <a:pt x="4908" y="5780"/>
                    </a:lnTo>
                    <a:lnTo>
                      <a:pt x="4924" y="5782"/>
                    </a:lnTo>
                    <a:lnTo>
                      <a:pt x="4936" y="5783"/>
                    </a:lnTo>
                    <a:lnTo>
                      <a:pt x="4944" y="5783"/>
                    </a:lnTo>
                    <a:lnTo>
                      <a:pt x="4951" y="5784"/>
                    </a:lnTo>
                    <a:lnTo>
                      <a:pt x="4958" y="5788"/>
                    </a:lnTo>
                    <a:lnTo>
                      <a:pt x="4963" y="5790"/>
                    </a:lnTo>
                    <a:lnTo>
                      <a:pt x="4967" y="5790"/>
                    </a:lnTo>
                    <a:lnTo>
                      <a:pt x="4971" y="5790"/>
                    </a:lnTo>
                    <a:lnTo>
                      <a:pt x="4975" y="5788"/>
                    </a:lnTo>
                    <a:lnTo>
                      <a:pt x="4978" y="5786"/>
                    </a:lnTo>
                    <a:lnTo>
                      <a:pt x="4982" y="5783"/>
                    </a:lnTo>
                    <a:lnTo>
                      <a:pt x="4986" y="5778"/>
                    </a:lnTo>
                    <a:lnTo>
                      <a:pt x="4989" y="5775"/>
                    </a:lnTo>
                    <a:lnTo>
                      <a:pt x="4994" y="5762"/>
                    </a:lnTo>
                    <a:lnTo>
                      <a:pt x="5000" y="5744"/>
                    </a:lnTo>
                    <a:lnTo>
                      <a:pt x="5005" y="5727"/>
                    </a:lnTo>
                    <a:lnTo>
                      <a:pt x="5007" y="5714"/>
                    </a:lnTo>
                    <a:lnTo>
                      <a:pt x="5008" y="5711"/>
                    </a:lnTo>
                    <a:lnTo>
                      <a:pt x="5011" y="5708"/>
                    </a:lnTo>
                    <a:lnTo>
                      <a:pt x="5013" y="5708"/>
                    </a:lnTo>
                    <a:lnTo>
                      <a:pt x="5015" y="5708"/>
                    </a:lnTo>
                    <a:lnTo>
                      <a:pt x="5022" y="5713"/>
                    </a:lnTo>
                    <a:lnTo>
                      <a:pt x="5031" y="5720"/>
                    </a:lnTo>
                    <a:lnTo>
                      <a:pt x="5040" y="5732"/>
                    </a:lnTo>
                    <a:lnTo>
                      <a:pt x="5050" y="5748"/>
                    </a:lnTo>
                    <a:lnTo>
                      <a:pt x="5058" y="5763"/>
                    </a:lnTo>
                    <a:lnTo>
                      <a:pt x="5064" y="5773"/>
                    </a:lnTo>
                    <a:lnTo>
                      <a:pt x="5069" y="5774"/>
                    </a:lnTo>
                    <a:lnTo>
                      <a:pt x="5076" y="5775"/>
                    </a:lnTo>
                    <a:lnTo>
                      <a:pt x="5083" y="5775"/>
                    </a:lnTo>
                    <a:lnTo>
                      <a:pt x="5089" y="5775"/>
                    </a:lnTo>
                    <a:lnTo>
                      <a:pt x="5096" y="5777"/>
                    </a:lnTo>
                    <a:lnTo>
                      <a:pt x="5107" y="5782"/>
                    </a:lnTo>
                    <a:lnTo>
                      <a:pt x="5119" y="5788"/>
                    </a:lnTo>
                    <a:lnTo>
                      <a:pt x="5127" y="5793"/>
                    </a:lnTo>
                    <a:lnTo>
                      <a:pt x="5140" y="5795"/>
                    </a:lnTo>
                    <a:lnTo>
                      <a:pt x="5153" y="5796"/>
                    </a:lnTo>
                    <a:lnTo>
                      <a:pt x="5166" y="5796"/>
                    </a:lnTo>
                    <a:lnTo>
                      <a:pt x="5177" y="5796"/>
                    </a:lnTo>
                    <a:lnTo>
                      <a:pt x="5187" y="5797"/>
                    </a:lnTo>
                    <a:lnTo>
                      <a:pt x="5198" y="5802"/>
                    </a:lnTo>
                    <a:lnTo>
                      <a:pt x="5211" y="5808"/>
                    </a:lnTo>
                    <a:lnTo>
                      <a:pt x="5222" y="5817"/>
                    </a:lnTo>
                    <a:lnTo>
                      <a:pt x="5233" y="5824"/>
                    </a:lnTo>
                    <a:lnTo>
                      <a:pt x="5241" y="5832"/>
                    </a:lnTo>
                    <a:lnTo>
                      <a:pt x="5248" y="5840"/>
                    </a:lnTo>
                    <a:lnTo>
                      <a:pt x="5255" y="5850"/>
                    </a:lnTo>
                    <a:lnTo>
                      <a:pt x="5261" y="5858"/>
                    </a:lnTo>
                    <a:lnTo>
                      <a:pt x="5270" y="5865"/>
                    </a:lnTo>
                    <a:lnTo>
                      <a:pt x="5273" y="5869"/>
                    </a:lnTo>
                    <a:lnTo>
                      <a:pt x="5278" y="5871"/>
                    </a:lnTo>
                    <a:lnTo>
                      <a:pt x="5283" y="5872"/>
                    </a:lnTo>
                    <a:lnTo>
                      <a:pt x="5288" y="5874"/>
                    </a:lnTo>
                    <a:lnTo>
                      <a:pt x="5298" y="5874"/>
                    </a:lnTo>
                    <a:lnTo>
                      <a:pt x="5308" y="5872"/>
                    </a:lnTo>
                    <a:lnTo>
                      <a:pt x="5311" y="5870"/>
                    </a:lnTo>
                    <a:lnTo>
                      <a:pt x="5315" y="5869"/>
                    </a:lnTo>
                    <a:lnTo>
                      <a:pt x="5318" y="5866"/>
                    </a:lnTo>
                    <a:lnTo>
                      <a:pt x="5321" y="5863"/>
                    </a:lnTo>
                    <a:lnTo>
                      <a:pt x="5324" y="5860"/>
                    </a:lnTo>
                    <a:lnTo>
                      <a:pt x="5327" y="5858"/>
                    </a:lnTo>
                    <a:lnTo>
                      <a:pt x="5330" y="5856"/>
                    </a:lnTo>
                    <a:lnTo>
                      <a:pt x="5334" y="5855"/>
                    </a:lnTo>
                    <a:lnTo>
                      <a:pt x="5342" y="5853"/>
                    </a:lnTo>
                    <a:lnTo>
                      <a:pt x="5352" y="5855"/>
                    </a:lnTo>
                    <a:lnTo>
                      <a:pt x="5357" y="5856"/>
                    </a:lnTo>
                    <a:lnTo>
                      <a:pt x="5361" y="5856"/>
                    </a:lnTo>
                    <a:lnTo>
                      <a:pt x="5365" y="5855"/>
                    </a:lnTo>
                    <a:lnTo>
                      <a:pt x="5368" y="5853"/>
                    </a:lnTo>
                    <a:lnTo>
                      <a:pt x="5372" y="5851"/>
                    </a:lnTo>
                    <a:lnTo>
                      <a:pt x="5374" y="5847"/>
                    </a:lnTo>
                    <a:lnTo>
                      <a:pt x="5377" y="5844"/>
                    </a:lnTo>
                    <a:lnTo>
                      <a:pt x="5378" y="5838"/>
                    </a:lnTo>
                    <a:lnTo>
                      <a:pt x="5379" y="5826"/>
                    </a:lnTo>
                    <a:lnTo>
                      <a:pt x="5379" y="5815"/>
                    </a:lnTo>
                    <a:lnTo>
                      <a:pt x="5378" y="5809"/>
                    </a:lnTo>
                    <a:lnTo>
                      <a:pt x="5377" y="5805"/>
                    </a:lnTo>
                    <a:lnTo>
                      <a:pt x="5374" y="5801"/>
                    </a:lnTo>
                    <a:lnTo>
                      <a:pt x="5373" y="5799"/>
                    </a:lnTo>
                    <a:lnTo>
                      <a:pt x="5368" y="5793"/>
                    </a:lnTo>
                    <a:lnTo>
                      <a:pt x="5367" y="5788"/>
                    </a:lnTo>
                    <a:lnTo>
                      <a:pt x="5367" y="5786"/>
                    </a:lnTo>
                    <a:lnTo>
                      <a:pt x="5368" y="5783"/>
                    </a:lnTo>
                    <a:lnTo>
                      <a:pt x="5370" y="5781"/>
                    </a:lnTo>
                    <a:lnTo>
                      <a:pt x="5372" y="5778"/>
                    </a:lnTo>
                    <a:lnTo>
                      <a:pt x="5377" y="5775"/>
                    </a:lnTo>
                    <a:lnTo>
                      <a:pt x="5380" y="5771"/>
                    </a:lnTo>
                    <a:lnTo>
                      <a:pt x="5380" y="5770"/>
                    </a:lnTo>
                    <a:lnTo>
                      <a:pt x="5379" y="5769"/>
                    </a:lnTo>
                    <a:lnTo>
                      <a:pt x="5378" y="5769"/>
                    </a:lnTo>
                    <a:lnTo>
                      <a:pt x="5374" y="5769"/>
                    </a:lnTo>
                    <a:lnTo>
                      <a:pt x="5372" y="5768"/>
                    </a:lnTo>
                    <a:lnTo>
                      <a:pt x="5368" y="5767"/>
                    </a:lnTo>
                    <a:lnTo>
                      <a:pt x="5366" y="5765"/>
                    </a:lnTo>
                    <a:lnTo>
                      <a:pt x="5364" y="5763"/>
                    </a:lnTo>
                    <a:lnTo>
                      <a:pt x="5362" y="5761"/>
                    </a:lnTo>
                    <a:lnTo>
                      <a:pt x="5361" y="5756"/>
                    </a:lnTo>
                    <a:lnTo>
                      <a:pt x="5361" y="5751"/>
                    </a:lnTo>
                    <a:lnTo>
                      <a:pt x="5362" y="5745"/>
                    </a:lnTo>
                    <a:lnTo>
                      <a:pt x="5366" y="5733"/>
                    </a:lnTo>
                    <a:lnTo>
                      <a:pt x="5370" y="5721"/>
                    </a:lnTo>
                    <a:lnTo>
                      <a:pt x="5372" y="5712"/>
                    </a:lnTo>
                    <a:lnTo>
                      <a:pt x="5373" y="5700"/>
                    </a:lnTo>
                    <a:lnTo>
                      <a:pt x="5373" y="5688"/>
                    </a:lnTo>
                    <a:lnTo>
                      <a:pt x="5372" y="5676"/>
                    </a:lnTo>
                    <a:lnTo>
                      <a:pt x="5371" y="5672"/>
                    </a:lnTo>
                    <a:lnTo>
                      <a:pt x="5368" y="5667"/>
                    </a:lnTo>
                    <a:lnTo>
                      <a:pt x="5364" y="5663"/>
                    </a:lnTo>
                    <a:lnTo>
                      <a:pt x="5357" y="5661"/>
                    </a:lnTo>
                    <a:lnTo>
                      <a:pt x="5342" y="5658"/>
                    </a:lnTo>
                    <a:lnTo>
                      <a:pt x="5330" y="5657"/>
                    </a:lnTo>
                    <a:lnTo>
                      <a:pt x="5326" y="5656"/>
                    </a:lnTo>
                    <a:lnTo>
                      <a:pt x="5322" y="5655"/>
                    </a:lnTo>
                    <a:lnTo>
                      <a:pt x="5320" y="5652"/>
                    </a:lnTo>
                    <a:lnTo>
                      <a:pt x="5318" y="5650"/>
                    </a:lnTo>
                    <a:lnTo>
                      <a:pt x="5317" y="5644"/>
                    </a:lnTo>
                    <a:lnTo>
                      <a:pt x="5316" y="5641"/>
                    </a:lnTo>
                    <a:lnTo>
                      <a:pt x="5313" y="5639"/>
                    </a:lnTo>
                    <a:lnTo>
                      <a:pt x="5308" y="5638"/>
                    </a:lnTo>
                    <a:lnTo>
                      <a:pt x="5301" y="5638"/>
                    </a:lnTo>
                    <a:lnTo>
                      <a:pt x="5295" y="5636"/>
                    </a:lnTo>
                    <a:lnTo>
                      <a:pt x="5291" y="5633"/>
                    </a:lnTo>
                    <a:lnTo>
                      <a:pt x="5289" y="5630"/>
                    </a:lnTo>
                    <a:lnTo>
                      <a:pt x="5286" y="5626"/>
                    </a:lnTo>
                    <a:lnTo>
                      <a:pt x="5285" y="5620"/>
                    </a:lnTo>
                    <a:lnTo>
                      <a:pt x="5283" y="5607"/>
                    </a:lnTo>
                    <a:lnTo>
                      <a:pt x="5284" y="5593"/>
                    </a:lnTo>
                    <a:lnTo>
                      <a:pt x="5285" y="5587"/>
                    </a:lnTo>
                    <a:lnTo>
                      <a:pt x="5286" y="5582"/>
                    </a:lnTo>
                    <a:lnTo>
                      <a:pt x="5288" y="5578"/>
                    </a:lnTo>
                    <a:lnTo>
                      <a:pt x="5290" y="5575"/>
                    </a:lnTo>
                    <a:lnTo>
                      <a:pt x="5294" y="5570"/>
                    </a:lnTo>
                    <a:lnTo>
                      <a:pt x="5296" y="5566"/>
                    </a:lnTo>
                    <a:lnTo>
                      <a:pt x="5295" y="5561"/>
                    </a:lnTo>
                    <a:lnTo>
                      <a:pt x="5294" y="5554"/>
                    </a:lnTo>
                    <a:lnTo>
                      <a:pt x="5292" y="5551"/>
                    </a:lnTo>
                    <a:lnTo>
                      <a:pt x="5291" y="5548"/>
                    </a:lnTo>
                    <a:lnTo>
                      <a:pt x="5291" y="5544"/>
                    </a:lnTo>
                    <a:lnTo>
                      <a:pt x="5291" y="5541"/>
                    </a:lnTo>
                    <a:lnTo>
                      <a:pt x="5294" y="5538"/>
                    </a:lnTo>
                    <a:lnTo>
                      <a:pt x="5296" y="5535"/>
                    </a:lnTo>
                    <a:lnTo>
                      <a:pt x="5298" y="5531"/>
                    </a:lnTo>
                    <a:lnTo>
                      <a:pt x="5303" y="5528"/>
                    </a:lnTo>
                    <a:lnTo>
                      <a:pt x="5315" y="5518"/>
                    </a:lnTo>
                    <a:lnTo>
                      <a:pt x="5329" y="5507"/>
                    </a:lnTo>
                    <a:lnTo>
                      <a:pt x="5336" y="5504"/>
                    </a:lnTo>
                    <a:lnTo>
                      <a:pt x="5345" y="5499"/>
                    </a:lnTo>
                    <a:lnTo>
                      <a:pt x="5352" y="5498"/>
                    </a:lnTo>
                    <a:lnTo>
                      <a:pt x="5359" y="5497"/>
                    </a:lnTo>
                    <a:lnTo>
                      <a:pt x="5374" y="5499"/>
                    </a:lnTo>
                    <a:lnTo>
                      <a:pt x="5393" y="5499"/>
                    </a:lnTo>
                    <a:lnTo>
                      <a:pt x="5402" y="5499"/>
                    </a:lnTo>
                    <a:lnTo>
                      <a:pt x="5411" y="5497"/>
                    </a:lnTo>
                    <a:lnTo>
                      <a:pt x="5418" y="5494"/>
                    </a:lnTo>
                    <a:lnTo>
                      <a:pt x="5425" y="5491"/>
                    </a:lnTo>
                    <a:lnTo>
                      <a:pt x="5436" y="5480"/>
                    </a:lnTo>
                    <a:lnTo>
                      <a:pt x="5444" y="5472"/>
                    </a:lnTo>
                    <a:lnTo>
                      <a:pt x="5448" y="5468"/>
                    </a:lnTo>
                    <a:lnTo>
                      <a:pt x="5453" y="5466"/>
                    </a:lnTo>
                    <a:lnTo>
                      <a:pt x="5459" y="5465"/>
                    </a:lnTo>
                    <a:lnTo>
                      <a:pt x="5466" y="5466"/>
                    </a:lnTo>
                    <a:lnTo>
                      <a:pt x="5480" y="5468"/>
                    </a:lnTo>
                    <a:lnTo>
                      <a:pt x="5492" y="5471"/>
                    </a:lnTo>
                    <a:lnTo>
                      <a:pt x="5497" y="5471"/>
                    </a:lnTo>
                    <a:lnTo>
                      <a:pt x="5502" y="5469"/>
                    </a:lnTo>
                    <a:lnTo>
                      <a:pt x="5506" y="5468"/>
                    </a:lnTo>
                    <a:lnTo>
                      <a:pt x="5510" y="5465"/>
                    </a:lnTo>
                    <a:lnTo>
                      <a:pt x="5512" y="5460"/>
                    </a:lnTo>
                    <a:lnTo>
                      <a:pt x="5515" y="5454"/>
                    </a:lnTo>
                    <a:lnTo>
                      <a:pt x="5515" y="5447"/>
                    </a:lnTo>
                    <a:lnTo>
                      <a:pt x="5513" y="5440"/>
                    </a:lnTo>
                    <a:lnTo>
                      <a:pt x="5511" y="5424"/>
                    </a:lnTo>
                    <a:lnTo>
                      <a:pt x="5506" y="5414"/>
                    </a:lnTo>
                    <a:lnTo>
                      <a:pt x="5502" y="5404"/>
                    </a:lnTo>
                    <a:lnTo>
                      <a:pt x="5494" y="5392"/>
                    </a:lnTo>
                    <a:lnTo>
                      <a:pt x="5487" y="5379"/>
                    </a:lnTo>
                    <a:lnTo>
                      <a:pt x="5483" y="5367"/>
                    </a:lnTo>
                    <a:lnTo>
                      <a:pt x="5478" y="5352"/>
                    </a:lnTo>
                    <a:lnTo>
                      <a:pt x="5475" y="5332"/>
                    </a:lnTo>
                    <a:lnTo>
                      <a:pt x="5473" y="5311"/>
                    </a:lnTo>
                    <a:lnTo>
                      <a:pt x="5471" y="5296"/>
                    </a:lnTo>
                    <a:lnTo>
                      <a:pt x="5468" y="5283"/>
                    </a:lnTo>
                    <a:lnTo>
                      <a:pt x="5463" y="5272"/>
                    </a:lnTo>
                    <a:lnTo>
                      <a:pt x="5460" y="5267"/>
                    </a:lnTo>
                    <a:lnTo>
                      <a:pt x="5456" y="5264"/>
                    </a:lnTo>
                    <a:lnTo>
                      <a:pt x="5453" y="5260"/>
                    </a:lnTo>
                    <a:lnTo>
                      <a:pt x="5448" y="5258"/>
                    </a:lnTo>
                    <a:lnTo>
                      <a:pt x="5437" y="5254"/>
                    </a:lnTo>
                    <a:lnTo>
                      <a:pt x="5425" y="5248"/>
                    </a:lnTo>
                    <a:lnTo>
                      <a:pt x="5421" y="5245"/>
                    </a:lnTo>
                    <a:lnTo>
                      <a:pt x="5415" y="5241"/>
                    </a:lnTo>
                    <a:lnTo>
                      <a:pt x="5411" y="5235"/>
                    </a:lnTo>
                    <a:lnTo>
                      <a:pt x="5408" y="5228"/>
                    </a:lnTo>
                    <a:lnTo>
                      <a:pt x="5403" y="5213"/>
                    </a:lnTo>
                    <a:lnTo>
                      <a:pt x="5400" y="5198"/>
                    </a:lnTo>
                    <a:lnTo>
                      <a:pt x="5398" y="5191"/>
                    </a:lnTo>
                    <a:lnTo>
                      <a:pt x="5396" y="5184"/>
                    </a:lnTo>
                    <a:lnTo>
                      <a:pt x="5391" y="5177"/>
                    </a:lnTo>
                    <a:lnTo>
                      <a:pt x="5384" y="5169"/>
                    </a:lnTo>
                    <a:lnTo>
                      <a:pt x="5365" y="5153"/>
                    </a:lnTo>
                    <a:lnTo>
                      <a:pt x="5342" y="5139"/>
                    </a:lnTo>
                    <a:lnTo>
                      <a:pt x="5322" y="5126"/>
                    </a:lnTo>
                    <a:lnTo>
                      <a:pt x="5305" y="5115"/>
                    </a:lnTo>
                    <a:lnTo>
                      <a:pt x="5298" y="5110"/>
                    </a:lnTo>
                    <a:lnTo>
                      <a:pt x="5292" y="5106"/>
                    </a:lnTo>
                    <a:lnTo>
                      <a:pt x="5286" y="5100"/>
                    </a:lnTo>
                    <a:lnTo>
                      <a:pt x="5282" y="5094"/>
                    </a:lnTo>
                    <a:lnTo>
                      <a:pt x="5277" y="5088"/>
                    </a:lnTo>
                    <a:lnTo>
                      <a:pt x="5273" y="5081"/>
                    </a:lnTo>
                    <a:lnTo>
                      <a:pt x="5271" y="5074"/>
                    </a:lnTo>
                    <a:lnTo>
                      <a:pt x="5271" y="5067"/>
                    </a:lnTo>
                    <a:lnTo>
                      <a:pt x="5271" y="5051"/>
                    </a:lnTo>
                    <a:lnTo>
                      <a:pt x="5272" y="5038"/>
                    </a:lnTo>
                    <a:lnTo>
                      <a:pt x="5274" y="5032"/>
                    </a:lnTo>
                    <a:lnTo>
                      <a:pt x="5277" y="5027"/>
                    </a:lnTo>
                    <a:lnTo>
                      <a:pt x="5280" y="5025"/>
                    </a:lnTo>
                    <a:lnTo>
                      <a:pt x="5285" y="5023"/>
                    </a:lnTo>
                    <a:lnTo>
                      <a:pt x="5296" y="5020"/>
                    </a:lnTo>
                    <a:lnTo>
                      <a:pt x="5305" y="5017"/>
                    </a:lnTo>
                    <a:lnTo>
                      <a:pt x="5309" y="5015"/>
                    </a:lnTo>
                    <a:lnTo>
                      <a:pt x="5311" y="5012"/>
                    </a:lnTo>
                    <a:lnTo>
                      <a:pt x="5314" y="5008"/>
                    </a:lnTo>
                    <a:lnTo>
                      <a:pt x="5314" y="5004"/>
                    </a:lnTo>
                    <a:lnTo>
                      <a:pt x="5313" y="4990"/>
                    </a:lnTo>
                    <a:lnTo>
                      <a:pt x="5307" y="4974"/>
                    </a:lnTo>
                    <a:lnTo>
                      <a:pt x="5301" y="4958"/>
                    </a:lnTo>
                    <a:lnTo>
                      <a:pt x="5294" y="4948"/>
                    </a:lnTo>
                    <a:lnTo>
                      <a:pt x="5283" y="4932"/>
                    </a:lnTo>
                    <a:lnTo>
                      <a:pt x="5267" y="4910"/>
                    </a:lnTo>
                    <a:lnTo>
                      <a:pt x="5251" y="4886"/>
                    </a:lnTo>
                    <a:lnTo>
                      <a:pt x="5239" y="4868"/>
                    </a:lnTo>
                    <a:lnTo>
                      <a:pt x="5232" y="4854"/>
                    </a:lnTo>
                    <a:lnTo>
                      <a:pt x="5227" y="4842"/>
                    </a:lnTo>
                    <a:lnTo>
                      <a:pt x="5226" y="4831"/>
                    </a:lnTo>
                    <a:lnTo>
                      <a:pt x="5226" y="4823"/>
                    </a:lnTo>
                    <a:lnTo>
                      <a:pt x="5229" y="4816"/>
                    </a:lnTo>
                    <a:lnTo>
                      <a:pt x="5233" y="4810"/>
                    </a:lnTo>
                    <a:lnTo>
                      <a:pt x="5239" y="4805"/>
                    </a:lnTo>
                    <a:lnTo>
                      <a:pt x="5246" y="4801"/>
                    </a:lnTo>
                    <a:lnTo>
                      <a:pt x="5253" y="4799"/>
                    </a:lnTo>
                    <a:lnTo>
                      <a:pt x="5263" y="4797"/>
                    </a:lnTo>
                    <a:lnTo>
                      <a:pt x="5271" y="4796"/>
                    </a:lnTo>
                    <a:lnTo>
                      <a:pt x="5280" y="4794"/>
                    </a:lnTo>
                    <a:lnTo>
                      <a:pt x="5297" y="4793"/>
                    </a:lnTo>
                    <a:lnTo>
                      <a:pt x="5311" y="4792"/>
                    </a:lnTo>
                    <a:lnTo>
                      <a:pt x="5327" y="4790"/>
                    </a:lnTo>
                    <a:lnTo>
                      <a:pt x="5343" y="4784"/>
                    </a:lnTo>
                    <a:lnTo>
                      <a:pt x="5361" y="4776"/>
                    </a:lnTo>
                    <a:lnTo>
                      <a:pt x="5383" y="4765"/>
                    </a:lnTo>
                    <a:lnTo>
                      <a:pt x="5404" y="4753"/>
                    </a:lnTo>
                    <a:lnTo>
                      <a:pt x="5423" y="4743"/>
                    </a:lnTo>
                    <a:lnTo>
                      <a:pt x="5433" y="4740"/>
                    </a:lnTo>
                    <a:lnTo>
                      <a:pt x="5442" y="4737"/>
                    </a:lnTo>
                    <a:lnTo>
                      <a:pt x="5452" y="4736"/>
                    </a:lnTo>
                    <a:lnTo>
                      <a:pt x="5460" y="4736"/>
                    </a:lnTo>
                    <a:lnTo>
                      <a:pt x="5480" y="4738"/>
                    </a:lnTo>
                    <a:lnTo>
                      <a:pt x="5504" y="4740"/>
                    </a:lnTo>
                    <a:lnTo>
                      <a:pt x="5529" y="4741"/>
                    </a:lnTo>
                    <a:lnTo>
                      <a:pt x="5553" y="4740"/>
                    </a:lnTo>
                    <a:lnTo>
                      <a:pt x="5579" y="4738"/>
                    </a:lnTo>
                    <a:lnTo>
                      <a:pt x="5605" y="4737"/>
                    </a:lnTo>
                    <a:lnTo>
                      <a:pt x="5626" y="4736"/>
                    </a:lnTo>
                    <a:lnTo>
                      <a:pt x="5641" y="4734"/>
                    </a:lnTo>
                    <a:lnTo>
                      <a:pt x="5654" y="4730"/>
                    </a:lnTo>
                    <a:lnTo>
                      <a:pt x="5673" y="4723"/>
                    </a:lnTo>
                    <a:lnTo>
                      <a:pt x="5685" y="4718"/>
                    </a:lnTo>
                    <a:lnTo>
                      <a:pt x="5695" y="4715"/>
                    </a:lnTo>
                    <a:lnTo>
                      <a:pt x="5707" y="4712"/>
                    </a:lnTo>
                    <a:lnTo>
                      <a:pt x="5718" y="4710"/>
                    </a:lnTo>
                    <a:lnTo>
                      <a:pt x="5730" y="4710"/>
                    </a:lnTo>
                    <a:lnTo>
                      <a:pt x="5740" y="4710"/>
                    </a:lnTo>
                    <a:lnTo>
                      <a:pt x="5751" y="4710"/>
                    </a:lnTo>
                    <a:lnTo>
                      <a:pt x="5762" y="4711"/>
                    </a:lnTo>
                    <a:lnTo>
                      <a:pt x="5781" y="4715"/>
                    </a:lnTo>
                    <a:lnTo>
                      <a:pt x="5798" y="4717"/>
                    </a:lnTo>
                    <a:lnTo>
                      <a:pt x="5805" y="4717"/>
                    </a:lnTo>
                    <a:lnTo>
                      <a:pt x="5813" y="4717"/>
                    </a:lnTo>
                    <a:lnTo>
                      <a:pt x="5822" y="4716"/>
                    </a:lnTo>
                    <a:lnTo>
                      <a:pt x="5832" y="4714"/>
                    </a:lnTo>
                    <a:lnTo>
                      <a:pt x="5842" y="4712"/>
                    </a:lnTo>
                    <a:lnTo>
                      <a:pt x="5850" y="4709"/>
                    </a:lnTo>
                    <a:lnTo>
                      <a:pt x="5858" y="4705"/>
                    </a:lnTo>
                    <a:lnTo>
                      <a:pt x="5865" y="4702"/>
                    </a:lnTo>
                    <a:lnTo>
                      <a:pt x="5876" y="4696"/>
                    </a:lnTo>
                    <a:lnTo>
                      <a:pt x="5887" y="4691"/>
                    </a:lnTo>
                    <a:lnTo>
                      <a:pt x="5897" y="4690"/>
                    </a:lnTo>
                    <a:lnTo>
                      <a:pt x="5910" y="4689"/>
                    </a:lnTo>
                    <a:lnTo>
                      <a:pt x="5922" y="4689"/>
                    </a:lnTo>
                    <a:lnTo>
                      <a:pt x="5932" y="4687"/>
                    </a:lnTo>
                    <a:lnTo>
                      <a:pt x="5940" y="4686"/>
                    </a:lnTo>
                    <a:lnTo>
                      <a:pt x="5951" y="4681"/>
                    </a:lnTo>
                    <a:lnTo>
                      <a:pt x="5963" y="4677"/>
                    </a:lnTo>
                    <a:lnTo>
                      <a:pt x="5975" y="4674"/>
                    </a:lnTo>
                    <a:lnTo>
                      <a:pt x="5981" y="4674"/>
                    </a:lnTo>
                    <a:lnTo>
                      <a:pt x="5985" y="4674"/>
                    </a:lnTo>
                    <a:lnTo>
                      <a:pt x="5990" y="4674"/>
                    </a:lnTo>
                    <a:lnTo>
                      <a:pt x="5995" y="4675"/>
                    </a:lnTo>
                    <a:lnTo>
                      <a:pt x="6003" y="4678"/>
                    </a:lnTo>
                    <a:lnTo>
                      <a:pt x="6012" y="4680"/>
                    </a:lnTo>
                    <a:lnTo>
                      <a:pt x="6015" y="4680"/>
                    </a:lnTo>
                    <a:lnTo>
                      <a:pt x="6019" y="4679"/>
                    </a:lnTo>
                    <a:lnTo>
                      <a:pt x="6021" y="4678"/>
                    </a:lnTo>
                    <a:lnTo>
                      <a:pt x="6023" y="4674"/>
                    </a:lnTo>
                    <a:lnTo>
                      <a:pt x="6028" y="4668"/>
                    </a:lnTo>
                    <a:lnTo>
                      <a:pt x="6034" y="4664"/>
                    </a:lnTo>
                    <a:lnTo>
                      <a:pt x="6038" y="4661"/>
                    </a:lnTo>
                    <a:lnTo>
                      <a:pt x="6041" y="4659"/>
                    </a:lnTo>
                    <a:lnTo>
                      <a:pt x="6046" y="4659"/>
                    </a:lnTo>
                    <a:lnTo>
                      <a:pt x="6052" y="4659"/>
                    </a:lnTo>
                    <a:lnTo>
                      <a:pt x="6057" y="4659"/>
                    </a:lnTo>
                    <a:lnTo>
                      <a:pt x="6060" y="4656"/>
                    </a:lnTo>
                    <a:lnTo>
                      <a:pt x="6064" y="4655"/>
                    </a:lnTo>
                    <a:lnTo>
                      <a:pt x="6067" y="4652"/>
                    </a:lnTo>
                    <a:lnTo>
                      <a:pt x="6071" y="4649"/>
                    </a:lnTo>
                    <a:lnTo>
                      <a:pt x="6077" y="4648"/>
                    </a:lnTo>
                    <a:lnTo>
                      <a:pt x="6084" y="4646"/>
                    </a:lnTo>
                    <a:lnTo>
                      <a:pt x="6095" y="4646"/>
                    </a:lnTo>
                    <a:lnTo>
                      <a:pt x="6120" y="4647"/>
                    </a:lnTo>
                    <a:lnTo>
                      <a:pt x="6147" y="4647"/>
                    </a:lnTo>
                    <a:lnTo>
                      <a:pt x="6172" y="4648"/>
                    </a:lnTo>
                    <a:lnTo>
                      <a:pt x="6193" y="4648"/>
                    </a:lnTo>
                    <a:lnTo>
                      <a:pt x="6210" y="4649"/>
                    </a:lnTo>
                    <a:lnTo>
                      <a:pt x="6221" y="4649"/>
                    </a:lnTo>
                    <a:lnTo>
                      <a:pt x="6218" y="4641"/>
                    </a:lnTo>
                    <a:lnTo>
                      <a:pt x="6217" y="4624"/>
                    </a:lnTo>
                    <a:lnTo>
                      <a:pt x="6220" y="4609"/>
                    </a:lnTo>
                    <a:lnTo>
                      <a:pt x="6221" y="4595"/>
                    </a:lnTo>
                    <a:lnTo>
                      <a:pt x="6223" y="4582"/>
                    </a:lnTo>
                    <a:lnTo>
                      <a:pt x="6224" y="4572"/>
                    </a:lnTo>
                    <a:lnTo>
                      <a:pt x="6225" y="4565"/>
                    </a:lnTo>
                    <a:lnTo>
                      <a:pt x="6227" y="4558"/>
                    </a:lnTo>
                    <a:lnTo>
                      <a:pt x="6225" y="4549"/>
                    </a:lnTo>
                    <a:lnTo>
                      <a:pt x="6225" y="4541"/>
                    </a:lnTo>
                    <a:lnTo>
                      <a:pt x="6222" y="4523"/>
                    </a:lnTo>
                    <a:lnTo>
                      <a:pt x="6217" y="4504"/>
                    </a:lnTo>
                    <a:lnTo>
                      <a:pt x="6211" y="4484"/>
                    </a:lnTo>
                    <a:lnTo>
                      <a:pt x="6206" y="4460"/>
                    </a:lnTo>
                    <a:lnTo>
                      <a:pt x="6203" y="4437"/>
                    </a:lnTo>
                    <a:lnTo>
                      <a:pt x="6202" y="4414"/>
                    </a:lnTo>
                    <a:lnTo>
                      <a:pt x="6201" y="4391"/>
                    </a:lnTo>
                    <a:lnTo>
                      <a:pt x="6201" y="4368"/>
                    </a:lnTo>
                    <a:lnTo>
                      <a:pt x="6201" y="4356"/>
                    </a:lnTo>
                    <a:lnTo>
                      <a:pt x="6201" y="4345"/>
                    </a:lnTo>
                    <a:lnTo>
                      <a:pt x="6203" y="4337"/>
                    </a:lnTo>
                    <a:lnTo>
                      <a:pt x="6205" y="4328"/>
                    </a:lnTo>
                    <a:lnTo>
                      <a:pt x="6212" y="4314"/>
                    </a:lnTo>
                    <a:lnTo>
                      <a:pt x="6222" y="4300"/>
                    </a:lnTo>
                    <a:lnTo>
                      <a:pt x="6234" y="4284"/>
                    </a:lnTo>
                    <a:lnTo>
                      <a:pt x="6245" y="4271"/>
                    </a:lnTo>
                    <a:lnTo>
                      <a:pt x="6254" y="4258"/>
                    </a:lnTo>
                    <a:lnTo>
                      <a:pt x="6262" y="4246"/>
                    </a:lnTo>
                    <a:lnTo>
                      <a:pt x="6268" y="4234"/>
                    </a:lnTo>
                    <a:lnTo>
                      <a:pt x="6273" y="4224"/>
                    </a:lnTo>
                    <a:lnTo>
                      <a:pt x="6277" y="4210"/>
                    </a:lnTo>
                    <a:lnTo>
                      <a:pt x="6279" y="4191"/>
                    </a:lnTo>
                    <a:lnTo>
                      <a:pt x="6281" y="4170"/>
                    </a:lnTo>
                    <a:lnTo>
                      <a:pt x="6284" y="4155"/>
                    </a:lnTo>
                    <a:lnTo>
                      <a:pt x="6286" y="4138"/>
                    </a:lnTo>
                    <a:lnTo>
                      <a:pt x="6290" y="4119"/>
                    </a:lnTo>
                    <a:lnTo>
                      <a:pt x="6293" y="4098"/>
                    </a:lnTo>
                    <a:lnTo>
                      <a:pt x="6294" y="4078"/>
                    </a:lnTo>
                    <a:lnTo>
                      <a:pt x="6294" y="4069"/>
                    </a:lnTo>
                    <a:lnTo>
                      <a:pt x="6294" y="4062"/>
                    </a:lnTo>
                    <a:lnTo>
                      <a:pt x="6296" y="4057"/>
                    </a:lnTo>
                    <a:lnTo>
                      <a:pt x="6298" y="4054"/>
                    </a:lnTo>
                    <a:lnTo>
                      <a:pt x="6300" y="4053"/>
                    </a:lnTo>
                    <a:lnTo>
                      <a:pt x="6304" y="4053"/>
                    </a:lnTo>
                    <a:lnTo>
                      <a:pt x="6309" y="4054"/>
                    </a:lnTo>
                    <a:lnTo>
                      <a:pt x="6315" y="4057"/>
                    </a:lnTo>
                    <a:lnTo>
                      <a:pt x="6334" y="4067"/>
                    </a:lnTo>
                    <a:lnTo>
                      <a:pt x="6356" y="4078"/>
                    </a:lnTo>
                    <a:lnTo>
                      <a:pt x="6380" y="4088"/>
                    </a:lnTo>
                    <a:lnTo>
                      <a:pt x="6400" y="4097"/>
                    </a:lnTo>
                    <a:lnTo>
                      <a:pt x="6414" y="4101"/>
                    </a:lnTo>
                    <a:lnTo>
                      <a:pt x="6426" y="4103"/>
                    </a:lnTo>
                    <a:lnTo>
                      <a:pt x="6431" y="4103"/>
                    </a:lnTo>
                    <a:lnTo>
                      <a:pt x="6436" y="4101"/>
                    </a:lnTo>
                    <a:lnTo>
                      <a:pt x="6442" y="4099"/>
                    </a:lnTo>
                    <a:lnTo>
                      <a:pt x="6448" y="4095"/>
                    </a:lnTo>
                    <a:lnTo>
                      <a:pt x="6460" y="4088"/>
                    </a:lnTo>
                    <a:lnTo>
                      <a:pt x="6470" y="4081"/>
                    </a:lnTo>
                    <a:lnTo>
                      <a:pt x="6483" y="4074"/>
                    </a:lnTo>
                    <a:lnTo>
                      <a:pt x="6498" y="4068"/>
                    </a:lnTo>
                    <a:lnTo>
                      <a:pt x="6519" y="4065"/>
                    </a:lnTo>
                    <a:lnTo>
                      <a:pt x="6542" y="4062"/>
                    </a:lnTo>
                    <a:lnTo>
                      <a:pt x="6554" y="4061"/>
                    </a:lnTo>
                    <a:lnTo>
                      <a:pt x="6564" y="4059"/>
                    </a:lnTo>
                    <a:lnTo>
                      <a:pt x="6569" y="4056"/>
                    </a:lnTo>
                    <a:lnTo>
                      <a:pt x="6573" y="4055"/>
                    </a:lnTo>
                    <a:lnTo>
                      <a:pt x="6577" y="4051"/>
                    </a:lnTo>
                    <a:lnTo>
                      <a:pt x="6580" y="4049"/>
                    </a:lnTo>
                    <a:lnTo>
                      <a:pt x="6584" y="4042"/>
                    </a:lnTo>
                    <a:lnTo>
                      <a:pt x="6587" y="4034"/>
                    </a:lnTo>
                    <a:lnTo>
                      <a:pt x="6588" y="4025"/>
                    </a:lnTo>
                    <a:lnTo>
                      <a:pt x="6588" y="4017"/>
                    </a:lnTo>
                    <a:lnTo>
                      <a:pt x="6588" y="4007"/>
                    </a:lnTo>
                    <a:lnTo>
                      <a:pt x="6590" y="3999"/>
                    </a:lnTo>
                    <a:lnTo>
                      <a:pt x="6592" y="3994"/>
                    </a:lnTo>
                    <a:lnTo>
                      <a:pt x="6593" y="3990"/>
                    </a:lnTo>
                    <a:lnTo>
                      <a:pt x="6596" y="3985"/>
                    </a:lnTo>
                    <a:lnTo>
                      <a:pt x="6599" y="3980"/>
                    </a:lnTo>
                    <a:lnTo>
                      <a:pt x="6613" y="3962"/>
                    </a:lnTo>
                    <a:lnTo>
                      <a:pt x="6627" y="3946"/>
                    </a:lnTo>
                    <a:lnTo>
                      <a:pt x="6642" y="3929"/>
                    </a:lnTo>
                    <a:lnTo>
                      <a:pt x="6656" y="3916"/>
                    </a:lnTo>
                    <a:lnTo>
                      <a:pt x="6663" y="3910"/>
                    </a:lnTo>
                    <a:lnTo>
                      <a:pt x="6669" y="3904"/>
                    </a:lnTo>
                    <a:lnTo>
                      <a:pt x="6672" y="3898"/>
                    </a:lnTo>
                    <a:lnTo>
                      <a:pt x="6676" y="3893"/>
                    </a:lnTo>
                    <a:lnTo>
                      <a:pt x="6681" y="3883"/>
                    </a:lnTo>
                    <a:lnTo>
                      <a:pt x="6684" y="3873"/>
                    </a:lnTo>
                    <a:lnTo>
                      <a:pt x="6687" y="3868"/>
                    </a:lnTo>
                    <a:lnTo>
                      <a:pt x="6690" y="3862"/>
                    </a:lnTo>
                    <a:lnTo>
                      <a:pt x="6695" y="3857"/>
                    </a:lnTo>
                    <a:lnTo>
                      <a:pt x="6702" y="3849"/>
                    </a:lnTo>
                    <a:lnTo>
                      <a:pt x="6716" y="3838"/>
                    </a:lnTo>
                    <a:lnTo>
                      <a:pt x="6732" y="3826"/>
                    </a:lnTo>
                    <a:lnTo>
                      <a:pt x="6751" y="3810"/>
                    </a:lnTo>
                    <a:lnTo>
                      <a:pt x="6776" y="3791"/>
                    </a:lnTo>
                    <a:lnTo>
                      <a:pt x="6802" y="3771"/>
                    </a:lnTo>
                    <a:lnTo>
                      <a:pt x="6826" y="3753"/>
                    </a:lnTo>
                    <a:lnTo>
                      <a:pt x="6848" y="3738"/>
                    </a:lnTo>
                    <a:lnTo>
                      <a:pt x="6872" y="3721"/>
                    </a:lnTo>
                    <a:lnTo>
                      <a:pt x="6895" y="3707"/>
                    </a:lnTo>
                    <a:lnTo>
                      <a:pt x="6911" y="3697"/>
                    </a:lnTo>
                    <a:lnTo>
                      <a:pt x="6915" y="3696"/>
                    </a:lnTo>
                    <a:lnTo>
                      <a:pt x="6919" y="3696"/>
                    </a:lnTo>
                    <a:lnTo>
                      <a:pt x="6923" y="3696"/>
                    </a:lnTo>
                    <a:lnTo>
                      <a:pt x="6929" y="3697"/>
                    </a:lnTo>
                    <a:lnTo>
                      <a:pt x="6942" y="3701"/>
                    </a:lnTo>
                    <a:lnTo>
                      <a:pt x="6958" y="3706"/>
                    </a:lnTo>
                    <a:lnTo>
                      <a:pt x="6973" y="3709"/>
                    </a:lnTo>
                    <a:lnTo>
                      <a:pt x="6989" y="3713"/>
                    </a:lnTo>
                    <a:lnTo>
                      <a:pt x="6997" y="3713"/>
                    </a:lnTo>
                    <a:lnTo>
                      <a:pt x="7004" y="3713"/>
                    </a:lnTo>
                    <a:lnTo>
                      <a:pt x="7011" y="3712"/>
                    </a:lnTo>
                    <a:lnTo>
                      <a:pt x="7018" y="3709"/>
                    </a:lnTo>
                    <a:lnTo>
                      <a:pt x="7026" y="3707"/>
                    </a:lnTo>
                    <a:lnTo>
                      <a:pt x="7031" y="3702"/>
                    </a:lnTo>
                    <a:lnTo>
                      <a:pt x="7039" y="3697"/>
                    </a:lnTo>
                    <a:lnTo>
                      <a:pt x="7045" y="3691"/>
                    </a:lnTo>
                    <a:lnTo>
                      <a:pt x="7058" y="3677"/>
                    </a:lnTo>
                    <a:lnTo>
                      <a:pt x="7069" y="3663"/>
                    </a:lnTo>
                    <a:lnTo>
                      <a:pt x="7081" y="3649"/>
                    </a:lnTo>
                    <a:lnTo>
                      <a:pt x="7092" y="3637"/>
                    </a:lnTo>
                    <a:lnTo>
                      <a:pt x="7097" y="3631"/>
                    </a:lnTo>
                    <a:lnTo>
                      <a:pt x="7102" y="3627"/>
                    </a:lnTo>
                    <a:lnTo>
                      <a:pt x="7108" y="3624"/>
                    </a:lnTo>
                    <a:lnTo>
                      <a:pt x="7112" y="3622"/>
                    </a:lnTo>
                    <a:lnTo>
                      <a:pt x="7131" y="3619"/>
                    </a:lnTo>
                    <a:lnTo>
                      <a:pt x="7150" y="3616"/>
                    </a:lnTo>
                    <a:lnTo>
                      <a:pt x="7171" y="3614"/>
                    </a:lnTo>
                    <a:lnTo>
                      <a:pt x="7191" y="3612"/>
                    </a:lnTo>
                    <a:lnTo>
                      <a:pt x="7206" y="3609"/>
                    </a:lnTo>
                    <a:lnTo>
                      <a:pt x="7217" y="3609"/>
                    </a:lnTo>
                    <a:lnTo>
                      <a:pt x="7228" y="3609"/>
                    </a:lnTo>
                    <a:lnTo>
                      <a:pt x="7239" y="3612"/>
                    </a:lnTo>
                    <a:lnTo>
                      <a:pt x="7260" y="3619"/>
                    </a:lnTo>
                    <a:lnTo>
                      <a:pt x="7272" y="3625"/>
                    </a:lnTo>
                    <a:lnTo>
                      <a:pt x="7283" y="3626"/>
                    </a:lnTo>
                    <a:lnTo>
                      <a:pt x="7302" y="3625"/>
                    </a:lnTo>
                    <a:lnTo>
                      <a:pt x="7325" y="3622"/>
                    </a:lnTo>
                    <a:lnTo>
                      <a:pt x="7345" y="3619"/>
                    </a:lnTo>
                    <a:lnTo>
                      <a:pt x="7358" y="3615"/>
                    </a:lnTo>
                    <a:lnTo>
                      <a:pt x="7374" y="3610"/>
                    </a:lnTo>
                    <a:lnTo>
                      <a:pt x="7381" y="3608"/>
                    </a:lnTo>
                    <a:lnTo>
                      <a:pt x="7387" y="3605"/>
                    </a:lnTo>
                    <a:lnTo>
                      <a:pt x="7393" y="3601"/>
                    </a:lnTo>
                    <a:lnTo>
                      <a:pt x="7398" y="3597"/>
                    </a:lnTo>
                    <a:lnTo>
                      <a:pt x="7400" y="3594"/>
                    </a:lnTo>
                    <a:lnTo>
                      <a:pt x="7401" y="3590"/>
                    </a:lnTo>
                    <a:lnTo>
                      <a:pt x="7401" y="3587"/>
                    </a:lnTo>
                    <a:lnTo>
                      <a:pt x="7402" y="3583"/>
                    </a:lnTo>
                    <a:lnTo>
                      <a:pt x="7406" y="3559"/>
                    </a:lnTo>
                    <a:lnTo>
                      <a:pt x="7411" y="3525"/>
                    </a:lnTo>
                    <a:lnTo>
                      <a:pt x="7415" y="3488"/>
                    </a:lnTo>
                    <a:lnTo>
                      <a:pt x="7419" y="3460"/>
                    </a:lnTo>
                    <a:lnTo>
                      <a:pt x="7421" y="3432"/>
                    </a:lnTo>
                    <a:lnTo>
                      <a:pt x="7425" y="3398"/>
                    </a:lnTo>
                    <a:lnTo>
                      <a:pt x="7428" y="3367"/>
                    </a:lnTo>
                    <a:lnTo>
                      <a:pt x="7431" y="3344"/>
                    </a:lnTo>
                    <a:lnTo>
                      <a:pt x="7431" y="3335"/>
                    </a:lnTo>
                    <a:lnTo>
                      <a:pt x="7431" y="3326"/>
                    </a:lnTo>
                    <a:lnTo>
                      <a:pt x="7431" y="3322"/>
                    </a:lnTo>
                    <a:lnTo>
                      <a:pt x="7432" y="3317"/>
                    </a:lnTo>
                    <a:lnTo>
                      <a:pt x="7433" y="3313"/>
                    </a:lnTo>
                    <a:lnTo>
                      <a:pt x="7436" y="3310"/>
                    </a:lnTo>
                    <a:lnTo>
                      <a:pt x="7439" y="3306"/>
                    </a:lnTo>
                    <a:lnTo>
                      <a:pt x="7446" y="3303"/>
                    </a:lnTo>
                    <a:lnTo>
                      <a:pt x="7452" y="3300"/>
                    </a:lnTo>
                    <a:lnTo>
                      <a:pt x="7459" y="3298"/>
                    </a:lnTo>
                    <a:lnTo>
                      <a:pt x="7475" y="3291"/>
                    </a:lnTo>
                    <a:lnTo>
                      <a:pt x="7492" y="3284"/>
                    </a:lnTo>
                    <a:lnTo>
                      <a:pt x="7508" y="3279"/>
                    </a:lnTo>
                    <a:lnTo>
                      <a:pt x="7521" y="3274"/>
                    </a:lnTo>
                    <a:lnTo>
                      <a:pt x="7537" y="3271"/>
                    </a:lnTo>
                    <a:lnTo>
                      <a:pt x="7546" y="3269"/>
                    </a:lnTo>
                    <a:lnTo>
                      <a:pt x="7555" y="3267"/>
                    </a:lnTo>
                    <a:lnTo>
                      <a:pt x="7557" y="3266"/>
                    </a:lnTo>
                    <a:lnTo>
                      <a:pt x="7557" y="3260"/>
                    </a:lnTo>
                    <a:lnTo>
                      <a:pt x="7557" y="3250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7" name="宁夏"/>
              <p:cNvSpPr/>
              <p:nvPr>
                <p:custDataLst>
                  <p:tags r:id="rId44"/>
                </p:custDataLst>
              </p:nvPr>
            </p:nvSpPr>
            <p:spPr bwMode="auto">
              <a:xfrm>
                <a:off x="4218260" y="2935047"/>
                <a:ext cx="434127" cy="670923"/>
              </a:xfrm>
              <a:custGeom>
                <a:avLst/>
                <a:gdLst>
                  <a:gd name="T0" fmla="*/ 1014 w 1159"/>
                  <a:gd name="T1" fmla="*/ 989 h 1815"/>
                  <a:gd name="T2" fmla="*/ 1037 w 1159"/>
                  <a:gd name="T3" fmla="*/ 980 h 1815"/>
                  <a:gd name="T4" fmla="*/ 1047 w 1159"/>
                  <a:gd name="T5" fmla="*/ 964 h 1815"/>
                  <a:gd name="T6" fmla="*/ 1031 w 1159"/>
                  <a:gd name="T7" fmla="*/ 934 h 1815"/>
                  <a:gd name="T8" fmla="*/ 1024 w 1159"/>
                  <a:gd name="T9" fmla="*/ 903 h 1815"/>
                  <a:gd name="T10" fmla="*/ 1038 w 1159"/>
                  <a:gd name="T11" fmla="*/ 826 h 1815"/>
                  <a:gd name="T12" fmla="*/ 1043 w 1159"/>
                  <a:gd name="T13" fmla="*/ 776 h 1815"/>
                  <a:gd name="T14" fmla="*/ 1089 w 1159"/>
                  <a:gd name="T15" fmla="*/ 739 h 1815"/>
                  <a:gd name="T16" fmla="*/ 1158 w 1159"/>
                  <a:gd name="T17" fmla="*/ 676 h 1815"/>
                  <a:gd name="T18" fmla="*/ 1090 w 1159"/>
                  <a:gd name="T19" fmla="*/ 617 h 1815"/>
                  <a:gd name="T20" fmla="*/ 971 w 1159"/>
                  <a:gd name="T21" fmla="*/ 553 h 1815"/>
                  <a:gd name="T22" fmla="*/ 794 w 1159"/>
                  <a:gd name="T23" fmla="*/ 482 h 1815"/>
                  <a:gd name="T24" fmla="*/ 819 w 1159"/>
                  <a:gd name="T25" fmla="*/ 422 h 1815"/>
                  <a:gd name="T26" fmla="*/ 824 w 1159"/>
                  <a:gd name="T27" fmla="*/ 343 h 1815"/>
                  <a:gd name="T28" fmla="*/ 855 w 1159"/>
                  <a:gd name="T29" fmla="*/ 276 h 1815"/>
                  <a:gd name="T30" fmla="*/ 953 w 1159"/>
                  <a:gd name="T31" fmla="*/ 159 h 1815"/>
                  <a:gd name="T32" fmla="*/ 892 w 1159"/>
                  <a:gd name="T33" fmla="*/ 82 h 1815"/>
                  <a:gd name="T34" fmla="*/ 844 w 1159"/>
                  <a:gd name="T35" fmla="*/ 1 h 1815"/>
                  <a:gd name="T36" fmla="*/ 731 w 1159"/>
                  <a:gd name="T37" fmla="*/ 31 h 1815"/>
                  <a:gd name="T38" fmla="*/ 682 w 1159"/>
                  <a:gd name="T39" fmla="*/ 84 h 1815"/>
                  <a:gd name="T40" fmla="*/ 587 w 1159"/>
                  <a:gd name="T41" fmla="*/ 254 h 1815"/>
                  <a:gd name="T42" fmla="*/ 568 w 1159"/>
                  <a:gd name="T43" fmla="*/ 423 h 1815"/>
                  <a:gd name="T44" fmla="*/ 541 w 1159"/>
                  <a:gd name="T45" fmla="*/ 627 h 1815"/>
                  <a:gd name="T46" fmla="*/ 464 w 1159"/>
                  <a:gd name="T47" fmla="*/ 679 h 1815"/>
                  <a:gd name="T48" fmla="*/ 376 w 1159"/>
                  <a:gd name="T49" fmla="*/ 682 h 1815"/>
                  <a:gd name="T50" fmla="*/ 244 w 1159"/>
                  <a:gd name="T51" fmla="*/ 755 h 1815"/>
                  <a:gd name="T52" fmla="*/ 79 w 1159"/>
                  <a:gd name="T53" fmla="*/ 763 h 1815"/>
                  <a:gd name="T54" fmla="*/ 12 w 1159"/>
                  <a:gd name="T55" fmla="*/ 803 h 1815"/>
                  <a:gd name="T56" fmla="*/ 108 w 1159"/>
                  <a:gd name="T57" fmla="*/ 822 h 1815"/>
                  <a:gd name="T58" fmla="*/ 156 w 1159"/>
                  <a:gd name="T59" fmla="*/ 855 h 1815"/>
                  <a:gd name="T60" fmla="*/ 144 w 1159"/>
                  <a:gd name="T61" fmla="*/ 922 h 1815"/>
                  <a:gd name="T62" fmla="*/ 226 w 1159"/>
                  <a:gd name="T63" fmla="*/ 965 h 1815"/>
                  <a:gd name="T64" fmla="*/ 307 w 1159"/>
                  <a:gd name="T65" fmla="*/ 1053 h 1815"/>
                  <a:gd name="T66" fmla="*/ 348 w 1159"/>
                  <a:gd name="T67" fmla="*/ 1128 h 1815"/>
                  <a:gd name="T68" fmla="*/ 327 w 1159"/>
                  <a:gd name="T69" fmla="*/ 1212 h 1815"/>
                  <a:gd name="T70" fmla="*/ 394 w 1159"/>
                  <a:gd name="T71" fmla="*/ 1334 h 1815"/>
                  <a:gd name="T72" fmla="*/ 401 w 1159"/>
                  <a:gd name="T73" fmla="*/ 1407 h 1815"/>
                  <a:gd name="T74" fmla="*/ 333 w 1159"/>
                  <a:gd name="T75" fmla="*/ 1463 h 1815"/>
                  <a:gd name="T76" fmla="*/ 364 w 1159"/>
                  <a:gd name="T77" fmla="*/ 1551 h 1815"/>
                  <a:gd name="T78" fmla="*/ 401 w 1159"/>
                  <a:gd name="T79" fmla="*/ 1594 h 1815"/>
                  <a:gd name="T80" fmla="*/ 484 w 1159"/>
                  <a:gd name="T81" fmla="*/ 1594 h 1815"/>
                  <a:gd name="T82" fmla="*/ 501 w 1159"/>
                  <a:gd name="T83" fmla="*/ 1664 h 1815"/>
                  <a:gd name="T84" fmla="*/ 540 w 1159"/>
                  <a:gd name="T85" fmla="*/ 1673 h 1815"/>
                  <a:gd name="T86" fmla="*/ 537 w 1159"/>
                  <a:gd name="T87" fmla="*/ 1728 h 1815"/>
                  <a:gd name="T88" fmla="*/ 591 w 1159"/>
                  <a:gd name="T89" fmla="*/ 1736 h 1815"/>
                  <a:gd name="T90" fmla="*/ 641 w 1159"/>
                  <a:gd name="T91" fmla="*/ 1729 h 1815"/>
                  <a:gd name="T92" fmla="*/ 698 w 1159"/>
                  <a:gd name="T93" fmla="*/ 1813 h 1815"/>
                  <a:gd name="T94" fmla="*/ 732 w 1159"/>
                  <a:gd name="T95" fmla="*/ 1697 h 1815"/>
                  <a:gd name="T96" fmla="*/ 741 w 1159"/>
                  <a:gd name="T97" fmla="*/ 1589 h 1815"/>
                  <a:gd name="T98" fmla="*/ 816 w 1159"/>
                  <a:gd name="T99" fmla="*/ 1615 h 1815"/>
                  <a:gd name="T100" fmla="*/ 877 w 1159"/>
                  <a:gd name="T101" fmla="*/ 1576 h 1815"/>
                  <a:gd name="T102" fmla="*/ 882 w 1159"/>
                  <a:gd name="T103" fmla="*/ 1499 h 1815"/>
                  <a:gd name="T104" fmla="*/ 850 w 1159"/>
                  <a:gd name="T105" fmla="*/ 1385 h 1815"/>
                  <a:gd name="T106" fmla="*/ 757 w 1159"/>
                  <a:gd name="T107" fmla="*/ 1353 h 1815"/>
                  <a:gd name="T108" fmla="*/ 751 w 1159"/>
                  <a:gd name="T109" fmla="*/ 1269 h 1815"/>
                  <a:gd name="T110" fmla="*/ 738 w 1159"/>
                  <a:gd name="T111" fmla="*/ 1225 h 1815"/>
                  <a:gd name="T112" fmla="*/ 773 w 1159"/>
                  <a:gd name="T113" fmla="*/ 1150 h 1815"/>
                  <a:gd name="T114" fmla="*/ 805 w 1159"/>
                  <a:gd name="T115" fmla="*/ 1086 h 1815"/>
                  <a:gd name="T116" fmla="*/ 770 w 1159"/>
                  <a:gd name="T117" fmla="*/ 1041 h 1815"/>
                  <a:gd name="T118" fmla="*/ 801 w 1159"/>
                  <a:gd name="T119" fmla="*/ 1016 h 1815"/>
                  <a:gd name="T120" fmla="*/ 832 w 1159"/>
                  <a:gd name="T121" fmla="*/ 979 h 1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59" h="1815">
                    <a:moveTo>
                      <a:pt x="920" y="986"/>
                    </a:moveTo>
                    <a:lnTo>
                      <a:pt x="933" y="984"/>
                    </a:lnTo>
                    <a:lnTo>
                      <a:pt x="943" y="982"/>
                    </a:lnTo>
                    <a:lnTo>
                      <a:pt x="953" y="978"/>
                    </a:lnTo>
                    <a:lnTo>
                      <a:pt x="964" y="977"/>
                    </a:lnTo>
                    <a:lnTo>
                      <a:pt x="970" y="977"/>
                    </a:lnTo>
                    <a:lnTo>
                      <a:pt x="976" y="977"/>
                    </a:lnTo>
                    <a:lnTo>
                      <a:pt x="983" y="978"/>
                    </a:lnTo>
                    <a:lnTo>
                      <a:pt x="990" y="978"/>
                    </a:lnTo>
                    <a:lnTo>
                      <a:pt x="996" y="979"/>
                    </a:lnTo>
                    <a:lnTo>
                      <a:pt x="1002" y="982"/>
                    </a:lnTo>
                    <a:lnTo>
                      <a:pt x="1007" y="984"/>
                    </a:lnTo>
                    <a:lnTo>
                      <a:pt x="1011" y="988"/>
                    </a:lnTo>
                    <a:lnTo>
                      <a:pt x="1014" y="989"/>
                    </a:lnTo>
                    <a:lnTo>
                      <a:pt x="1018" y="990"/>
                    </a:lnTo>
                    <a:lnTo>
                      <a:pt x="1020" y="990"/>
                    </a:lnTo>
                    <a:lnTo>
                      <a:pt x="1021" y="990"/>
                    </a:lnTo>
                    <a:lnTo>
                      <a:pt x="1025" y="990"/>
                    </a:lnTo>
                    <a:lnTo>
                      <a:pt x="1030" y="990"/>
                    </a:lnTo>
                    <a:lnTo>
                      <a:pt x="1032" y="989"/>
                    </a:lnTo>
                    <a:lnTo>
                      <a:pt x="1033" y="988"/>
                    </a:lnTo>
                    <a:lnTo>
                      <a:pt x="1033" y="985"/>
                    </a:lnTo>
                    <a:lnTo>
                      <a:pt x="1033" y="984"/>
                    </a:lnTo>
                    <a:lnTo>
                      <a:pt x="1034" y="983"/>
                    </a:lnTo>
                    <a:lnTo>
                      <a:pt x="1035" y="982"/>
                    </a:lnTo>
                    <a:lnTo>
                      <a:pt x="1035" y="982"/>
                    </a:lnTo>
                    <a:lnTo>
                      <a:pt x="1035" y="980"/>
                    </a:lnTo>
                    <a:lnTo>
                      <a:pt x="1037" y="980"/>
                    </a:lnTo>
                    <a:lnTo>
                      <a:pt x="1038" y="980"/>
                    </a:lnTo>
                    <a:lnTo>
                      <a:pt x="1039" y="979"/>
                    </a:lnTo>
                    <a:lnTo>
                      <a:pt x="1040" y="979"/>
                    </a:lnTo>
                    <a:lnTo>
                      <a:pt x="1041" y="978"/>
                    </a:lnTo>
                    <a:lnTo>
                      <a:pt x="1043" y="978"/>
                    </a:lnTo>
                    <a:lnTo>
                      <a:pt x="1044" y="977"/>
                    </a:lnTo>
                    <a:lnTo>
                      <a:pt x="1045" y="977"/>
                    </a:lnTo>
                    <a:lnTo>
                      <a:pt x="1047" y="973"/>
                    </a:lnTo>
                    <a:lnTo>
                      <a:pt x="1049" y="971"/>
                    </a:lnTo>
                    <a:lnTo>
                      <a:pt x="1049" y="971"/>
                    </a:lnTo>
                    <a:lnTo>
                      <a:pt x="1049" y="969"/>
                    </a:lnTo>
                    <a:lnTo>
                      <a:pt x="1049" y="967"/>
                    </a:lnTo>
                    <a:lnTo>
                      <a:pt x="1049" y="966"/>
                    </a:lnTo>
                    <a:lnTo>
                      <a:pt x="1047" y="964"/>
                    </a:lnTo>
                    <a:lnTo>
                      <a:pt x="1045" y="960"/>
                    </a:lnTo>
                    <a:lnTo>
                      <a:pt x="1043" y="958"/>
                    </a:lnTo>
                    <a:lnTo>
                      <a:pt x="1040" y="956"/>
                    </a:lnTo>
                    <a:lnTo>
                      <a:pt x="1037" y="954"/>
                    </a:lnTo>
                    <a:lnTo>
                      <a:pt x="1035" y="952"/>
                    </a:lnTo>
                    <a:lnTo>
                      <a:pt x="1032" y="951"/>
                    </a:lnTo>
                    <a:lnTo>
                      <a:pt x="1028" y="948"/>
                    </a:lnTo>
                    <a:lnTo>
                      <a:pt x="1026" y="946"/>
                    </a:lnTo>
                    <a:lnTo>
                      <a:pt x="1025" y="944"/>
                    </a:lnTo>
                    <a:lnTo>
                      <a:pt x="1025" y="941"/>
                    </a:lnTo>
                    <a:lnTo>
                      <a:pt x="1026" y="939"/>
                    </a:lnTo>
                    <a:lnTo>
                      <a:pt x="1027" y="937"/>
                    </a:lnTo>
                    <a:lnTo>
                      <a:pt x="1030" y="935"/>
                    </a:lnTo>
                    <a:lnTo>
                      <a:pt x="1031" y="934"/>
                    </a:lnTo>
                    <a:lnTo>
                      <a:pt x="1032" y="933"/>
                    </a:lnTo>
                    <a:lnTo>
                      <a:pt x="1033" y="931"/>
                    </a:lnTo>
                    <a:lnTo>
                      <a:pt x="1034" y="929"/>
                    </a:lnTo>
                    <a:lnTo>
                      <a:pt x="1034" y="928"/>
                    </a:lnTo>
                    <a:lnTo>
                      <a:pt x="1034" y="927"/>
                    </a:lnTo>
                    <a:lnTo>
                      <a:pt x="1034" y="926"/>
                    </a:lnTo>
                    <a:lnTo>
                      <a:pt x="1033" y="925"/>
                    </a:lnTo>
                    <a:lnTo>
                      <a:pt x="1032" y="922"/>
                    </a:lnTo>
                    <a:lnTo>
                      <a:pt x="1030" y="919"/>
                    </a:lnTo>
                    <a:lnTo>
                      <a:pt x="1027" y="916"/>
                    </a:lnTo>
                    <a:lnTo>
                      <a:pt x="1025" y="913"/>
                    </a:lnTo>
                    <a:lnTo>
                      <a:pt x="1024" y="909"/>
                    </a:lnTo>
                    <a:lnTo>
                      <a:pt x="1024" y="907"/>
                    </a:lnTo>
                    <a:lnTo>
                      <a:pt x="1024" y="903"/>
                    </a:lnTo>
                    <a:lnTo>
                      <a:pt x="1024" y="897"/>
                    </a:lnTo>
                    <a:lnTo>
                      <a:pt x="1024" y="893"/>
                    </a:lnTo>
                    <a:lnTo>
                      <a:pt x="1024" y="885"/>
                    </a:lnTo>
                    <a:lnTo>
                      <a:pt x="1024" y="875"/>
                    </a:lnTo>
                    <a:lnTo>
                      <a:pt x="1024" y="871"/>
                    </a:lnTo>
                    <a:lnTo>
                      <a:pt x="1024" y="868"/>
                    </a:lnTo>
                    <a:lnTo>
                      <a:pt x="1024" y="863"/>
                    </a:lnTo>
                    <a:lnTo>
                      <a:pt x="1025" y="856"/>
                    </a:lnTo>
                    <a:lnTo>
                      <a:pt x="1026" y="850"/>
                    </a:lnTo>
                    <a:lnTo>
                      <a:pt x="1027" y="843"/>
                    </a:lnTo>
                    <a:lnTo>
                      <a:pt x="1030" y="838"/>
                    </a:lnTo>
                    <a:lnTo>
                      <a:pt x="1032" y="833"/>
                    </a:lnTo>
                    <a:lnTo>
                      <a:pt x="1035" y="830"/>
                    </a:lnTo>
                    <a:lnTo>
                      <a:pt x="1038" y="826"/>
                    </a:lnTo>
                    <a:lnTo>
                      <a:pt x="1045" y="820"/>
                    </a:lnTo>
                    <a:lnTo>
                      <a:pt x="1050" y="814"/>
                    </a:lnTo>
                    <a:lnTo>
                      <a:pt x="1051" y="809"/>
                    </a:lnTo>
                    <a:lnTo>
                      <a:pt x="1051" y="805"/>
                    </a:lnTo>
                    <a:lnTo>
                      <a:pt x="1050" y="802"/>
                    </a:lnTo>
                    <a:lnTo>
                      <a:pt x="1049" y="801"/>
                    </a:lnTo>
                    <a:lnTo>
                      <a:pt x="1046" y="799"/>
                    </a:lnTo>
                    <a:lnTo>
                      <a:pt x="1044" y="796"/>
                    </a:lnTo>
                    <a:lnTo>
                      <a:pt x="1041" y="794"/>
                    </a:lnTo>
                    <a:lnTo>
                      <a:pt x="1038" y="789"/>
                    </a:lnTo>
                    <a:lnTo>
                      <a:pt x="1038" y="786"/>
                    </a:lnTo>
                    <a:lnTo>
                      <a:pt x="1039" y="782"/>
                    </a:lnTo>
                    <a:lnTo>
                      <a:pt x="1041" y="778"/>
                    </a:lnTo>
                    <a:lnTo>
                      <a:pt x="1043" y="776"/>
                    </a:lnTo>
                    <a:lnTo>
                      <a:pt x="1046" y="774"/>
                    </a:lnTo>
                    <a:lnTo>
                      <a:pt x="1050" y="770"/>
                    </a:lnTo>
                    <a:lnTo>
                      <a:pt x="1055" y="765"/>
                    </a:lnTo>
                    <a:lnTo>
                      <a:pt x="1059" y="761"/>
                    </a:lnTo>
                    <a:lnTo>
                      <a:pt x="1063" y="757"/>
                    </a:lnTo>
                    <a:lnTo>
                      <a:pt x="1065" y="755"/>
                    </a:lnTo>
                    <a:lnTo>
                      <a:pt x="1069" y="752"/>
                    </a:lnTo>
                    <a:lnTo>
                      <a:pt x="1072" y="750"/>
                    </a:lnTo>
                    <a:lnTo>
                      <a:pt x="1077" y="746"/>
                    </a:lnTo>
                    <a:lnTo>
                      <a:pt x="1079" y="745"/>
                    </a:lnTo>
                    <a:lnTo>
                      <a:pt x="1082" y="744"/>
                    </a:lnTo>
                    <a:lnTo>
                      <a:pt x="1084" y="743"/>
                    </a:lnTo>
                    <a:lnTo>
                      <a:pt x="1087" y="742"/>
                    </a:lnTo>
                    <a:lnTo>
                      <a:pt x="1089" y="739"/>
                    </a:lnTo>
                    <a:lnTo>
                      <a:pt x="1091" y="736"/>
                    </a:lnTo>
                    <a:lnTo>
                      <a:pt x="1093" y="732"/>
                    </a:lnTo>
                    <a:lnTo>
                      <a:pt x="1095" y="727"/>
                    </a:lnTo>
                    <a:lnTo>
                      <a:pt x="1097" y="724"/>
                    </a:lnTo>
                    <a:lnTo>
                      <a:pt x="1102" y="720"/>
                    </a:lnTo>
                    <a:lnTo>
                      <a:pt x="1108" y="715"/>
                    </a:lnTo>
                    <a:lnTo>
                      <a:pt x="1115" y="712"/>
                    </a:lnTo>
                    <a:lnTo>
                      <a:pt x="1129" y="708"/>
                    </a:lnTo>
                    <a:lnTo>
                      <a:pt x="1142" y="704"/>
                    </a:lnTo>
                    <a:lnTo>
                      <a:pt x="1150" y="700"/>
                    </a:lnTo>
                    <a:lnTo>
                      <a:pt x="1156" y="694"/>
                    </a:lnTo>
                    <a:lnTo>
                      <a:pt x="1158" y="686"/>
                    </a:lnTo>
                    <a:lnTo>
                      <a:pt x="1159" y="680"/>
                    </a:lnTo>
                    <a:lnTo>
                      <a:pt x="1158" y="676"/>
                    </a:lnTo>
                    <a:lnTo>
                      <a:pt x="1158" y="674"/>
                    </a:lnTo>
                    <a:lnTo>
                      <a:pt x="1157" y="671"/>
                    </a:lnTo>
                    <a:lnTo>
                      <a:pt x="1154" y="668"/>
                    </a:lnTo>
                    <a:lnTo>
                      <a:pt x="1148" y="664"/>
                    </a:lnTo>
                    <a:lnTo>
                      <a:pt x="1139" y="661"/>
                    </a:lnTo>
                    <a:lnTo>
                      <a:pt x="1135" y="658"/>
                    </a:lnTo>
                    <a:lnTo>
                      <a:pt x="1129" y="655"/>
                    </a:lnTo>
                    <a:lnTo>
                      <a:pt x="1123" y="651"/>
                    </a:lnTo>
                    <a:lnTo>
                      <a:pt x="1118" y="648"/>
                    </a:lnTo>
                    <a:lnTo>
                      <a:pt x="1108" y="642"/>
                    </a:lnTo>
                    <a:lnTo>
                      <a:pt x="1100" y="635"/>
                    </a:lnTo>
                    <a:lnTo>
                      <a:pt x="1097" y="631"/>
                    </a:lnTo>
                    <a:lnTo>
                      <a:pt x="1095" y="626"/>
                    </a:lnTo>
                    <a:lnTo>
                      <a:pt x="1090" y="617"/>
                    </a:lnTo>
                    <a:lnTo>
                      <a:pt x="1088" y="607"/>
                    </a:lnTo>
                    <a:lnTo>
                      <a:pt x="1084" y="598"/>
                    </a:lnTo>
                    <a:lnTo>
                      <a:pt x="1078" y="589"/>
                    </a:lnTo>
                    <a:lnTo>
                      <a:pt x="1070" y="581"/>
                    </a:lnTo>
                    <a:lnTo>
                      <a:pt x="1060" y="574"/>
                    </a:lnTo>
                    <a:lnTo>
                      <a:pt x="1050" y="566"/>
                    </a:lnTo>
                    <a:lnTo>
                      <a:pt x="1038" y="560"/>
                    </a:lnTo>
                    <a:lnTo>
                      <a:pt x="1022" y="554"/>
                    </a:lnTo>
                    <a:lnTo>
                      <a:pt x="1012" y="551"/>
                    </a:lnTo>
                    <a:lnTo>
                      <a:pt x="1006" y="550"/>
                    </a:lnTo>
                    <a:lnTo>
                      <a:pt x="1002" y="550"/>
                    </a:lnTo>
                    <a:lnTo>
                      <a:pt x="996" y="550"/>
                    </a:lnTo>
                    <a:lnTo>
                      <a:pt x="989" y="550"/>
                    </a:lnTo>
                    <a:lnTo>
                      <a:pt x="971" y="553"/>
                    </a:lnTo>
                    <a:lnTo>
                      <a:pt x="957" y="555"/>
                    </a:lnTo>
                    <a:lnTo>
                      <a:pt x="951" y="556"/>
                    </a:lnTo>
                    <a:lnTo>
                      <a:pt x="943" y="556"/>
                    </a:lnTo>
                    <a:lnTo>
                      <a:pt x="938" y="556"/>
                    </a:lnTo>
                    <a:lnTo>
                      <a:pt x="933" y="556"/>
                    </a:lnTo>
                    <a:lnTo>
                      <a:pt x="928" y="555"/>
                    </a:lnTo>
                    <a:lnTo>
                      <a:pt x="924" y="553"/>
                    </a:lnTo>
                    <a:lnTo>
                      <a:pt x="888" y="537"/>
                    </a:lnTo>
                    <a:lnTo>
                      <a:pt x="850" y="517"/>
                    </a:lnTo>
                    <a:lnTo>
                      <a:pt x="837" y="510"/>
                    </a:lnTo>
                    <a:lnTo>
                      <a:pt x="825" y="503"/>
                    </a:lnTo>
                    <a:lnTo>
                      <a:pt x="812" y="494"/>
                    </a:lnTo>
                    <a:lnTo>
                      <a:pt x="800" y="487"/>
                    </a:lnTo>
                    <a:lnTo>
                      <a:pt x="794" y="482"/>
                    </a:lnTo>
                    <a:lnTo>
                      <a:pt x="789" y="478"/>
                    </a:lnTo>
                    <a:lnTo>
                      <a:pt x="786" y="474"/>
                    </a:lnTo>
                    <a:lnTo>
                      <a:pt x="785" y="471"/>
                    </a:lnTo>
                    <a:lnTo>
                      <a:pt x="783" y="468"/>
                    </a:lnTo>
                    <a:lnTo>
                      <a:pt x="783" y="465"/>
                    </a:lnTo>
                    <a:lnTo>
                      <a:pt x="785" y="461"/>
                    </a:lnTo>
                    <a:lnTo>
                      <a:pt x="786" y="458"/>
                    </a:lnTo>
                    <a:lnTo>
                      <a:pt x="788" y="453"/>
                    </a:lnTo>
                    <a:lnTo>
                      <a:pt x="791" y="448"/>
                    </a:lnTo>
                    <a:lnTo>
                      <a:pt x="794" y="443"/>
                    </a:lnTo>
                    <a:lnTo>
                      <a:pt x="798" y="440"/>
                    </a:lnTo>
                    <a:lnTo>
                      <a:pt x="807" y="433"/>
                    </a:lnTo>
                    <a:lnTo>
                      <a:pt x="817" y="424"/>
                    </a:lnTo>
                    <a:lnTo>
                      <a:pt x="819" y="422"/>
                    </a:lnTo>
                    <a:lnTo>
                      <a:pt x="823" y="418"/>
                    </a:lnTo>
                    <a:lnTo>
                      <a:pt x="826" y="414"/>
                    </a:lnTo>
                    <a:lnTo>
                      <a:pt x="830" y="408"/>
                    </a:lnTo>
                    <a:lnTo>
                      <a:pt x="831" y="404"/>
                    </a:lnTo>
                    <a:lnTo>
                      <a:pt x="832" y="399"/>
                    </a:lnTo>
                    <a:lnTo>
                      <a:pt x="833" y="395"/>
                    </a:lnTo>
                    <a:lnTo>
                      <a:pt x="833" y="391"/>
                    </a:lnTo>
                    <a:lnTo>
                      <a:pt x="833" y="387"/>
                    </a:lnTo>
                    <a:lnTo>
                      <a:pt x="833" y="383"/>
                    </a:lnTo>
                    <a:lnTo>
                      <a:pt x="832" y="372"/>
                    </a:lnTo>
                    <a:lnTo>
                      <a:pt x="830" y="360"/>
                    </a:lnTo>
                    <a:lnTo>
                      <a:pt x="827" y="354"/>
                    </a:lnTo>
                    <a:lnTo>
                      <a:pt x="825" y="347"/>
                    </a:lnTo>
                    <a:lnTo>
                      <a:pt x="824" y="343"/>
                    </a:lnTo>
                    <a:lnTo>
                      <a:pt x="823" y="341"/>
                    </a:lnTo>
                    <a:lnTo>
                      <a:pt x="823" y="340"/>
                    </a:lnTo>
                    <a:lnTo>
                      <a:pt x="823" y="337"/>
                    </a:lnTo>
                    <a:lnTo>
                      <a:pt x="822" y="330"/>
                    </a:lnTo>
                    <a:lnTo>
                      <a:pt x="822" y="326"/>
                    </a:lnTo>
                    <a:lnTo>
                      <a:pt x="824" y="321"/>
                    </a:lnTo>
                    <a:lnTo>
                      <a:pt x="825" y="317"/>
                    </a:lnTo>
                    <a:lnTo>
                      <a:pt x="827" y="314"/>
                    </a:lnTo>
                    <a:lnTo>
                      <a:pt x="829" y="310"/>
                    </a:lnTo>
                    <a:lnTo>
                      <a:pt x="832" y="307"/>
                    </a:lnTo>
                    <a:lnTo>
                      <a:pt x="836" y="302"/>
                    </a:lnTo>
                    <a:lnTo>
                      <a:pt x="849" y="286"/>
                    </a:lnTo>
                    <a:lnTo>
                      <a:pt x="852" y="282"/>
                    </a:lnTo>
                    <a:lnTo>
                      <a:pt x="855" y="276"/>
                    </a:lnTo>
                    <a:lnTo>
                      <a:pt x="856" y="273"/>
                    </a:lnTo>
                    <a:lnTo>
                      <a:pt x="858" y="270"/>
                    </a:lnTo>
                    <a:lnTo>
                      <a:pt x="862" y="261"/>
                    </a:lnTo>
                    <a:lnTo>
                      <a:pt x="867" y="253"/>
                    </a:lnTo>
                    <a:lnTo>
                      <a:pt x="873" y="245"/>
                    </a:lnTo>
                    <a:lnTo>
                      <a:pt x="877" y="239"/>
                    </a:lnTo>
                    <a:lnTo>
                      <a:pt x="888" y="229"/>
                    </a:lnTo>
                    <a:lnTo>
                      <a:pt x="898" y="221"/>
                    </a:lnTo>
                    <a:lnTo>
                      <a:pt x="908" y="211"/>
                    </a:lnTo>
                    <a:lnTo>
                      <a:pt x="919" y="202"/>
                    </a:lnTo>
                    <a:lnTo>
                      <a:pt x="928" y="194"/>
                    </a:lnTo>
                    <a:lnTo>
                      <a:pt x="938" y="185"/>
                    </a:lnTo>
                    <a:lnTo>
                      <a:pt x="945" y="172"/>
                    </a:lnTo>
                    <a:lnTo>
                      <a:pt x="953" y="159"/>
                    </a:lnTo>
                    <a:lnTo>
                      <a:pt x="952" y="154"/>
                    </a:lnTo>
                    <a:lnTo>
                      <a:pt x="952" y="150"/>
                    </a:lnTo>
                    <a:lnTo>
                      <a:pt x="948" y="148"/>
                    </a:lnTo>
                    <a:lnTo>
                      <a:pt x="943" y="147"/>
                    </a:lnTo>
                    <a:lnTo>
                      <a:pt x="921" y="135"/>
                    </a:lnTo>
                    <a:lnTo>
                      <a:pt x="913" y="129"/>
                    </a:lnTo>
                    <a:lnTo>
                      <a:pt x="906" y="125"/>
                    </a:lnTo>
                    <a:lnTo>
                      <a:pt x="901" y="120"/>
                    </a:lnTo>
                    <a:lnTo>
                      <a:pt x="899" y="118"/>
                    </a:lnTo>
                    <a:lnTo>
                      <a:pt x="899" y="114"/>
                    </a:lnTo>
                    <a:lnTo>
                      <a:pt x="899" y="112"/>
                    </a:lnTo>
                    <a:lnTo>
                      <a:pt x="898" y="102"/>
                    </a:lnTo>
                    <a:lnTo>
                      <a:pt x="894" y="90"/>
                    </a:lnTo>
                    <a:lnTo>
                      <a:pt x="892" y="82"/>
                    </a:lnTo>
                    <a:lnTo>
                      <a:pt x="888" y="71"/>
                    </a:lnTo>
                    <a:lnTo>
                      <a:pt x="886" y="61"/>
                    </a:lnTo>
                    <a:lnTo>
                      <a:pt x="885" y="50"/>
                    </a:lnTo>
                    <a:lnTo>
                      <a:pt x="886" y="32"/>
                    </a:lnTo>
                    <a:lnTo>
                      <a:pt x="889" y="19"/>
                    </a:lnTo>
                    <a:lnTo>
                      <a:pt x="888" y="14"/>
                    </a:lnTo>
                    <a:lnTo>
                      <a:pt x="887" y="8"/>
                    </a:lnTo>
                    <a:lnTo>
                      <a:pt x="886" y="5"/>
                    </a:lnTo>
                    <a:lnTo>
                      <a:pt x="883" y="2"/>
                    </a:lnTo>
                    <a:lnTo>
                      <a:pt x="881" y="1"/>
                    </a:lnTo>
                    <a:lnTo>
                      <a:pt x="876" y="0"/>
                    </a:lnTo>
                    <a:lnTo>
                      <a:pt x="865" y="0"/>
                    </a:lnTo>
                    <a:lnTo>
                      <a:pt x="855" y="0"/>
                    </a:lnTo>
                    <a:lnTo>
                      <a:pt x="844" y="1"/>
                    </a:lnTo>
                    <a:lnTo>
                      <a:pt x="837" y="1"/>
                    </a:lnTo>
                    <a:lnTo>
                      <a:pt x="826" y="5"/>
                    </a:lnTo>
                    <a:lnTo>
                      <a:pt x="817" y="8"/>
                    </a:lnTo>
                    <a:lnTo>
                      <a:pt x="810" y="13"/>
                    </a:lnTo>
                    <a:lnTo>
                      <a:pt x="804" y="18"/>
                    </a:lnTo>
                    <a:lnTo>
                      <a:pt x="799" y="21"/>
                    </a:lnTo>
                    <a:lnTo>
                      <a:pt x="794" y="22"/>
                    </a:lnTo>
                    <a:lnTo>
                      <a:pt x="787" y="24"/>
                    </a:lnTo>
                    <a:lnTo>
                      <a:pt x="780" y="24"/>
                    </a:lnTo>
                    <a:lnTo>
                      <a:pt x="764" y="24"/>
                    </a:lnTo>
                    <a:lnTo>
                      <a:pt x="749" y="24"/>
                    </a:lnTo>
                    <a:lnTo>
                      <a:pt x="742" y="25"/>
                    </a:lnTo>
                    <a:lnTo>
                      <a:pt x="736" y="27"/>
                    </a:lnTo>
                    <a:lnTo>
                      <a:pt x="731" y="31"/>
                    </a:lnTo>
                    <a:lnTo>
                      <a:pt x="728" y="37"/>
                    </a:lnTo>
                    <a:lnTo>
                      <a:pt x="725" y="43"/>
                    </a:lnTo>
                    <a:lnTo>
                      <a:pt x="723" y="50"/>
                    </a:lnTo>
                    <a:lnTo>
                      <a:pt x="722" y="58"/>
                    </a:lnTo>
                    <a:lnTo>
                      <a:pt x="722" y="68"/>
                    </a:lnTo>
                    <a:lnTo>
                      <a:pt x="722" y="75"/>
                    </a:lnTo>
                    <a:lnTo>
                      <a:pt x="719" y="81"/>
                    </a:lnTo>
                    <a:lnTo>
                      <a:pt x="718" y="84"/>
                    </a:lnTo>
                    <a:lnTo>
                      <a:pt x="715" y="87"/>
                    </a:lnTo>
                    <a:lnTo>
                      <a:pt x="710" y="88"/>
                    </a:lnTo>
                    <a:lnTo>
                      <a:pt x="704" y="88"/>
                    </a:lnTo>
                    <a:lnTo>
                      <a:pt x="698" y="87"/>
                    </a:lnTo>
                    <a:lnTo>
                      <a:pt x="691" y="85"/>
                    </a:lnTo>
                    <a:lnTo>
                      <a:pt x="682" y="84"/>
                    </a:lnTo>
                    <a:lnTo>
                      <a:pt x="678" y="85"/>
                    </a:lnTo>
                    <a:lnTo>
                      <a:pt x="673" y="87"/>
                    </a:lnTo>
                    <a:lnTo>
                      <a:pt x="669" y="89"/>
                    </a:lnTo>
                    <a:lnTo>
                      <a:pt x="665" y="97"/>
                    </a:lnTo>
                    <a:lnTo>
                      <a:pt x="661" y="107"/>
                    </a:lnTo>
                    <a:lnTo>
                      <a:pt x="655" y="121"/>
                    </a:lnTo>
                    <a:lnTo>
                      <a:pt x="647" y="141"/>
                    </a:lnTo>
                    <a:lnTo>
                      <a:pt x="637" y="162"/>
                    </a:lnTo>
                    <a:lnTo>
                      <a:pt x="628" y="177"/>
                    </a:lnTo>
                    <a:lnTo>
                      <a:pt x="618" y="190"/>
                    </a:lnTo>
                    <a:lnTo>
                      <a:pt x="608" y="206"/>
                    </a:lnTo>
                    <a:lnTo>
                      <a:pt x="597" y="221"/>
                    </a:lnTo>
                    <a:lnTo>
                      <a:pt x="590" y="236"/>
                    </a:lnTo>
                    <a:lnTo>
                      <a:pt x="587" y="254"/>
                    </a:lnTo>
                    <a:lnTo>
                      <a:pt x="585" y="274"/>
                    </a:lnTo>
                    <a:lnTo>
                      <a:pt x="585" y="285"/>
                    </a:lnTo>
                    <a:lnTo>
                      <a:pt x="584" y="295"/>
                    </a:lnTo>
                    <a:lnTo>
                      <a:pt x="581" y="303"/>
                    </a:lnTo>
                    <a:lnTo>
                      <a:pt x="578" y="310"/>
                    </a:lnTo>
                    <a:lnTo>
                      <a:pt x="574" y="316"/>
                    </a:lnTo>
                    <a:lnTo>
                      <a:pt x="572" y="322"/>
                    </a:lnTo>
                    <a:lnTo>
                      <a:pt x="571" y="328"/>
                    </a:lnTo>
                    <a:lnTo>
                      <a:pt x="569" y="335"/>
                    </a:lnTo>
                    <a:lnTo>
                      <a:pt x="568" y="348"/>
                    </a:lnTo>
                    <a:lnTo>
                      <a:pt x="567" y="360"/>
                    </a:lnTo>
                    <a:lnTo>
                      <a:pt x="567" y="389"/>
                    </a:lnTo>
                    <a:lnTo>
                      <a:pt x="568" y="412"/>
                    </a:lnTo>
                    <a:lnTo>
                      <a:pt x="568" y="423"/>
                    </a:lnTo>
                    <a:lnTo>
                      <a:pt x="567" y="435"/>
                    </a:lnTo>
                    <a:lnTo>
                      <a:pt x="564" y="447"/>
                    </a:lnTo>
                    <a:lnTo>
                      <a:pt x="556" y="460"/>
                    </a:lnTo>
                    <a:lnTo>
                      <a:pt x="549" y="474"/>
                    </a:lnTo>
                    <a:lnTo>
                      <a:pt x="545" y="492"/>
                    </a:lnTo>
                    <a:lnTo>
                      <a:pt x="542" y="500"/>
                    </a:lnTo>
                    <a:lnTo>
                      <a:pt x="541" y="510"/>
                    </a:lnTo>
                    <a:lnTo>
                      <a:pt x="541" y="519"/>
                    </a:lnTo>
                    <a:lnTo>
                      <a:pt x="541" y="528"/>
                    </a:lnTo>
                    <a:lnTo>
                      <a:pt x="543" y="551"/>
                    </a:lnTo>
                    <a:lnTo>
                      <a:pt x="545" y="581"/>
                    </a:lnTo>
                    <a:lnTo>
                      <a:pt x="545" y="597"/>
                    </a:lnTo>
                    <a:lnTo>
                      <a:pt x="543" y="612"/>
                    </a:lnTo>
                    <a:lnTo>
                      <a:pt x="541" y="627"/>
                    </a:lnTo>
                    <a:lnTo>
                      <a:pt x="536" y="642"/>
                    </a:lnTo>
                    <a:lnTo>
                      <a:pt x="533" y="652"/>
                    </a:lnTo>
                    <a:lnTo>
                      <a:pt x="528" y="660"/>
                    </a:lnTo>
                    <a:lnTo>
                      <a:pt x="524" y="664"/>
                    </a:lnTo>
                    <a:lnTo>
                      <a:pt x="522" y="666"/>
                    </a:lnTo>
                    <a:lnTo>
                      <a:pt x="515" y="664"/>
                    </a:lnTo>
                    <a:lnTo>
                      <a:pt x="508" y="663"/>
                    </a:lnTo>
                    <a:lnTo>
                      <a:pt x="496" y="663"/>
                    </a:lnTo>
                    <a:lnTo>
                      <a:pt x="480" y="664"/>
                    </a:lnTo>
                    <a:lnTo>
                      <a:pt x="473" y="666"/>
                    </a:lnTo>
                    <a:lnTo>
                      <a:pt x="468" y="667"/>
                    </a:lnTo>
                    <a:lnTo>
                      <a:pt x="464" y="669"/>
                    </a:lnTo>
                    <a:lnTo>
                      <a:pt x="463" y="671"/>
                    </a:lnTo>
                    <a:lnTo>
                      <a:pt x="464" y="679"/>
                    </a:lnTo>
                    <a:lnTo>
                      <a:pt x="465" y="686"/>
                    </a:lnTo>
                    <a:lnTo>
                      <a:pt x="464" y="688"/>
                    </a:lnTo>
                    <a:lnTo>
                      <a:pt x="464" y="692"/>
                    </a:lnTo>
                    <a:lnTo>
                      <a:pt x="463" y="693"/>
                    </a:lnTo>
                    <a:lnTo>
                      <a:pt x="460" y="695"/>
                    </a:lnTo>
                    <a:lnTo>
                      <a:pt x="453" y="696"/>
                    </a:lnTo>
                    <a:lnTo>
                      <a:pt x="446" y="696"/>
                    </a:lnTo>
                    <a:lnTo>
                      <a:pt x="438" y="695"/>
                    </a:lnTo>
                    <a:lnTo>
                      <a:pt x="427" y="693"/>
                    </a:lnTo>
                    <a:lnTo>
                      <a:pt x="413" y="689"/>
                    </a:lnTo>
                    <a:lnTo>
                      <a:pt x="397" y="685"/>
                    </a:lnTo>
                    <a:lnTo>
                      <a:pt x="389" y="682"/>
                    </a:lnTo>
                    <a:lnTo>
                      <a:pt x="382" y="681"/>
                    </a:lnTo>
                    <a:lnTo>
                      <a:pt x="376" y="682"/>
                    </a:lnTo>
                    <a:lnTo>
                      <a:pt x="370" y="683"/>
                    </a:lnTo>
                    <a:lnTo>
                      <a:pt x="358" y="690"/>
                    </a:lnTo>
                    <a:lnTo>
                      <a:pt x="342" y="700"/>
                    </a:lnTo>
                    <a:lnTo>
                      <a:pt x="334" y="706"/>
                    </a:lnTo>
                    <a:lnTo>
                      <a:pt x="325" y="711"/>
                    </a:lnTo>
                    <a:lnTo>
                      <a:pt x="315" y="714"/>
                    </a:lnTo>
                    <a:lnTo>
                      <a:pt x="304" y="718"/>
                    </a:lnTo>
                    <a:lnTo>
                      <a:pt x="295" y="721"/>
                    </a:lnTo>
                    <a:lnTo>
                      <a:pt x="287" y="725"/>
                    </a:lnTo>
                    <a:lnTo>
                      <a:pt x="281" y="729"/>
                    </a:lnTo>
                    <a:lnTo>
                      <a:pt x="275" y="732"/>
                    </a:lnTo>
                    <a:lnTo>
                      <a:pt x="265" y="740"/>
                    </a:lnTo>
                    <a:lnTo>
                      <a:pt x="254" y="748"/>
                    </a:lnTo>
                    <a:lnTo>
                      <a:pt x="244" y="755"/>
                    </a:lnTo>
                    <a:lnTo>
                      <a:pt x="233" y="761"/>
                    </a:lnTo>
                    <a:lnTo>
                      <a:pt x="228" y="763"/>
                    </a:lnTo>
                    <a:lnTo>
                      <a:pt x="222" y="764"/>
                    </a:lnTo>
                    <a:lnTo>
                      <a:pt x="215" y="765"/>
                    </a:lnTo>
                    <a:lnTo>
                      <a:pt x="207" y="765"/>
                    </a:lnTo>
                    <a:lnTo>
                      <a:pt x="187" y="765"/>
                    </a:lnTo>
                    <a:lnTo>
                      <a:pt x="167" y="765"/>
                    </a:lnTo>
                    <a:lnTo>
                      <a:pt x="147" y="765"/>
                    </a:lnTo>
                    <a:lnTo>
                      <a:pt x="128" y="764"/>
                    </a:lnTo>
                    <a:lnTo>
                      <a:pt x="119" y="762"/>
                    </a:lnTo>
                    <a:lnTo>
                      <a:pt x="108" y="762"/>
                    </a:lnTo>
                    <a:lnTo>
                      <a:pt x="98" y="762"/>
                    </a:lnTo>
                    <a:lnTo>
                      <a:pt x="88" y="762"/>
                    </a:lnTo>
                    <a:lnTo>
                      <a:pt x="79" y="763"/>
                    </a:lnTo>
                    <a:lnTo>
                      <a:pt x="70" y="765"/>
                    </a:lnTo>
                    <a:lnTo>
                      <a:pt x="62" y="768"/>
                    </a:lnTo>
                    <a:lnTo>
                      <a:pt x="57" y="771"/>
                    </a:lnTo>
                    <a:lnTo>
                      <a:pt x="54" y="775"/>
                    </a:lnTo>
                    <a:lnTo>
                      <a:pt x="51" y="778"/>
                    </a:lnTo>
                    <a:lnTo>
                      <a:pt x="51" y="783"/>
                    </a:lnTo>
                    <a:lnTo>
                      <a:pt x="51" y="788"/>
                    </a:lnTo>
                    <a:lnTo>
                      <a:pt x="50" y="792"/>
                    </a:lnTo>
                    <a:lnTo>
                      <a:pt x="49" y="795"/>
                    </a:lnTo>
                    <a:lnTo>
                      <a:pt x="45" y="797"/>
                    </a:lnTo>
                    <a:lnTo>
                      <a:pt x="38" y="797"/>
                    </a:lnTo>
                    <a:lnTo>
                      <a:pt x="30" y="799"/>
                    </a:lnTo>
                    <a:lnTo>
                      <a:pt x="20" y="801"/>
                    </a:lnTo>
                    <a:lnTo>
                      <a:pt x="12" y="803"/>
                    </a:lnTo>
                    <a:lnTo>
                      <a:pt x="4" y="809"/>
                    </a:lnTo>
                    <a:lnTo>
                      <a:pt x="0" y="812"/>
                    </a:lnTo>
                    <a:lnTo>
                      <a:pt x="0" y="814"/>
                    </a:lnTo>
                    <a:lnTo>
                      <a:pt x="2" y="815"/>
                    </a:lnTo>
                    <a:lnTo>
                      <a:pt x="6" y="815"/>
                    </a:lnTo>
                    <a:lnTo>
                      <a:pt x="17" y="815"/>
                    </a:lnTo>
                    <a:lnTo>
                      <a:pt x="29" y="815"/>
                    </a:lnTo>
                    <a:lnTo>
                      <a:pt x="44" y="815"/>
                    </a:lnTo>
                    <a:lnTo>
                      <a:pt x="61" y="815"/>
                    </a:lnTo>
                    <a:lnTo>
                      <a:pt x="69" y="815"/>
                    </a:lnTo>
                    <a:lnTo>
                      <a:pt x="77" y="816"/>
                    </a:lnTo>
                    <a:lnTo>
                      <a:pt x="86" y="816"/>
                    </a:lnTo>
                    <a:lnTo>
                      <a:pt x="93" y="819"/>
                    </a:lnTo>
                    <a:lnTo>
                      <a:pt x="108" y="822"/>
                    </a:lnTo>
                    <a:lnTo>
                      <a:pt x="123" y="824"/>
                    </a:lnTo>
                    <a:lnTo>
                      <a:pt x="137" y="824"/>
                    </a:lnTo>
                    <a:lnTo>
                      <a:pt x="149" y="824"/>
                    </a:lnTo>
                    <a:lnTo>
                      <a:pt x="155" y="822"/>
                    </a:lnTo>
                    <a:lnTo>
                      <a:pt x="159" y="822"/>
                    </a:lnTo>
                    <a:lnTo>
                      <a:pt x="164" y="822"/>
                    </a:lnTo>
                    <a:lnTo>
                      <a:pt x="168" y="825"/>
                    </a:lnTo>
                    <a:lnTo>
                      <a:pt x="169" y="827"/>
                    </a:lnTo>
                    <a:lnTo>
                      <a:pt x="170" y="833"/>
                    </a:lnTo>
                    <a:lnTo>
                      <a:pt x="170" y="837"/>
                    </a:lnTo>
                    <a:lnTo>
                      <a:pt x="170" y="840"/>
                    </a:lnTo>
                    <a:lnTo>
                      <a:pt x="169" y="843"/>
                    </a:lnTo>
                    <a:lnTo>
                      <a:pt x="168" y="845"/>
                    </a:lnTo>
                    <a:lnTo>
                      <a:pt x="156" y="855"/>
                    </a:lnTo>
                    <a:lnTo>
                      <a:pt x="146" y="863"/>
                    </a:lnTo>
                    <a:lnTo>
                      <a:pt x="132" y="872"/>
                    </a:lnTo>
                    <a:lnTo>
                      <a:pt x="118" y="881"/>
                    </a:lnTo>
                    <a:lnTo>
                      <a:pt x="114" y="883"/>
                    </a:lnTo>
                    <a:lnTo>
                      <a:pt x="113" y="884"/>
                    </a:lnTo>
                    <a:lnTo>
                      <a:pt x="112" y="887"/>
                    </a:lnTo>
                    <a:lnTo>
                      <a:pt x="113" y="889"/>
                    </a:lnTo>
                    <a:lnTo>
                      <a:pt x="115" y="893"/>
                    </a:lnTo>
                    <a:lnTo>
                      <a:pt x="119" y="897"/>
                    </a:lnTo>
                    <a:lnTo>
                      <a:pt x="126" y="907"/>
                    </a:lnTo>
                    <a:lnTo>
                      <a:pt x="133" y="916"/>
                    </a:lnTo>
                    <a:lnTo>
                      <a:pt x="137" y="920"/>
                    </a:lnTo>
                    <a:lnTo>
                      <a:pt x="140" y="921"/>
                    </a:lnTo>
                    <a:lnTo>
                      <a:pt x="144" y="922"/>
                    </a:lnTo>
                    <a:lnTo>
                      <a:pt x="147" y="921"/>
                    </a:lnTo>
                    <a:lnTo>
                      <a:pt x="155" y="918"/>
                    </a:lnTo>
                    <a:lnTo>
                      <a:pt x="162" y="912"/>
                    </a:lnTo>
                    <a:lnTo>
                      <a:pt x="170" y="907"/>
                    </a:lnTo>
                    <a:lnTo>
                      <a:pt x="178" y="903"/>
                    </a:lnTo>
                    <a:lnTo>
                      <a:pt x="183" y="903"/>
                    </a:lnTo>
                    <a:lnTo>
                      <a:pt x="188" y="904"/>
                    </a:lnTo>
                    <a:lnTo>
                      <a:pt x="193" y="907"/>
                    </a:lnTo>
                    <a:lnTo>
                      <a:pt x="196" y="912"/>
                    </a:lnTo>
                    <a:lnTo>
                      <a:pt x="205" y="925"/>
                    </a:lnTo>
                    <a:lnTo>
                      <a:pt x="213" y="941"/>
                    </a:lnTo>
                    <a:lnTo>
                      <a:pt x="216" y="950"/>
                    </a:lnTo>
                    <a:lnTo>
                      <a:pt x="221" y="958"/>
                    </a:lnTo>
                    <a:lnTo>
                      <a:pt x="226" y="965"/>
                    </a:lnTo>
                    <a:lnTo>
                      <a:pt x="232" y="972"/>
                    </a:lnTo>
                    <a:lnTo>
                      <a:pt x="239" y="979"/>
                    </a:lnTo>
                    <a:lnTo>
                      <a:pt x="247" y="985"/>
                    </a:lnTo>
                    <a:lnTo>
                      <a:pt x="257" y="991"/>
                    </a:lnTo>
                    <a:lnTo>
                      <a:pt x="268" y="997"/>
                    </a:lnTo>
                    <a:lnTo>
                      <a:pt x="277" y="1003"/>
                    </a:lnTo>
                    <a:lnTo>
                      <a:pt x="284" y="1009"/>
                    </a:lnTo>
                    <a:lnTo>
                      <a:pt x="291" y="1014"/>
                    </a:lnTo>
                    <a:lnTo>
                      <a:pt x="295" y="1019"/>
                    </a:lnTo>
                    <a:lnTo>
                      <a:pt x="298" y="1027"/>
                    </a:lnTo>
                    <a:lnTo>
                      <a:pt x="301" y="1036"/>
                    </a:lnTo>
                    <a:lnTo>
                      <a:pt x="302" y="1041"/>
                    </a:lnTo>
                    <a:lnTo>
                      <a:pt x="304" y="1047"/>
                    </a:lnTo>
                    <a:lnTo>
                      <a:pt x="307" y="1053"/>
                    </a:lnTo>
                    <a:lnTo>
                      <a:pt x="312" y="1059"/>
                    </a:lnTo>
                    <a:lnTo>
                      <a:pt x="322" y="1067"/>
                    </a:lnTo>
                    <a:lnTo>
                      <a:pt x="332" y="1074"/>
                    </a:lnTo>
                    <a:lnTo>
                      <a:pt x="336" y="1078"/>
                    </a:lnTo>
                    <a:lnTo>
                      <a:pt x="341" y="1082"/>
                    </a:lnTo>
                    <a:lnTo>
                      <a:pt x="346" y="1086"/>
                    </a:lnTo>
                    <a:lnTo>
                      <a:pt x="350" y="1092"/>
                    </a:lnTo>
                    <a:lnTo>
                      <a:pt x="352" y="1099"/>
                    </a:lnTo>
                    <a:lnTo>
                      <a:pt x="354" y="1105"/>
                    </a:lnTo>
                    <a:lnTo>
                      <a:pt x="356" y="1111"/>
                    </a:lnTo>
                    <a:lnTo>
                      <a:pt x="356" y="1116"/>
                    </a:lnTo>
                    <a:lnTo>
                      <a:pt x="354" y="1120"/>
                    </a:lnTo>
                    <a:lnTo>
                      <a:pt x="352" y="1124"/>
                    </a:lnTo>
                    <a:lnTo>
                      <a:pt x="348" y="1128"/>
                    </a:lnTo>
                    <a:lnTo>
                      <a:pt x="344" y="1131"/>
                    </a:lnTo>
                    <a:lnTo>
                      <a:pt x="333" y="1137"/>
                    </a:lnTo>
                    <a:lnTo>
                      <a:pt x="321" y="1142"/>
                    </a:lnTo>
                    <a:lnTo>
                      <a:pt x="315" y="1145"/>
                    </a:lnTo>
                    <a:lnTo>
                      <a:pt x="312" y="1148"/>
                    </a:lnTo>
                    <a:lnTo>
                      <a:pt x="308" y="1153"/>
                    </a:lnTo>
                    <a:lnTo>
                      <a:pt x="308" y="1160"/>
                    </a:lnTo>
                    <a:lnTo>
                      <a:pt x="308" y="1167"/>
                    </a:lnTo>
                    <a:lnTo>
                      <a:pt x="309" y="1173"/>
                    </a:lnTo>
                    <a:lnTo>
                      <a:pt x="312" y="1179"/>
                    </a:lnTo>
                    <a:lnTo>
                      <a:pt x="314" y="1184"/>
                    </a:lnTo>
                    <a:lnTo>
                      <a:pt x="320" y="1194"/>
                    </a:lnTo>
                    <a:lnTo>
                      <a:pt x="323" y="1206"/>
                    </a:lnTo>
                    <a:lnTo>
                      <a:pt x="327" y="1212"/>
                    </a:lnTo>
                    <a:lnTo>
                      <a:pt x="332" y="1218"/>
                    </a:lnTo>
                    <a:lnTo>
                      <a:pt x="338" y="1224"/>
                    </a:lnTo>
                    <a:lnTo>
                      <a:pt x="345" y="1229"/>
                    </a:lnTo>
                    <a:lnTo>
                      <a:pt x="352" y="1235"/>
                    </a:lnTo>
                    <a:lnTo>
                      <a:pt x="358" y="1240"/>
                    </a:lnTo>
                    <a:lnTo>
                      <a:pt x="363" y="1244"/>
                    </a:lnTo>
                    <a:lnTo>
                      <a:pt x="366" y="1250"/>
                    </a:lnTo>
                    <a:lnTo>
                      <a:pt x="371" y="1263"/>
                    </a:lnTo>
                    <a:lnTo>
                      <a:pt x="377" y="1280"/>
                    </a:lnTo>
                    <a:lnTo>
                      <a:pt x="383" y="1298"/>
                    </a:lnTo>
                    <a:lnTo>
                      <a:pt x="388" y="1311"/>
                    </a:lnTo>
                    <a:lnTo>
                      <a:pt x="392" y="1319"/>
                    </a:lnTo>
                    <a:lnTo>
                      <a:pt x="394" y="1326"/>
                    </a:lnTo>
                    <a:lnTo>
                      <a:pt x="394" y="1334"/>
                    </a:lnTo>
                    <a:lnTo>
                      <a:pt x="392" y="1343"/>
                    </a:lnTo>
                    <a:lnTo>
                      <a:pt x="389" y="1354"/>
                    </a:lnTo>
                    <a:lnTo>
                      <a:pt x="388" y="1361"/>
                    </a:lnTo>
                    <a:lnTo>
                      <a:pt x="389" y="1364"/>
                    </a:lnTo>
                    <a:lnTo>
                      <a:pt x="390" y="1368"/>
                    </a:lnTo>
                    <a:lnTo>
                      <a:pt x="392" y="1370"/>
                    </a:lnTo>
                    <a:lnTo>
                      <a:pt x="396" y="1373"/>
                    </a:lnTo>
                    <a:lnTo>
                      <a:pt x="399" y="1376"/>
                    </a:lnTo>
                    <a:lnTo>
                      <a:pt x="402" y="1380"/>
                    </a:lnTo>
                    <a:lnTo>
                      <a:pt x="403" y="1385"/>
                    </a:lnTo>
                    <a:lnTo>
                      <a:pt x="404" y="1391"/>
                    </a:lnTo>
                    <a:lnTo>
                      <a:pt x="404" y="1397"/>
                    </a:lnTo>
                    <a:lnTo>
                      <a:pt x="403" y="1402"/>
                    </a:lnTo>
                    <a:lnTo>
                      <a:pt x="401" y="1407"/>
                    </a:lnTo>
                    <a:lnTo>
                      <a:pt x="398" y="1411"/>
                    </a:lnTo>
                    <a:lnTo>
                      <a:pt x="391" y="1418"/>
                    </a:lnTo>
                    <a:lnTo>
                      <a:pt x="383" y="1426"/>
                    </a:lnTo>
                    <a:lnTo>
                      <a:pt x="378" y="1430"/>
                    </a:lnTo>
                    <a:lnTo>
                      <a:pt x="372" y="1432"/>
                    </a:lnTo>
                    <a:lnTo>
                      <a:pt x="366" y="1436"/>
                    </a:lnTo>
                    <a:lnTo>
                      <a:pt x="359" y="1438"/>
                    </a:lnTo>
                    <a:lnTo>
                      <a:pt x="352" y="1440"/>
                    </a:lnTo>
                    <a:lnTo>
                      <a:pt x="346" y="1443"/>
                    </a:lnTo>
                    <a:lnTo>
                      <a:pt x="342" y="1445"/>
                    </a:lnTo>
                    <a:lnTo>
                      <a:pt x="339" y="1449"/>
                    </a:lnTo>
                    <a:lnTo>
                      <a:pt x="335" y="1452"/>
                    </a:lnTo>
                    <a:lnTo>
                      <a:pt x="334" y="1457"/>
                    </a:lnTo>
                    <a:lnTo>
                      <a:pt x="333" y="1463"/>
                    </a:lnTo>
                    <a:lnTo>
                      <a:pt x="333" y="1470"/>
                    </a:lnTo>
                    <a:lnTo>
                      <a:pt x="334" y="1486"/>
                    </a:lnTo>
                    <a:lnTo>
                      <a:pt x="336" y="1502"/>
                    </a:lnTo>
                    <a:lnTo>
                      <a:pt x="340" y="1519"/>
                    </a:lnTo>
                    <a:lnTo>
                      <a:pt x="342" y="1533"/>
                    </a:lnTo>
                    <a:lnTo>
                      <a:pt x="344" y="1539"/>
                    </a:lnTo>
                    <a:lnTo>
                      <a:pt x="345" y="1545"/>
                    </a:lnTo>
                    <a:lnTo>
                      <a:pt x="346" y="1549"/>
                    </a:lnTo>
                    <a:lnTo>
                      <a:pt x="347" y="1551"/>
                    </a:lnTo>
                    <a:lnTo>
                      <a:pt x="350" y="1552"/>
                    </a:lnTo>
                    <a:lnTo>
                      <a:pt x="352" y="1553"/>
                    </a:lnTo>
                    <a:lnTo>
                      <a:pt x="356" y="1553"/>
                    </a:lnTo>
                    <a:lnTo>
                      <a:pt x="360" y="1552"/>
                    </a:lnTo>
                    <a:lnTo>
                      <a:pt x="364" y="1551"/>
                    </a:lnTo>
                    <a:lnTo>
                      <a:pt x="367" y="1550"/>
                    </a:lnTo>
                    <a:lnTo>
                      <a:pt x="371" y="1551"/>
                    </a:lnTo>
                    <a:lnTo>
                      <a:pt x="373" y="1551"/>
                    </a:lnTo>
                    <a:lnTo>
                      <a:pt x="376" y="1553"/>
                    </a:lnTo>
                    <a:lnTo>
                      <a:pt x="377" y="1556"/>
                    </a:lnTo>
                    <a:lnTo>
                      <a:pt x="379" y="1561"/>
                    </a:lnTo>
                    <a:lnTo>
                      <a:pt x="380" y="1566"/>
                    </a:lnTo>
                    <a:lnTo>
                      <a:pt x="382" y="1572"/>
                    </a:lnTo>
                    <a:lnTo>
                      <a:pt x="384" y="1577"/>
                    </a:lnTo>
                    <a:lnTo>
                      <a:pt x="386" y="1582"/>
                    </a:lnTo>
                    <a:lnTo>
                      <a:pt x="390" y="1585"/>
                    </a:lnTo>
                    <a:lnTo>
                      <a:pt x="394" y="1589"/>
                    </a:lnTo>
                    <a:lnTo>
                      <a:pt x="397" y="1591"/>
                    </a:lnTo>
                    <a:lnTo>
                      <a:pt x="401" y="1594"/>
                    </a:lnTo>
                    <a:lnTo>
                      <a:pt x="405" y="1595"/>
                    </a:lnTo>
                    <a:lnTo>
                      <a:pt x="409" y="1595"/>
                    </a:lnTo>
                    <a:lnTo>
                      <a:pt x="413" y="1595"/>
                    </a:lnTo>
                    <a:lnTo>
                      <a:pt x="417" y="1594"/>
                    </a:lnTo>
                    <a:lnTo>
                      <a:pt x="421" y="1591"/>
                    </a:lnTo>
                    <a:lnTo>
                      <a:pt x="432" y="1588"/>
                    </a:lnTo>
                    <a:lnTo>
                      <a:pt x="447" y="1584"/>
                    </a:lnTo>
                    <a:lnTo>
                      <a:pt x="463" y="1583"/>
                    </a:lnTo>
                    <a:lnTo>
                      <a:pt x="472" y="1583"/>
                    </a:lnTo>
                    <a:lnTo>
                      <a:pt x="476" y="1584"/>
                    </a:lnTo>
                    <a:lnTo>
                      <a:pt x="478" y="1585"/>
                    </a:lnTo>
                    <a:lnTo>
                      <a:pt x="480" y="1588"/>
                    </a:lnTo>
                    <a:lnTo>
                      <a:pt x="482" y="1590"/>
                    </a:lnTo>
                    <a:lnTo>
                      <a:pt x="484" y="1594"/>
                    </a:lnTo>
                    <a:lnTo>
                      <a:pt x="484" y="1597"/>
                    </a:lnTo>
                    <a:lnTo>
                      <a:pt x="482" y="1600"/>
                    </a:lnTo>
                    <a:lnTo>
                      <a:pt x="477" y="1600"/>
                    </a:lnTo>
                    <a:lnTo>
                      <a:pt x="471" y="1601"/>
                    </a:lnTo>
                    <a:lnTo>
                      <a:pt x="466" y="1603"/>
                    </a:lnTo>
                    <a:lnTo>
                      <a:pt x="465" y="1606"/>
                    </a:lnTo>
                    <a:lnTo>
                      <a:pt x="464" y="1608"/>
                    </a:lnTo>
                    <a:lnTo>
                      <a:pt x="465" y="1610"/>
                    </a:lnTo>
                    <a:lnTo>
                      <a:pt x="466" y="1614"/>
                    </a:lnTo>
                    <a:lnTo>
                      <a:pt x="472" y="1622"/>
                    </a:lnTo>
                    <a:lnTo>
                      <a:pt x="479" y="1631"/>
                    </a:lnTo>
                    <a:lnTo>
                      <a:pt x="487" y="1641"/>
                    </a:lnTo>
                    <a:lnTo>
                      <a:pt x="496" y="1653"/>
                    </a:lnTo>
                    <a:lnTo>
                      <a:pt x="501" y="1664"/>
                    </a:lnTo>
                    <a:lnTo>
                      <a:pt x="504" y="1670"/>
                    </a:lnTo>
                    <a:lnTo>
                      <a:pt x="505" y="1675"/>
                    </a:lnTo>
                    <a:lnTo>
                      <a:pt x="505" y="1679"/>
                    </a:lnTo>
                    <a:lnTo>
                      <a:pt x="506" y="1683"/>
                    </a:lnTo>
                    <a:lnTo>
                      <a:pt x="508" y="1685"/>
                    </a:lnTo>
                    <a:lnTo>
                      <a:pt x="509" y="1687"/>
                    </a:lnTo>
                    <a:lnTo>
                      <a:pt x="511" y="1687"/>
                    </a:lnTo>
                    <a:lnTo>
                      <a:pt x="516" y="1685"/>
                    </a:lnTo>
                    <a:lnTo>
                      <a:pt x="522" y="1681"/>
                    </a:lnTo>
                    <a:lnTo>
                      <a:pt x="527" y="1676"/>
                    </a:lnTo>
                    <a:lnTo>
                      <a:pt x="529" y="1672"/>
                    </a:lnTo>
                    <a:lnTo>
                      <a:pt x="531" y="1671"/>
                    </a:lnTo>
                    <a:lnTo>
                      <a:pt x="535" y="1672"/>
                    </a:lnTo>
                    <a:lnTo>
                      <a:pt x="540" y="1673"/>
                    </a:lnTo>
                    <a:lnTo>
                      <a:pt x="547" y="1676"/>
                    </a:lnTo>
                    <a:lnTo>
                      <a:pt x="559" y="1681"/>
                    </a:lnTo>
                    <a:lnTo>
                      <a:pt x="564" y="1685"/>
                    </a:lnTo>
                    <a:lnTo>
                      <a:pt x="565" y="1687"/>
                    </a:lnTo>
                    <a:lnTo>
                      <a:pt x="565" y="1689"/>
                    </a:lnTo>
                    <a:lnTo>
                      <a:pt x="565" y="1691"/>
                    </a:lnTo>
                    <a:lnTo>
                      <a:pt x="562" y="1694"/>
                    </a:lnTo>
                    <a:lnTo>
                      <a:pt x="550" y="1704"/>
                    </a:lnTo>
                    <a:lnTo>
                      <a:pt x="536" y="1717"/>
                    </a:lnTo>
                    <a:lnTo>
                      <a:pt x="535" y="1720"/>
                    </a:lnTo>
                    <a:lnTo>
                      <a:pt x="534" y="1723"/>
                    </a:lnTo>
                    <a:lnTo>
                      <a:pt x="534" y="1726"/>
                    </a:lnTo>
                    <a:lnTo>
                      <a:pt x="535" y="1727"/>
                    </a:lnTo>
                    <a:lnTo>
                      <a:pt x="537" y="1728"/>
                    </a:lnTo>
                    <a:lnTo>
                      <a:pt x="541" y="1728"/>
                    </a:lnTo>
                    <a:lnTo>
                      <a:pt x="545" y="1728"/>
                    </a:lnTo>
                    <a:lnTo>
                      <a:pt x="549" y="1727"/>
                    </a:lnTo>
                    <a:lnTo>
                      <a:pt x="566" y="1719"/>
                    </a:lnTo>
                    <a:lnTo>
                      <a:pt x="578" y="1710"/>
                    </a:lnTo>
                    <a:lnTo>
                      <a:pt x="580" y="1709"/>
                    </a:lnTo>
                    <a:lnTo>
                      <a:pt x="583" y="1709"/>
                    </a:lnTo>
                    <a:lnTo>
                      <a:pt x="584" y="1710"/>
                    </a:lnTo>
                    <a:lnTo>
                      <a:pt x="585" y="1711"/>
                    </a:lnTo>
                    <a:lnTo>
                      <a:pt x="587" y="1716"/>
                    </a:lnTo>
                    <a:lnTo>
                      <a:pt x="587" y="1725"/>
                    </a:lnTo>
                    <a:lnTo>
                      <a:pt x="589" y="1728"/>
                    </a:lnTo>
                    <a:lnTo>
                      <a:pt x="590" y="1733"/>
                    </a:lnTo>
                    <a:lnTo>
                      <a:pt x="591" y="1736"/>
                    </a:lnTo>
                    <a:lnTo>
                      <a:pt x="594" y="1740"/>
                    </a:lnTo>
                    <a:lnTo>
                      <a:pt x="599" y="1747"/>
                    </a:lnTo>
                    <a:lnTo>
                      <a:pt x="604" y="1751"/>
                    </a:lnTo>
                    <a:lnTo>
                      <a:pt x="606" y="1752"/>
                    </a:lnTo>
                    <a:lnTo>
                      <a:pt x="609" y="1752"/>
                    </a:lnTo>
                    <a:lnTo>
                      <a:pt x="610" y="1751"/>
                    </a:lnTo>
                    <a:lnTo>
                      <a:pt x="612" y="1750"/>
                    </a:lnTo>
                    <a:lnTo>
                      <a:pt x="617" y="1744"/>
                    </a:lnTo>
                    <a:lnTo>
                      <a:pt x="622" y="1736"/>
                    </a:lnTo>
                    <a:lnTo>
                      <a:pt x="624" y="1733"/>
                    </a:lnTo>
                    <a:lnTo>
                      <a:pt x="628" y="1730"/>
                    </a:lnTo>
                    <a:lnTo>
                      <a:pt x="631" y="1728"/>
                    </a:lnTo>
                    <a:lnTo>
                      <a:pt x="636" y="1728"/>
                    </a:lnTo>
                    <a:lnTo>
                      <a:pt x="641" y="1729"/>
                    </a:lnTo>
                    <a:lnTo>
                      <a:pt x="644" y="1732"/>
                    </a:lnTo>
                    <a:lnTo>
                      <a:pt x="648" y="1734"/>
                    </a:lnTo>
                    <a:lnTo>
                      <a:pt x="649" y="1740"/>
                    </a:lnTo>
                    <a:lnTo>
                      <a:pt x="652" y="1750"/>
                    </a:lnTo>
                    <a:lnTo>
                      <a:pt x="654" y="1760"/>
                    </a:lnTo>
                    <a:lnTo>
                      <a:pt x="657" y="1770"/>
                    </a:lnTo>
                    <a:lnTo>
                      <a:pt x="665" y="1782"/>
                    </a:lnTo>
                    <a:lnTo>
                      <a:pt x="672" y="1793"/>
                    </a:lnTo>
                    <a:lnTo>
                      <a:pt x="678" y="1803"/>
                    </a:lnTo>
                    <a:lnTo>
                      <a:pt x="682" y="1810"/>
                    </a:lnTo>
                    <a:lnTo>
                      <a:pt x="687" y="1814"/>
                    </a:lnTo>
                    <a:lnTo>
                      <a:pt x="690" y="1815"/>
                    </a:lnTo>
                    <a:lnTo>
                      <a:pt x="693" y="1814"/>
                    </a:lnTo>
                    <a:lnTo>
                      <a:pt x="698" y="1813"/>
                    </a:lnTo>
                    <a:lnTo>
                      <a:pt x="701" y="1810"/>
                    </a:lnTo>
                    <a:lnTo>
                      <a:pt x="711" y="1803"/>
                    </a:lnTo>
                    <a:lnTo>
                      <a:pt x="719" y="1796"/>
                    </a:lnTo>
                    <a:lnTo>
                      <a:pt x="723" y="1792"/>
                    </a:lnTo>
                    <a:lnTo>
                      <a:pt x="726" y="1786"/>
                    </a:lnTo>
                    <a:lnTo>
                      <a:pt x="729" y="1780"/>
                    </a:lnTo>
                    <a:lnTo>
                      <a:pt x="731" y="1773"/>
                    </a:lnTo>
                    <a:lnTo>
                      <a:pt x="735" y="1757"/>
                    </a:lnTo>
                    <a:lnTo>
                      <a:pt x="737" y="1740"/>
                    </a:lnTo>
                    <a:lnTo>
                      <a:pt x="738" y="1730"/>
                    </a:lnTo>
                    <a:lnTo>
                      <a:pt x="738" y="1723"/>
                    </a:lnTo>
                    <a:lnTo>
                      <a:pt x="737" y="1716"/>
                    </a:lnTo>
                    <a:lnTo>
                      <a:pt x="736" y="1709"/>
                    </a:lnTo>
                    <a:lnTo>
                      <a:pt x="732" y="1697"/>
                    </a:lnTo>
                    <a:lnTo>
                      <a:pt x="731" y="1685"/>
                    </a:lnTo>
                    <a:lnTo>
                      <a:pt x="731" y="1672"/>
                    </a:lnTo>
                    <a:lnTo>
                      <a:pt x="732" y="1659"/>
                    </a:lnTo>
                    <a:lnTo>
                      <a:pt x="734" y="1647"/>
                    </a:lnTo>
                    <a:lnTo>
                      <a:pt x="732" y="1638"/>
                    </a:lnTo>
                    <a:lnTo>
                      <a:pt x="729" y="1629"/>
                    </a:lnTo>
                    <a:lnTo>
                      <a:pt x="726" y="1620"/>
                    </a:lnTo>
                    <a:lnTo>
                      <a:pt x="725" y="1615"/>
                    </a:lnTo>
                    <a:lnTo>
                      <a:pt x="724" y="1610"/>
                    </a:lnTo>
                    <a:lnTo>
                      <a:pt x="725" y="1606"/>
                    </a:lnTo>
                    <a:lnTo>
                      <a:pt x="728" y="1600"/>
                    </a:lnTo>
                    <a:lnTo>
                      <a:pt x="730" y="1595"/>
                    </a:lnTo>
                    <a:lnTo>
                      <a:pt x="735" y="1591"/>
                    </a:lnTo>
                    <a:lnTo>
                      <a:pt x="741" y="1589"/>
                    </a:lnTo>
                    <a:lnTo>
                      <a:pt x="747" y="1587"/>
                    </a:lnTo>
                    <a:lnTo>
                      <a:pt x="753" y="1587"/>
                    </a:lnTo>
                    <a:lnTo>
                      <a:pt x="759" y="1588"/>
                    </a:lnTo>
                    <a:lnTo>
                      <a:pt x="763" y="1590"/>
                    </a:lnTo>
                    <a:lnTo>
                      <a:pt x="768" y="1594"/>
                    </a:lnTo>
                    <a:lnTo>
                      <a:pt x="775" y="1602"/>
                    </a:lnTo>
                    <a:lnTo>
                      <a:pt x="783" y="1608"/>
                    </a:lnTo>
                    <a:lnTo>
                      <a:pt x="787" y="1612"/>
                    </a:lnTo>
                    <a:lnTo>
                      <a:pt x="792" y="1614"/>
                    </a:lnTo>
                    <a:lnTo>
                      <a:pt x="798" y="1615"/>
                    </a:lnTo>
                    <a:lnTo>
                      <a:pt x="804" y="1616"/>
                    </a:lnTo>
                    <a:lnTo>
                      <a:pt x="808" y="1616"/>
                    </a:lnTo>
                    <a:lnTo>
                      <a:pt x="812" y="1616"/>
                    </a:lnTo>
                    <a:lnTo>
                      <a:pt x="816" y="1615"/>
                    </a:lnTo>
                    <a:lnTo>
                      <a:pt x="817" y="1613"/>
                    </a:lnTo>
                    <a:lnTo>
                      <a:pt x="819" y="1608"/>
                    </a:lnTo>
                    <a:lnTo>
                      <a:pt x="822" y="1602"/>
                    </a:lnTo>
                    <a:lnTo>
                      <a:pt x="824" y="1599"/>
                    </a:lnTo>
                    <a:lnTo>
                      <a:pt x="827" y="1595"/>
                    </a:lnTo>
                    <a:lnTo>
                      <a:pt x="833" y="1594"/>
                    </a:lnTo>
                    <a:lnTo>
                      <a:pt x="841" y="1594"/>
                    </a:lnTo>
                    <a:lnTo>
                      <a:pt x="850" y="1595"/>
                    </a:lnTo>
                    <a:lnTo>
                      <a:pt x="861" y="1594"/>
                    </a:lnTo>
                    <a:lnTo>
                      <a:pt x="864" y="1593"/>
                    </a:lnTo>
                    <a:lnTo>
                      <a:pt x="869" y="1590"/>
                    </a:lnTo>
                    <a:lnTo>
                      <a:pt x="873" y="1587"/>
                    </a:lnTo>
                    <a:lnTo>
                      <a:pt x="876" y="1581"/>
                    </a:lnTo>
                    <a:lnTo>
                      <a:pt x="877" y="1576"/>
                    </a:lnTo>
                    <a:lnTo>
                      <a:pt x="877" y="1570"/>
                    </a:lnTo>
                    <a:lnTo>
                      <a:pt x="876" y="1565"/>
                    </a:lnTo>
                    <a:lnTo>
                      <a:pt x="874" y="1561"/>
                    </a:lnTo>
                    <a:lnTo>
                      <a:pt x="867" y="1552"/>
                    </a:lnTo>
                    <a:lnTo>
                      <a:pt x="860" y="1544"/>
                    </a:lnTo>
                    <a:lnTo>
                      <a:pt x="858" y="1542"/>
                    </a:lnTo>
                    <a:lnTo>
                      <a:pt x="857" y="1538"/>
                    </a:lnTo>
                    <a:lnTo>
                      <a:pt x="856" y="1536"/>
                    </a:lnTo>
                    <a:lnTo>
                      <a:pt x="857" y="1532"/>
                    </a:lnTo>
                    <a:lnTo>
                      <a:pt x="861" y="1526"/>
                    </a:lnTo>
                    <a:lnTo>
                      <a:pt x="868" y="1520"/>
                    </a:lnTo>
                    <a:lnTo>
                      <a:pt x="875" y="1514"/>
                    </a:lnTo>
                    <a:lnTo>
                      <a:pt x="880" y="1507"/>
                    </a:lnTo>
                    <a:lnTo>
                      <a:pt x="882" y="1499"/>
                    </a:lnTo>
                    <a:lnTo>
                      <a:pt x="886" y="1484"/>
                    </a:lnTo>
                    <a:lnTo>
                      <a:pt x="890" y="1469"/>
                    </a:lnTo>
                    <a:lnTo>
                      <a:pt x="892" y="1452"/>
                    </a:lnTo>
                    <a:lnTo>
                      <a:pt x="892" y="1445"/>
                    </a:lnTo>
                    <a:lnTo>
                      <a:pt x="892" y="1438"/>
                    </a:lnTo>
                    <a:lnTo>
                      <a:pt x="889" y="1431"/>
                    </a:lnTo>
                    <a:lnTo>
                      <a:pt x="887" y="1425"/>
                    </a:lnTo>
                    <a:lnTo>
                      <a:pt x="880" y="1412"/>
                    </a:lnTo>
                    <a:lnTo>
                      <a:pt x="873" y="1401"/>
                    </a:lnTo>
                    <a:lnTo>
                      <a:pt x="868" y="1397"/>
                    </a:lnTo>
                    <a:lnTo>
                      <a:pt x="864" y="1392"/>
                    </a:lnTo>
                    <a:lnTo>
                      <a:pt x="861" y="1389"/>
                    </a:lnTo>
                    <a:lnTo>
                      <a:pt x="857" y="1387"/>
                    </a:lnTo>
                    <a:lnTo>
                      <a:pt x="850" y="1385"/>
                    </a:lnTo>
                    <a:lnTo>
                      <a:pt x="839" y="1382"/>
                    </a:lnTo>
                    <a:lnTo>
                      <a:pt x="829" y="1379"/>
                    </a:lnTo>
                    <a:lnTo>
                      <a:pt x="818" y="1375"/>
                    </a:lnTo>
                    <a:lnTo>
                      <a:pt x="814" y="1374"/>
                    </a:lnTo>
                    <a:lnTo>
                      <a:pt x="811" y="1373"/>
                    </a:lnTo>
                    <a:lnTo>
                      <a:pt x="799" y="1366"/>
                    </a:lnTo>
                    <a:lnTo>
                      <a:pt x="788" y="1358"/>
                    </a:lnTo>
                    <a:lnTo>
                      <a:pt x="782" y="1355"/>
                    </a:lnTo>
                    <a:lnTo>
                      <a:pt x="778" y="1353"/>
                    </a:lnTo>
                    <a:lnTo>
                      <a:pt x="774" y="1351"/>
                    </a:lnTo>
                    <a:lnTo>
                      <a:pt x="770" y="1350"/>
                    </a:lnTo>
                    <a:lnTo>
                      <a:pt x="764" y="1350"/>
                    </a:lnTo>
                    <a:lnTo>
                      <a:pt x="760" y="1351"/>
                    </a:lnTo>
                    <a:lnTo>
                      <a:pt x="757" y="1353"/>
                    </a:lnTo>
                    <a:lnTo>
                      <a:pt x="754" y="1355"/>
                    </a:lnTo>
                    <a:lnTo>
                      <a:pt x="749" y="1357"/>
                    </a:lnTo>
                    <a:lnTo>
                      <a:pt x="747" y="1357"/>
                    </a:lnTo>
                    <a:lnTo>
                      <a:pt x="745" y="1355"/>
                    </a:lnTo>
                    <a:lnTo>
                      <a:pt x="744" y="1353"/>
                    </a:lnTo>
                    <a:lnTo>
                      <a:pt x="744" y="1348"/>
                    </a:lnTo>
                    <a:lnTo>
                      <a:pt x="744" y="1342"/>
                    </a:lnTo>
                    <a:lnTo>
                      <a:pt x="747" y="1326"/>
                    </a:lnTo>
                    <a:lnTo>
                      <a:pt x="749" y="1312"/>
                    </a:lnTo>
                    <a:lnTo>
                      <a:pt x="751" y="1298"/>
                    </a:lnTo>
                    <a:lnTo>
                      <a:pt x="753" y="1285"/>
                    </a:lnTo>
                    <a:lnTo>
                      <a:pt x="753" y="1279"/>
                    </a:lnTo>
                    <a:lnTo>
                      <a:pt x="753" y="1274"/>
                    </a:lnTo>
                    <a:lnTo>
                      <a:pt x="751" y="1269"/>
                    </a:lnTo>
                    <a:lnTo>
                      <a:pt x="749" y="1265"/>
                    </a:lnTo>
                    <a:lnTo>
                      <a:pt x="747" y="1261"/>
                    </a:lnTo>
                    <a:lnTo>
                      <a:pt x="743" y="1257"/>
                    </a:lnTo>
                    <a:lnTo>
                      <a:pt x="737" y="1254"/>
                    </a:lnTo>
                    <a:lnTo>
                      <a:pt x="731" y="1249"/>
                    </a:lnTo>
                    <a:lnTo>
                      <a:pt x="718" y="1242"/>
                    </a:lnTo>
                    <a:lnTo>
                      <a:pt x="710" y="1235"/>
                    </a:lnTo>
                    <a:lnTo>
                      <a:pt x="707" y="1232"/>
                    </a:lnTo>
                    <a:lnTo>
                      <a:pt x="707" y="1230"/>
                    </a:lnTo>
                    <a:lnTo>
                      <a:pt x="710" y="1229"/>
                    </a:lnTo>
                    <a:lnTo>
                      <a:pt x="715" y="1228"/>
                    </a:lnTo>
                    <a:lnTo>
                      <a:pt x="724" y="1227"/>
                    </a:lnTo>
                    <a:lnTo>
                      <a:pt x="735" y="1227"/>
                    </a:lnTo>
                    <a:lnTo>
                      <a:pt x="738" y="1225"/>
                    </a:lnTo>
                    <a:lnTo>
                      <a:pt x="742" y="1224"/>
                    </a:lnTo>
                    <a:lnTo>
                      <a:pt x="744" y="1221"/>
                    </a:lnTo>
                    <a:lnTo>
                      <a:pt x="744" y="1217"/>
                    </a:lnTo>
                    <a:lnTo>
                      <a:pt x="744" y="1204"/>
                    </a:lnTo>
                    <a:lnTo>
                      <a:pt x="743" y="1188"/>
                    </a:lnTo>
                    <a:lnTo>
                      <a:pt x="743" y="1181"/>
                    </a:lnTo>
                    <a:lnTo>
                      <a:pt x="744" y="1173"/>
                    </a:lnTo>
                    <a:lnTo>
                      <a:pt x="745" y="1167"/>
                    </a:lnTo>
                    <a:lnTo>
                      <a:pt x="748" y="1161"/>
                    </a:lnTo>
                    <a:lnTo>
                      <a:pt x="751" y="1156"/>
                    </a:lnTo>
                    <a:lnTo>
                      <a:pt x="755" y="1154"/>
                    </a:lnTo>
                    <a:lnTo>
                      <a:pt x="760" y="1152"/>
                    </a:lnTo>
                    <a:lnTo>
                      <a:pt x="763" y="1152"/>
                    </a:lnTo>
                    <a:lnTo>
                      <a:pt x="773" y="1150"/>
                    </a:lnTo>
                    <a:lnTo>
                      <a:pt x="781" y="1150"/>
                    </a:lnTo>
                    <a:lnTo>
                      <a:pt x="787" y="1149"/>
                    </a:lnTo>
                    <a:lnTo>
                      <a:pt x="792" y="1148"/>
                    </a:lnTo>
                    <a:lnTo>
                      <a:pt x="794" y="1143"/>
                    </a:lnTo>
                    <a:lnTo>
                      <a:pt x="794" y="1136"/>
                    </a:lnTo>
                    <a:lnTo>
                      <a:pt x="794" y="1128"/>
                    </a:lnTo>
                    <a:lnTo>
                      <a:pt x="795" y="1120"/>
                    </a:lnTo>
                    <a:lnTo>
                      <a:pt x="798" y="1112"/>
                    </a:lnTo>
                    <a:lnTo>
                      <a:pt x="801" y="1106"/>
                    </a:lnTo>
                    <a:lnTo>
                      <a:pt x="802" y="1104"/>
                    </a:lnTo>
                    <a:lnTo>
                      <a:pt x="805" y="1099"/>
                    </a:lnTo>
                    <a:lnTo>
                      <a:pt x="805" y="1096"/>
                    </a:lnTo>
                    <a:lnTo>
                      <a:pt x="805" y="1091"/>
                    </a:lnTo>
                    <a:lnTo>
                      <a:pt x="805" y="1086"/>
                    </a:lnTo>
                    <a:lnTo>
                      <a:pt x="804" y="1083"/>
                    </a:lnTo>
                    <a:lnTo>
                      <a:pt x="801" y="1079"/>
                    </a:lnTo>
                    <a:lnTo>
                      <a:pt x="800" y="1077"/>
                    </a:lnTo>
                    <a:lnTo>
                      <a:pt x="792" y="1074"/>
                    </a:lnTo>
                    <a:lnTo>
                      <a:pt x="783" y="1072"/>
                    </a:lnTo>
                    <a:lnTo>
                      <a:pt x="779" y="1071"/>
                    </a:lnTo>
                    <a:lnTo>
                      <a:pt x="774" y="1068"/>
                    </a:lnTo>
                    <a:lnTo>
                      <a:pt x="772" y="1066"/>
                    </a:lnTo>
                    <a:lnTo>
                      <a:pt x="769" y="1063"/>
                    </a:lnTo>
                    <a:lnTo>
                      <a:pt x="768" y="1058"/>
                    </a:lnTo>
                    <a:lnTo>
                      <a:pt x="767" y="1053"/>
                    </a:lnTo>
                    <a:lnTo>
                      <a:pt x="768" y="1049"/>
                    </a:lnTo>
                    <a:lnTo>
                      <a:pt x="768" y="1045"/>
                    </a:lnTo>
                    <a:lnTo>
                      <a:pt x="770" y="1041"/>
                    </a:lnTo>
                    <a:lnTo>
                      <a:pt x="773" y="1040"/>
                    </a:lnTo>
                    <a:lnTo>
                      <a:pt x="775" y="1040"/>
                    </a:lnTo>
                    <a:lnTo>
                      <a:pt x="779" y="1042"/>
                    </a:lnTo>
                    <a:lnTo>
                      <a:pt x="782" y="1045"/>
                    </a:lnTo>
                    <a:lnTo>
                      <a:pt x="786" y="1046"/>
                    </a:lnTo>
                    <a:lnTo>
                      <a:pt x="788" y="1047"/>
                    </a:lnTo>
                    <a:lnTo>
                      <a:pt x="792" y="1046"/>
                    </a:lnTo>
                    <a:lnTo>
                      <a:pt x="794" y="1045"/>
                    </a:lnTo>
                    <a:lnTo>
                      <a:pt x="797" y="1042"/>
                    </a:lnTo>
                    <a:lnTo>
                      <a:pt x="799" y="1038"/>
                    </a:lnTo>
                    <a:lnTo>
                      <a:pt x="800" y="1033"/>
                    </a:lnTo>
                    <a:lnTo>
                      <a:pt x="801" y="1028"/>
                    </a:lnTo>
                    <a:lnTo>
                      <a:pt x="802" y="1022"/>
                    </a:lnTo>
                    <a:lnTo>
                      <a:pt x="801" y="1016"/>
                    </a:lnTo>
                    <a:lnTo>
                      <a:pt x="801" y="1011"/>
                    </a:lnTo>
                    <a:lnTo>
                      <a:pt x="799" y="1001"/>
                    </a:lnTo>
                    <a:lnTo>
                      <a:pt x="797" y="991"/>
                    </a:lnTo>
                    <a:lnTo>
                      <a:pt x="795" y="986"/>
                    </a:lnTo>
                    <a:lnTo>
                      <a:pt x="795" y="984"/>
                    </a:lnTo>
                    <a:lnTo>
                      <a:pt x="797" y="982"/>
                    </a:lnTo>
                    <a:lnTo>
                      <a:pt x="798" y="979"/>
                    </a:lnTo>
                    <a:lnTo>
                      <a:pt x="802" y="978"/>
                    </a:lnTo>
                    <a:lnTo>
                      <a:pt x="811" y="979"/>
                    </a:lnTo>
                    <a:lnTo>
                      <a:pt x="816" y="979"/>
                    </a:lnTo>
                    <a:lnTo>
                      <a:pt x="819" y="980"/>
                    </a:lnTo>
                    <a:lnTo>
                      <a:pt x="825" y="980"/>
                    </a:lnTo>
                    <a:lnTo>
                      <a:pt x="829" y="980"/>
                    </a:lnTo>
                    <a:lnTo>
                      <a:pt x="832" y="979"/>
                    </a:lnTo>
                    <a:lnTo>
                      <a:pt x="837" y="977"/>
                    </a:lnTo>
                    <a:lnTo>
                      <a:pt x="843" y="971"/>
                    </a:lnTo>
                    <a:lnTo>
                      <a:pt x="850" y="967"/>
                    </a:lnTo>
                    <a:lnTo>
                      <a:pt x="855" y="966"/>
                    </a:lnTo>
                    <a:lnTo>
                      <a:pt x="858" y="966"/>
                    </a:lnTo>
                    <a:lnTo>
                      <a:pt x="862" y="967"/>
                    </a:lnTo>
                    <a:lnTo>
                      <a:pt x="867" y="971"/>
                    </a:lnTo>
                    <a:lnTo>
                      <a:pt x="875" y="977"/>
                    </a:lnTo>
                    <a:lnTo>
                      <a:pt x="885" y="982"/>
                    </a:lnTo>
                    <a:lnTo>
                      <a:pt x="895" y="984"/>
                    </a:lnTo>
                    <a:lnTo>
                      <a:pt x="906" y="986"/>
                    </a:lnTo>
                    <a:lnTo>
                      <a:pt x="913" y="986"/>
                    </a:lnTo>
                    <a:lnTo>
                      <a:pt x="920" y="986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8" name="甘肃"/>
              <p:cNvSpPr/>
              <p:nvPr>
                <p:custDataLst>
                  <p:tags r:id="rId45"/>
                </p:custDataLst>
              </p:nvPr>
            </p:nvSpPr>
            <p:spPr bwMode="auto">
              <a:xfrm>
                <a:off x="2810636" y="2290434"/>
                <a:ext cx="1960148" cy="1736507"/>
              </a:xfrm>
              <a:custGeom>
                <a:avLst/>
                <a:gdLst>
                  <a:gd name="T0" fmla="*/ 5071 w 5358"/>
                  <a:gd name="T1" fmla="*/ 2925 h 4735"/>
                  <a:gd name="T2" fmla="*/ 5289 w 5358"/>
                  <a:gd name="T3" fmla="*/ 3067 h 4735"/>
                  <a:gd name="T4" fmla="*/ 5306 w 5358"/>
                  <a:gd name="T5" fmla="*/ 3448 h 4735"/>
                  <a:gd name="T6" fmla="*/ 5084 w 5358"/>
                  <a:gd name="T7" fmla="*/ 3604 h 4735"/>
                  <a:gd name="T8" fmla="*/ 5043 w 5358"/>
                  <a:gd name="T9" fmla="*/ 3697 h 4735"/>
                  <a:gd name="T10" fmla="*/ 4806 w 5358"/>
                  <a:gd name="T11" fmla="*/ 3735 h 4735"/>
                  <a:gd name="T12" fmla="*/ 4594 w 5358"/>
                  <a:gd name="T13" fmla="*/ 3923 h 4735"/>
                  <a:gd name="T14" fmla="*/ 4567 w 5358"/>
                  <a:gd name="T15" fmla="*/ 4191 h 4735"/>
                  <a:gd name="T16" fmla="*/ 4457 w 5358"/>
                  <a:gd name="T17" fmla="*/ 4323 h 4735"/>
                  <a:gd name="T18" fmla="*/ 4377 w 5358"/>
                  <a:gd name="T19" fmla="*/ 4504 h 4735"/>
                  <a:gd name="T20" fmla="*/ 4158 w 5358"/>
                  <a:gd name="T21" fmla="*/ 4658 h 4735"/>
                  <a:gd name="T22" fmla="*/ 3939 w 5358"/>
                  <a:gd name="T23" fmla="*/ 4703 h 4735"/>
                  <a:gd name="T24" fmla="*/ 3791 w 5358"/>
                  <a:gd name="T25" fmla="*/ 4510 h 4735"/>
                  <a:gd name="T26" fmla="*/ 3681 w 5358"/>
                  <a:gd name="T27" fmla="*/ 4230 h 4735"/>
                  <a:gd name="T28" fmla="*/ 3405 w 5358"/>
                  <a:gd name="T29" fmla="*/ 4171 h 4735"/>
                  <a:gd name="T30" fmla="*/ 3280 w 5358"/>
                  <a:gd name="T31" fmla="*/ 3937 h 4735"/>
                  <a:gd name="T32" fmla="*/ 3083 w 5358"/>
                  <a:gd name="T33" fmla="*/ 4155 h 4735"/>
                  <a:gd name="T34" fmla="*/ 2995 w 5358"/>
                  <a:gd name="T35" fmla="*/ 4347 h 4735"/>
                  <a:gd name="T36" fmla="*/ 2936 w 5358"/>
                  <a:gd name="T37" fmla="*/ 4267 h 4735"/>
                  <a:gd name="T38" fmla="*/ 2763 w 5358"/>
                  <a:gd name="T39" fmla="*/ 4158 h 4735"/>
                  <a:gd name="T40" fmla="*/ 2555 w 5358"/>
                  <a:gd name="T41" fmla="*/ 3917 h 4735"/>
                  <a:gd name="T42" fmla="*/ 2820 w 5358"/>
                  <a:gd name="T43" fmla="*/ 3933 h 4735"/>
                  <a:gd name="T44" fmla="*/ 3047 w 5358"/>
                  <a:gd name="T45" fmla="*/ 3915 h 4735"/>
                  <a:gd name="T46" fmla="*/ 2990 w 5358"/>
                  <a:gd name="T47" fmla="*/ 3656 h 4735"/>
                  <a:gd name="T48" fmla="*/ 3224 w 5358"/>
                  <a:gd name="T49" fmla="*/ 3367 h 4735"/>
                  <a:gd name="T50" fmla="*/ 3376 w 5358"/>
                  <a:gd name="T51" fmla="*/ 3218 h 4735"/>
                  <a:gd name="T52" fmla="*/ 3278 w 5358"/>
                  <a:gd name="T53" fmla="*/ 2875 h 4735"/>
                  <a:gd name="T54" fmla="*/ 3224 w 5358"/>
                  <a:gd name="T55" fmla="*/ 2604 h 4735"/>
                  <a:gd name="T56" fmla="*/ 2986 w 5358"/>
                  <a:gd name="T57" fmla="*/ 2398 h 4735"/>
                  <a:gd name="T58" fmla="*/ 2664 w 5358"/>
                  <a:gd name="T59" fmla="*/ 2144 h 4735"/>
                  <a:gd name="T60" fmla="*/ 2518 w 5358"/>
                  <a:gd name="T61" fmla="*/ 2098 h 4735"/>
                  <a:gd name="T62" fmla="*/ 2179 w 5358"/>
                  <a:gd name="T63" fmla="*/ 1781 h 4735"/>
                  <a:gd name="T64" fmla="*/ 1922 w 5358"/>
                  <a:gd name="T65" fmla="*/ 1724 h 4735"/>
                  <a:gd name="T66" fmla="*/ 1672 w 5358"/>
                  <a:gd name="T67" fmla="*/ 1651 h 4735"/>
                  <a:gd name="T68" fmla="*/ 1503 w 5358"/>
                  <a:gd name="T69" fmla="*/ 1842 h 4735"/>
                  <a:gd name="T70" fmla="*/ 1346 w 5358"/>
                  <a:gd name="T71" fmla="*/ 2006 h 4735"/>
                  <a:gd name="T72" fmla="*/ 1038 w 5358"/>
                  <a:gd name="T73" fmla="*/ 1891 h 4735"/>
                  <a:gd name="T74" fmla="*/ 646 w 5358"/>
                  <a:gd name="T75" fmla="*/ 1760 h 4735"/>
                  <a:gd name="T76" fmla="*/ 363 w 5358"/>
                  <a:gd name="T77" fmla="*/ 1533 h 4735"/>
                  <a:gd name="T78" fmla="*/ 23 w 5358"/>
                  <a:gd name="T79" fmla="*/ 1323 h 4735"/>
                  <a:gd name="T80" fmla="*/ 287 w 5358"/>
                  <a:gd name="T81" fmla="*/ 785 h 4735"/>
                  <a:gd name="T82" fmla="*/ 826 w 5358"/>
                  <a:gd name="T83" fmla="*/ 489 h 4735"/>
                  <a:gd name="T84" fmla="*/ 1389 w 5358"/>
                  <a:gd name="T85" fmla="*/ 276 h 4735"/>
                  <a:gd name="T86" fmla="*/ 1868 w 5358"/>
                  <a:gd name="T87" fmla="*/ 359 h 4735"/>
                  <a:gd name="T88" fmla="*/ 2033 w 5358"/>
                  <a:gd name="T89" fmla="*/ 875 h 4735"/>
                  <a:gd name="T90" fmla="*/ 2161 w 5358"/>
                  <a:gd name="T91" fmla="*/ 1014 h 4735"/>
                  <a:gd name="T92" fmla="*/ 2644 w 5358"/>
                  <a:gd name="T93" fmla="*/ 1044 h 4735"/>
                  <a:gd name="T94" fmla="*/ 2450 w 5358"/>
                  <a:gd name="T95" fmla="*/ 1382 h 4735"/>
                  <a:gd name="T96" fmla="*/ 2795 w 5358"/>
                  <a:gd name="T97" fmla="*/ 1639 h 4735"/>
                  <a:gd name="T98" fmla="*/ 2999 w 5358"/>
                  <a:gd name="T99" fmla="*/ 1964 h 4735"/>
                  <a:gd name="T100" fmla="*/ 3292 w 5358"/>
                  <a:gd name="T101" fmla="*/ 1755 h 4735"/>
                  <a:gd name="T102" fmla="*/ 3830 w 5358"/>
                  <a:gd name="T103" fmla="*/ 1776 h 4735"/>
                  <a:gd name="T104" fmla="*/ 3625 w 5358"/>
                  <a:gd name="T105" fmla="*/ 2174 h 4735"/>
                  <a:gd name="T106" fmla="*/ 3836 w 5358"/>
                  <a:gd name="T107" fmla="*/ 2584 h 4735"/>
                  <a:gd name="T108" fmla="*/ 4081 w 5358"/>
                  <a:gd name="T109" fmla="*/ 2734 h 4735"/>
                  <a:gd name="T110" fmla="*/ 4231 w 5358"/>
                  <a:gd name="T111" fmla="*/ 3039 h 4735"/>
                  <a:gd name="T112" fmla="*/ 4233 w 5358"/>
                  <a:gd name="T113" fmla="*/ 3327 h 4735"/>
                  <a:gd name="T114" fmla="*/ 4393 w 5358"/>
                  <a:gd name="T115" fmla="*/ 3447 h 4735"/>
                  <a:gd name="T116" fmla="*/ 4525 w 5358"/>
                  <a:gd name="T117" fmla="*/ 3558 h 4735"/>
                  <a:gd name="T118" fmla="*/ 4679 w 5358"/>
                  <a:gd name="T119" fmla="*/ 3384 h 4735"/>
                  <a:gd name="T120" fmla="*/ 4620 w 5358"/>
                  <a:gd name="T121" fmla="*/ 3127 h 4735"/>
                  <a:gd name="T122" fmla="*/ 4658 w 5358"/>
                  <a:gd name="T123" fmla="*/ 2888 h 4735"/>
                  <a:gd name="T124" fmla="*/ 4718 w 5358"/>
                  <a:gd name="T125" fmla="*/ 2742 h 4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358" h="4735">
                    <a:moveTo>
                      <a:pt x="4783" y="2762"/>
                    </a:moveTo>
                    <a:lnTo>
                      <a:pt x="4788" y="2761"/>
                    </a:lnTo>
                    <a:lnTo>
                      <a:pt x="4797" y="2759"/>
                    </a:lnTo>
                    <a:lnTo>
                      <a:pt x="4806" y="2755"/>
                    </a:lnTo>
                    <a:lnTo>
                      <a:pt x="4818" y="2754"/>
                    </a:lnTo>
                    <a:lnTo>
                      <a:pt x="4832" y="2753"/>
                    </a:lnTo>
                    <a:lnTo>
                      <a:pt x="4846" y="2753"/>
                    </a:lnTo>
                    <a:lnTo>
                      <a:pt x="4851" y="2754"/>
                    </a:lnTo>
                    <a:lnTo>
                      <a:pt x="4856" y="2755"/>
                    </a:lnTo>
                    <a:lnTo>
                      <a:pt x="4861" y="2756"/>
                    </a:lnTo>
                    <a:lnTo>
                      <a:pt x="4865" y="2759"/>
                    </a:lnTo>
                    <a:lnTo>
                      <a:pt x="4871" y="2764"/>
                    </a:lnTo>
                    <a:lnTo>
                      <a:pt x="4878" y="2770"/>
                    </a:lnTo>
                    <a:lnTo>
                      <a:pt x="4880" y="2773"/>
                    </a:lnTo>
                    <a:lnTo>
                      <a:pt x="4882" y="2777"/>
                    </a:lnTo>
                    <a:lnTo>
                      <a:pt x="4884" y="2780"/>
                    </a:lnTo>
                    <a:lnTo>
                      <a:pt x="4885" y="2784"/>
                    </a:lnTo>
                    <a:lnTo>
                      <a:pt x="4882" y="2798"/>
                    </a:lnTo>
                    <a:lnTo>
                      <a:pt x="4878" y="2812"/>
                    </a:lnTo>
                    <a:lnTo>
                      <a:pt x="4876" y="2822"/>
                    </a:lnTo>
                    <a:lnTo>
                      <a:pt x="4876" y="2830"/>
                    </a:lnTo>
                    <a:lnTo>
                      <a:pt x="4876" y="2837"/>
                    </a:lnTo>
                    <a:lnTo>
                      <a:pt x="4878" y="2843"/>
                    </a:lnTo>
                    <a:lnTo>
                      <a:pt x="4878" y="2849"/>
                    </a:lnTo>
                    <a:lnTo>
                      <a:pt x="4879" y="2854"/>
                    </a:lnTo>
                    <a:lnTo>
                      <a:pt x="4879" y="2855"/>
                    </a:lnTo>
                    <a:lnTo>
                      <a:pt x="4880" y="2856"/>
                    </a:lnTo>
                    <a:lnTo>
                      <a:pt x="4891" y="2859"/>
                    </a:lnTo>
                    <a:lnTo>
                      <a:pt x="4907" y="2859"/>
                    </a:lnTo>
                    <a:lnTo>
                      <a:pt x="4917" y="2859"/>
                    </a:lnTo>
                    <a:lnTo>
                      <a:pt x="4929" y="2860"/>
                    </a:lnTo>
                    <a:lnTo>
                      <a:pt x="4941" y="2862"/>
                    </a:lnTo>
                    <a:lnTo>
                      <a:pt x="4954" y="2866"/>
                    </a:lnTo>
                    <a:lnTo>
                      <a:pt x="4956" y="2871"/>
                    </a:lnTo>
                    <a:lnTo>
                      <a:pt x="4958" y="2878"/>
                    </a:lnTo>
                    <a:lnTo>
                      <a:pt x="4960" y="2880"/>
                    </a:lnTo>
                    <a:lnTo>
                      <a:pt x="4960" y="2884"/>
                    </a:lnTo>
                    <a:lnTo>
                      <a:pt x="4962" y="2888"/>
                    </a:lnTo>
                    <a:lnTo>
                      <a:pt x="4964" y="2891"/>
                    </a:lnTo>
                    <a:lnTo>
                      <a:pt x="4968" y="2893"/>
                    </a:lnTo>
                    <a:lnTo>
                      <a:pt x="4970" y="2894"/>
                    </a:lnTo>
                    <a:lnTo>
                      <a:pt x="4975" y="2896"/>
                    </a:lnTo>
                    <a:lnTo>
                      <a:pt x="4980" y="2894"/>
                    </a:lnTo>
                    <a:lnTo>
                      <a:pt x="4987" y="2894"/>
                    </a:lnTo>
                    <a:lnTo>
                      <a:pt x="4994" y="2893"/>
                    </a:lnTo>
                    <a:lnTo>
                      <a:pt x="5002" y="2892"/>
                    </a:lnTo>
                    <a:lnTo>
                      <a:pt x="5011" y="2892"/>
                    </a:lnTo>
                    <a:lnTo>
                      <a:pt x="5024" y="2898"/>
                    </a:lnTo>
                    <a:lnTo>
                      <a:pt x="5036" y="2905"/>
                    </a:lnTo>
                    <a:lnTo>
                      <a:pt x="5055" y="2916"/>
                    </a:lnTo>
                    <a:lnTo>
                      <a:pt x="5071" y="2925"/>
                    </a:lnTo>
                    <a:lnTo>
                      <a:pt x="5076" y="2929"/>
                    </a:lnTo>
                    <a:lnTo>
                      <a:pt x="5081" y="2932"/>
                    </a:lnTo>
                    <a:lnTo>
                      <a:pt x="5084" y="2936"/>
                    </a:lnTo>
                    <a:lnTo>
                      <a:pt x="5088" y="2941"/>
                    </a:lnTo>
                    <a:lnTo>
                      <a:pt x="5089" y="2944"/>
                    </a:lnTo>
                    <a:lnTo>
                      <a:pt x="5089" y="2949"/>
                    </a:lnTo>
                    <a:lnTo>
                      <a:pt x="5090" y="2955"/>
                    </a:lnTo>
                    <a:lnTo>
                      <a:pt x="5093" y="2962"/>
                    </a:lnTo>
                    <a:lnTo>
                      <a:pt x="5095" y="2967"/>
                    </a:lnTo>
                    <a:lnTo>
                      <a:pt x="5099" y="2970"/>
                    </a:lnTo>
                    <a:lnTo>
                      <a:pt x="5104" y="2972"/>
                    </a:lnTo>
                    <a:lnTo>
                      <a:pt x="5107" y="2970"/>
                    </a:lnTo>
                    <a:lnTo>
                      <a:pt x="5111" y="2969"/>
                    </a:lnTo>
                    <a:lnTo>
                      <a:pt x="5115" y="2968"/>
                    </a:lnTo>
                    <a:lnTo>
                      <a:pt x="5118" y="2968"/>
                    </a:lnTo>
                    <a:lnTo>
                      <a:pt x="5121" y="2969"/>
                    </a:lnTo>
                    <a:lnTo>
                      <a:pt x="5123" y="2970"/>
                    </a:lnTo>
                    <a:lnTo>
                      <a:pt x="5125" y="2974"/>
                    </a:lnTo>
                    <a:lnTo>
                      <a:pt x="5127" y="2980"/>
                    </a:lnTo>
                    <a:lnTo>
                      <a:pt x="5128" y="2987"/>
                    </a:lnTo>
                    <a:lnTo>
                      <a:pt x="5131" y="2992"/>
                    </a:lnTo>
                    <a:lnTo>
                      <a:pt x="5133" y="2997"/>
                    </a:lnTo>
                    <a:lnTo>
                      <a:pt x="5139" y="3004"/>
                    </a:lnTo>
                    <a:lnTo>
                      <a:pt x="5144" y="3010"/>
                    </a:lnTo>
                    <a:lnTo>
                      <a:pt x="5151" y="3014"/>
                    </a:lnTo>
                    <a:lnTo>
                      <a:pt x="5158" y="3019"/>
                    </a:lnTo>
                    <a:lnTo>
                      <a:pt x="5164" y="3020"/>
                    </a:lnTo>
                    <a:lnTo>
                      <a:pt x="5170" y="3022"/>
                    </a:lnTo>
                    <a:lnTo>
                      <a:pt x="5172" y="3020"/>
                    </a:lnTo>
                    <a:lnTo>
                      <a:pt x="5176" y="3019"/>
                    </a:lnTo>
                    <a:lnTo>
                      <a:pt x="5177" y="3017"/>
                    </a:lnTo>
                    <a:lnTo>
                      <a:pt x="5178" y="3016"/>
                    </a:lnTo>
                    <a:lnTo>
                      <a:pt x="5180" y="3013"/>
                    </a:lnTo>
                    <a:lnTo>
                      <a:pt x="5182" y="3010"/>
                    </a:lnTo>
                    <a:lnTo>
                      <a:pt x="5184" y="3007"/>
                    </a:lnTo>
                    <a:lnTo>
                      <a:pt x="5188" y="3007"/>
                    </a:lnTo>
                    <a:lnTo>
                      <a:pt x="5195" y="3011"/>
                    </a:lnTo>
                    <a:lnTo>
                      <a:pt x="5202" y="3018"/>
                    </a:lnTo>
                    <a:lnTo>
                      <a:pt x="5210" y="3022"/>
                    </a:lnTo>
                    <a:lnTo>
                      <a:pt x="5220" y="3025"/>
                    </a:lnTo>
                    <a:lnTo>
                      <a:pt x="5230" y="3030"/>
                    </a:lnTo>
                    <a:lnTo>
                      <a:pt x="5240" y="3037"/>
                    </a:lnTo>
                    <a:lnTo>
                      <a:pt x="5249" y="3050"/>
                    </a:lnTo>
                    <a:lnTo>
                      <a:pt x="5257" y="3064"/>
                    </a:lnTo>
                    <a:lnTo>
                      <a:pt x="5259" y="3067"/>
                    </a:lnTo>
                    <a:lnTo>
                      <a:pt x="5262" y="3068"/>
                    </a:lnTo>
                    <a:lnTo>
                      <a:pt x="5264" y="3068"/>
                    </a:lnTo>
                    <a:lnTo>
                      <a:pt x="5268" y="3069"/>
                    </a:lnTo>
                    <a:lnTo>
                      <a:pt x="5275" y="3068"/>
                    </a:lnTo>
                    <a:lnTo>
                      <a:pt x="5282" y="3068"/>
                    </a:lnTo>
                    <a:lnTo>
                      <a:pt x="5289" y="3067"/>
                    </a:lnTo>
                    <a:lnTo>
                      <a:pt x="5297" y="3067"/>
                    </a:lnTo>
                    <a:lnTo>
                      <a:pt x="5304" y="3069"/>
                    </a:lnTo>
                    <a:lnTo>
                      <a:pt x="5312" y="3073"/>
                    </a:lnTo>
                    <a:lnTo>
                      <a:pt x="5325" y="3081"/>
                    </a:lnTo>
                    <a:lnTo>
                      <a:pt x="5337" y="3089"/>
                    </a:lnTo>
                    <a:lnTo>
                      <a:pt x="5344" y="3094"/>
                    </a:lnTo>
                    <a:lnTo>
                      <a:pt x="5350" y="3099"/>
                    </a:lnTo>
                    <a:lnTo>
                      <a:pt x="5354" y="3105"/>
                    </a:lnTo>
                    <a:lnTo>
                      <a:pt x="5358" y="3111"/>
                    </a:lnTo>
                    <a:lnTo>
                      <a:pt x="5358" y="3115"/>
                    </a:lnTo>
                    <a:lnTo>
                      <a:pt x="5358" y="3121"/>
                    </a:lnTo>
                    <a:lnTo>
                      <a:pt x="5357" y="3126"/>
                    </a:lnTo>
                    <a:lnTo>
                      <a:pt x="5356" y="3132"/>
                    </a:lnTo>
                    <a:lnTo>
                      <a:pt x="5347" y="3143"/>
                    </a:lnTo>
                    <a:lnTo>
                      <a:pt x="5341" y="3152"/>
                    </a:lnTo>
                    <a:lnTo>
                      <a:pt x="5340" y="3158"/>
                    </a:lnTo>
                    <a:lnTo>
                      <a:pt x="5340" y="3163"/>
                    </a:lnTo>
                    <a:lnTo>
                      <a:pt x="5340" y="3168"/>
                    </a:lnTo>
                    <a:lnTo>
                      <a:pt x="5341" y="3171"/>
                    </a:lnTo>
                    <a:lnTo>
                      <a:pt x="5344" y="3176"/>
                    </a:lnTo>
                    <a:lnTo>
                      <a:pt x="5347" y="3182"/>
                    </a:lnTo>
                    <a:lnTo>
                      <a:pt x="5350" y="3190"/>
                    </a:lnTo>
                    <a:lnTo>
                      <a:pt x="5352" y="3200"/>
                    </a:lnTo>
                    <a:lnTo>
                      <a:pt x="5354" y="3216"/>
                    </a:lnTo>
                    <a:lnTo>
                      <a:pt x="5356" y="3233"/>
                    </a:lnTo>
                    <a:lnTo>
                      <a:pt x="5356" y="3240"/>
                    </a:lnTo>
                    <a:lnTo>
                      <a:pt x="5354" y="3249"/>
                    </a:lnTo>
                    <a:lnTo>
                      <a:pt x="5353" y="3256"/>
                    </a:lnTo>
                    <a:lnTo>
                      <a:pt x="5351" y="3262"/>
                    </a:lnTo>
                    <a:lnTo>
                      <a:pt x="5347" y="3269"/>
                    </a:lnTo>
                    <a:lnTo>
                      <a:pt x="5344" y="3275"/>
                    </a:lnTo>
                    <a:lnTo>
                      <a:pt x="5339" y="3279"/>
                    </a:lnTo>
                    <a:lnTo>
                      <a:pt x="5333" y="3285"/>
                    </a:lnTo>
                    <a:lnTo>
                      <a:pt x="5322" y="3295"/>
                    </a:lnTo>
                    <a:lnTo>
                      <a:pt x="5310" y="3304"/>
                    </a:lnTo>
                    <a:lnTo>
                      <a:pt x="5304" y="3309"/>
                    </a:lnTo>
                    <a:lnTo>
                      <a:pt x="5298" y="3315"/>
                    </a:lnTo>
                    <a:lnTo>
                      <a:pt x="5295" y="3321"/>
                    </a:lnTo>
                    <a:lnTo>
                      <a:pt x="5291" y="3328"/>
                    </a:lnTo>
                    <a:lnTo>
                      <a:pt x="5290" y="3341"/>
                    </a:lnTo>
                    <a:lnTo>
                      <a:pt x="5290" y="3356"/>
                    </a:lnTo>
                    <a:lnTo>
                      <a:pt x="5290" y="3372"/>
                    </a:lnTo>
                    <a:lnTo>
                      <a:pt x="5293" y="3388"/>
                    </a:lnTo>
                    <a:lnTo>
                      <a:pt x="5293" y="3394"/>
                    </a:lnTo>
                    <a:lnTo>
                      <a:pt x="5293" y="3400"/>
                    </a:lnTo>
                    <a:lnTo>
                      <a:pt x="5296" y="3417"/>
                    </a:lnTo>
                    <a:lnTo>
                      <a:pt x="5298" y="3433"/>
                    </a:lnTo>
                    <a:lnTo>
                      <a:pt x="5301" y="3440"/>
                    </a:lnTo>
                    <a:lnTo>
                      <a:pt x="5303" y="3446"/>
                    </a:lnTo>
                    <a:lnTo>
                      <a:pt x="5304" y="3447"/>
                    </a:lnTo>
                    <a:lnTo>
                      <a:pt x="5306" y="3448"/>
                    </a:lnTo>
                    <a:lnTo>
                      <a:pt x="5306" y="3448"/>
                    </a:lnTo>
                    <a:lnTo>
                      <a:pt x="5307" y="3449"/>
                    </a:lnTo>
                    <a:lnTo>
                      <a:pt x="5308" y="3451"/>
                    </a:lnTo>
                    <a:lnTo>
                      <a:pt x="5310" y="3452"/>
                    </a:lnTo>
                    <a:lnTo>
                      <a:pt x="5313" y="3457"/>
                    </a:lnTo>
                    <a:lnTo>
                      <a:pt x="5315" y="3461"/>
                    </a:lnTo>
                    <a:lnTo>
                      <a:pt x="5316" y="3467"/>
                    </a:lnTo>
                    <a:lnTo>
                      <a:pt x="5317" y="3473"/>
                    </a:lnTo>
                    <a:lnTo>
                      <a:pt x="5319" y="3486"/>
                    </a:lnTo>
                    <a:lnTo>
                      <a:pt x="5319" y="3498"/>
                    </a:lnTo>
                    <a:lnTo>
                      <a:pt x="5320" y="3514"/>
                    </a:lnTo>
                    <a:lnTo>
                      <a:pt x="5321" y="3523"/>
                    </a:lnTo>
                    <a:lnTo>
                      <a:pt x="5320" y="3531"/>
                    </a:lnTo>
                    <a:lnTo>
                      <a:pt x="5319" y="3541"/>
                    </a:lnTo>
                    <a:lnTo>
                      <a:pt x="5316" y="3547"/>
                    </a:lnTo>
                    <a:lnTo>
                      <a:pt x="5313" y="3553"/>
                    </a:lnTo>
                    <a:lnTo>
                      <a:pt x="5308" y="3558"/>
                    </a:lnTo>
                    <a:lnTo>
                      <a:pt x="5304" y="3561"/>
                    </a:lnTo>
                    <a:lnTo>
                      <a:pt x="5301" y="3565"/>
                    </a:lnTo>
                    <a:lnTo>
                      <a:pt x="5297" y="3567"/>
                    </a:lnTo>
                    <a:lnTo>
                      <a:pt x="5290" y="3572"/>
                    </a:lnTo>
                    <a:lnTo>
                      <a:pt x="5283" y="3577"/>
                    </a:lnTo>
                    <a:lnTo>
                      <a:pt x="5276" y="3580"/>
                    </a:lnTo>
                    <a:lnTo>
                      <a:pt x="5268" y="3584"/>
                    </a:lnTo>
                    <a:lnTo>
                      <a:pt x="5262" y="3586"/>
                    </a:lnTo>
                    <a:lnTo>
                      <a:pt x="5254" y="3589"/>
                    </a:lnTo>
                    <a:lnTo>
                      <a:pt x="5240" y="3590"/>
                    </a:lnTo>
                    <a:lnTo>
                      <a:pt x="5224" y="3590"/>
                    </a:lnTo>
                    <a:lnTo>
                      <a:pt x="5212" y="3589"/>
                    </a:lnTo>
                    <a:lnTo>
                      <a:pt x="5200" y="3586"/>
                    </a:lnTo>
                    <a:lnTo>
                      <a:pt x="5193" y="3585"/>
                    </a:lnTo>
                    <a:lnTo>
                      <a:pt x="5188" y="3581"/>
                    </a:lnTo>
                    <a:lnTo>
                      <a:pt x="5184" y="3579"/>
                    </a:lnTo>
                    <a:lnTo>
                      <a:pt x="5180" y="3575"/>
                    </a:lnTo>
                    <a:lnTo>
                      <a:pt x="5176" y="3574"/>
                    </a:lnTo>
                    <a:lnTo>
                      <a:pt x="5170" y="3573"/>
                    </a:lnTo>
                    <a:lnTo>
                      <a:pt x="5167" y="3573"/>
                    </a:lnTo>
                    <a:lnTo>
                      <a:pt x="5162" y="3573"/>
                    </a:lnTo>
                    <a:lnTo>
                      <a:pt x="5152" y="3575"/>
                    </a:lnTo>
                    <a:lnTo>
                      <a:pt x="5140" y="3580"/>
                    </a:lnTo>
                    <a:lnTo>
                      <a:pt x="5131" y="3585"/>
                    </a:lnTo>
                    <a:lnTo>
                      <a:pt x="5120" y="3592"/>
                    </a:lnTo>
                    <a:lnTo>
                      <a:pt x="5112" y="3596"/>
                    </a:lnTo>
                    <a:lnTo>
                      <a:pt x="5104" y="3602"/>
                    </a:lnTo>
                    <a:lnTo>
                      <a:pt x="5100" y="3605"/>
                    </a:lnTo>
                    <a:lnTo>
                      <a:pt x="5095" y="3608"/>
                    </a:lnTo>
                    <a:lnTo>
                      <a:pt x="5090" y="3610"/>
                    </a:lnTo>
                    <a:lnTo>
                      <a:pt x="5088" y="3611"/>
                    </a:lnTo>
                    <a:lnTo>
                      <a:pt x="5086" y="3610"/>
                    </a:lnTo>
                    <a:lnTo>
                      <a:pt x="5084" y="3608"/>
                    </a:lnTo>
                    <a:lnTo>
                      <a:pt x="5084" y="3604"/>
                    </a:lnTo>
                    <a:lnTo>
                      <a:pt x="5083" y="3600"/>
                    </a:lnTo>
                    <a:lnTo>
                      <a:pt x="5082" y="3597"/>
                    </a:lnTo>
                    <a:lnTo>
                      <a:pt x="5080" y="3594"/>
                    </a:lnTo>
                    <a:lnTo>
                      <a:pt x="5079" y="3593"/>
                    </a:lnTo>
                    <a:lnTo>
                      <a:pt x="5077" y="3593"/>
                    </a:lnTo>
                    <a:lnTo>
                      <a:pt x="5076" y="3592"/>
                    </a:lnTo>
                    <a:lnTo>
                      <a:pt x="5075" y="3592"/>
                    </a:lnTo>
                    <a:lnTo>
                      <a:pt x="5067" y="3590"/>
                    </a:lnTo>
                    <a:lnTo>
                      <a:pt x="5057" y="3587"/>
                    </a:lnTo>
                    <a:lnTo>
                      <a:pt x="5049" y="3584"/>
                    </a:lnTo>
                    <a:lnTo>
                      <a:pt x="5041" y="3579"/>
                    </a:lnTo>
                    <a:lnTo>
                      <a:pt x="5036" y="3574"/>
                    </a:lnTo>
                    <a:lnTo>
                      <a:pt x="5031" y="3571"/>
                    </a:lnTo>
                    <a:lnTo>
                      <a:pt x="5029" y="3568"/>
                    </a:lnTo>
                    <a:lnTo>
                      <a:pt x="5027" y="3567"/>
                    </a:lnTo>
                    <a:lnTo>
                      <a:pt x="5026" y="3567"/>
                    </a:lnTo>
                    <a:lnTo>
                      <a:pt x="5026" y="3566"/>
                    </a:lnTo>
                    <a:lnTo>
                      <a:pt x="5025" y="3567"/>
                    </a:lnTo>
                    <a:lnTo>
                      <a:pt x="5024" y="3567"/>
                    </a:lnTo>
                    <a:lnTo>
                      <a:pt x="5024" y="3568"/>
                    </a:lnTo>
                    <a:lnTo>
                      <a:pt x="5023" y="3568"/>
                    </a:lnTo>
                    <a:lnTo>
                      <a:pt x="5021" y="3571"/>
                    </a:lnTo>
                    <a:lnTo>
                      <a:pt x="5020" y="3573"/>
                    </a:lnTo>
                    <a:lnTo>
                      <a:pt x="5017" y="3579"/>
                    </a:lnTo>
                    <a:lnTo>
                      <a:pt x="5013" y="3585"/>
                    </a:lnTo>
                    <a:lnTo>
                      <a:pt x="5008" y="3591"/>
                    </a:lnTo>
                    <a:lnTo>
                      <a:pt x="5001" y="3597"/>
                    </a:lnTo>
                    <a:lnTo>
                      <a:pt x="4998" y="3598"/>
                    </a:lnTo>
                    <a:lnTo>
                      <a:pt x="4994" y="3600"/>
                    </a:lnTo>
                    <a:lnTo>
                      <a:pt x="4992" y="3603"/>
                    </a:lnTo>
                    <a:lnTo>
                      <a:pt x="4988" y="3608"/>
                    </a:lnTo>
                    <a:lnTo>
                      <a:pt x="4988" y="3610"/>
                    </a:lnTo>
                    <a:lnTo>
                      <a:pt x="4989" y="3611"/>
                    </a:lnTo>
                    <a:lnTo>
                      <a:pt x="4991" y="3613"/>
                    </a:lnTo>
                    <a:lnTo>
                      <a:pt x="4994" y="3616"/>
                    </a:lnTo>
                    <a:lnTo>
                      <a:pt x="5000" y="3618"/>
                    </a:lnTo>
                    <a:lnTo>
                      <a:pt x="5006" y="3622"/>
                    </a:lnTo>
                    <a:lnTo>
                      <a:pt x="5007" y="3627"/>
                    </a:lnTo>
                    <a:lnTo>
                      <a:pt x="5007" y="3632"/>
                    </a:lnTo>
                    <a:lnTo>
                      <a:pt x="5007" y="3638"/>
                    </a:lnTo>
                    <a:lnTo>
                      <a:pt x="5007" y="3647"/>
                    </a:lnTo>
                    <a:lnTo>
                      <a:pt x="5008" y="3652"/>
                    </a:lnTo>
                    <a:lnTo>
                      <a:pt x="5010" y="3656"/>
                    </a:lnTo>
                    <a:lnTo>
                      <a:pt x="5011" y="3660"/>
                    </a:lnTo>
                    <a:lnTo>
                      <a:pt x="5014" y="3666"/>
                    </a:lnTo>
                    <a:lnTo>
                      <a:pt x="5019" y="3671"/>
                    </a:lnTo>
                    <a:lnTo>
                      <a:pt x="5024" y="3676"/>
                    </a:lnTo>
                    <a:lnTo>
                      <a:pt x="5031" y="3682"/>
                    </a:lnTo>
                    <a:lnTo>
                      <a:pt x="5038" y="3690"/>
                    </a:lnTo>
                    <a:lnTo>
                      <a:pt x="5041" y="3693"/>
                    </a:lnTo>
                    <a:lnTo>
                      <a:pt x="5043" y="3697"/>
                    </a:lnTo>
                    <a:lnTo>
                      <a:pt x="5045" y="3703"/>
                    </a:lnTo>
                    <a:lnTo>
                      <a:pt x="5046" y="3709"/>
                    </a:lnTo>
                    <a:lnTo>
                      <a:pt x="5046" y="3713"/>
                    </a:lnTo>
                    <a:lnTo>
                      <a:pt x="5045" y="3718"/>
                    </a:lnTo>
                    <a:lnTo>
                      <a:pt x="5044" y="3720"/>
                    </a:lnTo>
                    <a:lnTo>
                      <a:pt x="5042" y="3723"/>
                    </a:lnTo>
                    <a:lnTo>
                      <a:pt x="5041" y="3725"/>
                    </a:lnTo>
                    <a:lnTo>
                      <a:pt x="5038" y="3726"/>
                    </a:lnTo>
                    <a:lnTo>
                      <a:pt x="5035" y="3729"/>
                    </a:lnTo>
                    <a:lnTo>
                      <a:pt x="5031" y="3730"/>
                    </a:lnTo>
                    <a:lnTo>
                      <a:pt x="5024" y="3732"/>
                    </a:lnTo>
                    <a:lnTo>
                      <a:pt x="5017" y="3734"/>
                    </a:lnTo>
                    <a:lnTo>
                      <a:pt x="5007" y="3734"/>
                    </a:lnTo>
                    <a:lnTo>
                      <a:pt x="4997" y="3734"/>
                    </a:lnTo>
                    <a:lnTo>
                      <a:pt x="4992" y="3732"/>
                    </a:lnTo>
                    <a:lnTo>
                      <a:pt x="4987" y="3732"/>
                    </a:lnTo>
                    <a:lnTo>
                      <a:pt x="4982" y="3731"/>
                    </a:lnTo>
                    <a:lnTo>
                      <a:pt x="4976" y="3730"/>
                    </a:lnTo>
                    <a:lnTo>
                      <a:pt x="4972" y="3730"/>
                    </a:lnTo>
                    <a:lnTo>
                      <a:pt x="4967" y="3730"/>
                    </a:lnTo>
                    <a:lnTo>
                      <a:pt x="4960" y="3730"/>
                    </a:lnTo>
                    <a:lnTo>
                      <a:pt x="4956" y="3731"/>
                    </a:lnTo>
                    <a:lnTo>
                      <a:pt x="4948" y="3735"/>
                    </a:lnTo>
                    <a:lnTo>
                      <a:pt x="4941" y="3739"/>
                    </a:lnTo>
                    <a:lnTo>
                      <a:pt x="4932" y="3743"/>
                    </a:lnTo>
                    <a:lnTo>
                      <a:pt x="4924" y="3745"/>
                    </a:lnTo>
                    <a:lnTo>
                      <a:pt x="4918" y="3745"/>
                    </a:lnTo>
                    <a:lnTo>
                      <a:pt x="4912" y="3744"/>
                    </a:lnTo>
                    <a:lnTo>
                      <a:pt x="4907" y="3743"/>
                    </a:lnTo>
                    <a:lnTo>
                      <a:pt x="4901" y="3741"/>
                    </a:lnTo>
                    <a:lnTo>
                      <a:pt x="4893" y="3737"/>
                    </a:lnTo>
                    <a:lnTo>
                      <a:pt x="4884" y="3736"/>
                    </a:lnTo>
                    <a:lnTo>
                      <a:pt x="4878" y="3735"/>
                    </a:lnTo>
                    <a:lnTo>
                      <a:pt x="4871" y="3735"/>
                    </a:lnTo>
                    <a:lnTo>
                      <a:pt x="4865" y="3736"/>
                    </a:lnTo>
                    <a:lnTo>
                      <a:pt x="4860" y="3736"/>
                    </a:lnTo>
                    <a:lnTo>
                      <a:pt x="4851" y="3739"/>
                    </a:lnTo>
                    <a:lnTo>
                      <a:pt x="4842" y="3747"/>
                    </a:lnTo>
                    <a:lnTo>
                      <a:pt x="4840" y="3748"/>
                    </a:lnTo>
                    <a:lnTo>
                      <a:pt x="4838" y="3750"/>
                    </a:lnTo>
                    <a:lnTo>
                      <a:pt x="4836" y="3751"/>
                    </a:lnTo>
                    <a:lnTo>
                      <a:pt x="4834" y="3754"/>
                    </a:lnTo>
                    <a:lnTo>
                      <a:pt x="4830" y="3755"/>
                    </a:lnTo>
                    <a:lnTo>
                      <a:pt x="4827" y="3756"/>
                    </a:lnTo>
                    <a:lnTo>
                      <a:pt x="4825" y="3756"/>
                    </a:lnTo>
                    <a:lnTo>
                      <a:pt x="4824" y="3755"/>
                    </a:lnTo>
                    <a:lnTo>
                      <a:pt x="4821" y="3754"/>
                    </a:lnTo>
                    <a:lnTo>
                      <a:pt x="4818" y="3751"/>
                    </a:lnTo>
                    <a:lnTo>
                      <a:pt x="4813" y="3745"/>
                    </a:lnTo>
                    <a:lnTo>
                      <a:pt x="4810" y="3738"/>
                    </a:lnTo>
                    <a:lnTo>
                      <a:pt x="4806" y="3735"/>
                    </a:lnTo>
                    <a:lnTo>
                      <a:pt x="4804" y="3730"/>
                    </a:lnTo>
                    <a:lnTo>
                      <a:pt x="4791" y="3713"/>
                    </a:lnTo>
                    <a:lnTo>
                      <a:pt x="4780" y="3700"/>
                    </a:lnTo>
                    <a:lnTo>
                      <a:pt x="4773" y="3692"/>
                    </a:lnTo>
                    <a:lnTo>
                      <a:pt x="4765" y="3685"/>
                    </a:lnTo>
                    <a:lnTo>
                      <a:pt x="4755" y="3678"/>
                    </a:lnTo>
                    <a:lnTo>
                      <a:pt x="4746" y="3672"/>
                    </a:lnTo>
                    <a:lnTo>
                      <a:pt x="4736" y="3667"/>
                    </a:lnTo>
                    <a:lnTo>
                      <a:pt x="4725" y="3662"/>
                    </a:lnTo>
                    <a:lnTo>
                      <a:pt x="4714" y="3659"/>
                    </a:lnTo>
                    <a:lnTo>
                      <a:pt x="4702" y="3656"/>
                    </a:lnTo>
                    <a:lnTo>
                      <a:pt x="4691" y="3654"/>
                    </a:lnTo>
                    <a:lnTo>
                      <a:pt x="4678" y="3654"/>
                    </a:lnTo>
                    <a:lnTo>
                      <a:pt x="4654" y="3654"/>
                    </a:lnTo>
                    <a:lnTo>
                      <a:pt x="4633" y="3657"/>
                    </a:lnTo>
                    <a:lnTo>
                      <a:pt x="4622" y="3660"/>
                    </a:lnTo>
                    <a:lnTo>
                      <a:pt x="4614" y="3662"/>
                    </a:lnTo>
                    <a:lnTo>
                      <a:pt x="4608" y="3665"/>
                    </a:lnTo>
                    <a:lnTo>
                      <a:pt x="4603" y="3668"/>
                    </a:lnTo>
                    <a:lnTo>
                      <a:pt x="4598" y="3674"/>
                    </a:lnTo>
                    <a:lnTo>
                      <a:pt x="4596" y="3682"/>
                    </a:lnTo>
                    <a:lnTo>
                      <a:pt x="4595" y="3692"/>
                    </a:lnTo>
                    <a:lnTo>
                      <a:pt x="4594" y="3704"/>
                    </a:lnTo>
                    <a:lnTo>
                      <a:pt x="4594" y="3728"/>
                    </a:lnTo>
                    <a:lnTo>
                      <a:pt x="4596" y="3751"/>
                    </a:lnTo>
                    <a:lnTo>
                      <a:pt x="4598" y="3769"/>
                    </a:lnTo>
                    <a:lnTo>
                      <a:pt x="4601" y="3786"/>
                    </a:lnTo>
                    <a:lnTo>
                      <a:pt x="4599" y="3792"/>
                    </a:lnTo>
                    <a:lnTo>
                      <a:pt x="4598" y="3799"/>
                    </a:lnTo>
                    <a:lnTo>
                      <a:pt x="4596" y="3804"/>
                    </a:lnTo>
                    <a:lnTo>
                      <a:pt x="4591" y="3810"/>
                    </a:lnTo>
                    <a:lnTo>
                      <a:pt x="4580" y="3820"/>
                    </a:lnTo>
                    <a:lnTo>
                      <a:pt x="4569" y="3832"/>
                    </a:lnTo>
                    <a:lnTo>
                      <a:pt x="4554" y="3844"/>
                    </a:lnTo>
                    <a:lnTo>
                      <a:pt x="4540" y="3856"/>
                    </a:lnTo>
                    <a:lnTo>
                      <a:pt x="4536" y="3860"/>
                    </a:lnTo>
                    <a:lnTo>
                      <a:pt x="4534" y="3863"/>
                    </a:lnTo>
                    <a:lnTo>
                      <a:pt x="4532" y="3867"/>
                    </a:lnTo>
                    <a:lnTo>
                      <a:pt x="4529" y="3871"/>
                    </a:lnTo>
                    <a:lnTo>
                      <a:pt x="4528" y="3879"/>
                    </a:lnTo>
                    <a:lnTo>
                      <a:pt x="4527" y="3886"/>
                    </a:lnTo>
                    <a:lnTo>
                      <a:pt x="4528" y="3892"/>
                    </a:lnTo>
                    <a:lnTo>
                      <a:pt x="4532" y="3896"/>
                    </a:lnTo>
                    <a:lnTo>
                      <a:pt x="4536" y="3901"/>
                    </a:lnTo>
                    <a:lnTo>
                      <a:pt x="4546" y="3905"/>
                    </a:lnTo>
                    <a:lnTo>
                      <a:pt x="4558" y="3907"/>
                    </a:lnTo>
                    <a:lnTo>
                      <a:pt x="4571" y="3909"/>
                    </a:lnTo>
                    <a:lnTo>
                      <a:pt x="4578" y="3911"/>
                    </a:lnTo>
                    <a:lnTo>
                      <a:pt x="4584" y="3914"/>
                    </a:lnTo>
                    <a:lnTo>
                      <a:pt x="4590" y="3918"/>
                    </a:lnTo>
                    <a:lnTo>
                      <a:pt x="4594" y="3923"/>
                    </a:lnTo>
                    <a:lnTo>
                      <a:pt x="4601" y="3933"/>
                    </a:lnTo>
                    <a:lnTo>
                      <a:pt x="4607" y="3942"/>
                    </a:lnTo>
                    <a:lnTo>
                      <a:pt x="4613" y="3949"/>
                    </a:lnTo>
                    <a:lnTo>
                      <a:pt x="4621" y="3956"/>
                    </a:lnTo>
                    <a:lnTo>
                      <a:pt x="4629" y="3962"/>
                    </a:lnTo>
                    <a:lnTo>
                      <a:pt x="4638" y="3968"/>
                    </a:lnTo>
                    <a:lnTo>
                      <a:pt x="4642" y="3970"/>
                    </a:lnTo>
                    <a:lnTo>
                      <a:pt x="4645" y="3974"/>
                    </a:lnTo>
                    <a:lnTo>
                      <a:pt x="4647" y="3976"/>
                    </a:lnTo>
                    <a:lnTo>
                      <a:pt x="4647" y="3980"/>
                    </a:lnTo>
                    <a:lnTo>
                      <a:pt x="4646" y="3985"/>
                    </a:lnTo>
                    <a:lnTo>
                      <a:pt x="4641" y="3993"/>
                    </a:lnTo>
                    <a:lnTo>
                      <a:pt x="4636" y="3999"/>
                    </a:lnTo>
                    <a:lnTo>
                      <a:pt x="4633" y="4006"/>
                    </a:lnTo>
                    <a:lnTo>
                      <a:pt x="4629" y="4009"/>
                    </a:lnTo>
                    <a:lnTo>
                      <a:pt x="4626" y="4012"/>
                    </a:lnTo>
                    <a:lnTo>
                      <a:pt x="4621" y="4014"/>
                    </a:lnTo>
                    <a:lnTo>
                      <a:pt x="4615" y="4015"/>
                    </a:lnTo>
                    <a:lnTo>
                      <a:pt x="4603" y="4015"/>
                    </a:lnTo>
                    <a:lnTo>
                      <a:pt x="4591" y="4016"/>
                    </a:lnTo>
                    <a:lnTo>
                      <a:pt x="4588" y="4018"/>
                    </a:lnTo>
                    <a:lnTo>
                      <a:pt x="4586" y="4020"/>
                    </a:lnTo>
                    <a:lnTo>
                      <a:pt x="4588" y="4022"/>
                    </a:lnTo>
                    <a:lnTo>
                      <a:pt x="4590" y="4025"/>
                    </a:lnTo>
                    <a:lnTo>
                      <a:pt x="4598" y="4031"/>
                    </a:lnTo>
                    <a:lnTo>
                      <a:pt x="4605" y="4037"/>
                    </a:lnTo>
                    <a:lnTo>
                      <a:pt x="4608" y="4040"/>
                    </a:lnTo>
                    <a:lnTo>
                      <a:pt x="4608" y="4046"/>
                    </a:lnTo>
                    <a:lnTo>
                      <a:pt x="4608" y="4052"/>
                    </a:lnTo>
                    <a:lnTo>
                      <a:pt x="4607" y="4059"/>
                    </a:lnTo>
                    <a:lnTo>
                      <a:pt x="4602" y="4073"/>
                    </a:lnTo>
                    <a:lnTo>
                      <a:pt x="4595" y="4087"/>
                    </a:lnTo>
                    <a:lnTo>
                      <a:pt x="4585" y="4097"/>
                    </a:lnTo>
                    <a:lnTo>
                      <a:pt x="4576" y="4107"/>
                    </a:lnTo>
                    <a:lnTo>
                      <a:pt x="4572" y="4111"/>
                    </a:lnTo>
                    <a:lnTo>
                      <a:pt x="4569" y="4116"/>
                    </a:lnTo>
                    <a:lnTo>
                      <a:pt x="4566" y="4121"/>
                    </a:lnTo>
                    <a:lnTo>
                      <a:pt x="4565" y="4127"/>
                    </a:lnTo>
                    <a:lnTo>
                      <a:pt x="4564" y="4136"/>
                    </a:lnTo>
                    <a:lnTo>
                      <a:pt x="4561" y="4145"/>
                    </a:lnTo>
                    <a:lnTo>
                      <a:pt x="4558" y="4152"/>
                    </a:lnTo>
                    <a:lnTo>
                      <a:pt x="4552" y="4160"/>
                    </a:lnTo>
                    <a:lnTo>
                      <a:pt x="4548" y="4165"/>
                    </a:lnTo>
                    <a:lnTo>
                      <a:pt x="4546" y="4170"/>
                    </a:lnTo>
                    <a:lnTo>
                      <a:pt x="4545" y="4174"/>
                    </a:lnTo>
                    <a:lnTo>
                      <a:pt x="4545" y="4179"/>
                    </a:lnTo>
                    <a:lnTo>
                      <a:pt x="4546" y="4184"/>
                    </a:lnTo>
                    <a:lnTo>
                      <a:pt x="4550" y="4188"/>
                    </a:lnTo>
                    <a:lnTo>
                      <a:pt x="4555" y="4190"/>
                    </a:lnTo>
                    <a:lnTo>
                      <a:pt x="4563" y="4191"/>
                    </a:lnTo>
                    <a:lnTo>
                      <a:pt x="4567" y="4191"/>
                    </a:lnTo>
                    <a:lnTo>
                      <a:pt x="4570" y="4192"/>
                    </a:lnTo>
                    <a:lnTo>
                      <a:pt x="4572" y="4194"/>
                    </a:lnTo>
                    <a:lnTo>
                      <a:pt x="4572" y="4195"/>
                    </a:lnTo>
                    <a:lnTo>
                      <a:pt x="4572" y="4198"/>
                    </a:lnTo>
                    <a:lnTo>
                      <a:pt x="4569" y="4204"/>
                    </a:lnTo>
                    <a:lnTo>
                      <a:pt x="4565" y="4210"/>
                    </a:lnTo>
                    <a:lnTo>
                      <a:pt x="4560" y="4217"/>
                    </a:lnTo>
                    <a:lnTo>
                      <a:pt x="4558" y="4226"/>
                    </a:lnTo>
                    <a:lnTo>
                      <a:pt x="4557" y="4235"/>
                    </a:lnTo>
                    <a:lnTo>
                      <a:pt x="4558" y="4243"/>
                    </a:lnTo>
                    <a:lnTo>
                      <a:pt x="4561" y="4251"/>
                    </a:lnTo>
                    <a:lnTo>
                      <a:pt x="4565" y="4256"/>
                    </a:lnTo>
                    <a:lnTo>
                      <a:pt x="4570" y="4262"/>
                    </a:lnTo>
                    <a:lnTo>
                      <a:pt x="4580" y="4271"/>
                    </a:lnTo>
                    <a:lnTo>
                      <a:pt x="4589" y="4278"/>
                    </a:lnTo>
                    <a:lnTo>
                      <a:pt x="4592" y="4283"/>
                    </a:lnTo>
                    <a:lnTo>
                      <a:pt x="4595" y="4290"/>
                    </a:lnTo>
                    <a:lnTo>
                      <a:pt x="4596" y="4299"/>
                    </a:lnTo>
                    <a:lnTo>
                      <a:pt x="4596" y="4308"/>
                    </a:lnTo>
                    <a:lnTo>
                      <a:pt x="4595" y="4317"/>
                    </a:lnTo>
                    <a:lnTo>
                      <a:pt x="4594" y="4325"/>
                    </a:lnTo>
                    <a:lnTo>
                      <a:pt x="4591" y="4333"/>
                    </a:lnTo>
                    <a:lnTo>
                      <a:pt x="4589" y="4339"/>
                    </a:lnTo>
                    <a:lnTo>
                      <a:pt x="4585" y="4341"/>
                    </a:lnTo>
                    <a:lnTo>
                      <a:pt x="4580" y="4343"/>
                    </a:lnTo>
                    <a:lnTo>
                      <a:pt x="4576" y="4343"/>
                    </a:lnTo>
                    <a:lnTo>
                      <a:pt x="4571" y="4342"/>
                    </a:lnTo>
                    <a:lnTo>
                      <a:pt x="4565" y="4340"/>
                    </a:lnTo>
                    <a:lnTo>
                      <a:pt x="4560" y="4336"/>
                    </a:lnTo>
                    <a:lnTo>
                      <a:pt x="4555" y="4333"/>
                    </a:lnTo>
                    <a:lnTo>
                      <a:pt x="4552" y="4328"/>
                    </a:lnTo>
                    <a:lnTo>
                      <a:pt x="4545" y="4316"/>
                    </a:lnTo>
                    <a:lnTo>
                      <a:pt x="4541" y="4306"/>
                    </a:lnTo>
                    <a:lnTo>
                      <a:pt x="4539" y="4303"/>
                    </a:lnTo>
                    <a:lnTo>
                      <a:pt x="4536" y="4300"/>
                    </a:lnTo>
                    <a:lnTo>
                      <a:pt x="4534" y="4300"/>
                    </a:lnTo>
                    <a:lnTo>
                      <a:pt x="4531" y="4302"/>
                    </a:lnTo>
                    <a:lnTo>
                      <a:pt x="4523" y="4308"/>
                    </a:lnTo>
                    <a:lnTo>
                      <a:pt x="4517" y="4311"/>
                    </a:lnTo>
                    <a:lnTo>
                      <a:pt x="4515" y="4312"/>
                    </a:lnTo>
                    <a:lnTo>
                      <a:pt x="4512" y="4312"/>
                    </a:lnTo>
                    <a:lnTo>
                      <a:pt x="4509" y="4312"/>
                    </a:lnTo>
                    <a:lnTo>
                      <a:pt x="4506" y="4310"/>
                    </a:lnTo>
                    <a:lnTo>
                      <a:pt x="4503" y="4309"/>
                    </a:lnTo>
                    <a:lnTo>
                      <a:pt x="4500" y="4308"/>
                    </a:lnTo>
                    <a:lnTo>
                      <a:pt x="4496" y="4308"/>
                    </a:lnTo>
                    <a:lnTo>
                      <a:pt x="4492" y="4309"/>
                    </a:lnTo>
                    <a:lnTo>
                      <a:pt x="4483" y="4312"/>
                    </a:lnTo>
                    <a:lnTo>
                      <a:pt x="4471" y="4319"/>
                    </a:lnTo>
                    <a:lnTo>
                      <a:pt x="4464" y="4322"/>
                    </a:lnTo>
                    <a:lnTo>
                      <a:pt x="4457" y="4323"/>
                    </a:lnTo>
                    <a:lnTo>
                      <a:pt x="4450" y="4323"/>
                    </a:lnTo>
                    <a:lnTo>
                      <a:pt x="4443" y="4321"/>
                    </a:lnTo>
                    <a:lnTo>
                      <a:pt x="4426" y="4314"/>
                    </a:lnTo>
                    <a:lnTo>
                      <a:pt x="4406" y="4304"/>
                    </a:lnTo>
                    <a:lnTo>
                      <a:pt x="4395" y="4300"/>
                    </a:lnTo>
                    <a:lnTo>
                      <a:pt x="4387" y="4299"/>
                    </a:lnTo>
                    <a:lnTo>
                      <a:pt x="4378" y="4300"/>
                    </a:lnTo>
                    <a:lnTo>
                      <a:pt x="4371" y="4303"/>
                    </a:lnTo>
                    <a:lnTo>
                      <a:pt x="4365" y="4308"/>
                    </a:lnTo>
                    <a:lnTo>
                      <a:pt x="4358" y="4315"/>
                    </a:lnTo>
                    <a:lnTo>
                      <a:pt x="4351" y="4323"/>
                    </a:lnTo>
                    <a:lnTo>
                      <a:pt x="4343" y="4334"/>
                    </a:lnTo>
                    <a:lnTo>
                      <a:pt x="4336" y="4343"/>
                    </a:lnTo>
                    <a:lnTo>
                      <a:pt x="4330" y="4352"/>
                    </a:lnTo>
                    <a:lnTo>
                      <a:pt x="4327" y="4359"/>
                    </a:lnTo>
                    <a:lnTo>
                      <a:pt x="4325" y="4363"/>
                    </a:lnTo>
                    <a:lnTo>
                      <a:pt x="4324" y="4373"/>
                    </a:lnTo>
                    <a:lnTo>
                      <a:pt x="4323" y="4384"/>
                    </a:lnTo>
                    <a:lnTo>
                      <a:pt x="4320" y="4390"/>
                    </a:lnTo>
                    <a:lnTo>
                      <a:pt x="4318" y="4393"/>
                    </a:lnTo>
                    <a:lnTo>
                      <a:pt x="4314" y="4396"/>
                    </a:lnTo>
                    <a:lnTo>
                      <a:pt x="4311" y="4398"/>
                    </a:lnTo>
                    <a:lnTo>
                      <a:pt x="4307" y="4398"/>
                    </a:lnTo>
                    <a:lnTo>
                      <a:pt x="4302" y="4398"/>
                    </a:lnTo>
                    <a:lnTo>
                      <a:pt x="4298" y="4397"/>
                    </a:lnTo>
                    <a:lnTo>
                      <a:pt x="4293" y="4394"/>
                    </a:lnTo>
                    <a:lnTo>
                      <a:pt x="4290" y="4394"/>
                    </a:lnTo>
                    <a:lnTo>
                      <a:pt x="4288" y="4394"/>
                    </a:lnTo>
                    <a:lnTo>
                      <a:pt x="4287" y="4396"/>
                    </a:lnTo>
                    <a:lnTo>
                      <a:pt x="4286" y="4397"/>
                    </a:lnTo>
                    <a:lnTo>
                      <a:pt x="4284" y="4402"/>
                    </a:lnTo>
                    <a:lnTo>
                      <a:pt x="4284" y="4407"/>
                    </a:lnTo>
                    <a:lnTo>
                      <a:pt x="4284" y="4415"/>
                    </a:lnTo>
                    <a:lnTo>
                      <a:pt x="4287" y="4423"/>
                    </a:lnTo>
                    <a:lnTo>
                      <a:pt x="4289" y="4430"/>
                    </a:lnTo>
                    <a:lnTo>
                      <a:pt x="4293" y="4437"/>
                    </a:lnTo>
                    <a:lnTo>
                      <a:pt x="4298" y="4443"/>
                    </a:lnTo>
                    <a:lnTo>
                      <a:pt x="4302" y="4448"/>
                    </a:lnTo>
                    <a:lnTo>
                      <a:pt x="4308" y="4451"/>
                    </a:lnTo>
                    <a:lnTo>
                      <a:pt x="4314" y="4455"/>
                    </a:lnTo>
                    <a:lnTo>
                      <a:pt x="4326" y="4460"/>
                    </a:lnTo>
                    <a:lnTo>
                      <a:pt x="4338" y="4462"/>
                    </a:lnTo>
                    <a:lnTo>
                      <a:pt x="4349" y="4464"/>
                    </a:lnTo>
                    <a:lnTo>
                      <a:pt x="4359" y="4469"/>
                    </a:lnTo>
                    <a:lnTo>
                      <a:pt x="4364" y="4472"/>
                    </a:lnTo>
                    <a:lnTo>
                      <a:pt x="4369" y="4475"/>
                    </a:lnTo>
                    <a:lnTo>
                      <a:pt x="4372" y="4481"/>
                    </a:lnTo>
                    <a:lnTo>
                      <a:pt x="4375" y="4487"/>
                    </a:lnTo>
                    <a:lnTo>
                      <a:pt x="4377" y="4493"/>
                    </a:lnTo>
                    <a:lnTo>
                      <a:pt x="4378" y="4499"/>
                    </a:lnTo>
                    <a:lnTo>
                      <a:pt x="4377" y="4504"/>
                    </a:lnTo>
                    <a:lnTo>
                      <a:pt x="4376" y="4506"/>
                    </a:lnTo>
                    <a:lnTo>
                      <a:pt x="4375" y="4508"/>
                    </a:lnTo>
                    <a:lnTo>
                      <a:pt x="4372" y="4510"/>
                    </a:lnTo>
                    <a:lnTo>
                      <a:pt x="4370" y="4508"/>
                    </a:lnTo>
                    <a:lnTo>
                      <a:pt x="4369" y="4506"/>
                    </a:lnTo>
                    <a:lnTo>
                      <a:pt x="4365" y="4500"/>
                    </a:lnTo>
                    <a:lnTo>
                      <a:pt x="4362" y="4497"/>
                    </a:lnTo>
                    <a:lnTo>
                      <a:pt x="4358" y="4495"/>
                    </a:lnTo>
                    <a:lnTo>
                      <a:pt x="4353" y="4495"/>
                    </a:lnTo>
                    <a:lnTo>
                      <a:pt x="4352" y="4497"/>
                    </a:lnTo>
                    <a:lnTo>
                      <a:pt x="4351" y="4501"/>
                    </a:lnTo>
                    <a:lnTo>
                      <a:pt x="4351" y="4507"/>
                    </a:lnTo>
                    <a:lnTo>
                      <a:pt x="4352" y="4516"/>
                    </a:lnTo>
                    <a:lnTo>
                      <a:pt x="4355" y="4533"/>
                    </a:lnTo>
                    <a:lnTo>
                      <a:pt x="4355" y="4551"/>
                    </a:lnTo>
                    <a:lnTo>
                      <a:pt x="4355" y="4560"/>
                    </a:lnTo>
                    <a:lnTo>
                      <a:pt x="4353" y="4566"/>
                    </a:lnTo>
                    <a:lnTo>
                      <a:pt x="4352" y="4571"/>
                    </a:lnTo>
                    <a:lnTo>
                      <a:pt x="4350" y="4576"/>
                    </a:lnTo>
                    <a:lnTo>
                      <a:pt x="4347" y="4580"/>
                    </a:lnTo>
                    <a:lnTo>
                      <a:pt x="4344" y="4582"/>
                    </a:lnTo>
                    <a:lnTo>
                      <a:pt x="4340" y="4583"/>
                    </a:lnTo>
                    <a:lnTo>
                      <a:pt x="4336" y="4585"/>
                    </a:lnTo>
                    <a:lnTo>
                      <a:pt x="4326" y="4586"/>
                    </a:lnTo>
                    <a:lnTo>
                      <a:pt x="4314" y="4589"/>
                    </a:lnTo>
                    <a:lnTo>
                      <a:pt x="4300" y="4595"/>
                    </a:lnTo>
                    <a:lnTo>
                      <a:pt x="4284" y="4604"/>
                    </a:lnTo>
                    <a:lnTo>
                      <a:pt x="4275" y="4608"/>
                    </a:lnTo>
                    <a:lnTo>
                      <a:pt x="4264" y="4612"/>
                    </a:lnTo>
                    <a:lnTo>
                      <a:pt x="4254" y="4614"/>
                    </a:lnTo>
                    <a:lnTo>
                      <a:pt x="4243" y="4615"/>
                    </a:lnTo>
                    <a:lnTo>
                      <a:pt x="4233" y="4615"/>
                    </a:lnTo>
                    <a:lnTo>
                      <a:pt x="4224" y="4614"/>
                    </a:lnTo>
                    <a:lnTo>
                      <a:pt x="4217" y="4612"/>
                    </a:lnTo>
                    <a:lnTo>
                      <a:pt x="4210" y="4608"/>
                    </a:lnTo>
                    <a:lnTo>
                      <a:pt x="4204" y="4605"/>
                    </a:lnTo>
                    <a:lnTo>
                      <a:pt x="4198" y="4601"/>
                    </a:lnTo>
                    <a:lnTo>
                      <a:pt x="4192" y="4599"/>
                    </a:lnTo>
                    <a:lnTo>
                      <a:pt x="4186" y="4596"/>
                    </a:lnTo>
                    <a:lnTo>
                      <a:pt x="4179" y="4596"/>
                    </a:lnTo>
                    <a:lnTo>
                      <a:pt x="4173" y="4598"/>
                    </a:lnTo>
                    <a:lnTo>
                      <a:pt x="4166" y="4600"/>
                    </a:lnTo>
                    <a:lnTo>
                      <a:pt x="4160" y="4606"/>
                    </a:lnTo>
                    <a:lnTo>
                      <a:pt x="4155" y="4612"/>
                    </a:lnTo>
                    <a:lnTo>
                      <a:pt x="4151" y="4618"/>
                    </a:lnTo>
                    <a:lnTo>
                      <a:pt x="4150" y="4625"/>
                    </a:lnTo>
                    <a:lnTo>
                      <a:pt x="4149" y="4632"/>
                    </a:lnTo>
                    <a:lnTo>
                      <a:pt x="4150" y="4639"/>
                    </a:lnTo>
                    <a:lnTo>
                      <a:pt x="4151" y="4646"/>
                    </a:lnTo>
                    <a:lnTo>
                      <a:pt x="4155" y="4652"/>
                    </a:lnTo>
                    <a:lnTo>
                      <a:pt x="4158" y="4658"/>
                    </a:lnTo>
                    <a:lnTo>
                      <a:pt x="4161" y="4664"/>
                    </a:lnTo>
                    <a:lnTo>
                      <a:pt x="4163" y="4669"/>
                    </a:lnTo>
                    <a:lnTo>
                      <a:pt x="4164" y="4675"/>
                    </a:lnTo>
                    <a:lnTo>
                      <a:pt x="4163" y="4680"/>
                    </a:lnTo>
                    <a:lnTo>
                      <a:pt x="4161" y="4683"/>
                    </a:lnTo>
                    <a:lnTo>
                      <a:pt x="4158" y="4686"/>
                    </a:lnTo>
                    <a:lnTo>
                      <a:pt x="4154" y="4688"/>
                    </a:lnTo>
                    <a:lnTo>
                      <a:pt x="4149" y="4690"/>
                    </a:lnTo>
                    <a:lnTo>
                      <a:pt x="4139" y="4695"/>
                    </a:lnTo>
                    <a:lnTo>
                      <a:pt x="4130" y="4699"/>
                    </a:lnTo>
                    <a:lnTo>
                      <a:pt x="4118" y="4705"/>
                    </a:lnTo>
                    <a:lnTo>
                      <a:pt x="4107" y="4712"/>
                    </a:lnTo>
                    <a:lnTo>
                      <a:pt x="4103" y="4714"/>
                    </a:lnTo>
                    <a:lnTo>
                      <a:pt x="4098" y="4715"/>
                    </a:lnTo>
                    <a:lnTo>
                      <a:pt x="4093" y="4715"/>
                    </a:lnTo>
                    <a:lnTo>
                      <a:pt x="4090" y="4713"/>
                    </a:lnTo>
                    <a:lnTo>
                      <a:pt x="4087" y="4711"/>
                    </a:lnTo>
                    <a:lnTo>
                      <a:pt x="4085" y="4708"/>
                    </a:lnTo>
                    <a:lnTo>
                      <a:pt x="4082" y="4708"/>
                    </a:lnTo>
                    <a:lnTo>
                      <a:pt x="4080" y="4708"/>
                    </a:lnTo>
                    <a:lnTo>
                      <a:pt x="4076" y="4712"/>
                    </a:lnTo>
                    <a:lnTo>
                      <a:pt x="4070" y="4719"/>
                    </a:lnTo>
                    <a:lnTo>
                      <a:pt x="4067" y="4725"/>
                    </a:lnTo>
                    <a:lnTo>
                      <a:pt x="4062" y="4730"/>
                    </a:lnTo>
                    <a:lnTo>
                      <a:pt x="4057" y="4732"/>
                    </a:lnTo>
                    <a:lnTo>
                      <a:pt x="4049" y="4735"/>
                    </a:lnTo>
                    <a:lnTo>
                      <a:pt x="4046" y="4735"/>
                    </a:lnTo>
                    <a:lnTo>
                      <a:pt x="4042" y="4735"/>
                    </a:lnTo>
                    <a:lnTo>
                      <a:pt x="4038" y="4733"/>
                    </a:lnTo>
                    <a:lnTo>
                      <a:pt x="4036" y="4731"/>
                    </a:lnTo>
                    <a:lnTo>
                      <a:pt x="4031" y="4725"/>
                    </a:lnTo>
                    <a:lnTo>
                      <a:pt x="4027" y="4716"/>
                    </a:lnTo>
                    <a:lnTo>
                      <a:pt x="4023" y="4713"/>
                    </a:lnTo>
                    <a:lnTo>
                      <a:pt x="4019" y="4711"/>
                    </a:lnTo>
                    <a:lnTo>
                      <a:pt x="4013" y="4711"/>
                    </a:lnTo>
                    <a:lnTo>
                      <a:pt x="4007" y="4711"/>
                    </a:lnTo>
                    <a:lnTo>
                      <a:pt x="3996" y="4713"/>
                    </a:lnTo>
                    <a:lnTo>
                      <a:pt x="3985" y="4718"/>
                    </a:lnTo>
                    <a:lnTo>
                      <a:pt x="3981" y="4720"/>
                    </a:lnTo>
                    <a:lnTo>
                      <a:pt x="3978" y="4721"/>
                    </a:lnTo>
                    <a:lnTo>
                      <a:pt x="3974" y="4722"/>
                    </a:lnTo>
                    <a:lnTo>
                      <a:pt x="3972" y="4721"/>
                    </a:lnTo>
                    <a:lnTo>
                      <a:pt x="3968" y="4721"/>
                    </a:lnTo>
                    <a:lnTo>
                      <a:pt x="3966" y="4719"/>
                    </a:lnTo>
                    <a:lnTo>
                      <a:pt x="3964" y="4715"/>
                    </a:lnTo>
                    <a:lnTo>
                      <a:pt x="3960" y="4712"/>
                    </a:lnTo>
                    <a:lnTo>
                      <a:pt x="3956" y="4708"/>
                    </a:lnTo>
                    <a:lnTo>
                      <a:pt x="3954" y="4706"/>
                    </a:lnTo>
                    <a:lnTo>
                      <a:pt x="3949" y="4703"/>
                    </a:lnTo>
                    <a:lnTo>
                      <a:pt x="3946" y="4703"/>
                    </a:lnTo>
                    <a:lnTo>
                      <a:pt x="3939" y="4703"/>
                    </a:lnTo>
                    <a:lnTo>
                      <a:pt x="3930" y="4705"/>
                    </a:lnTo>
                    <a:lnTo>
                      <a:pt x="3922" y="4705"/>
                    </a:lnTo>
                    <a:lnTo>
                      <a:pt x="3912" y="4705"/>
                    </a:lnTo>
                    <a:lnTo>
                      <a:pt x="3902" y="4703"/>
                    </a:lnTo>
                    <a:lnTo>
                      <a:pt x="3892" y="4700"/>
                    </a:lnTo>
                    <a:lnTo>
                      <a:pt x="3883" y="4695"/>
                    </a:lnTo>
                    <a:lnTo>
                      <a:pt x="3874" y="4689"/>
                    </a:lnTo>
                    <a:lnTo>
                      <a:pt x="3871" y="4686"/>
                    </a:lnTo>
                    <a:lnTo>
                      <a:pt x="3867" y="4681"/>
                    </a:lnTo>
                    <a:lnTo>
                      <a:pt x="3864" y="4676"/>
                    </a:lnTo>
                    <a:lnTo>
                      <a:pt x="3861" y="4670"/>
                    </a:lnTo>
                    <a:lnTo>
                      <a:pt x="3859" y="4665"/>
                    </a:lnTo>
                    <a:lnTo>
                      <a:pt x="3855" y="4662"/>
                    </a:lnTo>
                    <a:lnTo>
                      <a:pt x="3852" y="4659"/>
                    </a:lnTo>
                    <a:lnTo>
                      <a:pt x="3848" y="4657"/>
                    </a:lnTo>
                    <a:lnTo>
                      <a:pt x="3840" y="4656"/>
                    </a:lnTo>
                    <a:lnTo>
                      <a:pt x="3830" y="4655"/>
                    </a:lnTo>
                    <a:lnTo>
                      <a:pt x="3822" y="4652"/>
                    </a:lnTo>
                    <a:lnTo>
                      <a:pt x="3814" y="4649"/>
                    </a:lnTo>
                    <a:lnTo>
                      <a:pt x="3804" y="4642"/>
                    </a:lnTo>
                    <a:lnTo>
                      <a:pt x="3794" y="4632"/>
                    </a:lnTo>
                    <a:lnTo>
                      <a:pt x="3780" y="4620"/>
                    </a:lnTo>
                    <a:lnTo>
                      <a:pt x="3770" y="4611"/>
                    </a:lnTo>
                    <a:lnTo>
                      <a:pt x="3765" y="4606"/>
                    </a:lnTo>
                    <a:lnTo>
                      <a:pt x="3763" y="4600"/>
                    </a:lnTo>
                    <a:lnTo>
                      <a:pt x="3760" y="4595"/>
                    </a:lnTo>
                    <a:lnTo>
                      <a:pt x="3759" y="4589"/>
                    </a:lnTo>
                    <a:lnTo>
                      <a:pt x="3759" y="4583"/>
                    </a:lnTo>
                    <a:lnTo>
                      <a:pt x="3759" y="4579"/>
                    </a:lnTo>
                    <a:lnTo>
                      <a:pt x="3760" y="4575"/>
                    </a:lnTo>
                    <a:lnTo>
                      <a:pt x="3761" y="4573"/>
                    </a:lnTo>
                    <a:lnTo>
                      <a:pt x="3766" y="4568"/>
                    </a:lnTo>
                    <a:lnTo>
                      <a:pt x="3773" y="4564"/>
                    </a:lnTo>
                    <a:lnTo>
                      <a:pt x="3780" y="4562"/>
                    </a:lnTo>
                    <a:lnTo>
                      <a:pt x="3788" y="4558"/>
                    </a:lnTo>
                    <a:lnTo>
                      <a:pt x="3796" y="4554"/>
                    </a:lnTo>
                    <a:lnTo>
                      <a:pt x="3803" y="4547"/>
                    </a:lnTo>
                    <a:lnTo>
                      <a:pt x="3805" y="4542"/>
                    </a:lnTo>
                    <a:lnTo>
                      <a:pt x="3808" y="4539"/>
                    </a:lnTo>
                    <a:lnTo>
                      <a:pt x="3809" y="4536"/>
                    </a:lnTo>
                    <a:lnTo>
                      <a:pt x="3809" y="4533"/>
                    </a:lnTo>
                    <a:lnTo>
                      <a:pt x="3808" y="4531"/>
                    </a:lnTo>
                    <a:lnTo>
                      <a:pt x="3807" y="4529"/>
                    </a:lnTo>
                    <a:lnTo>
                      <a:pt x="3804" y="4527"/>
                    </a:lnTo>
                    <a:lnTo>
                      <a:pt x="3801" y="4526"/>
                    </a:lnTo>
                    <a:lnTo>
                      <a:pt x="3795" y="4525"/>
                    </a:lnTo>
                    <a:lnTo>
                      <a:pt x="3791" y="4522"/>
                    </a:lnTo>
                    <a:lnTo>
                      <a:pt x="3790" y="4519"/>
                    </a:lnTo>
                    <a:lnTo>
                      <a:pt x="3789" y="4517"/>
                    </a:lnTo>
                    <a:lnTo>
                      <a:pt x="3790" y="4514"/>
                    </a:lnTo>
                    <a:lnTo>
                      <a:pt x="3791" y="4510"/>
                    </a:lnTo>
                    <a:lnTo>
                      <a:pt x="3794" y="4504"/>
                    </a:lnTo>
                    <a:lnTo>
                      <a:pt x="3795" y="4499"/>
                    </a:lnTo>
                    <a:lnTo>
                      <a:pt x="3796" y="4493"/>
                    </a:lnTo>
                    <a:lnTo>
                      <a:pt x="3795" y="4484"/>
                    </a:lnTo>
                    <a:lnTo>
                      <a:pt x="3792" y="4469"/>
                    </a:lnTo>
                    <a:lnTo>
                      <a:pt x="3788" y="4454"/>
                    </a:lnTo>
                    <a:lnTo>
                      <a:pt x="3783" y="4438"/>
                    </a:lnTo>
                    <a:lnTo>
                      <a:pt x="3779" y="4424"/>
                    </a:lnTo>
                    <a:lnTo>
                      <a:pt x="3779" y="4418"/>
                    </a:lnTo>
                    <a:lnTo>
                      <a:pt x="3779" y="4415"/>
                    </a:lnTo>
                    <a:lnTo>
                      <a:pt x="3779" y="4411"/>
                    </a:lnTo>
                    <a:lnTo>
                      <a:pt x="3780" y="4410"/>
                    </a:lnTo>
                    <a:lnTo>
                      <a:pt x="3786" y="4407"/>
                    </a:lnTo>
                    <a:lnTo>
                      <a:pt x="3794" y="4409"/>
                    </a:lnTo>
                    <a:lnTo>
                      <a:pt x="3802" y="4409"/>
                    </a:lnTo>
                    <a:lnTo>
                      <a:pt x="3809" y="4409"/>
                    </a:lnTo>
                    <a:lnTo>
                      <a:pt x="3811" y="4409"/>
                    </a:lnTo>
                    <a:lnTo>
                      <a:pt x="3814" y="4407"/>
                    </a:lnTo>
                    <a:lnTo>
                      <a:pt x="3816" y="4405"/>
                    </a:lnTo>
                    <a:lnTo>
                      <a:pt x="3816" y="4403"/>
                    </a:lnTo>
                    <a:lnTo>
                      <a:pt x="3815" y="4400"/>
                    </a:lnTo>
                    <a:lnTo>
                      <a:pt x="3815" y="4398"/>
                    </a:lnTo>
                    <a:lnTo>
                      <a:pt x="3814" y="4396"/>
                    </a:lnTo>
                    <a:lnTo>
                      <a:pt x="3811" y="4394"/>
                    </a:lnTo>
                    <a:lnTo>
                      <a:pt x="3805" y="4392"/>
                    </a:lnTo>
                    <a:lnTo>
                      <a:pt x="3797" y="4391"/>
                    </a:lnTo>
                    <a:lnTo>
                      <a:pt x="3788" y="4388"/>
                    </a:lnTo>
                    <a:lnTo>
                      <a:pt x="3780" y="4386"/>
                    </a:lnTo>
                    <a:lnTo>
                      <a:pt x="3774" y="4382"/>
                    </a:lnTo>
                    <a:lnTo>
                      <a:pt x="3769" y="4375"/>
                    </a:lnTo>
                    <a:lnTo>
                      <a:pt x="3760" y="4368"/>
                    </a:lnTo>
                    <a:lnTo>
                      <a:pt x="3752" y="4359"/>
                    </a:lnTo>
                    <a:lnTo>
                      <a:pt x="3747" y="4354"/>
                    </a:lnTo>
                    <a:lnTo>
                      <a:pt x="3744" y="4347"/>
                    </a:lnTo>
                    <a:lnTo>
                      <a:pt x="3739" y="4340"/>
                    </a:lnTo>
                    <a:lnTo>
                      <a:pt x="3735" y="4330"/>
                    </a:lnTo>
                    <a:lnTo>
                      <a:pt x="3732" y="4321"/>
                    </a:lnTo>
                    <a:lnTo>
                      <a:pt x="3731" y="4314"/>
                    </a:lnTo>
                    <a:lnTo>
                      <a:pt x="3729" y="4306"/>
                    </a:lnTo>
                    <a:lnTo>
                      <a:pt x="3729" y="4300"/>
                    </a:lnTo>
                    <a:lnTo>
                      <a:pt x="3731" y="4289"/>
                    </a:lnTo>
                    <a:lnTo>
                      <a:pt x="3732" y="4278"/>
                    </a:lnTo>
                    <a:lnTo>
                      <a:pt x="3731" y="4271"/>
                    </a:lnTo>
                    <a:lnTo>
                      <a:pt x="3728" y="4265"/>
                    </a:lnTo>
                    <a:lnTo>
                      <a:pt x="3725" y="4258"/>
                    </a:lnTo>
                    <a:lnTo>
                      <a:pt x="3720" y="4252"/>
                    </a:lnTo>
                    <a:lnTo>
                      <a:pt x="3714" y="4246"/>
                    </a:lnTo>
                    <a:lnTo>
                      <a:pt x="3707" y="4240"/>
                    </a:lnTo>
                    <a:lnTo>
                      <a:pt x="3698" y="4236"/>
                    </a:lnTo>
                    <a:lnTo>
                      <a:pt x="3690" y="4233"/>
                    </a:lnTo>
                    <a:lnTo>
                      <a:pt x="3681" y="4230"/>
                    </a:lnTo>
                    <a:lnTo>
                      <a:pt x="3672" y="4229"/>
                    </a:lnTo>
                    <a:lnTo>
                      <a:pt x="3663" y="4229"/>
                    </a:lnTo>
                    <a:lnTo>
                      <a:pt x="3653" y="4229"/>
                    </a:lnTo>
                    <a:lnTo>
                      <a:pt x="3634" y="4232"/>
                    </a:lnTo>
                    <a:lnTo>
                      <a:pt x="3619" y="4233"/>
                    </a:lnTo>
                    <a:lnTo>
                      <a:pt x="3603" y="4233"/>
                    </a:lnTo>
                    <a:lnTo>
                      <a:pt x="3587" y="4233"/>
                    </a:lnTo>
                    <a:lnTo>
                      <a:pt x="3580" y="4232"/>
                    </a:lnTo>
                    <a:lnTo>
                      <a:pt x="3572" y="4229"/>
                    </a:lnTo>
                    <a:lnTo>
                      <a:pt x="3566" y="4227"/>
                    </a:lnTo>
                    <a:lnTo>
                      <a:pt x="3563" y="4223"/>
                    </a:lnTo>
                    <a:lnTo>
                      <a:pt x="3559" y="4220"/>
                    </a:lnTo>
                    <a:lnTo>
                      <a:pt x="3555" y="4217"/>
                    </a:lnTo>
                    <a:lnTo>
                      <a:pt x="3551" y="4216"/>
                    </a:lnTo>
                    <a:lnTo>
                      <a:pt x="3547" y="4215"/>
                    </a:lnTo>
                    <a:lnTo>
                      <a:pt x="3543" y="4214"/>
                    </a:lnTo>
                    <a:lnTo>
                      <a:pt x="3539" y="4215"/>
                    </a:lnTo>
                    <a:lnTo>
                      <a:pt x="3536" y="4215"/>
                    </a:lnTo>
                    <a:lnTo>
                      <a:pt x="3532" y="4217"/>
                    </a:lnTo>
                    <a:lnTo>
                      <a:pt x="3526" y="4220"/>
                    </a:lnTo>
                    <a:lnTo>
                      <a:pt x="3518" y="4222"/>
                    </a:lnTo>
                    <a:lnTo>
                      <a:pt x="3513" y="4221"/>
                    </a:lnTo>
                    <a:lnTo>
                      <a:pt x="3509" y="4221"/>
                    </a:lnTo>
                    <a:lnTo>
                      <a:pt x="3506" y="4218"/>
                    </a:lnTo>
                    <a:lnTo>
                      <a:pt x="3503" y="4216"/>
                    </a:lnTo>
                    <a:lnTo>
                      <a:pt x="3501" y="4211"/>
                    </a:lnTo>
                    <a:lnTo>
                      <a:pt x="3500" y="4208"/>
                    </a:lnTo>
                    <a:lnTo>
                      <a:pt x="3500" y="4203"/>
                    </a:lnTo>
                    <a:lnTo>
                      <a:pt x="3501" y="4198"/>
                    </a:lnTo>
                    <a:lnTo>
                      <a:pt x="3503" y="4188"/>
                    </a:lnTo>
                    <a:lnTo>
                      <a:pt x="3507" y="4177"/>
                    </a:lnTo>
                    <a:lnTo>
                      <a:pt x="3509" y="4172"/>
                    </a:lnTo>
                    <a:lnTo>
                      <a:pt x="3509" y="4169"/>
                    </a:lnTo>
                    <a:lnTo>
                      <a:pt x="3509" y="4166"/>
                    </a:lnTo>
                    <a:lnTo>
                      <a:pt x="3508" y="4165"/>
                    </a:lnTo>
                    <a:lnTo>
                      <a:pt x="3506" y="4164"/>
                    </a:lnTo>
                    <a:lnTo>
                      <a:pt x="3503" y="4165"/>
                    </a:lnTo>
                    <a:lnTo>
                      <a:pt x="3500" y="4166"/>
                    </a:lnTo>
                    <a:lnTo>
                      <a:pt x="3496" y="4169"/>
                    </a:lnTo>
                    <a:lnTo>
                      <a:pt x="3489" y="4176"/>
                    </a:lnTo>
                    <a:lnTo>
                      <a:pt x="3482" y="4180"/>
                    </a:lnTo>
                    <a:lnTo>
                      <a:pt x="3478" y="4182"/>
                    </a:lnTo>
                    <a:lnTo>
                      <a:pt x="3475" y="4183"/>
                    </a:lnTo>
                    <a:lnTo>
                      <a:pt x="3469" y="4184"/>
                    </a:lnTo>
                    <a:lnTo>
                      <a:pt x="3463" y="4185"/>
                    </a:lnTo>
                    <a:lnTo>
                      <a:pt x="3455" y="4185"/>
                    </a:lnTo>
                    <a:lnTo>
                      <a:pt x="3445" y="4184"/>
                    </a:lnTo>
                    <a:lnTo>
                      <a:pt x="3436" y="4182"/>
                    </a:lnTo>
                    <a:lnTo>
                      <a:pt x="3425" y="4178"/>
                    </a:lnTo>
                    <a:lnTo>
                      <a:pt x="3414" y="4174"/>
                    </a:lnTo>
                    <a:lnTo>
                      <a:pt x="3405" y="4171"/>
                    </a:lnTo>
                    <a:lnTo>
                      <a:pt x="3396" y="4167"/>
                    </a:lnTo>
                    <a:lnTo>
                      <a:pt x="3392" y="4164"/>
                    </a:lnTo>
                    <a:lnTo>
                      <a:pt x="3388" y="4159"/>
                    </a:lnTo>
                    <a:lnTo>
                      <a:pt x="3386" y="4155"/>
                    </a:lnTo>
                    <a:lnTo>
                      <a:pt x="3385" y="4151"/>
                    </a:lnTo>
                    <a:lnTo>
                      <a:pt x="3385" y="4146"/>
                    </a:lnTo>
                    <a:lnTo>
                      <a:pt x="3386" y="4135"/>
                    </a:lnTo>
                    <a:lnTo>
                      <a:pt x="3388" y="4126"/>
                    </a:lnTo>
                    <a:lnTo>
                      <a:pt x="3389" y="4122"/>
                    </a:lnTo>
                    <a:lnTo>
                      <a:pt x="3389" y="4119"/>
                    </a:lnTo>
                    <a:lnTo>
                      <a:pt x="3389" y="4115"/>
                    </a:lnTo>
                    <a:lnTo>
                      <a:pt x="3388" y="4111"/>
                    </a:lnTo>
                    <a:lnTo>
                      <a:pt x="3382" y="4103"/>
                    </a:lnTo>
                    <a:lnTo>
                      <a:pt x="3376" y="4094"/>
                    </a:lnTo>
                    <a:lnTo>
                      <a:pt x="3373" y="4089"/>
                    </a:lnTo>
                    <a:lnTo>
                      <a:pt x="3372" y="4084"/>
                    </a:lnTo>
                    <a:lnTo>
                      <a:pt x="3370" y="4079"/>
                    </a:lnTo>
                    <a:lnTo>
                      <a:pt x="3372" y="4075"/>
                    </a:lnTo>
                    <a:lnTo>
                      <a:pt x="3373" y="4070"/>
                    </a:lnTo>
                    <a:lnTo>
                      <a:pt x="3374" y="4066"/>
                    </a:lnTo>
                    <a:lnTo>
                      <a:pt x="3377" y="4062"/>
                    </a:lnTo>
                    <a:lnTo>
                      <a:pt x="3381" y="4058"/>
                    </a:lnTo>
                    <a:lnTo>
                      <a:pt x="3383" y="4054"/>
                    </a:lnTo>
                    <a:lnTo>
                      <a:pt x="3386" y="4051"/>
                    </a:lnTo>
                    <a:lnTo>
                      <a:pt x="3387" y="4047"/>
                    </a:lnTo>
                    <a:lnTo>
                      <a:pt x="3388" y="4044"/>
                    </a:lnTo>
                    <a:lnTo>
                      <a:pt x="3387" y="4034"/>
                    </a:lnTo>
                    <a:lnTo>
                      <a:pt x="3386" y="4021"/>
                    </a:lnTo>
                    <a:lnTo>
                      <a:pt x="3385" y="4013"/>
                    </a:lnTo>
                    <a:lnTo>
                      <a:pt x="3382" y="4007"/>
                    </a:lnTo>
                    <a:lnTo>
                      <a:pt x="3377" y="4003"/>
                    </a:lnTo>
                    <a:lnTo>
                      <a:pt x="3374" y="4000"/>
                    </a:lnTo>
                    <a:lnTo>
                      <a:pt x="3362" y="3994"/>
                    </a:lnTo>
                    <a:lnTo>
                      <a:pt x="3350" y="3987"/>
                    </a:lnTo>
                    <a:lnTo>
                      <a:pt x="3344" y="3983"/>
                    </a:lnTo>
                    <a:lnTo>
                      <a:pt x="3339" y="3978"/>
                    </a:lnTo>
                    <a:lnTo>
                      <a:pt x="3336" y="3975"/>
                    </a:lnTo>
                    <a:lnTo>
                      <a:pt x="3333" y="3971"/>
                    </a:lnTo>
                    <a:lnTo>
                      <a:pt x="3330" y="3962"/>
                    </a:lnTo>
                    <a:lnTo>
                      <a:pt x="3326" y="3950"/>
                    </a:lnTo>
                    <a:lnTo>
                      <a:pt x="3324" y="3944"/>
                    </a:lnTo>
                    <a:lnTo>
                      <a:pt x="3320" y="3938"/>
                    </a:lnTo>
                    <a:lnTo>
                      <a:pt x="3317" y="3932"/>
                    </a:lnTo>
                    <a:lnTo>
                      <a:pt x="3312" y="3927"/>
                    </a:lnTo>
                    <a:lnTo>
                      <a:pt x="3306" y="3924"/>
                    </a:lnTo>
                    <a:lnTo>
                      <a:pt x="3301" y="3923"/>
                    </a:lnTo>
                    <a:lnTo>
                      <a:pt x="3297" y="3923"/>
                    </a:lnTo>
                    <a:lnTo>
                      <a:pt x="3293" y="3925"/>
                    </a:lnTo>
                    <a:lnTo>
                      <a:pt x="3287" y="3931"/>
                    </a:lnTo>
                    <a:lnTo>
                      <a:pt x="3282" y="3936"/>
                    </a:lnTo>
                    <a:lnTo>
                      <a:pt x="3280" y="3937"/>
                    </a:lnTo>
                    <a:lnTo>
                      <a:pt x="3278" y="3938"/>
                    </a:lnTo>
                    <a:lnTo>
                      <a:pt x="3274" y="3939"/>
                    </a:lnTo>
                    <a:lnTo>
                      <a:pt x="3269" y="3938"/>
                    </a:lnTo>
                    <a:lnTo>
                      <a:pt x="3263" y="3938"/>
                    </a:lnTo>
                    <a:lnTo>
                      <a:pt x="3260" y="3939"/>
                    </a:lnTo>
                    <a:lnTo>
                      <a:pt x="3256" y="3940"/>
                    </a:lnTo>
                    <a:lnTo>
                      <a:pt x="3254" y="3943"/>
                    </a:lnTo>
                    <a:lnTo>
                      <a:pt x="3247" y="3951"/>
                    </a:lnTo>
                    <a:lnTo>
                      <a:pt x="3238" y="3966"/>
                    </a:lnTo>
                    <a:lnTo>
                      <a:pt x="3231" y="3975"/>
                    </a:lnTo>
                    <a:lnTo>
                      <a:pt x="3223" y="3982"/>
                    </a:lnTo>
                    <a:lnTo>
                      <a:pt x="3216" y="3985"/>
                    </a:lnTo>
                    <a:lnTo>
                      <a:pt x="3209" y="3989"/>
                    </a:lnTo>
                    <a:lnTo>
                      <a:pt x="3207" y="3990"/>
                    </a:lnTo>
                    <a:lnTo>
                      <a:pt x="3207" y="3993"/>
                    </a:lnTo>
                    <a:lnTo>
                      <a:pt x="3207" y="3995"/>
                    </a:lnTo>
                    <a:lnTo>
                      <a:pt x="3209" y="3999"/>
                    </a:lnTo>
                    <a:lnTo>
                      <a:pt x="3210" y="4005"/>
                    </a:lnTo>
                    <a:lnTo>
                      <a:pt x="3211" y="4010"/>
                    </a:lnTo>
                    <a:lnTo>
                      <a:pt x="3210" y="4015"/>
                    </a:lnTo>
                    <a:lnTo>
                      <a:pt x="3206" y="4019"/>
                    </a:lnTo>
                    <a:lnTo>
                      <a:pt x="3202" y="4020"/>
                    </a:lnTo>
                    <a:lnTo>
                      <a:pt x="3197" y="4021"/>
                    </a:lnTo>
                    <a:lnTo>
                      <a:pt x="3182" y="4019"/>
                    </a:lnTo>
                    <a:lnTo>
                      <a:pt x="3166" y="4015"/>
                    </a:lnTo>
                    <a:lnTo>
                      <a:pt x="3159" y="4014"/>
                    </a:lnTo>
                    <a:lnTo>
                      <a:pt x="3152" y="4015"/>
                    </a:lnTo>
                    <a:lnTo>
                      <a:pt x="3147" y="4016"/>
                    </a:lnTo>
                    <a:lnTo>
                      <a:pt x="3142" y="4019"/>
                    </a:lnTo>
                    <a:lnTo>
                      <a:pt x="3137" y="4022"/>
                    </a:lnTo>
                    <a:lnTo>
                      <a:pt x="3134" y="4027"/>
                    </a:lnTo>
                    <a:lnTo>
                      <a:pt x="3130" y="4032"/>
                    </a:lnTo>
                    <a:lnTo>
                      <a:pt x="3127" y="4038"/>
                    </a:lnTo>
                    <a:lnTo>
                      <a:pt x="3121" y="4050"/>
                    </a:lnTo>
                    <a:lnTo>
                      <a:pt x="3115" y="4059"/>
                    </a:lnTo>
                    <a:lnTo>
                      <a:pt x="3111" y="4064"/>
                    </a:lnTo>
                    <a:lnTo>
                      <a:pt x="3106" y="4066"/>
                    </a:lnTo>
                    <a:lnTo>
                      <a:pt x="3100" y="4069"/>
                    </a:lnTo>
                    <a:lnTo>
                      <a:pt x="3093" y="4070"/>
                    </a:lnTo>
                    <a:lnTo>
                      <a:pt x="3090" y="4070"/>
                    </a:lnTo>
                    <a:lnTo>
                      <a:pt x="3086" y="4071"/>
                    </a:lnTo>
                    <a:lnTo>
                      <a:pt x="3083" y="4072"/>
                    </a:lnTo>
                    <a:lnTo>
                      <a:pt x="3080" y="4075"/>
                    </a:lnTo>
                    <a:lnTo>
                      <a:pt x="3074" y="4081"/>
                    </a:lnTo>
                    <a:lnTo>
                      <a:pt x="3071" y="4088"/>
                    </a:lnTo>
                    <a:lnTo>
                      <a:pt x="3068" y="4097"/>
                    </a:lnTo>
                    <a:lnTo>
                      <a:pt x="3067" y="4108"/>
                    </a:lnTo>
                    <a:lnTo>
                      <a:pt x="3067" y="4120"/>
                    </a:lnTo>
                    <a:lnTo>
                      <a:pt x="3068" y="4133"/>
                    </a:lnTo>
                    <a:lnTo>
                      <a:pt x="3074" y="4145"/>
                    </a:lnTo>
                    <a:lnTo>
                      <a:pt x="3083" y="4155"/>
                    </a:lnTo>
                    <a:lnTo>
                      <a:pt x="3084" y="4166"/>
                    </a:lnTo>
                    <a:lnTo>
                      <a:pt x="3084" y="4178"/>
                    </a:lnTo>
                    <a:lnTo>
                      <a:pt x="3083" y="4190"/>
                    </a:lnTo>
                    <a:lnTo>
                      <a:pt x="3083" y="4201"/>
                    </a:lnTo>
                    <a:lnTo>
                      <a:pt x="3083" y="4205"/>
                    </a:lnTo>
                    <a:lnTo>
                      <a:pt x="3085" y="4209"/>
                    </a:lnTo>
                    <a:lnTo>
                      <a:pt x="3087" y="4213"/>
                    </a:lnTo>
                    <a:lnTo>
                      <a:pt x="3092" y="4216"/>
                    </a:lnTo>
                    <a:lnTo>
                      <a:pt x="3102" y="4221"/>
                    </a:lnTo>
                    <a:lnTo>
                      <a:pt x="3115" y="4227"/>
                    </a:lnTo>
                    <a:lnTo>
                      <a:pt x="3119" y="4230"/>
                    </a:lnTo>
                    <a:lnTo>
                      <a:pt x="3123" y="4234"/>
                    </a:lnTo>
                    <a:lnTo>
                      <a:pt x="3127" y="4237"/>
                    </a:lnTo>
                    <a:lnTo>
                      <a:pt x="3128" y="4242"/>
                    </a:lnTo>
                    <a:lnTo>
                      <a:pt x="3128" y="4251"/>
                    </a:lnTo>
                    <a:lnTo>
                      <a:pt x="3125" y="4259"/>
                    </a:lnTo>
                    <a:lnTo>
                      <a:pt x="3123" y="4270"/>
                    </a:lnTo>
                    <a:lnTo>
                      <a:pt x="3118" y="4280"/>
                    </a:lnTo>
                    <a:lnTo>
                      <a:pt x="3114" y="4291"/>
                    </a:lnTo>
                    <a:lnTo>
                      <a:pt x="3110" y="4299"/>
                    </a:lnTo>
                    <a:lnTo>
                      <a:pt x="3108" y="4303"/>
                    </a:lnTo>
                    <a:lnTo>
                      <a:pt x="3103" y="4304"/>
                    </a:lnTo>
                    <a:lnTo>
                      <a:pt x="3098" y="4305"/>
                    </a:lnTo>
                    <a:lnTo>
                      <a:pt x="3092" y="4306"/>
                    </a:lnTo>
                    <a:lnTo>
                      <a:pt x="3078" y="4306"/>
                    </a:lnTo>
                    <a:lnTo>
                      <a:pt x="3062" y="4305"/>
                    </a:lnTo>
                    <a:lnTo>
                      <a:pt x="3056" y="4306"/>
                    </a:lnTo>
                    <a:lnTo>
                      <a:pt x="3051" y="4308"/>
                    </a:lnTo>
                    <a:lnTo>
                      <a:pt x="3046" y="4309"/>
                    </a:lnTo>
                    <a:lnTo>
                      <a:pt x="3042" y="4311"/>
                    </a:lnTo>
                    <a:lnTo>
                      <a:pt x="3040" y="4314"/>
                    </a:lnTo>
                    <a:lnTo>
                      <a:pt x="3037" y="4317"/>
                    </a:lnTo>
                    <a:lnTo>
                      <a:pt x="3036" y="4321"/>
                    </a:lnTo>
                    <a:lnTo>
                      <a:pt x="3035" y="4324"/>
                    </a:lnTo>
                    <a:lnTo>
                      <a:pt x="3035" y="4336"/>
                    </a:lnTo>
                    <a:lnTo>
                      <a:pt x="3035" y="4353"/>
                    </a:lnTo>
                    <a:lnTo>
                      <a:pt x="3034" y="4361"/>
                    </a:lnTo>
                    <a:lnTo>
                      <a:pt x="3033" y="4369"/>
                    </a:lnTo>
                    <a:lnTo>
                      <a:pt x="3032" y="4373"/>
                    </a:lnTo>
                    <a:lnTo>
                      <a:pt x="3030" y="4375"/>
                    </a:lnTo>
                    <a:lnTo>
                      <a:pt x="3029" y="4378"/>
                    </a:lnTo>
                    <a:lnTo>
                      <a:pt x="3027" y="4380"/>
                    </a:lnTo>
                    <a:lnTo>
                      <a:pt x="3024" y="4381"/>
                    </a:lnTo>
                    <a:lnTo>
                      <a:pt x="3022" y="4381"/>
                    </a:lnTo>
                    <a:lnTo>
                      <a:pt x="3020" y="4380"/>
                    </a:lnTo>
                    <a:lnTo>
                      <a:pt x="3017" y="4380"/>
                    </a:lnTo>
                    <a:lnTo>
                      <a:pt x="3015" y="4375"/>
                    </a:lnTo>
                    <a:lnTo>
                      <a:pt x="3011" y="4371"/>
                    </a:lnTo>
                    <a:lnTo>
                      <a:pt x="3005" y="4359"/>
                    </a:lnTo>
                    <a:lnTo>
                      <a:pt x="2998" y="4349"/>
                    </a:lnTo>
                    <a:lnTo>
                      <a:pt x="2995" y="4347"/>
                    </a:lnTo>
                    <a:lnTo>
                      <a:pt x="2991" y="4346"/>
                    </a:lnTo>
                    <a:lnTo>
                      <a:pt x="2989" y="4346"/>
                    </a:lnTo>
                    <a:lnTo>
                      <a:pt x="2986" y="4347"/>
                    </a:lnTo>
                    <a:lnTo>
                      <a:pt x="2984" y="4353"/>
                    </a:lnTo>
                    <a:lnTo>
                      <a:pt x="2984" y="4360"/>
                    </a:lnTo>
                    <a:lnTo>
                      <a:pt x="2984" y="4369"/>
                    </a:lnTo>
                    <a:lnTo>
                      <a:pt x="2983" y="4379"/>
                    </a:lnTo>
                    <a:lnTo>
                      <a:pt x="2983" y="4382"/>
                    </a:lnTo>
                    <a:lnTo>
                      <a:pt x="2982" y="4386"/>
                    </a:lnTo>
                    <a:lnTo>
                      <a:pt x="2979" y="4390"/>
                    </a:lnTo>
                    <a:lnTo>
                      <a:pt x="2977" y="4391"/>
                    </a:lnTo>
                    <a:lnTo>
                      <a:pt x="2966" y="4392"/>
                    </a:lnTo>
                    <a:lnTo>
                      <a:pt x="2944" y="4397"/>
                    </a:lnTo>
                    <a:lnTo>
                      <a:pt x="2936" y="4399"/>
                    </a:lnTo>
                    <a:lnTo>
                      <a:pt x="2929" y="4404"/>
                    </a:lnTo>
                    <a:lnTo>
                      <a:pt x="2923" y="4407"/>
                    </a:lnTo>
                    <a:lnTo>
                      <a:pt x="2920" y="4412"/>
                    </a:lnTo>
                    <a:lnTo>
                      <a:pt x="2916" y="4417"/>
                    </a:lnTo>
                    <a:lnTo>
                      <a:pt x="2913" y="4421"/>
                    </a:lnTo>
                    <a:lnTo>
                      <a:pt x="2909" y="4423"/>
                    </a:lnTo>
                    <a:lnTo>
                      <a:pt x="2906" y="4423"/>
                    </a:lnTo>
                    <a:lnTo>
                      <a:pt x="2903" y="4423"/>
                    </a:lnTo>
                    <a:lnTo>
                      <a:pt x="2901" y="4422"/>
                    </a:lnTo>
                    <a:lnTo>
                      <a:pt x="2900" y="4421"/>
                    </a:lnTo>
                    <a:lnTo>
                      <a:pt x="2898" y="4418"/>
                    </a:lnTo>
                    <a:lnTo>
                      <a:pt x="2898" y="4412"/>
                    </a:lnTo>
                    <a:lnTo>
                      <a:pt x="2900" y="4402"/>
                    </a:lnTo>
                    <a:lnTo>
                      <a:pt x="2900" y="4396"/>
                    </a:lnTo>
                    <a:lnTo>
                      <a:pt x="2900" y="4391"/>
                    </a:lnTo>
                    <a:lnTo>
                      <a:pt x="2897" y="4386"/>
                    </a:lnTo>
                    <a:lnTo>
                      <a:pt x="2895" y="4382"/>
                    </a:lnTo>
                    <a:lnTo>
                      <a:pt x="2889" y="4375"/>
                    </a:lnTo>
                    <a:lnTo>
                      <a:pt x="2883" y="4369"/>
                    </a:lnTo>
                    <a:lnTo>
                      <a:pt x="2879" y="4367"/>
                    </a:lnTo>
                    <a:lnTo>
                      <a:pt x="2879" y="4363"/>
                    </a:lnTo>
                    <a:lnTo>
                      <a:pt x="2879" y="4361"/>
                    </a:lnTo>
                    <a:lnTo>
                      <a:pt x="2882" y="4358"/>
                    </a:lnTo>
                    <a:lnTo>
                      <a:pt x="2889" y="4352"/>
                    </a:lnTo>
                    <a:lnTo>
                      <a:pt x="2898" y="4344"/>
                    </a:lnTo>
                    <a:lnTo>
                      <a:pt x="2907" y="4336"/>
                    </a:lnTo>
                    <a:lnTo>
                      <a:pt x="2913" y="4328"/>
                    </a:lnTo>
                    <a:lnTo>
                      <a:pt x="2916" y="4318"/>
                    </a:lnTo>
                    <a:lnTo>
                      <a:pt x="2920" y="4306"/>
                    </a:lnTo>
                    <a:lnTo>
                      <a:pt x="2922" y="4299"/>
                    </a:lnTo>
                    <a:lnTo>
                      <a:pt x="2927" y="4293"/>
                    </a:lnTo>
                    <a:lnTo>
                      <a:pt x="2930" y="4287"/>
                    </a:lnTo>
                    <a:lnTo>
                      <a:pt x="2935" y="4281"/>
                    </a:lnTo>
                    <a:lnTo>
                      <a:pt x="2939" y="4278"/>
                    </a:lnTo>
                    <a:lnTo>
                      <a:pt x="2940" y="4276"/>
                    </a:lnTo>
                    <a:lnTo>
                      <a:pt x="2939" y="4273"/>
                    </a:lnTo>
                    <a:lnTo>
                      <a:pt x="2936" y="4267"/>
                    </a:lnTo>
                    <a:lnTo>
                      <a:pt x="2933" y="4253"/>
                    </a:lnTo>
                    <a:lnTo>
                      <a:pt x="2932" y="4239"/>
                    </a:lnTo>
                    <a:lnTo>
                      <a:pt x="2930" y="4233"/>
                    </a:lnTo>
                    <a:lnTo>
                      <a:pt x="2929" y="4228"/>
                    </a:lnTo>
                    <a:lnTo>
                      <a:pt x="2927" y="4223"/>
                    </a:lnTo>
                    <a:lnTo>
                      <a:pt x="2925" y="4220"/>
                    </a:lnTo>
                    <a:lnTo>
                      <a:pt x="2920" y="4211"/>
                    </a:lnTo>
                    <a:lnTo>
                      <a:pt x="2914" y="4204"/>
                    </a:lnTo>
                    <a:lnTo>
                      <a:pt x="2911" y="4199"/>
                    </a:lnTo>
                    <a:lnTo>
                      <a:pt x="2909" y="4195"/>
                    </a:lnTo>
                    <a:lnTo>
                      <a:pt x="2908" y="4194"/>
                    </a:lnTo>
                    <a:lnTo>
                      <a:pt x="2907" y="4194"/>
                    </a:lnTo>
                    <a:lnTo>
                      <a:pt x="2906" y="4195"/>
                    </a:lnTo>
                    <a:lnTo>
                      <a:pt x="2904" y="4197"/>
                    </a:lnTo>
                    <a:lnTo>
                      <a:pt x="2898" y="4203"/>
                    </a:lnTo>
                    <a:lnTo>
                      <a:pt x="2892" y="4211"/>
                    </a:lnTo>
                    <a:lnTo>
                      <a:pt x="2889" y="4222"/>
                    </a:lnTo>
                    <a:lnTo>
                      <a:pt x="2889" y="4229"/>
                    </a:lnTo>
                    <a:lnTo>
                      <a:pt x="2888" y="4233"/>
                    </a:lnTo>
                    <a:lnTo>
                      <a:pt x="2888" y="4235"/>
                    </a:lnTo>
                    <a:lnTo>
                      <a:pt x="2885" y="4237"/>
                    </a:lnTo>
                    <a:lnTo>
                      <a:pt x="2883" y="4241"/>
                    </a:lnTo>
                    <a:lnTo>
                      <a:pt x="2877" y="4246"/>
                    </a:lnTo>
                    <a:lnTo>
                      <a:pt x="2870" y="4249"/>
                    </a:lnTo>
                    <a:lnTo>
                      <a:pt x="2862" y="4252"/>
                    </a:lnTo>
                    <a:lnTo>
                      <a:pt x="2854" y="4254"/>
                    </a:lnTo>
                    <a:lnTo>
                      <a:pt x="2846" y="4255"/>
                    </a:lnTo>
                    <a:lnTo>
                      <a:pt x="2840" y="4255"/>
                    </a:lnTo>
                    <a:lnTo>
                      <a:pt x="2834" y="4254"/>
                    </a:lnTo>
                    <a:lnTo>
                      <a:pt x="2831" y="4253"/>
                    </a:lnTo>
                    <a:lnTo>
                      <a:pt x="2827" y="4249"/>
                    </a:lnTo>
                    <a:lnTo>
                      <a:pt x="2826" y="4246"/>
                    </a:lnTo>
                    <a:lnTo>
                      <a:pt x="2825" y="4242"/>
                    </a:lnTo>
                    <a:lnTo>
                      <a:pt x="2825" y="4237"/>
                    </a:lnTo>
                    <a:lnTo>
                      <a:pt x="2825" y="4227"/>
                    </a:lnTo>
                    <a:lnTo>
                      <a:pt x="2828" y="4217"/>
                    </a:lnTo>
                    <a:lnTo>
                      <a:pt x="2829" y="4210"/>
                    </a:lnTo>
                    <a:lnTo>
                      <a:pt x="2829" y="4203"/>
                    </a:lnTo>
                    <a:lnTo>
                      <a:pt x="2827" y="4196"/>
                    </a:lnTo>
                    <a:lnTo>
                      <a:pt x="2823" y="4188"/>
                    </a:lnTo>
                    <a:lnTo>
                      <a:pt x="2820" y="4180"/>
                    </a:lnTo>
                    <a:lnTo>
                      <a:pt x="2820" y="4172"/>
                    </a:lnTo>
                    <a:lnTo>
                      <a:pt x="2820" y="4166"/>
                    </a:lnTo>
                    <a:lnTo>
                      <a:pt x="2820" y="4163"/>
                    </a:lnTo>
                    <a:lnTo>
                      <a:pt x="2819" y="4161"/>
                    </a:lnTo>
                    <a:lnTo>
                      <a:pt x="2812" y="4159"/>
                    </a:lnTo>
                    <a:lnTo>
                      <a:pt x="2806" y="4158"/>
                    </a:lnTo>
                    <a:lnTo>
                      <a:pt x="2797" y="4157"/>
                    </a:lnTo>
                    <a:lnTo>
                      <a:pt x="2785" y="4158"/>
                    </a:lnTo>
                    <a:lnTo>
                      <a:pt x="2771" y="4158"/>
                    </a:lnTo>
                    <a:lnTo>
                      <a:pt x="2763" y="4158"/>
                    </a:lnTo>
                    <a:lnTo>
                      <a:pt x="2759" y="4159"/>
                    </a:lnTo>
                    <a:lnTo>
                      <a:pt x="2757" y="4160"/>
                    </a:lnTo>
                    <a:lnTo>
                      <a:pt x="2752" y="4166"/>
                    </a:lnTo>
                    <a:lnTo>
                      <a:pt x="2749" y="4170"/>
                    </a:lnTo>
                    <a:lnTo>
                      <a:pt x="2744" y="4172"/>
                    </a:lnTo>
                    <a:lnTo>
                      <a:pt x="2736" y="4173"/>
                    </a:lnTo>
                    <a:lnTo>
                      <a:pt x="2727" y="4173"/>
                    </a:lnTo>
                    <a:lnTo>
                      <a:pt x="2720" y="4172"/>
                    </a:lnTo>
                    <a:lnTo>
                      <a:pt x="2713" y="4170"/>
                    </a:lnTo>
                    <a:lnTo>
                      <a:pt x="2707" y="4167"/>
                    </a:lnTo>
                    <a:lnTo>
                      <a:pt x="2701" y="4166"/>
                    </a:lnTo>
                    <a:lnTo>
                      <a:pt x="2694" y="4165"/>
                    </a:lnTo>
                    <a:lnTo>
                      <a:pt x="2684" y="4166"/>
                    </a:lnTo>
                    <a:lnTo>
                      <a:pt x="2680" y="4166"/>
                    </a:lnTo>
                    <a:lnTo>
                      <a:pt x="2676" y="4165"/>
                    </a:lnTo>
                    <a:lnTo>
                      <a:pt x="2674" y="4164"/>
                    </a:lnTo>
                    <a:lnTo>
                      <a:pt x="2673" y="4161"/>
                    </a:lnTo>
                    <a:lnTo>
                      <a:pt x="2673" y="4155"/>
                    </a:lnTo>
                    <a:lnTo>
                      <a:pt x="2675" y="4147"/>
                    </a:lnTo>
                    <a:lnTo>
                      <a:pt x="2681" y="4134"/>
                    </a:lnTo>
                    <a:lnTo>
                      <a:pt x="2690" y="4120"/>
                    </a:lnTo>
                    <a:lnTo>
                      <a:pt x="2693" y="4115"/>
                    </a:lnTo>
                    <a:lnTo>
                      <a:pt x="2694" y="4110"/>
                    </a:lnTo>
                    <a:lnTo>
                      <a:pt x="2692" y="4107"/>
                    </a:lnTo>
                    <a:lnTo>
                      <a:pt x="2689" y="4101"/>
                    </a:lnTo>
                    <a:lnTo>
                      <a:pt x="2677" y="4087"/>
                    </a:lnTo>
                    <a:lnTo>
                      <a:pt x="2662" y="4072"/>
                    </a:lnTo>
                    <a:lnTo>
                      <a:pt x="2656" y="4066"/>
                    </a:lnTo>
                    <a:lnTo>
                      <a:pt x="2649" y="4062"/>
                    </a:lnTo>
                    <a:lnTo>
                      <a:pt x="2645" y="4059"/>
                    </a:lnTo>
                    <a:lnTo>
                      <a:pt x="2642" y="4058"/>
                    </a:lnTo>
                    <a:lnTo>
                      <a:pt x="2638" y="4057"/>
                    </a:lnTo>
                    <a:lnTo>
                      <a:pt x="2634" y="4057"/>
                    </a:lnTo>
                    <a:lnTo>
                      <a:pt x="2631" y="4058"/>
                    </a:lnTo>
                    <a:lnTo>
                      <a:pt x="2629" y="4058"/>
                    </a:lnTo>
                    <a:lnTo>
                      <a:pt x="2626" y="4057"/>
                    </a:lnTo>
                    <a:lnTo>
                      <a:pt x="2625" y="4056"/>
                    </a:lnTo>
                    <a:lnTo>
                      <a:pt x="2623" y="4051"/>
                    </a:lnTo>
                    <a:lnTo>
                      <a:pt x="2620" y="4046"/>
                    </a:lnTo>
                    <a:lnTo>
                      <a:pt x="2610" y="4028"/>
                    </a:lnTo>
                    <a:lnTo>
                      <a:pt x="2600" y="4010"/>
                    </a:lnTo>
                    <a:lnTo>
                      <a:pt x="2595" y="3999"/>
                    </a:lnTo>
                    <a:lnTo>
                      <a:pt x="2593" y="3984"/>
                    </a:lnTo>
                    <a:lnTo>
                      <a:pt x="2589" y="3972"/>
                    </a:lnTo>
                    <a:lnTo>
                      <a:pt x="2587" y="3963"/>
                    </a:lnTo>
                    <a:lnTo>
                      <a:pt x="2581" y="3956"/>
                    </a:lnTo>
                    <a:lnTo>
                      <a:pt x="2573" y="3945"/>
                    </a:lnTo>
                    <a:lnTo>
                      <a:pt x="2564" y="3936"/>
                    </a:lnTo>
                    <a:lnTo>
                      <a:pt x="2557" y="3925"/>
                    </a:lnTo>
                    <a:lnTo>
                      <a:pt x="2556" y="3920"/>
                    </a:lnTo>
                    <a:lnTo>
                      <a:pt x="2555" y="3917"/>
                    </a:lnTo>
                    <a:lnTo>
                      <a:pt x="2555" y="3913"/>
                    </a:lnTo>
                    <a:lnTo>
                      <a:pt x="2556" y="3909"/>
                    </a:lnTo>
                    <a:lnTo>
                      <a:pt x="2558" y="3905"/>
                    </a:lnTo>
                    <a:lnTo>
                      <a:pt x="2563" y="3901"/>
                    </a:lnTo>
                    <a:lnTo>
                      <a:pt x="2566" y="3899"/>
                    </a:lnTo>
                    <a:lnTo>
                      <a:pt x="2568" y="3894"/>
                    </a:lnTo>
                    <a:lnTo>
                      <a:pt x="2569" y="3888"/>
                    </a:lnTo>
                    <a:lnTo>
                      <a:pt x="2568" y="3882"/>
                    </a:lnTo>
                    <a:lnTo>
                      <a:pt x="2569" y="3875"/>
                    </a:lnTo>
                    <a:lnTo>
                      <a:pt x="2573" y="3867"/>
                    </a:lnTo>
                    <a:lnTo>
                      <a:pt x="2575" y="3863"/>
                    </a:lnTo>
                    <a:lnTo>
                      <a:pt x="2577" y="3861"/>
                    </a:lnTo>
                    <a:lnTo>
                      <a:pt x="2581" y="3858"/>
                    </a:lnTo>
                    <a:lnTo>
                      <a:pt x="2585" y="3856"/>
                    </a:lnTo>
                    <a:lnTo>
                      <a:pt x="2592" y="3854"/>
                    </a:lnTo>
                    <a:lnTo>
                      <a:pt x="2598" y="3851"/>
                    </a:lnTo>
                    <a:lnTo>
                      <a:pt x="2604" y="3848"/>
                    </a:lnTo>
                    <a:lnTo>
                      <a:pt x="2610" y="3844"/>
                    </a:lnTo>
                    <a:lnTo>
                      <a:pt x="2612" y="3842"/>
                    </a:lnTo>
                    <a:lnTo>
                      <a:pt x="2615" y="3840"/>
                    </a:lnTo>
                    <a:lnTo>
                      <a:pt x="2620" y="3839"/>
                    </a:lnTo>
                    <a:lnTo>
                      <a:pt x="2624" y="3840"/>
                    </a:lnTo>
                    <a:lnTo>
                      <a:pt x="2629" y="3840"/>
                    </a:lnTo>
                    <a:lnTo>
                      <a:pt x="2633" y="3843"/>
                    </a:lnTo>
                    <a:lnTo>
                      <a:pt x="2637" y="3845"/>
                    </a:lnTo>
                    <a:lnTo>
                      <a:pt x="2642" y="3848"/>
                    </a:lnTo>
                    <a:lnTo>
                      <a:pt x="2648" y="3851"/>
                    </a:lnTo>
                    <a:lnTo>
                      <a:pt x="2653" y="3855"/>
                    </a:lnTo>
                    <a:lnTo>
                      <a:pt x="2661" y="3858"/>
                    </a:lnTo>
                    <a:lnTo>
                      <a:pt x="2668" y="3861"/>
                    </a:lnTo>
                    <a:lnTo>
                      <a:pt x="2684" y="3865"/>
                    </a:lnTo>
                    <a:lnTo>
                      <a:pt x="2701" y="3868"/>
                    </a:lnTo>
                    <a:lnTo>
                      <a:pt x="2708" y="3870"/>
                    </a:lnTo>
                    <a:lnTo>
                      <a:pt x="2713" y="3871"/>
                    </a:lnTo>
                    <a:lnTo>
                      <a:pt x="2718" y="3874"/>
                    </a:lnTo>
                    <a:lnTo>
                      <a:pt x="2721" y="3876"/>
                    </a:lnTo>
                    <a:lnTo>
                      <a:pt x="2727" y="3883"/>
                    </a:lnTo>
                    <a:lnTo>
                      <a:pt x="2736" y="3893"/>
                    </a:lnTo>
                    <a:lnTo>
                      <a:pt x="2740" y="3899"/>
                    </a:lnTo>
                    <a:lnTo>
                      <a:pt x="2745" y="3902"/>
                    </a:lnTo>
                    <a:lnTo>
                      <a:pt x="2750" y="3906"/>
                    </a:lnTo>
                    <a:lnTo>
                      <a:pt x="2755" y="3908"/>
                    </a:lnTo>
                    <a:lnTo>
                      <a:pt x="2763" y="3911"/>
                    </a:lnTo>
                    <a:lnTo>
                      <a:pt x="2771" y="3912"/>
                    </a:lnTo>
                    <a:lnTo>
                      <a:pt x="2778" y="3913"/>
                    </a:lnTo>
                    <a:lnTo>
                      <a:pt x="2785" y="3915"/>
                    </a:lnTo>
                    <a:lnTo>
                      <a:pt x="2793" y="3919"/>
                    </a:lnTo>
                    <a:lnTo>
                      <a:pt x="2800" y="3924"/>
                    </a:lnTo>
                    <a:lnTo>
                      <a:pt x="2807" y="3928"/>
                    </a:lnTo>
                    <a:lnTo>
                      <a:pt x="2813" y="3932"/>
                    </a:lnTo>
                    <a:lnTo>
                      <a:pt x="2820" y="3933"/>
                    </a:lnTo>
                    <a:lnTo>
                      <a:pt x="2828" y="3934"/>
                    </a:lnTo>
                    <a:lnTo>
                      <a:pt x="2833" y="3934"/>
                    </a:lnTo>
                    <a:lnTo>
                      <a:pt x="2837" y="3937"/>
                    </a:lnTo>
                    <a:lnTo>
                      <a:pt x="2841" y="3939"/>
                    </a:lnTo>
                    <a:lnTo>
                      <a:pt x="2846" y="3943"/>
                    </a:lnTo>
                    <a:lnTo>
                      <a:pt x="2850" y="3947"/>
                    </a:lnTo>
                    <a:lnTo>
                      <a:pt x="2852" y="3952"/>
                    </a:lnTo>
                    <a:lnTo>
                      <a:pt x="2854" y="3957"/>
                    </a:lnTo>
                    <a:lnTo>
                      <a:pt x="2857" y="3962"/>
                    </a:lnTo>
                    <a:lnTo>
                      <a:pt x="2858" y="3966"/>
                    </a:lnTo>
                    <a:lnTo>
                      <a:pt x="2860" y="3970"/>
                    </a:lnTo>
                    <a:lnTo>
                      <a:pt x="2864" y="3975"/>
                    </a:lnTo>
                    <a:lnTo>
                      <a:pt x="2867" y="3978"/>
                    </a:lnTo>
                    <a:lnTo>
                      <a:pt x="2876" y="3984"/>
                    </a:lnTo>
                    <a:lnTo>
                      <a:pt x="2884" y="3989"/>
                    </a:lnTo>
                    <a:lnTo>
                      <a:pt x="2891" y="3994"/>
                    </a:lnTo>
                    <a:lnTo>
                      <a:pt x="2898" y="4000"/>
                    </a:lnTo>
                    <a:lnTo>
                      <a:pt x="2903" y="4002"/>
                    </a:lnTo>
                    <a:lnTo>
                      <a:pt x="2906" y="4003"/>
                    </a:lnTo>
                    <a:lnTo>
                      <a:pt x="2908" y="4005"/>
                    </a:lnTo>
                    <a:lnTo>
                      <a:pt x="2910" y="4003"/>
                    </a:lnTo>
                    <a:lnTo>
                      <a:pt x="2914" y="4001"/>
                    </a:lnTo>
                    <a:lnTo>
                      <a:pt x="2917" y="3995"/>
                    </a:lnTo>
                    <a:lnTo>
                      <a:pt x="2926" y="3987"/>
                    </a:lnTo>
                    <a:lnTo>
                      <a:pt x="2932" y="3978"/>
                    </a:lnTo>
                    <a:lnTo>
                      <a:pt x="2938" y="3974"/>
                    </a:lnTo>
                    <a:lnTo>
                      <a:pt x="2942" y="3972"/>
                    </a:lnTo>
                    <a:lnTo>
                      <a:pt x="2947" y="3972"/>
                    </a:lnTo>
                    <a:lnTo>
                      <a:pt x="2953" y="3976"/>
                    </a:lnTo>
                    <a:lnTo>
                      <a:pt x="2960" y="3980"/>
                    </a:lnTo>
                    <a:lnTo>
                      <a:pt x="2966" y="3981"/>
                    </a:lnTo>
                    <a:lnTo>
                      <a:pt x="2971" y="3981"/>
                    </a:lnTo>
                    <a:lnTo>
                      <a:pt x="2974" y="3980"/>
                    </a:lnTo>
                    <a:lnTo>
                      <a:pt x="2978" y="3977"/>
                    </a:lnTo>
                    <a:lnTo>
                      <a:pt x="2983" y="3974"/>
                    </a:lnTo>
                    <a:lnTo>
                      <a:pt x="2990" y="3965"/>
                    </a:lnTo>
                    <a:lnTo>
                      <a:pt x="2998" y="3956"/>
                    </a:lnTo>
                    <a:lnTo>
                      <a:pt x="3004" y="3946"/>
                    </a:lnTo>
                    <a:lnTo>
                      <a:pt x="3007" y="3936"/>
                    </a:lnTo>
                    <a:lnTo>
                      <a:pt x="3009" y="3931"/>
                    </a:lnTo>
                    <a:lnTo>
                      <a:pt x="3010" y="3926"/>
                    </a:lnTo>
                    <a:lnTo>
                      <a:pt x="3013" y="3923"/>
                    </a:lnTo>
                    <a:lnTo>
                      <a:pt x="3016" y="3920"/>
                    </a:lnTo>
                    <a:lnTo>
                      <a:pt x="3020" y="3919"/>
                    </a:lnTo>
                    <a:lnTo>
                      <a:pt x="3023" y="3918"/>
                    </a:lnTo>
                    <a:lnTo>
                      <a:pt x="3028" y="3917"/>
                    </a:lnTo>
                    <a:lnTo>
                      <a:pt x="3033" y="3918"/>
                    </a:lnTo>
                    <a:lnTo>
                      <a:pt x="3037" y="3918"/>
                    </a:lnTo>
                    <a:lnTo>
                      <a:pt x="3041" y="3918"/>
                    </a:lnTo>
                    <a:lnTo>
                      <a:pt x="3045" y="3917"/>
                    </a:lnTo>
                    <a:lnTo>
                      <a:pt x="3047" y="3915"/>
                    </a:lnTo>
                    <a:lnTo>
                      <a:pt x="3049" y="3913"/>
                    </a:lnTo>
                    <a:lnTo>
                      <a:pt x="3051" y="3911"/>
                    </a:lnTo>
                    <a:lnTo>
                      <a:pt x="3051" y="3907"/>
                    </a:lnTo>
                    <a:lnTo>
                      <a:pt x="3052" y="3903"/>
                    </a:lnTo>
                    <a:lnTo>
                      <a:pt x="3052" y="3896"/>
                    </a:lnTo>
                    <a:lnTo>
                      <a:pt x="3055" y="3892"/>
                    </a:lnTo>
                    <a:lnTo>
                      <a:pt x="3056" y="3890"/>
                    </a:lnTo>
                    <a:lnTo>
                      <a:pt x="3059" y="3889"/>
                    </a:lnTo>
                    <a:lnTo>
                      <a:pt x="3061" y="3889"/>
                    </a:lnTo>
                    <a:lnTo>
                      <a:pt x="3065" y="3889"/>
                    </a:lnTo>
                    <a:lnTo>
                      <a:pt x="3071" y="3893"/>
                    </a:lnTo>
                    <a:lnTo>
                      <a:pt x="3076" y="3896"/>
                    </a:lnTo>
                    <a:lnTo>
                      <a:pt x="3078" y="3898"/>
                    </a:lnTo>
                    <a:lnTo>
                      <a:pt x="3080" y="3899"/>
                    </a:lnTo>
                    <a:lnTo>
                      <a:pt x="3081" y="3899"/>
                    </a:lnTo>
                    <a:lnTo>
                      <a:pt x="3084" y="3898"/>
                    </a:lnTo>
                    <a:lnTo>
                      <a:pt x="3085" y="3896"/>
                    </a:lnTo>
                    <a:lnTo>
                      <a:pt x="3086" y="3895"/>
                    </a:lnTo>
                    <a:lnTo>
                      <a:pt x="3086" y="3893"/>
                    </a:lnTo>
                    <a:lnTo>
                      <a:pt x="3086" y="3889"/>
                    </a:lnTo>
                    <a:lnTo>
                      <a:pt x="3084" y="3881"/>
                    </a:lnTo>
                    <a:lnTo>
                      <a:pt x="3080" y="3867"/>
                    </a:lnTo>
                    <a:lnTo>
                      <a:pt x="3077" y="3860"/>
                    </a:lnTo>
                    <a:lnTo>
                      <a:pt x="3074" y="3852"/>
                    </a:lnTo>
                    <a:lnTo>
                      <a:pt x="3070" y="3846"/>
                    </a:lnTo>
                    <a:lnTo>
                      <a:pt x="3065" y="3840"/>
                    </a:lnTo>
                    <a:lnTo>
                      <a:pt x="3060" y="3836"/>
                    </a:lnTo>
                    <a:lnTo>
                      <a:pt x="3054" y="3831"/>
                    </a:lnTo>
                    <a:lnTo>
                      <a:pt x="3048" y="3826"/>
                    </a:lnTo>
                    <a:lnTo>
                      <a:pt x="3042" y="3823"/>
                    </a:lnTo>
                    <a:lnTo>
                      <a:pt x="3026" y="3817"/>
                    </a:lnTo>
                    <a:lnTo>
                      <a:pt x="3009" y="3812"/>
                    </a:lnTo>
                    <a:lnTo>
                      <a:pt x="3001" y="3810"/>
                    </a:lnTo>
                    <a:lnTo>
                      <a:pt x="2996" y="3806"/>
                    </a:lnTo>
                    <a:lnTo>
                      <a:pt x="2993" y="3805"/>
                    </a:lnTo>
                    <a:lnTo>
                      <a:pt x="2992" y="3802"/>
                    </a:lnTo>
                    <a:lnTo>
                      <a:pt x="2992" y="3800"/>
                    </a:lnTo>
                    <a:lnTo>
                      <a:pt x="2993" y="3798"/>
                    </a:lnTo>
                    <a:lnTo>
                      <a:pt x="2996" y="3791"/>
                    </a:lnTo>
                    <a:lnTo>
                      <a:pt x="2996" y="3782"/>
                    </a:lnTo>
                    <a:lnTo>
                      <a:pt x="2996" y="3773"/>
                    </a:lnTo>
                    <a:lnTo>
                      <a:pt x="2995" y="3763"/>
                    </a:lnTo>
                    <a:lnTo>
                      <a:pt x="2990" y="3742"/>
                    </a:lnTo>
                    <a:lnTo>
                      <a:pt x="2985" y="3720"/>
                    </a:lnTo>
                    <a:lnTo>
                      <a:pt x="2983" y="3710"/>
                    </a:lnTo>
                    <a:lnTo>
                      <a:pt x="2982" y="3699"/>
                    </a:lnTo>
                    <a:lnTo>
                      <a:pt x="2980" y="3688"/>
                    </a:lnTo>
                    <a:lnTo>
                      <a:pt x="2980" y="3680"/>
                    </a:lnTo>
                    <a:lnTo>
                      <a:pt x="2982" y="3671"/>
                    </a:lnTo>
                    <a:lnTo>
                      <a:pt x="2985" y="3663"/>
                    </a:lnTo>
                    <a:lnTo>
                      <a:pt x="2990" y="3656"/>
                    </a:lnTo>
                    <a:lnTo>
                      <a:pt x="2996" y="3652"/>
                    </a:lnTo>
                    <a:lnTo>
                      <a:pt x="3001" y="3646"/>
                    </a:lnTo>
                    <a:lnTo>
                      <a:pt x="3004" y="3638"/>
                    </a:lnTo>
                    <a:lnTo>
                      <a:pt x="3007" y="3634"/>
                    </a:lnTo>
                    <a:lnTo>
                      <a:pt x="3010" y="3629"/>
                    </a:lnTo>
                    <a:lnTo>
                      <a:pt x="3015" y="3624"/>
                    </a:lnTo>
                    <a:lnTo>
                      <a:pt x="3021" y="3619"/>
                    </a:lnTo>
                    <a:lnTo>
                      <a:pt x="3040" y="3609"/>
                    </a:lnTo>
                    <a:lnTo>
                      <a:pt x="3065" y="3597"/>
                    </a:lnTo>
                    <a:lnTo>
                      <a:pt x="3089" y="3587"/>
                    </a:lnTo>
                    <a:lnTo>
                      <a:pt x="3108" y="3578"/>
                    </a:lnTo>
                    <a:lnTo>
                      <a:pt x="3116" y="3572"/>
                    </a:lnTo>
                    <a:lnTo>
                      <a:pt x="3123" y="3566"/>
                    </a:lnTo>
                    <a:lnTo>
                      <a:pt x="3131" y="3559"/>
                    </a:lnTo>
                    <a:lnTo>
                      <a:pt x="3139" y="3550"/>
                    </a:lnTo>
                    <a:lnTo>
                      <a:pt x="3144" y="3543"/>
                    </a:lnTo>
                    <a:lnTo>
                      <a:pt x="3149" y="3535"/>
                    </a:lnTo>
                    <a:lnTo>
                      <a:pt x="3154" y="3529"/>
                    </a:lnTo>
                    <a:lnTo>
                      <a:pt x="3155" y="3523"/>
                    </a:lnTo>
                    <a:lnTo>
                      <a:pt x="3158" y="3511"/>
                    </a:lnTo>
                    <a:lnTo>
                      <a:pt x="3160" y="3501"/>
                    </a:lnTo>
                    <a:lnTo>
                      <a:pt x="3159" y="3496"/>
                    </a:lnTo>
                    <a:lnTo>
                      <a:pt x="3158" y="3491"/>
                    </a:lnTo>
                    <a:lnTo>
                      <a:pt x="3156" y="3487"/>
                    </a:lnTo>
                    <a:lnTo>
                      <a:pt x="3153" y="3484"/>
                    </a:lnTo>
                    <a:lnTo>
                      <a:pt x="3149" y="3482"/>
                    </a:lnTo>
                    <a:lnTo>
                      <a:pt x="3147" y="3478"/>
                    </a:lnTo>
                    <a:lnTo>
                      <a:pt x="3146" y="3476"/>
                    </a:lnTo>
                    <a:lnTo>
                      <a:pt x="3146" y="3471"/>
                    </a:lnTo>
                    <a:lnTo>
                      <a:pt x="3146" y="3461"/>
                    </a:lnTo>
                    <a:lnTo>
                      <a:pt x="3144" y="3449"/>
                    </a:lnTo>
                    <a:lnTo>
                      <a:pt x="3144" y="3442"/>
                    </a:lnTo>
                    <a:lnTo>
                      <a:pt x="3144" y="3438"/>
                    </a:lnTo>
                    <a:lnTo>
                      <a:pt x="3146" y="3435"/>
                    </a:lnTo>
                    <a:lnTo>
                      <a:pt x="3148" y="3433"/>
                    </a:lnTo>
                    <a:lnTo>
                      <a:pt x="3153" y="3432"/>
                    </a:lnTo>
                    <a:lnTo>
                      <a:pt x="3160" y="3432"/>
                    </a:lnTo>
                    <a:lnTo>
                      <a:pt x="3166" y="3432"/>
                    </a:lnTo>
                    <a:lnTo>
                      <a:pt x="3172" y="3430"/>
                    </a:lnTo>
                    <a:lnTo>
                      <a:pt x="3178" y="3427"/>
                    </a:lnTo>
                    <a:lnTo>
                      <a:pt x="3187" y="3422"/>
                    </a:lnTo>
                    <a:lnTo>
                      <a:pt x="3191" y="3419"/>
                    </a:lnTo>
                    <a:lnTo>
                      <a:pt x="3194" y="3414"/>
                    </a:lnTo>
                    <a:lnTo>
                      <a:pt x="3198" y="3409"/>
                    </a:lnTo>
                    <a:lnTo>
                      <a:pt x="3200" y="3402"/>
                    </a:lnTo>
                    <a:lnTo>
                      <a:pt x="3204" y="3389"/>
                    </a:lnTo>
                    <a:lnTo>
                      <a:pt x="3209" y="3377"/>
                    </a:lnTo>
                    <a:lnTo>
                      <a:pt x="3211" y="3372"/>
                    </a:lnTo>
                    <a:lnTo>
                      <a:pt x="3215" y="3370"/>
                    </a:lnTo>
                    <a:lnTo>
                      <a:pt x="3219" y="3369"/>
                    </a:lnTo>
                    <a:lnTo>
                      <a:pt x="3224" y="3367"/>
                    </a:lnTo>
                    <a:lnTo>
                      <a:pt x="3229" y="3369"/>
                    </a:lnTo>
                    <a:lnTo>
                      <a:pt x="3234" y="3370"/>
                    </a:lnTo>
                    <a:lnTo>
                      <a:pt x="3238" y="3372"/>
                    </a:lnTo>
                    <a:lnTo>
                      <a:pt x="3243" y="3375"/>
                    </a:lnTo>
                    <a:lnTo>
                      <a:pt x="3251" y="3379"/>
                    </a:lnTo>
                    <a:lnTo>
                      <a:pt x="3259" y="3384"/>
                    </a:lnTo>
                    <a:lnTo>
                      <a:pt x="3262" y="3385"/>
                    </a:lnTo>
                    <a:lnTo>
                      <a:pt x="3266" y="3386"/>
                    </a:lnTo>
                    <a:lnTo>
                      <a:pt x="3270" y="3386"/>
                    </a:lnTo>
                    <a:lnTo>
                      <a:pt x="3274" y="3385"/>
                    </a:lnTo>
                    <a:lnTo>
                      <a:pt x="3278" y="3383"/>
                    </a:lnTo>
                    <a:lnTo>
                      <a:pt x="3281" y="3379"/>
                    </a:lnTo>
                    <a:lnTo>
                      <a:pt x="3285" y="3375"/>
                    </a:lnTo>
                    <a:lnTo>
                      <a:pt x="3288" y="3370"/>
                    </a:lnTo>
                    <a:lnTo>
                      <a:pt x="3292" y="3364"/>
                    </a:lnTo>
                    <a:lnTo>
                      <a:pt x="3294" y="3358"/>
                    </a:lnTo>
                    <a:lnTo>
                      <a:pt x="3297" y="3352"/>
                    </a:lnTo>
                    <a:lnTo>
                      <a:pt x="3298" y="3347"/>
                    </a:lnTo>
                    <a:lnTo>
                      <a:pt x="3298" y="3341"/>
                    </a:lnTo>
                    <a:lnTo>
                      <a:pt x="3297" y="3337"/>
                    </a:lnTo>
                    <a:lnTo>
                      <a:pt x="3294" y="3331"/>
                    </a:lnTo>
                    <a:lnTo>
                      <a:pt x="3292" y="3326"/>
                    </a:lnTo>
                    <a:lnTo>
                      <a:pt x="3287" y="3314"/>
                    </a:lnTo>
                    <a:lnTo>
                      <a:pt x="3282" y="3300"/>
                    </a:lnTo>
                    <a:lnTo>
                      <a:pt x="3281" y="3289"/>
                    </a:lnTo>
                    <a:lnTo>
                      <a:pt x="3281" y="3279"/>
                    </a:lnTo>
                    <a:lnTo>
                      <a:pt x="3281" y="3270"/>
                    </a:lnTo>
                    <a:lnTo>
                      <a:pt x="3282" y="3263"/>
                    </a:lnTo>
                    <a:lnTo>
                      <a:pt x="3284" y="3257"/>
                    </a:lnTo>
                    <a:lnTo>
                      <a:pt x="3285" y="3255"/>
                    </a:lnTo>
                    <a:lnTo>
                      <a:pt x="3287" y="3253"/>
                    </a:lnTo>
                    <a:lnTo>
                      <a:pt x="3292" y="3253"/>
                    </a:lnTo>
                    <a:lnTo>
                      <a:pt x="3298" y="3253"/>
                    </a:lnTo>
                    <a:lnTo>
                      <a:pt x="3303" y="3252"/>
                    </a:lnTo>
                    <a:lnTo>
                      <a:pt x="3310" y="3250"/>
                    </a:lnTo>
                    <a:lnTo>
                      <a:pt x="3317" y="3246"/>
                    </a:lnTo>
                    <a:lnTo>
                      <a:pt x="3324" y="3243"/>
                    </a:lnTo>
                    <a:lnTo>
                      <a:pt x="3329" y="3240"/>
                    </a:lnTo>
                    <a:lnTo>
                      <a:pt x="3333" y="3239"/>
                    </a:lnTo>
                    <a:lnTo>
                      <a:pt x="3339" y="3238"/>
                    </a:lnTo>
                    <a:lnTo>
                      <a:pt x="3344" y="3239"/>
                    </a:lnTo>
                    <a:lnTo>
                      <a:pt x="3348" y="3241"/>
                    </a:lnTo>
                    <a:lnTo>
                      <a:pt x="3351" y="3243"/>
                    </a:lnTo>
                    <a:lnTo>
                      <a:pt x="3354" y="3245"/>
                    </a:lnTo>
                    <a:lnTo>
                      <a:pt x="3358" y="3247"/>
                    </a:lnTo>
                    <a:lnTo>
                      <a:pt x="3362" y="3249"/>
                    </a:lnTo>
                    <a:lnTo>
                      <a:pt x="3366" y="3246"/>
                    </a:lnTo>
                    <a:lnTo>
                      <a:pt x="3368" y="3244"/>
                    </a:lnTo>
                    <a:lnTo>
                      <a:pt x="3372" y="3235"/>
                    </a:lnTo>
                    <a:lnTo>
                      <a:pt x="3374" y="3227"/>
                    </a:lnTo>
                    <a:lnTo>
                      <a:pt x="3376" y="3218"/>
                    </a:lnTo>
                    <a:lnTo>
                      <a:pt x="3379" y="3208"/>
                    </a:lnTo>
                    <a:lnTo>
                      <a:pt x="3379" y="3200"/>
                    </a:lnTo>
                    <a:lnTo>
                      <a:pt x="3379" y="3193"/>
                    </a:lnTo>
                    <a:lnTo>
                      <a:pt x="3379" y="3187"/>
                    </a:lnTo>
                    <a:lnTo>
                      <a:pt x="3376" y="3181"/>
                    </a:lnTo>
                    <a:lnTo>
                      <a:pt x="3374" y="3175"/>
                    </a:lnTo>
                    <a:lnTo>
                      <a:pt x="3372" y="3169"/>
                    </a:lnTo>
                    <a:lnTo>
                      <a:pt x="3366" y="3159"/>
                    </a:lnTo>
                    <a:lnTo>
                      <a:pt x="3362" y="3151"/>
                    </a:lnTo>
                    <a:lnTo>
                      <a:pt x="3361" y="3148"/>
                    </a:lnTo>
                    <a:lnTo>
                      <a:pt x="3362" y="3143"/>
                    </a:lnTo>
                    <a:lnTo>
                      <a:pt x="3364" y="3139"/>
                    </a:lnTo>
                    <a:lnTo>
                      <a:pt x="3367" y="3136"/>
                    </a:lnTo>
                    <a:lnTo>
                      <a:pt x="3375" y="3126"/>
                    </a:lnTo>
                    <a:lnTo>
                      <a:pt x="3383" y="3118"/>
                    </a:lnTo>
                    <a:lnTo>
                      <a:pt x="3391" y="3112"/>
                    </a:lnTo>
                    <a:lnTo>
                      <a:pt x="3398" y="3106"/>
                    </a:lnTo>
                    <a:lnTo>
                      <a:pt x="3407" y="3100"/>
                    </a:lnTo>
                    <a:lnTo>
                      <a:pt x="3415" y="3095"/>
                    </a:lnTo>
                    <a:lnTo>
                      <a:pt x="3420" y="3092"/>
                    </a:lnTo>
                    <a:lnTo>
                      <a:pt x="3423" y="3089"/>
                    </a:lnTo>
                    <a:lnTo>
                      <a:pt x="3421" y="3087"/>
                    </a:lnTo>
                    <a:lnTo>
                      <a:pt x="3415" y="3085"/>
                    </a:lnTo>
                    <a:lnTo>
                      <a:pt x="3410" y="3082"/>
                    </a:lnTo>
                    <a:lnTo>
                      <a:pt x="3402" y="3080"/>
                    </a:lnTo>
                    <a:lnTo>
                      <a:pt x="3396" y="3075"/>
                    </a:lnTo>
                    <a:lnTo>
                      <a:pt x="3392" y="3071"/>
                    </a:lnTo>
                    <a:lnTo>
                      <a:pt x="3383" y="3061"/>
                    </a:lnTo>
                    <a:lnTo>
                      <a:pt x="3379" y="3052"/>
                    </a:lnTo>
                    <a:lnTo>
                      <a:pt x="3373" y="3045"/>
                    </a:lnTo>
                    <a:lnTo>
                      <a:pt x="3366" y="3039"/>
                    </a:lnTo>
                    <a:lnTo>
                      <a:pt x="3360" y="3035"/>
                    </a:lnTo>
                    <a:lnTo>
                      <a:pt x="3352" y="3026"/>
                    </a:lnTo>
                    <a:lnTo>
                      <a:pt x="3348" y="3019"/>
                    </a:lnTo>
                    <a:lnTo>
                      <a:pt x="3344" y="3013"/>
                    </a:lnTo>
                    <a:lnTo>
                      <a:pt x="3342" y="3005"/>
                    </a:lnTo>
                    <a:lnTo>
                      <a:pt x="3341" y="2989"/>
                    </a:lnTo>
                    <a:lnTo>
                      <a:pt x="3339" y="2976"/>
                    </a:lnTo>
                    <a:lnTo>
                      <a:pt x="3337" y="2962"/>
                    </a:lnTo>
                    <a:lnTo>
                      <a:pt x="3333" y="2948"/>
                    </a:lnTo>
                    <a:lnTo>
                      <a:pt x="3329" y="2935"/>
                    </a:lnTo>
                    <a:lnTo>
                      <a:pt x="3324" y="2926"/>
                    </a:lnTo>
                    <a:lnTo>
                      <a:pt x="3319" y="2921"/>
                    </a:lnTo>
                    <a:lnTo>
                      <a:pt x="3314" y="2915"/>
                    </a:lnTo>
                    <a:lnTo>
                      <a:pt x="3308" y="2910"/>
                    </a:lnTo>
                    <a:lnTo>
                      <a:pt x="3298" y="2903"/>
                    </a:lnTo>
                    <a:lnTo>
                      <a:pt x="3288" y="2896"/>
                    </a:lnTo>
                    <a:lnTo>
                      <a:pt x="3284" y="2891"/>
                    </a:lnTo>
                    <a:lnTo>
                      <a:pt x="3281" y="2886"/>
                    </a:lnTo>
                    <a:lnTo>
                      <a:pt x="3279" y="2880"/>
                    </a:lnTo>
                    <a:lnTo>
                      <a:pt x="3278" y="2875"/>
                    </a:lnTo>
                    <a:lnTo>
                      <a:pt x="3278" y="2869"/>
                    </a:lnTo>
                    <a:lnTo>
                      <a:pt x="3279" y="2865"/>
                    </a:lnTo>
                    <a:lnTo>
                      <a:pt x="3282" y="2860"/>
                    </a:lnTo>
                    <a:lnTo>
                      <a:pt x="3286" y="2856"/>
                    </a:lnTo>
                    <a:lnTo>
                      <a:pt x="3299" y="2850"/>
                    </a:lnTo>
                    <a:lnTo>
                      <a:pt x="3313" y="2846"/>
                    </a:lnTo>
                    <a:lnTo>
                      <a:pt x="3319" y="2844"/>
                    </a:lnTo>
                    <a:lnTo>
                      <a:pt x="3323" y="2842"/>
                    </a:lnTo>
                    <a:lnTo>
                      <a:pt x="3324" y="2841"/>
                    </a:lnTo>
                    <a:lnTo>
                      <a:pt x="3325" y="2840"/>
                    </a:lnTo>
                    <a:lnTo>
                      <a:pt x="3325" y="2837"/>
                    </a:lnTo>
                    <a:lnTo>
                      <a:pt x="3325" y="2836"/>
                    </a:lnTo>
                    <a:lnTo>
                      <a:pt x="3319" y="2822"/>
                    </a:lnTo>
                    <a:lnTo>
                      <a:pt x="3314" y="2808"/>
                    </a:lnTo>
                    <a:lnTo>
                      <a:pt x="3311" y="2802"/>
                    </a:lnTo>
                    <a:lnTo>
                      <a:pt x="3305" y="2793"/>
                    </a:lnTo>
                    <a:lnTo>
                      <a:pt x="3299" y="2786"/>
                    </a:lnTo>
                    <a:lnTo>
                      <a:pt x="3293" y="2780"/>
                    </a:lnTo>
                    <a:lnTo>
                      <a:pt x="3280" y="2768"/>
                    </a:lnTo>
                    <a:lnTo>
                      <a:pt x="3263" y="2753"/>
                    </a:lnTo>
                    <a:lnTo>
                      <a:pt x="3260" y="2748"/>
                    </a:lnTo>
                    <a:lnTo>
                      <a:pt x="3257" y="2745"/>
                    </a:lnTo>
                    <a:lnTo>
                      <a:pt x="3255" y="2740"/>
                    </a:lnTo>
                    <a:lnTo>
                      <a:pt x="3255" y="2736"/>
                    </a:lnTo>
                    <a:lnTo>
                      <a:pt x="3255" y="2728"/>
                    </a:lnTo>
                    <a:lnTo>
                      <a:pt x="3255" y="2716"/>
                    </a:lnTo>
                    <a:lnTo>
                      <a:pt x="3255" y="2708"/>
                    </a:lnTo>
                    <a:lnTo>
                      <a:pt x="3255" y="2701"/>
                    </a:lnTo>
                    <a:lnTo>
                      <a:pt x="3256" y="2698"/>
                    </a:lnTo>
                    <a:lnTo>
                      <a:pt x="3257" y="2696"/>
                    </a:lnTo>
                    <a:lnTo>
                      <a:pt x="3259" y="2695"/>
                    </a:lnTo>
                    <a:lnTo>
                      <a:pt x="3261" y="2694"/>
                    </a:lnTo>
                    <a:lnTo>
                      <a:pt x="3267" y="2694"/>
                    </a:lnTo>
                    <a:lnTo>
                      <a:pt x="3273" y="2694"/>
                    </a:lnTo>
                    <a:lnTo>
                      <a:pt x="3278" y="2692"/>
                    </a:lnTo>
                    <a:lnTo>
                      <a:pt x="3282" y="2690"/>
                    </a:lnTo>
                    <a:lnTo>
                      <a:pt x="3286" y="2685"/>
                    </a:lnTo>
                    <a:lnTo>
                      <a:pt x="3287" y="2678"/>
                    </a:lnTo>
                    <a:lnTo>
                      <a:pt x="3287" y="2674"/>
                    </a:lnTo>
                    <a:lnTo>
                      <a:pt x="3286" y="2670"/>
                    </a:lnTo>
                    <a:lnTo>
                      <a:pt x="3285" y="2666"/>
                    </a:lnTo>
                    <a:lnTo>
                      <a:pt x="3282" y="2660"/>
                    </a:lnTo>
                    <a:lnTo>
                      <a:pt x="3268" y="2650"/>
                    </a:lnTo>
                    <a:lnTo>
                      <a:pt x="3256" y="2638"/>
                    </a:lnTo>
                    <a:lnTo>
                      <a:pt x="3253" y="2628"/>
                    </a:lnTo>
                    <a:lnTo>
                      <a:pt x="3248" y="2621"/>
                    </a:lnTo>
                    <a:lnTo>
                      <a:pt x="3244" y="2617"/>
                    </a:lnTo>
                    <a:lnTo>
                      <a:pt x="3242" y="2614"/>
                    </a:lnTo>
                    <a:lnTo>
                      <a:pt x="3237" y="2611"/>
                    </a:lnTo>
                    <a:lnTo>
                      <a:pt x="3232" y="2609"/>
                    </a:lnTo>
                    <a:lnTo>
                      <a:pt x="3224" y="2604"/>
                    </a:lnTo>
                    <a:lnTo>
                      <a:pt x="3217" y="2600"/>
                    </a:lnTo>
                    <a:lnTo>
                      <a:pt x="3212" y="2594"/>
                    </a:lnTo>
                    <a:lnTo>
                      <a:pt x="3206" y="2585"/>
                    </a:lnTo>
                    <a:lnTo>
                      <a:pt x="3198" y="2576"/>
                    </a:lnTo>
                    <a:lnTo>
                      <a:pt x="3186" y="2565"/>
                    </a:lnTo>
                    <a:lnTo>
                      <a:pt x="3173" y="2556"/>
                    </a:lnTo>
                    <a:lnTo>
                      <a:pt x="3161" y="2547"/>
                    </a:lnTo>
                    <a:lnTo>
                      <a:pt x="3149" y="2537"/>
                    </a:lnTo>
                    <a:lnTo>
                      <a:pt x="3142" y="2527"/>
                    </a:lnTo>
                    <a:lnTo>
                      <a:pt x="3140" y="2525"/>
                    </a:lnTo>
                    <a:lnTo>
                      <a:pt x="3139" y="2521"/>
                    </a:lnTo>
                    <a:lnTo>
                      <a:pt x="3139" y="2518"/>
                    </a:lnTo>
                    <a:lnTo>
                      <a:pt x="3140" y="2513"/>
                    </a:lnTo>
                    <a:lnTo>
                      <a:pt x="3141" y="2503"/>
                    </a:lnTo>
                    <a:lnTo>
                      <a:pt x="3143" y="2493"/>
                    </a:lnTo>
                    <a:lnTo>
                      <a:pt x="3144" y="2487"/>
                    </a:lnTo>
                    <a:lnTo>
                      <a:pt x="3142" y="2481"/>
                    </a:lnTo>
                    <a:lnTo>
                      <a:pt x="3140" y="2475"/>
                    </a:lnTo>
                    <a:lnTo>
                      <a:pt x="3137" y="2469"/>
                    </a:lnTo>
                    <a:lnTo>
                      <a:pt x="3130" y="2458"/>
                    </a:lnTo>
                    <a:lnTo>
                      <a:pt x="3124" y="2450"/>
                    </a:lnTo>
                    <a:lnTo>
                      <a:pt x="3121" y="2442"/>
                    </a:lnTo>
                    <a:lnTo>
                      <a:pt x="3116" y="2433"/>
                    </a:lnTo>
                    <a:lnTo>
                      <a:pt x="3112" y="2424"/>
                    </a:lnTo>
                    <a:lnTo>
                      <a:pt x="3111" y="2414"/>
                    </a:lnTo>
                    <a:lnTo>
                      <a:pt x="3111" y="2406"/>
                    </a:lnTo>
                    <a:lnTo>
                      <a:pt x="3109" y="2399"/>
                    </a:lnTo>
                    <a:lnTo>
                      <a:pt x="3108" y="2395"/>
                    </a:lnTo>
                    <a:lnTo>
                      <a:pt x="3106" y="2393"/>
                    </a:lnTo>
                    <a:lnTo>
                      <a:pt x="3104" y="2392"/>
                    </a:lnTo>
                    <a:lnTo>
                      <a:pt x="3102" y="2392"/>
                    </a:lnTo>
                    <a:lnTo>
                      <a:pt x="3099" y="2392"/>
                    </a:lnTo>
                    <a:lnTo>
                      <a:pt x="3097" y="2393"/>
                    </a:lnTo>
                    <a:lnTo>
                      <a:pt x="3095" y="2394"/>
                    </a:lnTo>
                    <a:lnTo>
                      <a:pt x="3092" y="2396"/>
                    </a:lnTo>
                    <a:lnTo>
                      <a:pt x="3086" y="2403"/>
                    </a:lnTo>
                    <a:lnTo>
                      <a:pt x="3077" y="2414"/>
                    </a:lnTo>
                    <a:lnTo>
                      <a:pt x="3070" y="2424"/>
                    </a:lnTo>
                    <a:lnTo>
                      <a:pt x="3066" y="2427"/>
                    </a:lnTo>
                    <a:lnTo>
                      <a:pt x="3062" y="2430"/>
                    </a:lnTo>
                    <a:lnTo>
                      <a:pt x="3056" y="2434"/>
                    </a:lnTo>
                    <a:lnTo>
                      <a:pt x="3049" y="2439"/>
                    </a:lnTo>
                    <a:lnTo>
                      <a:pt x="3046" y="2442"/>
                    </a:lnTo>
                    <a:lnTo>
                      <a:pt x="3043" y="2442"/>
                    </a:lnTo>
                    <a:lnTo>
                      <a:pt x="3039" y="2439"/>
                    </a:lnTo>
                    <a:lnTo>
                      <a:pt x="3032" y="2436"/>
                    </a:lnTo>
                    <a:lnTo>
                      <a:pt x="3024" y="2430"/>
                    </a:lnTo>
                    <a:lnTo>
                      <a:pt x="3016" y="2423"/>
                    </a:lnTo>
                    <a:lnTo>
                      <a:pt x="3007" y="2414"/>
                    </a:lnTo>
                    <a:lnTo>
                      <a:pt x="2996" y="2406"/>
                    </a:lnTo>
                    <a:lnTo>
                      <a:pt x="2986" y="2398"/>
                    </a:lnTo>
                    <a:lnTo>
                      <a:pt x="2990" y="2392"/>
                    </a:lnTo>
                    <a:lnTo>
                      <a:pt x="2996" y="2383"/>
                    </a:lnTo>
                    <a:lnTo>
                      <a:pt x="2993" y="2377"/>
                    </a:lnTo>
                    <a:lnTo>
                      <a:pt x="2988" y="2370"/>
                    </a:lnTo>
                    <a:lnTo>
                      <a:pt x="2982" y="2363"/>
                    </a:lnTo>
                    <a:lnTo>
                      <a:pt x="2976" y="2357"/>
                    </a:lnTo>
                    <a:lnTo>
                      <a:pt x="2969" y="2350"/>
                    </a:lnTo>
                    <a:lnTo>
                      <a:pt x="2957" y="2343"/>
                    </a:lnTo>
                    <a:lnTo>
                      <a:pt x="2946" y="2336"/>
                    </a:lnTo>
                    <a:lnTo>
                      <a:pt x="2938" y="2332"/>
                    </a:lnTo>
                    <a:lnTo>
                      <a:pt x="2934" y="2332"/>
                    </a:lnTo>
                    <a:lnTo>
                      <a:pt x="2928" y="2335"/>
                    </a:lnTo>
                    <a:lnTo>
                      <a:pt x="2922" y="2338"/>
                    </a:lnTo>
                    <a:lnTo>
                      <a:pt x="2915" y="2342"/>
                    </a:lnTo>
                    <a:lnTo>
                      <a:pt x="2908" y="2346"/>
                    </a:lnTo>
                    <a:lnTo>
                      <a:pt x="2902" y="2349"/>
                    </a:lnTo>
                    <a:lnTo>
                      <a:pt x="2896" y="2351"/>
                    </a:lnTo>
                    <a:lnTo>
                      <a:pt x="2892" y="2350"/>
                    </a:lnTo>
                    <a:lnTo>
                      <a:pt x="2877" y="2340"/>
                    </a:lnTo>
                    <a:lnTo>
                      <a:pt x="2864" y="2333"/>
                    </a:lnTo>
                    <a:lnTo>
                      <a:pt x="2856" y="2329"/>
                    </a:lnTo>
                    <a:lnTo>
                      <a:pt x="2850" y="2323"/>
                    </a:lnTo>
                    <a:lnTo>
                      <a:pt x="2844" y="2316"/>
                    </a:lnTo>
                    <a:lnTo>
                      <a:pt x="2837" y="2304"/>
                    </a:lnTo>
                    <a:lnTo>
                      <a:pt x="2828" y="2292"/>
                    </a:lnTo>
                    <a:lnTo>
                      <a:pt x="2820" y="2283"/>
                    </a:lnTo>
                    <a:lnTo>
                      <a:pt x="2812" y="2276"/>
                    </a:lnTo>
                    <a:lnTo>
                      <a:pt x="2800" y="2268"/>
                    </a:lnTo>
                    <a:lnTo>
                      <a:pt x="2789" y="2261"/>
                    </a:lnTo>
                    <a:lnTo>
                      <a:pt x="2778" y="2256"/>
                    </a:lnTo>
                    <a:lnTo>
                      <a:pt x="2770" y="2254"/>
                    </a:lnTo>
                    <a:lnTo>
                      <a:pt x="2764" y="2253"/>
                    </a:lnTo>
                    <a:lnTo>
                      <a:pt x="2757" y="2251"/>
                    </a:lnTo>
                    <a:lnTo>
                      <a:pt x="2749" y="2247"/>
                    </a:lnTo>
                    <a:lnTo>
                      <a:pt x="2738" y="2241"/>
                    </a:lnTo>
                    <a:lnTo>
                      <a:pt x="2727" y="2230"/>
                    </a:lnTo>
                    <a:lnTo>
                      <a:pt x="2721" y="2225"/>
                    </a:lnTo>
                    <a:lnTo>
                      <a:pt x="2715" y="2220"/>
                    </a:lnTo>
                    <a:lnTo>
                      <a:pt x="2708" y="2216"/>
                    </a:lnTo>
                    <a:lnTo>
                      <a:pt x="2702" y="2212"/>
                    </a:lnTo>
                    <a:lnTo>
                      <a:pt x="2689" y="2206"/>
                    </a:lnTo>
                    <a:lnTo>
                      <a:pt x="2680" y="2203"/>
                    </a:lnTo>
                    <a:lnTo>
                      <a:pt x="2676" y="2200"/>
                    </a:lnTo>
                    <a:lnTo>
                      <a:pt x="2673" y="2197"/>
                    </a:lnTo>
                    <a:lnTo>
                      <a:pt x="2671" y="2193"/>
                    </a:lnTo>
                    <a:lnTo>
                      <a:pt x="2670" y="2190"/>
                    </a:lnTo>
                    <a:lnTo>
                      <a:pt x="2669" y="2181"/>
                    </a:lnTo>
                    <a:lnTo>
                      <a:pt x="2669" y="2172"/>
                    </a:lnTo>
                    <a:lnTo>
                      <a:pt x="2669" y="2161"/>
                    </a:lnTo>
                    <a:lnTo>
                      <a:pt x="2667" y="2150"/>
                    </a:lnTo>
                    <a:lnTo>
                      <a:pt x="2664" y="2144"/>
                    </a:lnTo>
                    <a:lnTo>
                      <a:pt x="2662" y="2140"/>
                    </a:lnTo>
                    <a:lnTo>
                      <a:pt x="2657" y="2134"/>
                    </a:lnTo>
                    <a:lnTo>
                      <a:pt x="2652" y="2129"/>
                    </a:lnTo>
                    <a:lnTo>
                      <a:pt x="2645" y="2125"/>
                    </a:lnTo>
                    <a:lnTo>
                      <a:pt x="2639" y="2123"/>
                    </a:lnTo>
                    <a:lnTo>
                      <a:pt x="2632" y="2122"/>
                    </a:lnTo>
                    <a:lnTo>
                      <a:pt x="2626" y="2121"/>
                    </a:lnTo>
                    <a:lnTo>
                      <a:pt x="2613" y="2121"/>
                    </a:lnTo>
                    <a:lnTo>
                      <a:pt x="2602" y="2119"/>
                    </a:lnTo>
                    <a:lnTo>
                      <a:pt x="2598" y="2117"/>
                    </a:lnTo>
                    <a:lnTo>
                      <a:pt x="2593" y="2113"/>
                    </a:lnTo>
                    <a:lnTo>
                      <a:pt x="2588" y="2109"/>
                    </a:lnTo>
                    <a:lnTo>
                      <a:pt x="2583" y="2104"/>
                    </a:lnTo>
                    <a:lnTo>
                      <a:pt x="2580" y="2099"/>
                    </a:lnTo>
                    <a:lnTo>
                      <a:pt x="2577" y="2094"/>
                    </a:lnTo>
                    <a:lnTo>
                      <a:pt x="2575" y="2090"/>
                    </a:lnTo>
                    <a:lnTo>
                      <a:pt x="2574" y="2085"/>
                    </a:lnTo>
                    <a:lnTo>
                      <a:pt x="2573" y="2078"/>
                    </a:lnTo>
                    <a:lnTo>
                      <a:pt x="2570" y="2072"/>
                    </a:lnTo>
                    <a:lnTo>
                      <a:pt x="2569" y="2071"/>
                    </a:lnTo>
                    <a:lnTo>
                      <a:pt x="2567" y="2068"/>
                    </a:lnTo>
                    <a:lnTo>
                      <a:pt x="2564" y="2068"/>
                    </a:lnTo>
                    <a:lnTo>
                      <a:pt x="2561" y="2068"/>
                    </a:lnTo>
                    <a:lnTo>
                      <a:pt x="2557" y="2068"/>
                    </a:lnTo>
                    <a:lnTo>
                      <a:pt x="2554" y="2067"/>
                    </a:lnTo>
                    <a:lnTo>
                      <a:pt x="2552" y="2066"/>
                    </a:lnTo>
                    <a:lnTo>
                      <a:pt x="2551" y="2064"/>
                    </a:lnTo>
                    <a:lnTo>
                      <a:pt x="2550" y="2058"/>
                    </a:lnTo>
                    <a:lnTo>
                      <a:pt x="2550" y="2048"/>
                    </a:lnTo>
                    <a:lnTo>
                      <a:pt x="2549" y="2043"/>
                    </a:lnTo>
                    <a:lnTo>
                      <a:pt x="2548" y="2039"/>
                    </a:lnTo>
                    <a:lnTo>
                      <a:pt x="2547" y="2034"/>
                    </a:lnTo>
                    <a:lnTo>
                      <a:pt x="2544" y="2030"/>
                    </a:lnTo>
                    <a:lnTo>
                      <a:pt x="2538" y="2023"/>
                    </a:lnTo>
                    <a:lnTo>
                      <a:pt x="2530" y="2016"/>
                    </a:lnTo>
                    <a:lnTo>
                      <a:pt x="2522" y="2009"/>
                    </a:lnTo>
                    <a:lnTo>
                      <a:pt x="2512" y="2004"/>
                    </a:lnTo>
                    <a:lnTo>
                      <a:pt x="2506" y="2003"/>
                    </a:lnTo>
                    <a:lnTo>
                      <a:pt x="2501" y="2002"/>
                    </a:lnTo>
                    <a:lnTo>
                      <a:pt x="2497" y="2003"/>
                    </a:lnTo>
                    <a:lnTo>
                      <a:pt x="2493" y="2005"/>
                    </a:lnTo>
                    <a:lnTo>
                      <a:pt x="2489" y="2008"/>
                    </a:lnTo>
                    <a:lnTo>
                      <a:pt x="2488" y="2011"/>
                    </a:lnTo>
                    <a:lnTo>
                      <a:pt x="2488" y="2015"/>
                    </a:lnTo>
                    <a:lnTo>
                      <a:pt x="2487" y="2020"/>
                    </a:lnTo>
                    <a:lnTo>
                      <a:pt x="2487" y="2028"/>
                    </a:lnTo>
                    <a:lnTo>
                      <a:pt x="2492" y="2042"/>
                    </a:lnTo>
                    <a:lnTo>
                      <a:pt x="2498" y="2058"/>
                    </a:lnTo>
                    <a:lnTo>
                      <a:pt x="2503" y="2068"/>
                    </a:lnTo>
                    <a:lnTo>
                      <a:pt x="2511" y="2083"/>
                    </a:lnTo>
                    <a:lnTo>
                      <a:pt x="2518" y="2098"/>
                    </a:lnTo>
                    <a:lnTo>
                      <a:pt x="2520" y="2105"/>
                    </a:lnTo>
                    <a:lnTo>
                      <a:pt x="2522" y="2110"/>
                    </a:lnTo>
                    <a:lnTo>
                      <a:pt x="2522" y="2115"/>
                    </a:lnTo>
                    <a:lnTo>
                      <a:pt x="2520" y="2117"/>
                    </a:lnTo>
                    <a:lnTo>
                      <a:pt x="2519" y="2118"/>
                    </a:lnTo>
                    <a:lnTo>
                      <a:pt x="2516" y="2118"/>
                    </a:lnTo>
                    <a:lnTo>
                      <a:pt x="2512" y="2117"/>
                    </a:lnTo>
                    <a:lnTo>
                      <a:pt x="2506" y="2115"/>
                    </a:lnTo>
                    <a:lnTo>
                      <a:pt x="2494" y="2108"/>
                    </a:lnTo>
                    <a:lnTo>
                      <a:pt x="2482" y="2102"/>
                    </a:lnTo>
                    <a:lnTo>
                      <a:pt x="2470" y="2094"/>
                    </a:lnTo>
                    <a:lnTo>
                      <a:pt x="2460" y="2087"/>
                    </a:lnTo>
                    <a:lnTo>
                      <a:pt x="2445" y="2079"/>
                    </a:lnTo>
                    <a:lnTo>
                      <a:pt x="2429" y="2069"/>
                    </a:lnTo>
                    <a:lnTo>
                      <a:pt x="2413" y="2060"/>
                    </a:lnTo>
                    <a:lnTo>
                      <a:pt x="2400" y="2052"/>
                    </a:lnTo>
                    <a:lnTo>
                      <a:pt x="2387" y="2042"/>
                    </a:lnTo>
                    <a:lnTo>
                      <a:pt x="2372" y="2030"/>
                    </a:lnTo>
                    <a:lnTo>
                      <a:pt x="2356" y="2018"/>
                    </a:lnTo>
                    <a:lnTo>
                      <a:pt x="2346" y="2009"/>
                    </a:lnTo>
                    <a:lnTo>
                      <a:pt x="2338" y="1999"/>
                    </a:lnTo>
                    <a:lnTo>
                      <a:pt x="2331" y="1987"/>
                    </a:lnTo>
                    <a:lnTo>
                      <a:pt x="2325" y="1976"/>
                    </a:lnTo>
                    <a:lnTo>
                      <a:pt x="2322" y="1966"/>
                    </a:lnTo>
                    <a:lnTo>
                      <a:pt x="2321" y="1960"/>
                    </a:lnTo>
                    <a:lnTo>
                      <a:pt x="2319" y="1955"/>
                    </a:lnTo>
                    <a:lnTo>
                      <a:pt x="2316" y="1951"/>
                    </a:lnTo>
                    <a:lnTo>
                      <a:pt x="2309" y="1944"/>
                    </a:lnTo>
                    <a:lnTo>
                      <a:pt x="2300" y="1935"/>
                    </a:lnTo>
                    <a:lnTo>
                      <a:pt x="2293" y="1926"/>
                    </a:lnTo>
                    <a:lnTo>
                      <a:pt x="2287" y="1915"/>
                    </a:lnTo>
                    <a:lnTo>
                      <a:pt x="2280" y="1902"/>
                    </a:lnTo>
                    <a:lnTo>
                      <a:pt x="2277" y="1896"/>
                    </a:lnTo>
                    <a:lnTo>
                      <a:pt x="2272" y="1889"/>
                    </a:lnTo>
                    <a:lnTo>
                      <a:pt x="2266" y="1883"/>
                    </a:lnTo>
                    <a:lnTo>
                      <a:pt x="2259" y="1876"/>
                    </a:lnTo>
                    <a:lnTo>
                      <a:pt x="2245" y="1864"/>
                    </a:lnTo>
                    <a:lnTo>
                      <a:pt x="2231" y="1853"/>
                    </a:lnTo>
                    <a:lnTo>
                      <a:pt x="2218" y="1842"/>
                    </a:lnTo>
                    <a:lnTo>
                      <a:pt x="2203" y="1831"/>
                    </a:lnTo>
                    <a:lnTo>
                      <a:pt x="2190" y="1820"/>
                    </a:lnTo>
                    <a:lnTo>
                      <a:pt x="2180" y="1812"/>
                    </a:lnTo>
                    <a:lnTo>
                      <a:pt x="2177" y="1808"/>
                    </a:lnTo>
                    <a:lnTo>
                      <a:pt x="2176" y="1804"/>
                    </a:lnTo>
                    <a:lnTo>
                      <a:pt x="2176" y="1802"/>
                    </a:lnTo>
                    <a:lnTo>
                      <a:pt x="2176" y="1800"/>
                    </a:lnTo>
                    <a:lnTo>
                      <a:pt x="2177" y="1795"/>
                    </a:lnTo>
                    <a:lnTo>
                      <a:pt x="2180" y="1789"/>
                    </a:lnTo>
                    <a:lnTo>
                      <a:pt x="2182" y="1787"/>
                    </a:lnTo>
                    <a:lnTo>
                      <a:pt x="2180" y="1783"/>
                    </a:lnTo>
                    <a:lnTo>
                      <a:pt x="2179" y="1781"/>
                    </a:lnTo>
                    <a:lnTo>
                      <a:pt x="2178" y="1778"/>
                    </a:lnTo>
                    <a:lnTo>
                      <a:pt x="2172" y="1775"/>
                    </a:lnTo>
                    <a:lnTo>
                      <a:pt x="2164" y="1772"/>
                    </a:lnTo>
                    <a:lnTo>
                      <a:pt x="2153" y="1770"/>
                    </a:lnTo>
                    <a:lnTo>
                      <a:pt x="2142" y="1766"/>
                    </a:lnTo>
                    <a:lnTo>
                      <a:pt x="2136" y="1763"/>
                    </a:lnTo>
                    <a:lnTo>
                      <a:pt x="2132" y="1760"/>
                    </a:lnTo>
                    <a:lnTo>
                      <a:pt x="2126" y="1757"/>
                    </a:lnTo>
                    <a:lnTo>
                      <a:pt x="2121" y="1752"/>
                    </a:lnTo>
                    <a:lnTo>
                      <a:pt x="2117" y="1747"/>
                    </a:lnTo>
                    <a:lnTo>
                      <a:pt x="2115" y="1743"/>
                    </a:lnTo>
                    <a:lnTo>
                      <a:pt x="2113" y="1738"/>
                    </a:lnTo>
                    <a:lnTo>
                      <a:pt x="2111" y="1732"/>
                    </a:lnTo>
                    <a:lnTo>
                      <a:pt x="2108" y="1722"/>
                    </a:lnTo>
                    <a:lnTo>
                      <a:pt x="2103" y="1713"/>
                    </a:lnTo>
                    <a:lnTo>
                      <a:pt x="2100" y="1709"/>
                    </a:lnTo>
                    <a:lnTo>
                      <a:pt x="2096" y="1707"/>
                    </a:lnTo>
                    <a:lnTo>
                      <a:pt x="2091" y="1706"/>
                    </a:lnTo>
                    <a:lnTo>
                      <a:pt x="2088" y="1705"/>
                    </a:lnTo>
                    <a:lnTo>
                      <a:pt x="2083" y="1706"/>
                    </a:lnTo>
                    <a:lnTo>
                      <a:pt x="2078" y="1708"/>
                    </a:lnTo>
                    <a:lnTo>
                      <a:pt x="2073" y="1711"/>
                    </a:lnTo>
                    <a:lnTo>
                      <a:pt x="2069" y="1715"/>
                    </a:lnTo>
                    <a:lnTo>
                      <a:pt x="2059" y="1727"/>
                    </a:lnTo>
                    <a:lnTo>
                      <a:pt x="2048" y="1741"/>
                    </a:lnTo>
                    <a:lnTo>
                      <a:pt x="2038" y="1753"/>
                    </a:lnTo>
                    <a:lnTo>
                      <a:pt x="2028" y="1763"/>
                    </a:lnTo>
                    <a:lnTo>
                      <a:pt x="2023" y="1765"/>
                    </a:lnTo>
                    <a:lnTo>
                      <a:pt x="2019" y="1765"/>
                    </a:lnTo>
                    <a:lnTo>
                      <a:pt x="2013" y="1765"/>
                    </a:lnTo>
                    <a:lnTo>
                      <a:pt x="2006" y="1764"/>
                    </a:lnTo>
                    <a:lnTo>
                      <a:pt x="1994" y="1760"/>
                    </a:lnTo>
                    <a:lnTo>
                      <a:pt x="1983" y="1756"/>
                    </a:lnTo>
                    <a:lnTo>
                      <a:pt x="1979" y="1755"/>
                    </a:lnTo>
                    <a:lnTo>
                      <a:pt x="1977" y="1752"/>
                    </a:lnTo>
                    <a:lnTo>
                      <a:pt x="1975" y="1749"/>
                    </a:lnTo>
                    <a:lnTo>
                      <a:pt x="1974" y="1746"/>
                    </a:lnTo>
                    <a:lnTo>
                      <a:pt x="1972" y="1738"/>
                    </a:lnTo>
                    <a:lnTo>
                      <a:pt x="1972" y="1727"/>
                    </a:lnTo>
                    <a:lnTo>
                      <a:pt x="1971" y="1721"/>
                    </a:lnTo>
                    <a:lnTo>
                      <a:pt x="1968" y="1718"/>
                    </a:lnTo>
                    <a:lnTo>
                      <a:pt x="1963" y="1714"/>
                    </a:lnTo>
                    <a:lnTo>
                      <a:pt x="1957" y="1712"/>
                    </a:lnTo>
                    <a:lnTo>
                      <a:pt x="1950" y="1711"/>
                    </a:lnTo>
                    <a:lnTo>
                      <a:pt x="1944" y="1711"/>
                    </a:lnTo>
                    <a:lnTo>
                      <a:pt x="1937" y="1711"/>
                    </a:lnTo>
                    <a:lnTo>
                      <a:pt x="1932" y="1712"/>
                    </a:lnTo>
                    <a:lnTo>
                      <a:pt x="1927" y="1714"/>
                    </a:lnTo>
                    <a:lnTo>
                      <a:pt x="1925" y="1716"/>
                    </a:lnTo>
                    <a:lnTo>
                      <a:pt x="1922" y="1720"/>
                    </a:lnTo>
                    <a:lnTo>
                      <a:pt x="1922" y="1724"/>
                    </a:lnTo>
                    <a:lnTo>
                      <a:pt x="1922" y="1733"/>
                    </a:lnTo>
                    <a:lnTo>
                      <a:pt x="1922" y="1743"/>
                    </a:lnTo>
                    <a:lnTo>
                      <a:pt x="1921" y="1747"/>
                    </a:lnTo>
                    <a:lnTo>
                      <a:pt x="1920" y="1751"/>
                    </a:lnTo>
                    <a:lnTo>
                      <a:pt x="1916" y="1755"/>
                    </a:lnTo>
                    <a:lnTo>
                      <a:pt x="1912" y="1759"/>
                    </a:lnTo>
                    <a:lnTo>
                      <a:pt x="1899" y="1768"/>
                    </a:lnTo>
                    <a:lnTo>
                      <a:pt x="1883" y="1778"/>
                    </a:lnTo>
                    <a:lnTo>
                      <a:pt x="1876" y="1783"/>
                    </a:lnTo>
                    <a:lnTo>
                      <a:pt x="1870" y="1788"/>
                    </a:lnTo>
                    <a:lnTo>
                      <a:pt x="1867" y="1791"/>
                    </a:lnTo>
                    <a:lnTo>
                      <a:pt x="1864" y="1795"/>
                    </a:lnTo>
                    <a:lnTo>
                      <a:pt x="1863" y="1801"/>
                    </a:lnTo>
                    <a:lnTo>
                      <a:pt x="1861" y="1807"/>
                    </a:lnTo>
                    <a:lnTo>
                      <a:pt x="1858" y="1810"/>
                    </a:lnTo>
                    <a:lnTo>
                      <a:pt x="1856" y="1813"/>
                    </a:lnTo>
                    <a:lnTo>
                      <a:pt x="1853" y="1814"/>
                    </a:lnTo>
                    <a:lnTo>
                      <a:pt x="1852" y="1814"/>
                    </a:lnTo>
                    <a:lnTo>
                      <a:pt x="1850" y="1814"/>
                    </a:lnTo>
                    <a:lnTo>
                      <a:pt x="1848" y="1812"/>
                    </a:lnTo>
                    <a:lnTo>
                      <a:pt x="1845" y="1809"/>
                    </a:lnTo>
                    <a:lnTo>
                      <a:pt x="1843" y="1806"/>
                    </a:lnTo>
                    <a:lnTo>
                      <a:pt x="1839" y="1798"/>
                    </a:lnTo>
                    <a:lnTo>
                      <a:pt x="1834" y="1790"/>
                    </a:lnTo>
                    <a:lnTo>
                      <a:pt x="1830" y="1783"/>
                    </a:lnTo>
                    <a:lnTo>
                      <a:pt x="1821" y="1777"/>
                    </a:lnTo>
                    <a:lnTo>
                      <a:pt x="1812" y="1771"/>
                    </a:lnTo>
                    <a:lnTo>
                      <a:pt x="1802" y="1765"/>
                    </a:lnTo>
                    <a:lnTo>
                      <a:pt x="1793" y="1758"/>
                    </a:lnTo>
                    <a:lnTo>
                      <a:pt x="1783" y="1751"/>
                    </a:lnTo>
                    <a:lnTo>
                      <a:pt x="1774" y="1743"/>
                    </a:lnTo>
                    <a:lnTo>
                      <a:pt x="1763" y="1735"/>
                    </a:lnTo>
                    <a:lnTo>
                      <a:pt x="1757" y="1733"/>
                    </a:lnTo>
                    <a:lnTo>
                      <a:pt x="1751" y="1731"/>
                    </a:lnTo>
                    <a:lnTo>
                      <a:pt x="1746" y="1728"/>
                    </a:lnTo>
                    <a:lnTo>
                      <a:pt x="1742" y="1728"/>
                    </a:lnTo>
                    <a:lnTo>
                      <a:pt x="1737" y="1727"/>
                    </a:lnTo>
                    <a:lnTo>
                      <a:pt x="1735" y="1727"/>
                    </a:lnTo>
                    <a:lnTo>
                      <a:pt x="1732" y="1726"/>
                    </a:lnTo>
                    <a:lnTo>
                      <a:pt x="1730" y="1725"/>
                    </a:lnTo>
                    <a:lnTo>
                      <a:pt x="1729" y="1720"/>
                    </a:lnTo>
                    <a:lnTo>
                      <a:pt x="1729" y="1713"/>
                    </a:lnTo>
                    <a:lnTo>
                      <a:pt x="1727" y="1708"/>
                    </a:lnTo>
                    <a:lnTo>
                      <a:pt x="1725" y="1705"/>
                    </a:lnTo>
                    <a:lnTo>
                      <a:pt x="1723" y="1701"/>
                    </a:lnTo>
                    <a:lnTo>
                      <a:pt x="1719" y="1697"/>
                    </a:lnTo>
                    <a:lnTo>
                      <a:pt x="1710" y="1689"/>
                    </a:lnTo>
                    <a:lnTo>
                      <a:pt x="1700" y="1681"/>
                    </a:lnTo>
                    <a:lnTo>
                      <a:pt x="1692" y="1671"/>
                    </a:lnTo>
                    <a:lnTo>
                      <a:pt x="1681" y="1661"/>
                    </a:lnTo>
                    <a:lnTo>
                      <a:pt x="1672" y="1651"/>
                    </a:lnTo>
                    <a:lnTo>
                      <a:pt x="1663" y="1643"/>
                    </a:lnTo>
                    <a:lnTo>
                      <a:pt x="1657" y="1636"/>
                    </a:lnTo>
                    <a:lnTo>
                      <a:pt x="1651" y="1629"/>
                    </a:lnTo>
                    <a:lnTo>
                      <a:pt x="1647" y="1624"/>
                    </a:lnTo>
                    <a:lnTo>
                      <a:pt x="1641" y="1621"/>
                    </a:lnTo>
                    <a:lnTo>
                      <a:pt x="1636" y="1621"/>
                    </a:lnTo>
                    <a:lnTo>
                      <a:pt x="1632" y="1620"/>
                    </a:lnTo>
                    <a:lnTo>
                      <a:pt x="1628" y="1618"/>
                    </a:lnTo>
                    <a:lnTo>
                      <a:pt x="1623" y="1611"/>
                    </a:lnTo>
                    <a:lnTo>
                      <a:pt x="1619" y="1607"/>
                    </a:lnTo>
                    <a:lnTo>
                      <a:pt x="1613" y="1604"/>
                    </a:lnTo>
                    <a:lnTo>
                      <a:pt x="1606" y="1600"/>
                    </a:lnTo>
                    <a:lnTo>
                      <a:pt x="1599" y="1596"/>
                    </a:lnTo>
                    <a:lnTo>
                      <a:pt x="1582" y="1592"/>
                    </a:lnTo>
                    <a:lnTo>
                      <a:pt x="1568" y="1586"/>
                    </a:lnTo>
                    <a:lnTo>
                      <a:pt x="1561" y="1583"/>
                    </a:lnTo>
                    <a:lnTo>
                      <a:pt x="1554" y="1582"/>
                    </a:lnTo>
                    <a:lnTo>
                      <a:pt x="1547" y="1582"/>
                    </a:lnTo>
                    <a:lnTo>
                      <a:pt x="1538" y="1582"/>
                    </a:lnTo>
                    <a:lnTo>
                      <a:pt x="1530" y="1583"/>
                    </a:lnTo>
                    <a:lnTo>
                      <a:pt x="1523" y="1586"/>
                    </a:lnTo>
                    <a:lnTo>
                      <a:pt x="1516" y="1589"/>
                    </a:lnTo>
                    <a:lnTo>
                      <a:pt x="1510" y="1594"/>
                    </a:lnTo>
                    <a:lnTo>
                      <a:pt x="1505" y="1600"/>
                    </a:lnTo>
                    <a:lnTo>
                      <a:pt x="1500" y="1606"/>
                    </a:lnTo>
                    <a:lnTo>
                      <a:pt x="1497" y="1611"/>
                    </a:lnTo>
                    <a:lnTo>
                      <a:pt x="1494" y="1617"/>
                    </a:lnTo>
                    <a:lnTo>
                      <a:pt x="1493" y="1623"/>
                    </a:lnTo>
                    <a:lnTo>
                      <a:pt x="1493" y="1629"/>
                    </a:lnTo>
                    <a:lnTo>
                      <a:pt x="1494" y="1633"/>
                    </a:lnTo>
                    <a:lnTo>
                      <a:pt x="1496" y="1639"/>
                    </a:lnTo>
                    <a:lnTo>
                      <a:pt x="1498" y="1645"/>
                    </a:lnTo>
                    <a:lnTo>
                      <a:pt x="1500" y="1652"/>
                    </a:lnTo>
                    <a:lnTo>
                      <a:pt x="1502" y="1661"/>
                    </a:lnTo>
                    <a:lnTo>
                      <a:pt x="1502" y="1669"/>
                    </a:lnTo>
                    <a:lnTo>
                      <a:pt x="1502" y="1677"/>
                    </a:lnTo>
                    <a:lnTo>
                      <a:pt x="1500" y="1684"/>
                    </a:lnTo>
                    <a:lnTo>
                      <a:pt x="1499" y="1692"/>
                    </a:lnTo>
                    <a:lnTo>
                      <a:pt x="1497" y="1699"/>
                    </a:lnTo>
                    <a:lnTo>
                      <a:pt x="1494" y="1705"/>
                    </a:lnTo>
                    <a:lnTo>
                      <a:pt x="1492" y="1713"/>
                    </a:lnTo>
                    <a:lnTo>
                      <a:pt x="1491" y="1721"/>
                    </a:lnTo>
                    <a:lnTo>
                      <a:pt x="1491" y="1732"/>
                    </a:lnTo>
                    <a:lnTo>
                      <a:pt x="1491" y="1752"/>
                    </a:lnTo>
                    <a:lnTo>
                      <a:pt x="1492" y="1772"/>
                    </a:lnTo>
                    <a:lnTo>
                      <a:pt x="1492" y="1788"/>
                    </a:lnTo>
                    <a:lnTo>
                      <a:pt x="1494" y="1800"/>
                    </a:lnTo>
                    <a:lnTo>
                      <a:pt x="1498" y="1812"/>
                    </a:lnTo>
                    <a:lnTo>
                      <a:pt x="1502" y="1825"/>
                    </a:lnTo>
                    <a:lnTo>
                      <a:pt x="1503" y="1833"/>
                    </a:lnTo>
                    <a:lnTo>
                      <a:pt x="1503" y="1842"/>
                    </a:lnTo>
                    <a:lnTo>
                      <a:pt x="1500" y="1851"/>
                    </a:lnTo>
                    <a:lnTo>
                      <a:pt x="1497" y="1858"/>
                    </a:lnTo>
                    <a:lnTo>
                      <a:pt x="1493" y="1860"/>
                    </a:lnTo>
                    <a:lnTo>
                      <a:pt x="1491" y="1864"/>
                    </a:lnTo>
                    <a:lnTo>
                      <a:pt x="1487" y="1866"/>
                    </a:lnTo>
                    <a:lnTo>
                      <a:pt x="1484" y="1867"/>
                    </a:lnTo>
                    <a:lnTo>
                      <a:pt x="1480" y="1869"/>
                    </a:lnTo>
                    <a:lnTo>
                      <a:pt x="1475" y="1870"/>
                    </a:lnTo>
                    <a:lnTo>
                      <a:pt x="1471" y="1870"/>
                    </a:lnTo>
                    <a:lnTo>
                      <a:pt x="1466" y="1869"/>
                    </a:lnTo>
                    <a:lnTo>
                      <a:pt x="1450" y="1861"/>
                    </a:lnTo>
                    <a:lnTo>
                      <a:pt x="1434" y="1851"/>
                    </a:lnTo>
                    <a:lnTo>
                      <a:pt x="1426" y="1845"/>
                    </a:lnTo>
                    <a:lnTo>
                      <a:pt x="1417" y="1841"/>
                    </a:lnTo>
                    <a:lnTo>
                      <a:pt x="1414" y="1840"/>
                    </a:lnTo>
                    <a:lnTo>
                      <a:pt x="1410" y="1840"/>
                    </a:lnTo>
                    <a:lnTo>
                      <a:pt x="1408" y="1840"/>
                    </a:lnTo>
                    <a:lnTo>
                      <a:pt x="1405" y="1841"/>
                    </a:lnTo>
                    <a:lnTo>
                      <a:pt x="1401" y="1845"/>
                    </a:lnTo>
                    <a:lnTo>
                      <a:pt x="1398" y="1851"/>
                    </a:lnTo>
                    <a:lnTo>
                      <a:pt x="1397" y="1858"/>
                    </a:lnTo>
                    <a:lnTo>
                      <a:pt x="1395" y="1865"/>
                    </a:lnTo>
                    <a:lnTo>
                      <a:pt x="1393" y="1872"/>
                    </a:lnTo>
                    <a:lnTo>
                      <a:pt x="1392" y="1878"/>
                    </a:lnTo>
                    <a:lnTo>
                      <a:pt x="1391" y="1881"/>
                    </a:lnTo>
                    <a:lnTo>
                      <a:pt x="1389" y="1883"/>
                    </a:lnTo>
                    <a:lnTo>
                      <a:pt x="1387" y="1884"/>
                    </a:lnTo>
                    <a:lnTo>
                      <a:pt x="1385" y="1885"/>
                    </a:lnTo>
                    <a:lnTo>
                      <a:pt x="1377" y="1886"/>
                    </a:lnTo>
                    <a:lnTo>
                      <a:pt x="1371" y="1888"/>
                    </a:lnTo>
                    <a:lnTo>
                      <a:pt x="1368" y="1888"/>
                    </a:lnTo>
                    <a:lnTo>
                      <a:pt x="1367" y="1889"/>
                    </a:lnTo>
                    <a:lnTo>
                      <a:pt x="1366" y="1891"/>
                    </a:lnTo>
                    <a:lnTo>
                      <a:pt x="1365" y="1895"/>
                    </a:lnTo>
                    <a:lnTo>
                      <a:pt x="1366" y="1903"/>
                    </a:lnTo>
                    <a:lnTo>
                      <a:pt x="1367" y="1911"/>
                    </a:lnTo>
                    <a:lnTo>
                      <a:pt x="1368" y="1915"/>
                    </a:lnTo>
                    <a:lnTo>
                      <a:pt x="1367" y="1920"/>
                    </a:lnTo>
                    <a:lnTo>
                      <a:pt x="1366" y="1926"/>
                    </a:lnTo>
                    <a:lnTo>
                      <a:pt x="1363" y="1932"/>
                    </a:lnTo>
                    <a:lnTo>
                      <a:pt x="1358" y="1938"/>
                    </a:lnTo>
                    <a:lnTo>
                      <a:pt x="1355" y="1944"/>
                    </a:lnTo>
                    <a:lnTo>
                      <a:pt x="1353" y="1948"/>
                    </a:lnTo>
                    <a:lnTo>
                      <a:pt x="1353" y="1952"/>
                    </a:lnTo>
                    <a:lnTo>
                      <a:pt x="1352" y="1960"/>
                    </a:lnTo>
                    <a:lnTo>
                      <a:pt x="1353" y="1967"/>
                    </a:lnTo>
                    <a:lnTo>
                      <a:pt x="1353" y="1978"/>
                    </a:lnTo>
                    <a:lnTo>
                      <a:pt x="1352" y="1991"/>
                    </a:lnTo>
                    <a:lnTo>
                      <a:pt x="1349" y="1998"/>
                    </a:lnTo>
                    <a:lnTo>
                      <a:pt x="1347" y="2004"/>
                    </a:lnTo>
                    <a:lnTo>
                      <a:pt x="1346" y="2006"/>
                    </a:lnTo>
                    <a:lnTo>
                      <a:pt x="1343" y="2008"/>
                    </a:lnTo>
                    <a:lnTo>
                      <a:pt x="1342" y="2009"/>
                    </a:lnTo>
                    <a:lnTo>
                      <a:pt x="1340" y="2009"/>
                    </a:lnTo>
                    <a:lnTo>
                      <a:pt x="1330" y="2009"/>
                    </a:lnTo>
                    <a:lnTo>
                      <a:pt x="1324" y="2009"/>
                    </a:lnTo>
                    <a:lnTo>
                      <a:pt x="1320" y="2006"/>
                    </a:lnTo>
                    <a:lnTo>
                      <a:pt x="1313" y="2001"/>
                    </a:lnTo>
                    <a:lnTo>
                      <a:pt x="1303" y="1991"/>
                    </a:lnTo>
                    <a:lnTo>
                      <a:pt x="1290" y="1983"/>
                    </a:lnTo>
                    <a:lnTo>
                      <a:pt x="1283" y="1979"/>
                    </a:lnTo>
                    <a:lnTo>
                      <a:pt x="1277" y="1976"/>
                    </a:lnTo>
                    <a:lnTo>
                      <a:pt x="1271" y="1974"/>
                    </a:lnTo>
                    <a:lnTo>
                      <a:pt x="1265" y="1973"/>
                    </a:lnTo>
                    <a:lnTo>
                      <a:pt x="1260" y="1974"/>
                    </a:lnTo>
                    <a:lnTo>
                      <a:pt x="1258" y="1976"/>
                    </a:lnTo>
                    <a:lnTo>
                      <a:pt x="1254" y="1978"/>
                    </a:lnTo>
                    <a:lnTo>
                      <a:pt x="1252" y="1982"/>
                    </a:lnTo>
                    <a:lnTo>
                      <a:pt x="1247" y="1991"/>
                    </a:lnTo>
                    <a:lnTo>
                      <a:pt x="1238" y="2005"/>
                    </a:lnTo>
                    <a:lnTo>
                      <a:pt x="1232" y="2011"/>
                    </a:lnTo>
                    <a:lnTo>
                      <a:pt x="1226" y="2015"/>
                    </a:lnTo>
                    <a:lnTo>
                      <a:pt x="1221" y="2017"/>
                    </a:lnTo>
                    <a:lnTo>
                      <a:pt x="1216" y="2017"/>
                    </a:lnTo>
                    <a:lnTo>
                      <a:pt x="1207" y="2012"/>
                    </a:lnTo>
                    <a:lnTo>
                      <a:pt x="1198" y="2008"/>
                    </a:lnTo>
                    <a:lnTo>
                      <a:pt x="1189" y="2003"/>
                    </a:lnTo>
                    <a:lnTo>
                      <a:pt x="1179" y="1997"/>
                    </a:lnTo>
                    <a:lnTo>
                      <a:pt x="1170" y="1992"/>
                    </a:lnTo>
                    <a:lnTo>
                      <a:pt x="1162" y="1989"/>
                    </a:lnTo>
                    <a:lnTo>
                      <a:pt x="1153" y="1985"/>
                    </a:lnTo>
                    <a:lnTo>
                      <a:pt x="1144" y="1980"/>
                    </a:lnTo>
                    <a:lnTo>
                      <a:pt x="1133" y="1973"/>
                    </a:lnTo>
                    <a:lnTo>
                      <a:pt x="1122" y="1965"/>
                    </a:lnTo>
                    <a:lnTo>
                      <a:pt x="1116" y="1960"/>
                    </a:lnTo>
                    <a:lnTo>
                      <a:pt x="1114" y="1955"/>
                    </a:lnTo>
                    <a:lnTo>
                      <a:pt x="1112" y="1949"/>
                    </a:lnTo>
                    <a:lnTo>
                      <a:pt x="1111" y="1945"/>
                    </a:lnTo>
                    <a:lnTo>
                      <a:pt x="1109" y="1940"/>
                    </a:lnTo>
                    <a:lnTo>
                      <a:pt x="1108" y="1935"/>
                    </a:lnTo>
                    <a:lnTo>
                      <a:pt x="1106" y="1929"/>
                    </a:lnTo>
                    <a:lnTo>
                      <a:pt x="1102" y="1923"/>
                    </a:lnTo>
                    <a:lnTo>
                      <a:pt x="1094" y="1913"/>
                    </a:lnTo>
                    <a:lnTo>
                      <a:pt x="1083" y="1902"/>
                    </a:lnTo>
                    <a:lnTo>
                      <a:pt x="1077" y="1898"/>
                    </a:lnTo>
                    <a:lnTo>
                      <a:pt x="1071" y="1894"/>
                    </a:lnTo>
                    <a:lnTo>
                      <a:pt x="1064" y="1891"/>
                    </a:lnTo>
                    <a:lnTo>
                      <a:pt x="1056" y="1888"/>
                    </a:lnTo>
                    <a:lnTo>
                      <a:pt x="1051" y="1888"/>
                    </a:lnTo>
                    <a:lnTo>
                      <a:pt x="1047" y="1888"/>
                    </a:lnTo>
                    <a:lnTo>
                      <a:pt x="1043" y="1889"/>
                    </a:lnTo>
                    <a:lnTo>
                      <a:pt x="1038" y="1891"/>
                    </a:lnTo>
                    <a:lnTo>
                      <a:pt x="1028" y="1896"/>
                    </a:lnTo>
                    <a:lnTo>
                      <a:pt x="1019" y="1903"/>
                    </a:lnTo>
                    <a:lnTo>
                      <a:pt x="1009" y="1910"/>
                    </a:lnTo>
                    <a:lnTo>
                      <a:pt x="1000" y="1916"/>
                    </a:lnTo>
                    <a:lnTo>
                      <a:pt x="995" y="1919"/>
                    </a:lnTo>
                    <a:lnTo>
                      <a:pt x="990" y="1921"/>
                    </a:lnTo>
                    <a:lnTo>
                      <a:pt x="986" y="1922"/>
                    </a:lnTo>
                    <a:lnTo>
                      <a:pt x="981" y="1922"/>
                    </a:lnTo>
                    <a:lnTo>
                      <a:pt x="971" y="1921"/>
                    </a:lnTo>
                    <a:lnTo>
                      <a:pt x="962" y="1917"/>
                    </a:lnTo>
                    <a:lnTo>
                      <a:pt x="954" y="1914"/>
                    </a:lnTo>
                    <a:lnTo>
                      <a:pt x="945" y="1910"/>
                    </a:lnTo>
                    <a:lnTo>
                      <a:pt x="937" y="1907"/>
                    </a:lnTo>
                    <a:lnTo>
                      <a:pt x="929" y="1904"/>
                    </a:lnTo>
                    <a:lnTo>
                      <a:pt x="925" y="1904"/>
                    </a:lnTo>
                    <a:lnTo>
                      <a:pt x="920" y="1905"/>
                    </a:lnTo>
                    <a:lnTo>
                      <a:pt x="917" y="1907"/>
                    </a:lnTo>
                    <a:lnTo>
                      <a:pt x="912" y="1909"/>
                    </a:lnTo>
                    <a:lnTo>
                      <a:pt x="908" y="1911"/>
                    </a:lnTo>
                    <a:lnTo>
                      <a:pt x="905" y="1911"/>
                    </a:lnTo>
                    <a:lnTo>
                      <a:pt x="901" y="1911"/>
                    </a:lnTo>
                    <a:lnTo>
                      <a:pt x="899" y="1909"/>
                    </a:lnTo>
                    <a:lnTo>
                      <a:pt x="893" y="1902"/>
                    </a:lnTo>
                    <a:lnTo>
                      <a:pt x="887" y="1892"/>
                    </a:lnTo>
                    <a:lnTo>
                      <a:pt x="879" y="1872"/>
                    </a:lnTo>
                    <a:lnTo>
                      <a:pt x="872" y="1859"/>
                    </a:lnTo>
                    <a:lnTo>
                      <a:pt x="860" y="1852"/>
                    </a:lnTo>
                    <a:lnTo>
                      <a:pt x="839" y="1844"/>
                    </a:lnTo>
                    <a:lnTo>
                      <a:pt x="818" y="1837"/>
                    </a:lnTo>
                    <a:lnTo>
                      <a:pt x="803" y="1832"/>
                    </a:lnTo>
                    <a:lnTo>
                      <a:pt x="798" y="1832"/>
                    </a:lnTo>
                    <a:lnTo>
                      <a:pt x="794" y="1834"/>
                    </a:lnTo>
                    <a:lnTo>
                      <a:pt x="791" y="1837"/>
                    </a:lnTo>
                    <a:lnTo>
                      <a:pt x="786" y="1840"/>
                    </a:lnTo>
                    <a:lnTo>
                      <a:pt x="782" y="1845"/>
                    </a:lnTo>
                    <a:lnTo>
                      <a:pt x="776" y="1847"/>
                    </a:lnTo>
                    <a:lnTo>
                      <a:pt x="771" y="1850"/>
                    </a:lnTo>
                    <a:lnTo>
                      <a:pt x="762" y="1850"/>
                    </a:lnTo>
                    <a:lnTo>
                      <a:pt x="741" y="1847"/>
                    </a:lnTo>
                    <a:lnTo>
                      <a:pt x="713" y="1845"/>
                    </a:lnTo>
                    <a:lnTo>
                      <a:pt x="700" y="1844"/>
                    </a:lnTo>
                    <a:lnTo>
                      <a:pt x="688" y="1842"/>
                    </a:lnTo>
                    <a:lnTo>
                      <a:pt x="678" y="1840"/>
                    </a:lnTo>
                    <a:lnTo>
                      <a:pt x="669" y="1839"/>
                    </a:lnTo>
                    <a:lnTo>
                      <a:pt x="666" y="1837"/>
                    </a:lnTo>
                    <a:lnTo>
                      <a:pt x="664" y="1833"/>
                    </a:lnTo>
                    <a:lnTo>
                      <a:pt x="660" y="1828"/>
                    </a:lnTo>
                    <a:lnTo>
                      <a:pt x="658" y="1822"/>
                    </a:lnTo>
                    <a:lnTo>
                      <a:pt x="654" y="1808"/>
                    </a:lnTo>
                    <a:lnTo>
                      <a:pt x="652" y="1791"/>
                    </a:lnTo>
                    <a:lnTo>
                      <a:pt x="646" y="1760"/>
                    </a:lnTo>
                    <a:lnTo>
                      <a:pt x="641" y="1738"/>
                    </a:lnTo>
                    <a:lnTo>
                      <a:pt x="639" y="1731"/>
                    </a:lnTo>
                    <a:lnTo>
                      <a:pt x="639" y="1720"/>
                    </a:lnTo>
                    <a:lnTo>
                      <a:pt x="639" y="1708"/>
                    </a:lnTo>
                    <a:lnTo>
                      <a:pt x="639" y="1695"/>
                    </a:lnTo>
                    <a:lnTo>
                      <a:pt x="639" y="1683"/>
                    </a:lnTo>
                    <a:lnTo>
                      <a:pt x="639" y="1673"/>
                    </a:lnTo>
                    <a:lnTo>
                      <a:pt x="637" y="1668"/>
                    </a:lnTo>
                    <a:lnTo>
                      <a:pt x="637" y="1664"/>
                    </a:lnTo>
                    <a:lnTo>
                      <a:pt x="636" y="1662"/>
                    </a:lnTo>
                    <a:lnTo>
                      <a:pt x="634" y="1661"/>
                    </a:lnTo>
                    <a:lnTo>
                      <a:pt x="627" y="1658"/>
                    </a:lnTo>
                    <a:lnTo>
                      <a:pt x="615" y="1656"/>
                    </a:lnTo>
                    <a:lnTo>
                      <a:pt x="601" y="1655"/>
                    </a:lnTo>
                    <a:lnTo>
                      <a:pt x="584" y="1653"/>
                    </a:lnTo>
                    <a:lnTo>
                      <a:pt x="564" y="1653"/>
                    </a:lnTo>
                    <a:lnTo>
                      <a:pt x="539" y="1655"/>
                    </a:lnTo>
                    <a:lnTo>
                      <a:pt x="511" y="1656"/>
                    </a:lnTo>
                    <a:lnTo>
                      <a:pt x="480" y="1658"/>
                    </a:lnTo>
                    <a:lnTo>
                      <a:pt x="476" y="1658"/>
                    </a:lnTo>
                    <a:lnTo>
                      <a:pt x="470" y="1658"/>
                    </a:lnTo>
                    <a:lnTo>
                      <a:pt x="465" y="1656"/>
                    </a:lnTo>
                    <a:lnTo>
                      <a:pt x="460" y="1655"/>
                    </a:lnTo>
                    <a:lnTo>
                      <a:pt x="451" y="1649"/>
                    </a:lnTo>
                    <a:lnTo>
                      <a:pt x="444" y="1642"/>
                    </a:lnTo>
                    <a:lnTo>
                      <a:pt x="436" y="1633"/>
                    </a:lnTo>
                    <a:lnTo>
                      <a:pt x="432" y="1626"/>
                    </a:lnTo>
                    <a:lnTo>
                      <a:pt x="429" y="1619"/>
                    </a:lnTo>
                    <a:lnTo>
                      <a:pt x="428" y="1615"/>
                    </a:lnTo>
                    <a:lnTo>
                      <a:pt x="428" y="1611"/>
                    </a:lnTo>
                    <a:lnTo>
                      <a:pt x="432" y="1607"/>
                    </a:lnTo>
                    <a:lnTo>
                      <a:pt x="435" y="1604"/>
                    </a:lnTo>
                    <a:lnTo>
                      <a:pt x="440" y="1602"/>
                    </a:lnTo>
                    <a:lnTo>
                      <a:pt x="452" y="1601"/>
                    </a:lnTo>
                    <a:lnTo>
                      <a:pt x="464" y="1599"/>
                    </a:lnTo>
                    <a:lnTo>
                      <a:pt x="467" y="1598"/>
                    </a:lnTo>
                    <a:lnTo>
                      <a:pt x="471" y="1596"/>
                    </a:lnTo>
                    <a:lnTo>
                      <a:pt x="473" y="1594"/>
                    </a:lnTo>
                    <a:lnTo>
                      <a:pt x="475" y="1592"/>
                    </a:lnTo>
                    <a:lnTo>
                      <a:pt x="477" y="1587"/>
                    </a:lnTo>
                    <a:lnTo>
                      <a:pt x="477" y="1582"/>
                    </a:lnTo>
                    <a:lnTo>
                      <a:pt x="475" y="1577"/>
                    </a:lnTo>
                    <a:lnTo>
                      <a:pt x="471" y="1573"/>
                    </a:lnTo>
                    <a:lnTo>
                      <a:pt x="467" y="1569"/>
                    </a:lnTo>
                    <a:lnTo>
                      <a:pt x="463" y="1566"/>
                    </a:lnTo>
                    <a:lnTo>
                      <a:pt x="453" y="1561"/>
                    </a:lnTo>
                    <a:lnTo>
                      <a:pt x="444" y="1555"/>
                    </a:lnTo>
                    <a:lnTo>
                      <a:pt x="428" y="1550"/>
                    </a:lnTo>
                    <a:lnTo>
                      <a:pt x="407" y="1543"/>
                    </a:lnTo>
                    <a:lnTo>
                      <a:pt x="382" y="1537"/>
                    </a:lnTo>
                    <a:lnTo>
                      <a:pt x="363" y="1533"/>
                    </a:lnTo>
                    <a:lnTo>
                      <a:pt x="341" y="1532"/>
                    </a:lnTo>
                    <a:lnTo>
                      <a:pt x="314" y="1531"/>
                    </a:lnTo>
                    <a:lnTo>
                      <a:pt x="301" y="1530"/>
                    </a:lnTo>
                    <a:lnTo>
                      <a:pt x="288" y="1529"/>
                    </a:lnTo>
                    <a:lnTo>
                      <a:pt x="277" y="1526"/>
                    </a:lnTo>
                    <a:lnTo>
                      <a:pt x="269" y="1524"/>
                    </a:lnTo>
                    <a:lnTo>
                      <a:pt x="263" y="1520"/>
                    </a:lnTo>
                    <a:lnTo>
                      <a:pt x="259" y="1517"/>
                    </a:lnTo>
                    <a:lnTo>
                      <a:pt x="258" y="1512"/>
                    </a:lnTo>
                    <a:lnTo>
                      <a:pt x="258" y="1507"/>
                    </a:lnTo>
                    <a:lnTo>
                      <a:pt x="261" y="1494"/>
                    </a:lnTo>
                    <a:lnTo>
                      <a:pt x="263" y="1478"/>
                    </a:lnTo>
                    <a:lnTo>
                      <a:pt x="264" y="1459"/>
                    </a:lnTo>
                    <a:lnTo>
                      <a:pt x="265" y="1444"/>
                    </a:lnTo>
                    <a:lnTo>
                      <a:pt x="265" y="1437"/>
                    </a:lnTo>
                    <a:lnTo>
                      <a:pt x="264" y="1431"/>
                    </a:lnTo>
                    <a:lnTo>
                      <a:pt x="263" y="1426"/>
                    </a:lnTo>
                    <a:lnTo>
                      <a:pt x="261" y="1422"/>
                    </a:lnTo>
                    <a:lnTo>
                      <a:pt x="257" y="1417"/>
                    </a:lnTo>
                    <a:lnTo>
                      <a:pt x="253" y="1413"/>
                    </a:lnTo>
                    <a:lnTo>
                      <a:pt x="247" y="1411"/>
                    </a:lnTo>
                    <a:lnTo>
                      <a:pt x="242" y="1407"/>
                    </a:lnTo>
                    <a:lnTo>
                      <a:pt x="236" y="1406"/>
                    </a:lnTo>
                    <a:lnTo>
                      <a:pt x="228" y="1405"/>
                    </a:lnTo>
                    <a:lnTo>
                      <a:pt x="223" y="1405"/>
                    </a:lnTo>
                    <a:lnTo>
                      <a:pt x="217" y="1405"/>
                    </a:lnTo>
                    <a:lnTo>
                      <a:pt x="212" y="1405"/>
                    </a:lnTo>
                    <a:lnTo>
                      <a:pt x="207" y="1405"/>
                    </a:lnTo>
                    <a:lnTo>
                      <a:pt x="202" y="1403"/>
                    </a:lnTo>
                    <a:lnTo>
                      <a:pt x="198" y="1402"/>
                    </a:lnTo>
                    <a:lnTo>
                      <a:pt x="183" y="1400"/>
                    </a:lnTo>
                    <a:lnTo>
                      <a:pt x="152" y="1398"/>
                    </a:lnTo>
                    <a:lnTo>
                      <a:pt x="114" y="1397"/>
                    </a:lnTo>
                    <a:lnTo>
                      <a:pt x="80" y="1397"/>
                    </a:lnTo>
                    <a:lnTo>
                      <a:pt x="66" y="1397"/>
                    </a:lnTo>
                    <a:lnTo>
                      <a:pt x="51" y="1399"/>
                    </a:lnTo>
                    <a:lnTo>
                      <a:pt x="38" y="1402"/>
                    </a:lnTo>
                    <a:lnTo>
                      <a:pt x="28" y="1405"/>
                    </a:lnTo>
                    <a:lnTo>
                      <a:pt x="11" y="1410"/>
                    </a:lnTo>
                    <a:lnTo>
                      <a:pt x="4" y="1411"/>
                    </a:lnTo>
                    <a:lnTo>
                      <a:pt x="3" y="1402"/>
                    </a:lnTo>
                    <a:lnTo>
                      <a:pt x="1" y="1390"/>
                    </a:lnTo>
                    <a:lnTo>
                      <a:pt x="0" y="1377"/>
                    </a:lnTo>
                    <a:lnTo>
                      <a:pt x="0" y="1363"/>
                    </a:lnTo>
                    <a:lnTo>
                      <a:pt x="1" y="1350"/>
                    </a:lnTo>
                    <a:lnTo>
                      <a:pt x="3" y="1340"/>
                    </a:lnTo>
                    <a:lnTo>
                      <a:pt x="4" y="1335"/>
                    </a:lnTo>
                    <a:lnTo>
                      <a:pt x="5" y="1331"/>
                    </a:lnTo>
                    <a:lnTo>
                      <a:pt x="6" y="1329"/>
                    </a:lnTo>
                    <a:lnTo>
                      <a:pt x="9" y="1329"/>
                    </a:lnTo>
                    <a:lnTo>
                      <a:pt x="23" y="1323"/>
                    </a:lnTo>
                    <a:lnTo>
                      <a:pt x="41" y="1314"/>
                    </a:lnTo>
                    <a:lnTo>
                      <a:pt x="60" y="1302"/>
                    </a:lnTo>
                    <a:lnTo>
                      <a:pt x="75" y="1289"/>
                    </a:lnTo>
                    <a:lnTo>
                      <a:pt x="82" y="1280"/>
                    </a:lnTo>
                    <a:lnTo>
                      <a:pt x="91" y="1268"/>
                    </a:lnTo>
                    <a:lnTo>
                      <a:pt x="99" y="1255"/>
                    </a:lnTo>
                    <a:lnTo>
                      <a:pt x="107" y="1240"/>
                    </a:lnTo>
                    <a:lnTo>
                      <a:pt x="124" y="1209"/>
                    </a:lnTo>
                    <a:lnTo>
                      <a:pt x="140" y="1184"/>
                    </a:lnTo>
                    <a:lnTo>
                      <a:pt x="148" y="1173"/>
                    </a:lnTo>
                    <a:lnTo>
                      <a:pt x="152" y="1161"/>
                    </a:lnTo>
                    <a:lnTo>
                      <a:pt x="157" y="1150"/>
                    </a:lnTo>
                    <a:lnTo>
                      <a:pt x="161" y="1136"/>
                    </a:lnTo>
                    <a:lnTo>
                      <a:pt x="167" y="1113"/>
                    </a:lnTo>
                    <a:lnTo>
                      <a:pt x="171" y="1095"/>
                    </a:lnTo>
                    <a:lnTo>
                      <a:pt x="174" y="1087"/>
                    </a:lnTo>
                    <a:lnTo>
                      <a:pt x="175" y="1077"/>
                    </a:lnTo>
                    <a:lnTo>
                      <a:pt x="175" y="1066"/>
                    </a:lnTo>
                    <a:lnTo>
                      <a:pt x="176" y="1056"/>
                    </a:lnTo>
                    <a:lnTo>
                      <a:pt x="176" y="1044"/>
                    </a:lnTo>
                    <a:lnTo>
                      <a:pt x="177" y="1033"/>
                    </a:lnTo>
                    <a:lnTo>
                      <a:pt x="181" y="1024"/>
                    </a:lnTo>
                    <a:lnTo>
                      <a:pt x="184" y="1015"/>
                    </a:lnTo>
                    <a:lnTo>
                      <a:pt x="188" y="1008"/>
                    </a:lnTo>
                    <a:lnTo>
                      <a:pt x="192" y="1000"/>
                    </a:lnTo>
                    <a:lnTo>
                      <a:pt x="194" y="991"/>
                    </a:lnTo>
                    <a:lnTo>
                      <a:pt x="196" y="982"/>
                    </a:lnTo>
                    <a:lnTo>
                      <a:pt x="199" y="964"/>
                    </a:lnTo>
                    <a:lnTo>
                      <a:pt x="202" y="951"/>
                    </a:lnTo>
                    <a:lnTo>
                      <a:pt x="206" y="946"/>
                    </a:lnTo>
                    <a:lnTo>
                      <a:pt x="213" y="940"/>
                    </a:lnTo>
                    <a:lnTo>
                      <a:pt x="223" y="936"/>
                    </a:lnTo>
                    <a:lnTo>
                      <a:pt x="233" y="930"/>
                    </a:lnTo>
                    <a:lnTo>
                      <a:pt x="243" y="924"/>
                    </a:lnTo>
                    <a:lnTo>
                      <a:pt x="252" y="918"/>
                    </a:lnTo>
                    <a:lnTo>
                      <a:pt x="256" y="915"/>
                    </a:lnTo>
                    <a:lnTo>
                      <a:pt x="258" y="912"/>
                    </a:lnTo>
                    <a:lnTo>
                      <a:pt x="261" y="908"/>
                    </a:lnTo>
                    <a:lnTo>
                      <a:pt x="262" y="906"/>
                    </a:lnTo>
                    <a:lnTo>
                      <a:pt x="264" y="888"/>
                    </a:lnTo>
                    <a:lnTo>
                      <a:pt x="268" y="867"/>
                    </a:lnTo>
                    <a:lnTo>
                      <a:pt x="270" y="844"/>
                    </a:lnTo>
                    <a:lnTo>
                      <a:pt x="272" y="829"/>
                    </a:lnTo>
                    <a:lnTo>
                      <a:pt x="272" y="816"/>
                    </a:lnTo>
                    <a:lnTo>
                      <a:pt x="272" y="800"/>
                    </a:lnTo>
                    <a:lnTo>
                      <a:pt x="274" y="793"/>
                    </a:lnTo>
                    <a:lnTo>
                      <a:pt x="276" y="788"/>
                    </a:lnTo>
                    <a:lnTo>
                      <a:pt x="277" y="786"/>
                    </a:lnTo>
                    <a:lnTo>
                      <a:pt x="281" y="785"/>
                    </a:lnTo>
                    <a:lnTo>
                      <a:pt x="283" y="785"/>
                    </a:lnTo>
                    <a:lnTo>
                      <a:pt x="287" y="785"/>
                    </a:lnTo>
                    <a:lnTo>
                      <a:pt x="303" y="785"/>
                    </a:lnTo>
                    <a:lnTo>
                      <a:pt x="319" y="785"/>
                    </a:lnTo>
                    <a:lnTo>
                      <a:pt x="335" y="785"/>
                    </a:lnTo>
                    <a:lnTo>
                      <a:pt x="354" y="785"/>
                    </a:lnTo>
                    <a:lnTo>
                      <a:pt x="373" y="786"/>
                    </a:lnTo>
                    <a:lnTo>
                      <a:pt x="390" y="786"/>
                    </a:lnTo>
                    <a:lnTo>
                      <a:pt x="408" y="787"/>
                    </a:lnTo>
                    <a:lnTo>
                      <a:pt x="425" y="786"/>
                    </a:lnTo>
                    <a:lnTo>
                      <a:pt x="442" y="785"/>
                    </a:lnTo>
                    <a:lnTo>
                      <a:pt x="461" y="786"/>
                    </a:lnTo>
                    <a:lnTo>
                      <a:pt x="482" y="789"/>
                    </a:lnTo>
                    <a:lnTo>
                      <a:pt x="501" y="793"/>
                    </a:lnTo>
                    <a:lnTo>
                      <a:pt x="517" y="799"/>
                    </a:lnTo>
                    <a:lnTo>
                      <a:pt x="533" y="802"/>
                    </a:lnTo>
                    <a:lnTo>
                      <a:pt x="540" y="802"/>
                    </a:lnTo>
                    <a:lnTo>
                      <a:pt x="547" y="801"/>
                    </a:lnTo>
                    <a:lnTo>
                      <a:pt x="553" y="799"/>
                    </a:lnTo>
                    <a:lnTo>
                      <a:pt x="559" y="793"/>
                    </a:lnTo>
                    <a:lnTo>
                      <a:pt x="561" y="789"/>
                    </a:lnTo>
                    <a:lnTo>
                      <a:pt x="564" y="785"/>
                    </a:lnTo>
                    <a:lnTo>
                      <a:pt x="566" y="780"/>
                    </a:lnTo>
                    <a:lnTo>
                      <a:pt x="567" y="774"/>
                    </a:lnTo>
                    <a:lnTo>
                      <a:pt x="570" y="762"/>
                    </a:lnTo>
                    <a:lnTo>
                      <a:pt x="571" y="749"/>
                    </a:lnTo>
                    <a:lnTo>
                      <a:pt x="573" y="736"/>
                    </a:lnTo>
                    <a:lnTo>
                      <a:pt x="576" y="723"/>
                    </a:lnTo>
                    <a:lnTo>
                      <a:pt x="578" y="717"/>
                    </a:lnTo>
                    <a:lnTo>
                      <a:pt x="580" y="711"/>
                    </a:lnTo>
                    <a:lnTo>
                      <a:pt x="583" y="705"/>
                    </a:lnTo>
                    <a:lnTo>
                      <a:pt x="586" y="700"/>
                    </a:lnTo>
                    <a:lnTo>
                      <a:pt x="599" y="687"/>
                    </a:lnTo>
                    <a:lnTo>
                      <a:pt x="609" y="678"/>
                    </a:lnTo>
                    <a:lnTo>
                      <a:pt x="620" y="671"/>
                    </a:lnTo>
                    <a:lnTo>
                      <a:pt x="633" y="661"/>
                    </a:lnTo>
                    <a:lnTo>
                      <a:pt x="645" y="650"/>
                    </a:lnTo>
                    <a:lnTo>
                      <a:pt x="654" y="641"/>
                    </a:lnTo>
                    <a:lnTo>
                      <a:pt x="656" y="637"/>
                    </a:lnTo>
                    <a:lnTo>
                      <a:pt x="659" y="632"/>
                    </a:lnTo>
                    <a:lnTo>
                      <a:pt x="661" y="629"/>
                    </a:lnTo>
                    <a:lnTo>
                      <a:pt x="662" y="624"/>
                    </a:lnTo>
                    <a:lnTo>
                      <a:pt x="665" y="619"/>
                    </a:lnTo>
                    <a:lnTo>
                      <a:pt x="668" y="613"/>
                    </a:lnTo>
                    <a:lnTo>
                      <a:pt x="673" y="608"/>
                    </a:lnTo>
                    <a:lnTo>
                      <a:pt x="680" y="600"/>
                    </a:lnTo>
                    <a:lnTo>
                      <a:pt x="694" y="589"/>
                    </a:lnTo>
                    <a:lnTo>
                      <a:pt x="710" y="577"/>
                    </a:lnTo>
                    <a:lnTo>
                      <a:pt x="729" y="561"/>
                    </a:lnTo>
                    <a:lnTo>
                      <a:pt x="754" y="542"/>
                    </a:lnTo>
                    <a:lnTo>
                      <a:pt x="780" y="522"/>
                    </a:lnTo>
                    <a:lnTo>
                      <a:pt x="804" y="504"/>
                    </a:lnTo>
                    <a:lnTo>
                      <a:pt x="826" y="489"/>
                    </a:lnTo>
                    <a:lnTo>
                      <a:pt x="850" y="472"/>
                    </a:lnTo>
                    <a:lnTo>
                      <a:pt x="873" y="458"/>
                    </a:lnTo>
                    <a:lnTo>
                      <a:pt x="889" y="448"/>
                    </a:lnTo>
                    <a:lnTo>
                      <a:pt x="893" y="447"/>
                    </a:lnTo>
                    <a:lnTo>
                      <a:pt x="897" y="447"/>
                    </a:lnTo>
                    <a:lnTo>
                      <a:pt x="901" y="448"/>
                    </a:lnTo>
                    <a:lnTo>
                      <a:pt x="907" y="451"/>
                    </a:lnTo>
                    <a:lnTo>
                      <a:pt x="920" y="458"/>
                    </a:lnTo>
                    <a:lnTo>
                      <a:pt x="936" y="465"/>
                    </a:lnTo>
                    <a:lnTo>
                      <a:pt x="951" y="472"/>
                    </a:lnTo>
                    <a:lnTo>
                      <a:pt x="968" y="478"/>
                    </a:lnTo>
                    <a:lnTo>
                      <a:pt x="976" y="480"/>
                    </a:lnTo>
                    <a:lnTo>
                      <a:pt x="983" y="480"/>
                    </a:lnTo>
                    <a:lnTo>
                      <a:pt x="990" y="480"/>
                    </a:lnTo>
                    <a:lnTo>
                      <a:pt x="998" y="478"/>
                    </a:lnTo>
                    <a:lnTo>
                      <a:pt x="1005" y="476"/>
                    </a:lnTo>
                    <a:lnTo>
                      <a:pt x="1011" y="471"/>
                    </a:lnTo>
                    <a:lnTo>
                      <a:pt x="1018" y="464"/>
                    </a:lnTo>
                    <a:lnTo>
                      <a:pt x="1024" y="457"/>
                    </a:lnTo>
                    <a:lnTo>
                      <a:pt x="1036" y="441"/>
                    </a:lnTo>
                    <a:lnTo>
                      <a:pt x="1047" y="423"/>
                    </a:lnTo>
                    <a:lnTo>
                      <a:pt x="1059" y="405"/>
                    </a:lnTo>
                    <a:lnTo>
                      <a:pt x="1070" y="390"/>
                    </a:lnTo>
                    <a:lnTo>
                      <a:pt x="1075" y="384"/>
                    </a:lnTo>
                    <a:lnTo>
                      <a:pt x="1081" y="379"/>
                    </a:lnTo>
                    <a:lnTo>
                      <a:pt x="1086" y="376"/>
                    </a:lnTo>
                    <a:lnTo>
                      <a:pt x="1090" y="373"/>
                    </a:lnTo>
                    <a:lnTo>
                      <a:pt x="1109" y="370"/>
                    </a:lnTo>
                    <a:lnTo>
                      <a:pt x="1128" y="367"/>
                    </a:lnTo>
                    <a:lnTo>
                      <a:pt x="1149" y="365"/>
                    </a:lnTo>
                    <a:lnTo>
                      <a:pt x="1169" y="363"/>
                    </a:lnTo>
                    <a:lnTo>
                      <a:pt x="1184" y="360"/>
                    </a:lnTo>
                    <a:lnTo>
                      <a:pt x="1195" y="360"/>
                    </a:lnTo>
                    <a:lnTo>
                      <a:pt x="1206" y="360"/>
                    </a:lnTo>
                    <a:lnTo>
                      <a:pt x="1217" y="363"/>
                    </a:lnTo>
                    <a:lnTo>
                      <a:pt x="1235" y="370"/>
                    </a:lnTo>
                    <a:lnTo>
                      <a:pt x="1246" y="375"/>
                    </a:lnTo>
                    <a:lnTo>
                      <a:pt x="1258" y="376"/>
                    </a:lnTo>
                    <a:lnTo>
                      <a:pt x="1279" y="376"/>
                    </a:lnTo>
                    <a:lnTo>
                      <a:pt x="1302" y="373"/>
                    </a:lnTo>
                    <a:lnTo>
                      <a:pt x="1323" y="370"/>
                    </a:lnTo>
                    <a:lnTo>
                      <a:pt x="1333" y="367"/>
                    </a:lnTo>
                    <a:lnTo>
                      <a:pt x="1341" y="365"/>
                    </a:lnTo>
                    <a:lnTo>
                      <a:pt x="1351" y="361"/>
                    </a:lnTo>
                    <a:lnTo>
                      <a:pt x="1359" y="357"/>
                    </a:lnTo>
                    <a:lnTo>
                      <a:pt x="1366" y="352"/>
                    </a:lnTo>
                    <a:lnTo>
                      <a:pt x="1373" y="346"/>
                    </a:lnTo>
                    <a:lnTo>
                      <a:pt x="1378" y="340"/>
                    </a:lnTo>
                    <a:lnTo>
                      <a:pt x="1380" y="334"/>
                    </a:lnTo>
                    <a:lnTo>
                      <a:pt x="1384" y="310"/>
                    </a:lnTo>
                    <a:lnTo>
                      <a:pt x="1389" y="276"/>
                    </a:lnTo>
                    <a:lnTo>
                      <a:pt x="1393" y="239"/>
                    </a:lnTo>
                    <a:lnTo>
                      <a:pt x="1397" y="211"/>
                    </a:lnTo>
                    <a:lnTo>
                      <a:pt x="1399" y="183"/>
                    </a:lnTo>
                    <a:lnTo>
                      <a:pt x="1403" y="149"/>
                    </a:lnTo>
                    <a:lnTo>
                      <a:pt x="1406" y="118"/>
                    </a:lnTo>
                    <a:lnTo>
                      <a:pt x="1409" y="95"/>
                    </a:lnTo>
                    <a:lnTo>
                      <a:pt x="1409" y="87"/>
                    </a:lnTo>
                    <a:lnTo>
                      <a:pt x="1409" y="77"/>
                    </a:lnTo>
                    <a:lnTo>
                      <a:pt x="1410" y="68"/>
                    </a:lnTo>
                    <a:lnTo>
                      <a:pt x="1414" y="61"/>
                    </a:lnTo>
                    <a:lnTo>
                      <a:pt x="1417" y="56"/>
                    </a:lnTo>
                    <a:lnTo>
                      <a:pt x="1423" y="54"/>
                    </a:lnTo>
                    <a:lnTo>
                      <a:pt x="1430" y="51"/>
                    </a:lnTo>
                    <a:lnTo>
                      <a:pt x="1437" y="49"/>
                    </a:lnTo>
                    <a:lnTo>
                      <a:pt x="1453" y="42"/>
                    </a:lnTo>
                    <a:lnTo>
                      <a:pt x="1470" y="35"/>
                    </a:lnTo>
                    <a:lnTo>
                      <a:pt x="1486" y="30"/>
                    </a:lnTo>
                    <a:lnTo>
                      <a:pt x="1499" y="25"/>
                    </a:lnTo>
                    <a:lnTo>
                      <a:pt x="1522" y="20"/>
                    </a:lnTo>
                    <a:lnTo>
                      <a:pt x="1540" y="17"/>
                    </a:lnTo>
                    <a:lnTo>
                      <a:pt x="1557" y="16"/>
                    </a:lnTo>
                    <a:lnTo>
                      <a:pt x="1584" y="14"/>
                    </a:lnTo>
                    <a:lnTo>
                      <a:pt x="1603" y="14"/>
                    </a:lnTo>
                    <a:lnTo>
                      <a:pt x="1628" y="16"/>
                    </a:lnTo>
                    <a:lnTo>
                      <a:pt x="1655" y="17"/>
                    </a:lnTo>
                    <a:lnTo>
                      <a:pt x="1685" y="18"/>
                    </a:lnTo>
                    <a:lnTo>
                      <a:pt x="1702" y="18"/>
                    </a:lnTo>
                    <a:lnTo>
                      <a:pt x="1718" y="16"/>
                    </a:lnTo>
                    <a:lnTo>
                      <a:pt x="1726" y="14"/>
                    </a:lnTo>
                    <a:lnTo>
                      <a:pt x="1733" y="12"/>
                    </a:lnTo>
                    <a:lnTo>
                      <a:pt x="1741" y="10"/>
                    </a:lnTo>
                    <a:lnTo>
                      <a:pt x="1746" y="6"/>
                    </a:lnTo>
                    <a:lnTo>
                      <a:pt x="1751" y="4"/>
                    </a:lnTo>
                    <a:lnTo>
                      <a:pt x="1756" y="1"/>
                    </a:lnTo>
                    <a:lnTo>
                      <a:pt x="1760" y="0"/>
                    </a:lnTo>
                    <a:lnTo>
                      <a:pt x="1763" y="0"/>
                    </a:lnTo>
                    <a:lnTo>
                      <a:pt x="1766" y="1"/>
                    </a:lnTo>
                    <a:lnTo>
                      <a:pt x="1767" y="3"/>
                    </a:lnTo>
                    <a:lnTo>
                      <a:pt x="1769" y="5"/>
                    </a:lnTo>
                    <a:lnTo>
                      <a:pt x="1770" y="8"/>
                    </a:lnTo>
                    <a:lnTo>
                      <a:pt x="1774" y="25"/>
                    </a:lnTo>
                    <a:lnTo>
                      <a:pt x="1777" y="47"/>
                    </a:lnTo>
                    <a:lnTo>
                      <a:pt x="1783" y="70"/>
                    </a:lnTo>
                    <a:lnTo>
                      <a:pt x="1794" y="111"/>
                    </a:lnTo>
                    <a:lnTo>
                      <a:pt x="1805" y="153"/>
                    </a:lnTo>
                    <a:lnTo>
                      <a:pt x="1812" y="181"/>
                    </a:lnTo>
                    <a:lnTo>
                      <a:pt x="1821" y="212"/>
                    </a:lnTo>
                    <a:lnTo>
                      <a:pt x="1836" y="259"/>
                    </a:lnTo>
                    <a:lnTo>
                      <a:pt x="1850" y="306"/>
                    </a:lnTo>
                    <a:lnTo>
                      <a:pt x="1859" y="335"/>
                    </a:lnTo>
                    <a:lnTo>
                      <a:pt x="1868" y="359"/>
                    </a:lnTo>
                    <a:lnTo>
                      <a:pt x="1880" y="394"/>
                    </a:lnTo>
                    <a:lnTo>
                      <a:pt x="1890" y="428"/>
                    </a:lnTo>
                    <a:lnTo>
                      <a:pt x="1897" y="452"/>
                    </a:lnTo>
                    <a:lnTo>
                      <a:pt x="1905" y="471"/>
                    </a:lnTo>
                    <a:lnTo>
                      <a:pt x="1914" y="496"/>
                    </a:lnTo>
                    <a:lnTo>
                      <a:pt x="1918" y="509"/>
                    </a:lnTo>
                    <a:lnTo>
                      <a:pt x="1921" y="520"/>
                    </a:lnTo>
                    <a:lnTo>
                      <a:pt x="1924" y="530"/>
                    </a:lnTo>
                    <a:lnTo>
                      <a:pt x="1925" y="537"/>
                    </a:lnTo>
                    <a:lnTo>
                      <a:pt x="1924" y="543"/>
                    </a:lnTo>
                    <a:lnTo>
                      <a:pt x="1922" y="547"/>
                    </a:lnTo>
                    <a:lnTo>
                      <a:pt x="1920" y="550"/>
                    </a:lnTo>
                    <a:lnTo>
                      <a:pt x="1916" y="553"/>
                    </a:lnTo>
                    <a:lnTo>
                      <a:pt x="1909" y="558"/>
                    </a:lnTo>
                    <a:lnTo>
                      <a:pt x="1900" y="564"/>
                    </a:lnTo>
                    <a:lnTo>
                      <a:pt x="1889" y="572"/>
                    </a:lnTo>
                    <a:lnTo>
                      <a:pt x="1878" y="583"/>
                    </a:lnTo>
                    <a:lnTo>
                      <a:pt x="1865" y="593"/>
                    </a:lnTo>
                    <a:lnTo>
                      <a:pt x="1852" y="606"/>
                    </a:lnTo>
                    <a:lnTo>
                      <a:pt x="1842" y="617"/>
                    </a:lnTo>
                    <a:lnTo>
                      <a:pt x="1836" y="624"/>
                    </a:lnTo>
                    <a:lnTo>
                      <a:pt x="1834" y="627"/>
                    </a:lnTo>
                    <a:lnTo>
                      <a:pt x="1836" y="629"/>
                    </a:lnTo>
                    <a:lnTo>
                      <a:pt x="1837" y="632"/>
                    </a:lnTo>
                    <a:lnTo>
                      <a:pt x="1839" y="635"/>
                    </a:lnTo>
                    <a:lnTo>
                      <a:pt x="1846" y="643"/>
                    </a:lnTo>
                    <a:lnTo>
                      <a:pt x="1855" y="653"/>
                    </a:lnTo>
                    <a:lnTo>
                      <a:pt x="1864" y="666"/>
                    </a:lnTo>
                    <a:lnTo>
                      <a:pt x="1872" y="680"/>
                    </a:lnTo>
                    <a:lnTo>
                      <a:pt x="1883" y="699"/>
                    </a:lnTo>
                    <a:lnTo>
                      <a:pt x="1896" y="723"/>
                    </a:lnTo>
                    <a:lnTo>
                      <a:pt x="1909" y="748"/>
                    </a:lnTo>
                    <a:lnTo>
                      <a:pt x="1919" y="766"/>
                    </a:lnTo>
                    <a:lnTo>
                      <a:pt x="1925" y="779"/>
                    </a:lnTo>
                    <a:lnTo>
                      <a:pt x="1932" y="789"/>
                    </a:lnTo>
                    <a:lnTo>
                      <a:pt x="1934" y="794"/>
                    </a:lnTo>
                    <a:lnTo>
                      <a:pt x="1938" y="797"/>
                    </a:lnTo>
                    <a:lnTo>
                      <a:pt x="1941" y="799"/>
                    </a:lnTo>
                    <a:lnTo>
                      <a:pt x="1945" y="798"/>
                    </a:lnTo>
                    <a:lnTo>
                      <a:pt x="1947" y="798"/>
                    </a:lnTo>
                    <a:lnTo>
                      <a:pt x="1951" y="797"/>
                    </a:lnTo>
                    <a:lnTo>
                      <a:pt x="1953" y="797"/>
                    </a:lnTo>
                    <a:lnTo>
                      <a:pt x="1956" y="798"/>
                    </a:lnTo>
                    <a:lnTo>
                      <a:pt x="1960" y="801"/>
                    </a:lnTo>
                    <a:lnTo>
                      <a:pt x="1966" y="808"/>
                    </a:lnTo>
                    <a:lnTo>
                      <a:pt x="1975" y="818"/>
                    </a:lnTo>
                    <a:lnTo>
                      <a:pt x="1987" y="831"/>
                    </a:lnTo>
                    <a:lnTo>
                      <a:pt x="1998" y="844"/>
                    </a:lnTo>
                    <a:lnTo>
                      <a:pt x="2009" y="855"/>
                    </a:lnTo>
                    <a:lnTo>
                      <a:pt x="2021" y="864"/>
                    </a:lnTo>
                    <a:lnTo>
                      <a:pt x="2033" y="875"/>
                    </a:lnTo>
                    <a:lnTo>
                      <a:pt x="2038" y="881"/>
                    </a:lnTo>
                    <a:lnTo>
                      <a:pt x="2042" y="887"/>
                    </a:lnTo>
                    <a:lnTo>
                      <a:pt x="2047" y="894"/>
                    </a:lnTo>
                    <a:lnTo>
                      <a:pt x="2050" y="901"/>
                    </a:lnTo>
                    <a:lnTo>
                      <a:pt x="2051" y="909"/>
                    </a:lnTo>
                    <a:lnTo>
                      <a:pt x="2050" y="919"/>
                    </a:lnTo>
                    <a:lnTo>
                      <a:pt x="2048" y="930"/>
                    </a:lnTo>
                    <a:lnTo>
                      <a:pt x="2047" y="939"/>
                    </a:lnTo>
                    <a:lnTo>
                      <a:pt x="2042" y="959"/>
                    </a:lnTo>
                    <a:lnTo>
                      <a:pt x="2039" y="976"/>
                    </a:lnTo>
                    <a:lnTo>
                      <a:pt x="2039" y="989"/>
                    </a:lnTo>
                    <a:lnTo>
                      <a:pt x="2040" y="1003"/>
                    </a:lnTo>
                    <a:lnTo>
                      <a:pt x="2040" y="1010"/>
                    </a:lnTo>
                    <a:lnTo>
                      <a:pt x="2041" y="1016"/>
                    </a:lnTo>
                    <a:lnTo>
                      <a:pt x="2040" y="1021"/>
                    </a:lnTo>
                    <a:lnTo>
                      <a:pt x="2039" y="1026"/>
                    </a:lnTo>
                    <a:lnTo>
                      <a:pt x="2037" y="1034"/>
                    </a:lnTo>
                    <a:lnTo>
                      <a:pt x="2035" y="1041"/>
                    </a:lnTo>
                    <a:lnTo>
                      <a:pt x="2037" y="1044"/>
                    </a:lnTo>
                    <a:lnTo>
                      <a:pt x="2039" y="1045"/>
                    </a:lnTo>
                    <a:lnTo>
                      <a:pt x="2042" y="1045"/>
                    </a:lnTo>
                    <a:lnTo>
                      <a:pt x="2047" y="1044"/>
                    </a:lnTo>
                    <a:lnTo>
                      <a:pt x="2059" y="1040"/>
                    </a:lnTo>
                    <a:lnTo>
                      <a:pt x="2071" y="1037"/>
                    </a:lnTo>
                    <a:lnTo>
                      <a:pt x="2082" y="1033"/>
                    </a:lnTo>
                    <a:lnTo>
                      <a:pt x="2091" y="1027"/>
                    </a:lnTo>
                    <a:lnTo>
                      <a:pt x="2104" y="1021"/>
                    </a:lnTo>
                    <a:lnTo>
                      <a:pt x="2115" y="1015"/>
                    </a:lnTo>
                    <a:lnTo>
                      <a:pt x="2117" y="1014"/>
                    </a:lnTo>
                    <a:lnTo>
                      <a:pt x="2117" y="1013"/>
                    </a:lnTo>
                    <a:lnTo>
                      <a:pt x="2117" y="1010"/>
                    </a:lnTo>
                    <a:lnTo>
                      <a:pt x="2117" y="1007"/>
                    </a:lnTo>
                    <a:lnTo>
                      <a:pt x="2115" y="1001"/>
                    </a:lnTo>
                    <a:lnTo>
                      <a:pt x="2111" y="994"/>
                    </a:lnTo>
                    <a:lnTo>
                      <a:pt x="2108" y="987"/>
                    </a:lnTo>
                    <a:lnTo>
                      <a:pt x="2104" y="981"/>
                    </a:lnTo>
                    <a:lnTo>
                      <a:pt x="2102" y="975"/>
                    </a:lnTo>
                    <a:lnTo>
                      <a:pt x="2102" y="972"/>
                    </a:lnTo>
                    <a:lnTo>
                      <a:pt x="2105" y="969"/>
                    </a:lnTo>
                    <a:lnTo>
                      <a:pt x="2109" y="966"/>
                    </a:lnTo>
                    <a:lnTo>
                      <a:pt x="2114" y="964"/>
                    </a:lnTo>
                    <a:lnTo>
                      <a:pt x="2119" y="963"/>
                    </a:lnTo>
                    <a:lnTo>
                      <a:pt x="2128" y="962"/>
                    </a:lnTo>
                    <a:lnTo>
                      <a:pt x="2134" y="962"/>
                    </a:lnTo>
                    <a:lnTo>
                      <a:pt x="2138" y="965"/>
                    </a:lnTo>
                    <a:lnTo>
                      <a:pt x="2141" y="972"/>
                    </a:lnTo>
                    <a:lnTo>
                      <a:pt x="2146" y="982"/>
                    </a:lnTo>
                    <a:lnTo>
                      <a:pt x="2151" y="993"/>
                    </a:lnTo>
                    <a:lnTo>
                      <a:pt x="2155" y="1003"/>
                    </a:lnTo>
                    <a:lnTo>
                      <a:pt x="2159" y="1012"/>
                    </a:lnTo>
                    <a:lnTo>
                      <a:pt x="2161" y="1014"/>
                    </a:lnTo>
                    <a:lnTo>
                      <a:pt x="2164" y="1016"/>
                    </a:lnTo>
                    <a:lnTo>
                      <a:pt x="2165" y="1016"/>
                    </a:lnTo>
                    <a:lnTo>
                      <a:pt x="2167" y="1015"/>
                    </a:lnTo>
                    <a:lnTo>
                      <a:pt x="2174" y="1007"/>
                    </a:lnTo>
                    <a:lnTo>
                      <a:pt x="2182" y="1000"/>
                    </a:lnTo>
                    <a:lnTo>
                      <a:pt x="2189" y="994"/>
                    </a:lnTo>
                    <a:lnTo>
                      <a:pt x="2197" y="989"/>
                    </a:lnTo>
                    <a:lnTo>
                      <a:pt x="2211" y="981"/>
                    </a:lnTo>
                    <a:lnTo>
                      <a:pt x="2227" y="975"/>
                    </a:lnTo>
                    <a:lnTo>
                      <a:pt x="2243" y="969"/>
                    </a:lnTo>
                    <a:lnTo>
                      <a:pt x="2261" y="962"/>
                    </a:lnTo>
                    <a:lnTo>
                      <a:pt x="2279" y="956"/>
                    </a:lnTo>
                    <a:lnTo>
                      <a:pt x="2296" y="949"/>
                    </a:lnTo>
                    <a:lnTo>
                      <a:pt x="2304" y="946"/>
                    </a:lnTo>
                    <a:lnTo>
                      <a:pt x="2311" y="945"/>
                    </a:lnTo>
                    <a:lnTo>
                      <a:pt x="2317" y="945"/>
                    </a:lnTo>
                    <a:lnTo>
                      <a:pt x="2323" y="945"/>
                    </a:lnTo>
                    <a:lnTo>
                      <a:pt x="2334" y="949"/>
                    </a:lnTo>
                    <a:lnTo>
                      <a:pt x="2346" y="953"/>
                    </a:lnTo>
                    <a:lnTo>
                      <a:pt x="2362" y="958"/>
                    </a:lnTo>
                    <a:lnTo>
                      <a:pt x="2381" y="963"/>
                    </a:lnTo>
                    <a:lnTo>
                      <a:pt x="2391" y="964"/>
                    </a:lnTo>
                    <a:lnTo>
                      <a:pt x="2400" y="965"/>
                    </a:lnTo>
                    <a:lnTo>
                      <a:pt x="2410" y="965"/>
                    </a:lnTo>
                    <a:lnTo>
                      <a:pt x="2418" y="965"/>
                    </a:lnTo>
                    <a:lnTo>
                      <a:pt x="2425" y="963"/>
                    </a:lnTo>
                    <a:lnTo>
                      <a:pt x="2431" y="961"/>
                    </a:lnTo>
                    <a:lnTo>
                      <a:pt x="2436" y="958"/>
                    </a:lnTo>
                    <a:lnTo>
                      <a:pt x="2441" y="955"/>
                    </a:lnTo>
                    <a:lnTo>
                      <a:pt x="2447" y="946"/>
                    </a:lnTo>
                    <a:lnTo>
                      <a:pt x="2453" y="936"/>
                    </a:lnTo>
                    <a:lnTo>
                      <a:pt x="2455" y="931"/>
                    </a:lnTo>
                    <a:lnTo>
                      <a:pt x="2460" y="928"/>
                    </a:lnTo>
                    <a:lnTo>
                      <a:pt x="2463" y="927"/>
                    </a:lnTo>
                    <a:lnTo>
                      <a:pt x="2468" y="927"/>
                    </a:lnTo>
                    <a:lnTo>
                      <a:pt x="2479" y="931"/>
                    </a:lnTo>
                    <a:lnTo>
                      <a:pt x="2488" y="934"/>
                    </a:lnTo>
                    <a:lnTo>
                      <a:pt x="2503" y="938"/>
                    </a:lnTo>
                    <a:lnTo>
                      <a:pt x="2523" y="943"/>
                    </a:lnTo>
                    <a:lnTo>
                      <a:pt x="2545" y="949"/>
                    </a:lnTo>
                    <a:lnTo>
                      <a:pt x="2564" y="953"/>
                    </a:lnTo>
                    <a:lnTo>
                      <a:pt x="2582" y="958"/>
                    </a:lnTo>
                    <a:lnTo>
                      <a:pt x="2600" y="964"/>
                    </a:lnTo>
                    <a:lnTo>
                      <a:pt x="2607" y="968"/>
                    </a:lnTo>
                    <a:lnTo>
                      <a:pt x="2613" y="971"/>
                    </a:lnTo>
                    <a:lnTo>
                      <a:pt x="2619" y="976"/>
                    </a:lnTo>
                    <a:lnTo>
                      <a:pt x="2623" y="980"/>
                    </a:lnTo>
                    <a:lnTo>
                      <a:pt x="2630" y="995"/>
                    </a:lnTo>
                    <a:lnTo>
                      <a:pt x="2638" y="1019"/>
                    </a:lnTo>
                    <a:lnTo>
                      <a:pt x="2642" y="1032"/>
                    </a:lnTo>
                    <a:lnTo>
                      <a:pt x="2644" y="1044"/>
                    </a:lnTo>
                    <a:lnTo>
                      <a:pt x="2645" y="1056"/>
                    </a:lnTo>
                    <a:lnTo>
                      <a:pt x="2645" y="1065"/>
                    </a:lnTo>
                    <a:lnTo>
                      <a:pt x="2644" y="1073"/>
                    </a:lnTo>
                    <a:lnTo>
                      <a:pt x="2642" y="1082"/>
                    </a:lnTo>
                    <a:lnTo>
                      <a:pt x="2638" y="1091"/>
                    </a:lnTo>
                    <a:lnTo>
                      <a:pt x="2633" y="1101"/>
                    </a:lnTo>
                    <a:lnTo>
                      <a:pt x="2629" y="1110"/>
                    </a:lnTo>
                    <a:lnTo>
                      <a:pt x="2621" y="1119"/>
                    </a:lnTo>
                    <a:lnTo>
                      <a:pt x="2614" y="1127"/>
                    </a:lnTo>
                    <a:lnTo>
                      <a:pt x="2606" y="1134"/>
                    </a:lnTo>
                    <a:lnTo>
                      <a:pt x="2602" y="1138"/>
                    </a:lnTo>
                    <a:lnTo>
                      <a:pt x="2599" y="1142"/>
                    </a:lnTo>
                    <a:lnTo>
                      <a:pt x="2595" y="1146"/>
                    </a:lnTo>
                    <a:lnTo>
                      <a:pt x="2594" y="1151"/>
                    </a:lnTo>
                    <a:lnTo>
                      <a:pt x="2590" y="1159"/>
                    </a:lnTo>
                    <a:lnTo>
                      <a:pt x="2589" y="1167"/>
                    </a:lnTo>
                    <a:lnTo>
                      <a:pt x="2589" y="1176"/>
                    </a:lnTo>
                    <a:lnTo>
                      <a:pt x="2588" y="1184"/>
                    </a:lnTo>
                    <a:lnTo>
                      <a:pt x="2588" y="1192"/>
                    </a:lnTo>
                    <a:lnTo>
                      <a:pt x="2586" y="1199"/>
                    </a:lnTo>
                    <a:lnTo>
                      <a:pt x="2580" y="1211"/>
                    </a:lnTo>
                    <a:lnTo>
                      <a:pt x="2576" y="1224"/>
                    </a:lnTo>
                    <a:lnTo>
                      <a:pt x="2573" y="1237"/>
                    </a:lnTo>
                    <a:lnTo>
                      <a:pt x="2568" y="1248"/>
                    </a:lnTo>
                    <a:lnTo>
                      <a:pt x="2557" y="1264"/>
                    </a:lnTo>
                    <a:lnTo>
                      <a:pt x="2542" y="1285"/>
                    </a:lnTo>
                    <a:lnTo>
                      <a:pt x="2533" y="1297"/>
                    </a:lnTo>
                    <a:lnTo>
                      <a:pt x="2526" y="1306"/>
                    </a:lnTo>
                    <a:lnTo>
                      <a:pt x="2518" y="1314"/>
                    </a:lnTo>
                    <a:lnTo>
                      <a:pt x="2512" y="1319"/>
                    </a:lnTo>
                    <a:lnTo>
                      <a:pt x="2499" y="1327"/>
                    </a:lnTo>
                    <a:lnTo>
                      <a:pt x="2479" y="1336"/>
                    </a:lnTo>
                    <a:lnTo>
                      <a:pt x="2457" y="1344"/>
                    </a:lnTo>
                    <a:lnTo>
                      <a:pt x="2438" y="1354"/>
                    </a:lnTo>
                    <a:lnTo>
                      <a:pt x="2422" y="1361"/>
                    </a:lnTo>
                    <a:lnTo>
                      <a:pt x="2406" y="1365"/>
                    </a:lnTo>
                    <a:lnTo>
                      <a:pt x="2393" y="1369"/>
                    </a:lnTo>
                    <a:lnTo>
                      <a:pt x="2380" y="1374"/>
                    </a:lnTo>
                    <a:lnTo>
                      <a:pt x="2369" y="1379"/>
                    </a:lnTo>
                    <a:lnTo>
                      <a:pt x="2365" y="1382"/>
                    </a:lnTo>
                    <a:lnTo>
                      <a:pt x="2363" y="1384"/>
                    </a:lnTo>
                    <a:lnTo>
                      <a:pt x="2363" y="1385"/>
                    </a:lnTo>
                    <a:lnTo>
                      <a:pt x="2365" y="1386"/>
                    </a:lnTo>
                    <a:lnTo>
                      <a:pt x="2367" y="1387"/>
                    </a:lnTo>
                    <a:lnTo>
                      <a:pt x="2382" y="1386"/>
                    </a:lnTo>
                    <a:lnTo>
                      <a:pt x="2403" y="1384"/>
                    </a:lnTo>
                    <a:lnTo>
                      <a:pt x="2412" y="1381"/>
                    </a:lnTo>
                    <a:lnTo>
                      <a:pt x="2421" y="1380"/>
                    </a:lnTo>
                    <a:lnTo>
                      <a:pt x="2431" y="1379"/>
                    </a:lnTo>
                    <a:lnTo>
                      <a:pt x="2443" y="1380"/>
                    </a:lnTo>
                    <a:lnTo>
                      <a:pt x="2450" y="1382"/>
                    </a:lnTo>
                    <a:lnTo>
                      <a:pt x="2457" y="1388"/>
                    </a:lnTo>
                    <a:lnTo>
                      <a:pt x="2464" y="1397"/>
                    </a:lnTo>
                    <a:lnTo>
                      <a:pt x="2473" y="1406"/>
                    </a:lnTo>
                    <a:lnTo>
                      <a:pt x="2486" y="1426"/>
                    </a:lnTo>
                    <a:lnTo>
                      <a:pt x="2498" y="1441"/>
                    </a:lnTo>
                    <a:lnTo>
                      <a:pt x="2503" y="1445"/>
                    </a:lnTo>
                    <a:lnTo>
                      <a:pt x="2511" y="1450"/>
                    </a:lnTo>
                    <a:lnTo>
                      <a:pt x="2520" y="1456"/>
                    </a:lnTo>
                    <a:lnTo>
                      <a:pt x="2530" y="1462"/>
                    </a:lnTo>
                    <a:lnTo>
                      <a:pt x="2541" y="1467"/>
                    </a:lnTo>
                    <a:lnTo>
                      <a:pt x="2551" y="1472"/>
                    </a:lnTo>
                    <a:lnTo>
                      <a:pt x="2561" y="1475"/>
                    </a:lnTo>
                    <a:lnTo>
                      <a:pt x="2570" y="1478"/>
                    </a:lnTo>
                    <a:lnTo>
                      <a:pt x="2577" y="1479"/>
                    </a:lnTo>
                    <a:lnTo>
                      <a:pt x="2585" y="1481"/>
                    </a:lnTo>
                    <a:lnTo>
                      <a:pt x="2590" y="1484"/>
                    </a:lnTo>
                    <a:lnTo>
                      <a:pt x="2595" y="1486"/>
                    </a:lnTo>
                    <a:lnTo>
                      <a:pt x="2601" y="1491"/>
                    </a:lnTo>
                    <a:lnTo>
                      <a:pt x="2606" y="1495"/>
                    </a:lnTo>
                    <a:lnTo>
                      <a:pt x="2611" y="1501"/>
                    </a:lnTo>
                    <a:lnTo>
                      <a:pt x="2615" y="1510"/>
                    </a:lnTo>
                    <a:lnTo>
                      <a:pt x="2619" y="1519"/>
                    </a:lnTo>
                    <a:lnTo>
                      <a:pt x="2621" y="1527"/>
                    </a:lnTo>
                    <a:lnTo>
                      <a:pt x="2623" y="1535"/>
                    </a:lnTo>
                    <a:lnTo>
                      <a:pt x="2624" y="1542"/>
                    </a:lnTo>
                    <a:lnTo>
                      <a:pt x="2624" y="1556"/>
                    </a:lnTo>
                    <a:lnTo>
                      <a:pt x="2625" y="1569"/>
                    </a:lnTo>
                    <a:lnTo>
                      <a:pt x="2626" y="1575"/>
                    </a:lnTo>
                    <a:lnTo>
                      <a:pt x="2630" y="1580"/>
                    </a:lnTo>
                    <a:lnTo>
                      <a:pt x="2633" y="1582"/>
                    </a:lnTo>
                    <a:lnTo>
                      <a:pt x="2638" y="1585"/>
                    </a:lnTo>
                    <a:lnTo>
                      <a:pt x="2650" y="1586"/>
                    </a:lnTo>
                    <a:lnTo>
                      <a:pt x="2661" y="1586"/>
                    </a:lnTo>
                    <a:lnTo>
                      <a:pt x="2665" y="1587"/>
                    </a:lnTo>
                    <a:lnTo>
                      <a:pt x="2668" y="1588"/>
                    </a:lnTo>
                    <a:lnTo>
                      <a:pt x="2670" y="1590"/>
                    </a:lnTo>
                    <a:lnTo>
                      <a:pt x="2673" y="1594"/>
                    </a:lnTo>
                    <a:lnTo>
                      <a:pt x="2674" y="1602"/>
                    </a:lnTo>
                    <a:lnTo>
                      <a:pt x="2676" y="1613"/>
                    </a:lnTo>
                    <a:lnTo>
                      <a:pt x="2678" y="1618"/>
                    </a:lnTo>
                    <a:lnTo>
                      <a:pt x="2682" y="1623"/>
                    </a:lnTo>
                    <a:lnTo>
                      <a:pt x="2686" y="1625"/>
                    </a:lnTo>
                    <a:lnTo>
                      <a:pt x="2690" y="1627"/>
                    </a:lnTo>
                    <a:lnTo>
                      <a:pt x="2702" y="1629"/>
                    </a:lnTo>
                    <a:lnTo>
                      <a:pt x="2714" y="1630"/>
                    </a:lnTo>
                    <a:lnTo>
                      <a:pt x="2732" y="1631"/>
                    </a:lnTo>
                    <a:lnTo>
                      <a:pt x="2758" y="1632"/>
                    </a:lnTo>
                    <a:lnTo>
                      <a:pt x="2781" y="1633"/>
                    </a:lnTo>
                    <a:lnTo>
                      <a:pt x="2794" y="1634"/>
                    </a:lnTo>
                    <a:lnTo>
                      <a:pt x="2795" y="1636"/>
                    </a:lnTo>
                    <a:lnTo>
                      <a:pt x="2795" y="1639"/>
                    </a:lnTo>
                    <a:lnTo>
                      <a:pt x="2795" y="1645"/>
                    </a:lnTo>
                    <a:lnTo>
                      <a:pt x="2793" y="1652"/>
                    </a:lnTo>
                    <a:lnTo>
                      <a:pt x="2789" y="1670"/>
                    </a:lnTo>
                    <a:lnTo>
                      <a:pt x="2787" y="1687"/>
                    </a:lnTo>
                    <a:lnTo>
                      <a:pt x="2787" y="1706"/>
                    </a:lnTo>
                    <a:lnTo>
                      <a:pt x="2787" y="1732"/>
                    </a:lnTo>
                    <a:lnTo>
                      <a:pt x="2789" y="1757"/>
                    </a:lnTo>
                    <a:lnTo>
                      <a:pt x="2791" y="1777"/>
                    </a:lnTo>
                    <a:lnTo>
                      <a:pt x="2797" y="1795"/>
                    </a:lnTo>
                    <a:lnTo>
                      <a:pt x="2807" y="1815"/>
                    </a:lnTo>
                    <a:lnTo>
                      <a:pt x="2810" y="1825"/>
                    </a:lnTo>
                    <a:lnTo>
                      <a:pt x="2815" y="1833"/>
                    </a:lnTo>
                    <a:lnTo>
                      <a:pt x="2820" y="1840"/>
                    </a:lnTo>
                    <a:lnTo>
                      <a:pt x="2823" y="1844"/>
                    </a:lnTo>
                    <a:lnTo>
                      <a:pt x="2827" y="1845"/>
                    </a:lnTo>
                    <a:lnTo>
                      <a:pt x="2832" y="1845"/>
                    </a:lnTo>
                    <a:lnTo>
                      <a:pt x="2837" y="1845"/>
                    </a:lnTo>
                    <a:lnTo>
                      <a:pt x="2843" y="1844"/>
                    </a:lnTo>
                    <a:lnTo>
                      <a:pt x="2854" y="1840"/>
                    </a:lnTo>
                    <a:lnTo>
                      <a:pt x="2865" y="1837"/>
                    </a:lnTo>
                    <a:lnTo>
                      <a:pt x="2871" y="1835"/>
                    </a:lnTo>
                    <a:lnTo>
                      <a:pt x="2877" y="1835"/>
                    </a:lnTo>
                    <a:lnTo>
                      <a:pt x="2882" y="1837"/>
                    </a:lnTo>
                    <a:lnTo>
                      <a:pt x="2886" y="1839"/>
                    </a:lnTo>
                    <a:lnTo>
                      <a:pt x="2891" y="1841"/>
                    </a:lnTo>
                    <a:lnTo>
                      <a:pt x="2895" y="1845"/>
                    </a:lnTo>
                    <a:lnTo>
                      <a:pt x="2897" y="1848"/>
                    </a:lnTo>
                    <a:lnTo>
                      <a:pt x="2900" y="1852"/>
                    </a:lnTo>
                    <a:lnTo>
                      <a:pt x="2902" y="1861"/>
                    </a:lnTo>
                    <a:lnTo>
                      <a:pt x="2906" y="1872"/>
                    </a:lnTo>
                    <a:lnTo>
                      <a:pt x="2907" y="1877"/>
                    </a:lnTo>
                    <a:lnTo>
                      <a:pt x="2909" y="1882"/>
                    </a:lnTo>
                    <a:lnTo>
                      <a:pt x="2911" y="1885"/>
                    </a:lnTo>
                    <a:lnTo>
                      <a:pt x="2915" y="1886"/>
                    </a:lnTo>
                    <a:lnTo>
                      <a:pt x="2921" y="1889"/>
                    </a:lnTo>
                    <a:lnTo>
                      <a:pt x="2926" y="1894"/>
                    </a:lnTo>
                    <a:lnTo>
                      <a:pt x="2927" y="1896"/>
                    </a:lnTo>
                    <a:lnTo>
                      <a:pt x="2928" y="1900"/>
                    </a:lnTo>
                    <a:lnTo>
                      <a:pt x="2928" y="1904"/>
                    </a:lnTo>
                    <a:lnTo>
                      <a:pt x="2928" y="1910"/>
                    </a:lnTo>
                    <a:lnTo>
                      <a:pt x="2927" y="1915"/>
                    </a:lnTo>
                    <a:lnTo>
                      <a:pt x="2927" y="1920"/>
                    </a:lnTo>
                    <a:lnTo>
                      <a:pt x="2929" y="1923"/>
                    </a:lnTo>
                    <a:lnTo>
                      <a:pt x="2930" y="1926"/>
                    </a:lnTo>
                    <a:lnTo>
                      <a:pt x="2938" y="1930"/>
                    </a:lnTo>
                    <a:lnTo>
                      <a:pt x="2948" y="1935"/>
                    </a:lnTo>
                    <a:lnTo>
                      <a:pt x="2963" y="1941"/>
                    </a:lnTo>
                    <a:lnTo>
                      <a:pt x="2978" y="1949"/>
                    </a:lnTo>
                    <a:lnTo>
                      <a:pt x="2985" y="1954"/>
                    </a:lnTo>
                    <a:lnTo>
                      <a:pt x="2992" y="1959"/>
                    </a:lnTo>
                    <a:lnTo>
                      <a:pt x="2999" y="1964"/>
                    </a:lnTo>
                    <a:lnTo>
                      <a:pt x="3004" y="1968"/>
                    </a:lnTo>
                    <a:lnTo>
                      <a:pt x="3011" y="1977"/>
                    </a:lnTo>
                    <a:lnTo>
                      <a:pt x="3018" y="1983"/>
                    </a:lnTo>
                    <a:lnTo>
                      <a:pt x="3022" y="1984"/>
                    </a:lnTo>
                    <a:lnTo>
                      <a:pt x="3026" y="1985"/>
                    </a:lnTo>
                    <a:lnTo>
                      <a:pt x="3029" y="1985"/>
                    </a:lnTo>
                    <a:lnTo>
                      <a:pt x="3034" y="1985"/>
                    </a:lnTo>
                    <a:lnTo>
                      <a:pt x="3045" y="1984"/>
                    </a:lnTo>
                    <a:lnTo>
                      <a:pt x="3055" y="1983"/>
                    </a:lnTo>
                    <a:lnTo>
                      <a:pt x="3066" y="1984"/>
                    </a:lnTo>
                    <a:lnTo>
                      <a:pt x="3074" y="1985"/>
                    </a:lnTo>
                    <a:lnTo>
                      <a:pt x="3084" y="1986"/>
                    </a:lnTo>
                    <a:lnTo>
                      <a:pt x="3095" y="1986"/>
                    </a:lnTo>
                    <a:lnTo>
                      <a:pt x="3100" y="1984"/>
                    </a:lnTo>
                    <a:lnTo>
                      <a:pt x="3106" y="1982"/>
                    </a:lnTo>
                    <a:lnTo>
                      <a:pt x="3111" y="1977"/>
                    </a:lnTo>
                    <a:lnTo>
                      <a:pt x="3116" y="1971"/>
                    </a:lnTo>
                    <a:lnTo>
                      <a:pt x="3124" y="1959"/>
                    </a:lnTo>
                    <a:lnTo>
                      <a:pt x="3133" y="1947"/>
                    </a:lnTo>
                    <a:lnTo>
                      <a:pt x="3140" y="1938"/>
                    </a:lnTo>
                    <a:lnTo>
                      <a:pt x="3149" y="1929"/>
                    </a:lnTo>
                    <a:lnTo>
                      <a:pt x="3159" y="1921"/>
                    </a:lnTo>
                    <a:lnTo>
                      <a:pt x="3169" y="1913"/>
                    </a:lnTo>
                    <a:lnTo>
                      <a:pt x="3174" y="1909"/>
                    </a:lnTo>
                    <a:lnTo>
                      <a:pt x="3178" y="1904"/>
                    </a:lnTo>
                    <a:lnTo>
                      <a:pt x="3180" y="1901"/>
                    </a:lnTo>
                    <a:lnTo>
                      <a:pt x="3181" y="1897"/>
                    </a:lnTo>
                    <a:lnTo>
                      <a:pt x="3181" y="1894"/>
                    </a:lnTo>
                    <a:lnTo>
                      <a:pt x="3181" y="1891"/>
                    </a:lnTo>
                    <a:lnTo>
                      <a:pt x="3179" y="1888"/>
                    </a:lnTo>
                    <a:lnTo>
                      <a:pt x="3177" y="1884"/>
                    </a:lnTo>
                    <a:lnTo>
                      <a:pt x="3171" y="1877"/>
                    </a:lnTo>
                    <a:lnTo>
                      <a:pt x="3162" y="1869"/>
                    </a:lnTo>
                    <a:lnTo>
                      <a:pt x="3150" y="1856"/>
                    </a:lnTo>
                    <a:lnTo>
                      <a:pt x="3135" y="1839"/>
                    </a:lnTo>
                    <a:lnTo>
                      <a:pt x="3121" y="1821"/>
                    </a:lnTo>
                    <a:lnTo>
                      <a:pt x="3110" y="1806"/>
                    </a:lnTo>
                    <a:lnTo>
                      <a:pt x="3108" y="1801"/>
                    </a:lnTo>
                    <a:lnTo>
                      <a:pt x="3106" y="1797"/>
                    </a:lnTo>
                    <a:lnTo>
                      <a:pt x="3108" y="1794"/>
                    </a:lnTo>
                    <a:lnTo>
                      <a:pt x="3109" y="1791"/>
                    </a:lnTo>
                    <a:lnTo>
                      <a:pt x="3116" y="1789"/>
                    </a:lnTo>
                    <a:lnTo>
                      <a:pt x="3131" y="1785"/>
                    </a:lnTo>
                    <a:lnTo>
                      <a:pt x="3150" y="1782"/>
                    </a:lnTo>
                    <a:lnTo>
                      <a:pt x="3172" y="1778"/>
                    </a:lnTo>
                    <a:lnTo>
                      <a:pt x="3194" y="1775"/>
                    </a:lnTo>
                    <a:lnTo>
                      <a:pt x="3218" y="1770"/>
                    </a:lnTo>
                    <a:lnTo>
                      <a:pt x="3238" y="1766"/>
                    </a:lnTo>
                    <a:lnTo>
                      <a:pt x="3255" y="1763"/>
                    </a:lnTo>
                    <a:lnTo>
                      <a:pt x="3272" y="1759"/>
                    </a:lnTo>
                    <a:lnTo>
                      <a:pt x="3292" y="1755"/>
                    </a:lnTo>
                    <a:lnTo>
                      <a:pt x="3303" y="1752"/>
                    </a:lnTo>
                    <a:lnTo>
                      <a:pt x="3311" y="1751"/>
                    </a:lnTo>
                    <a:lnTo>
                      <a:pt x="3317" y="1751"/>
                    </a:lnTo>
                    <a:lnTo>
                      <a:pt x="3323" y="1752"/>
                    </a:lnTo>
                    <a:lnTo>
                      <a:pt x="3332" y="1758"/>
                    </a:lnTo>
                    <a:lnTo>
                      <a:pt x="3343" y="1765"/>
                    </a:lnTo>
                    <a:lnTo>
                      <a:pt x="3358" y="1776"/>
                    </a:lnTo>
                    <a:lnTo>
                      <a:pt x="3381" y="1789"/>
                    </a:lnTo>
                    <a:lnTo>
                      <a:pt x="3406" y="1801"/>
                    </a:lnTo>
                    <a:lnTo>
                      <a:pt x="3429" y="1810"/>
                    </a:lnTo>
                    <a:lnTo>
                      <a:pt x="3449" y="1818"/>
                    </a:lnTo>
                    <a:lnTo>
                      <a:pt x="3468" y="1821"/>
                    </a:lnTo>
                    <a:lnTo>
                      <a:pt x="3477" y="1822"/>
                    </a:lnTo>
                    <a:lnTo>
                      <a:pt x="3486" y="1822"/>
                    </a:lnTo>
                    <a:lnTo>
                      <a:pt x="3493" y="1822"/>
                    </a:lnTo>
                    <a:lnTo>
                      <a:pt x="3499" y="1820"/>
                    </a:lnTo>
                    <a:lnTo>
                      <a:pt x="3508" y="1814"/>
                    </a:lnTo>
                    <a:lnTo>
                      <a:pt x="3518" y="1807"/>
                    </a:lnTo>
                    <a:lnTo>
                      <a:pt x="3527" y="1800"/>
                    </a:lnTo>
                    <a:lnTo>
                      <a:pt x="3537" y="1793"/>
                    </a:lnTo>
                    <a:lnTo>
                      <a:pt x="3550" y="1785"/>
                    </a:lnTo>
                    <a:lnTo>
                      <a:pt x="3565" y="1779"/>
                    </a:lnTo>
                    <a:lnTo>
                      <a:pt x="3574" y="1776"/>
                    </a:lnTo>
                    <a:lnTo>
                      <a:pt x="3582" y="1771"/>
                    </a:lnTo>
                    <a:lnTo>
                      <a:pt x="3589" y="1765"/>
                    </a:lnTo>
                    <a:lnTo>
                      <a:pt x="3596" y="1759"/>
                    </a:lnTo>
                    <a:lnTo>
                      <a:pt x="3608" y="1746"/>
                    </a:lnTo>
                    <a:lnTo>
                      <a:pt x="3620" y="1735"/>
                    </a:lnTo>
                    <a:lnTo>
                      <a:pt x="3634" y="1726"/>
                    </a:lnTo>
                    <a:lnTo>
                      <a:pt x="3651" y="1718"/>
                    </a:lnTo>
                    <a:lnTo>
                      <a:pt x="3671" y="1709"/>
                    </a:lnTo>
                    <a:lnTo>
                      <a:pt x="3691" y="1705"/>
                    </a:lnTo>
                    <a:lnTo>
                      <a:pt x="3713" y="1700"/>
                    </a:lnTo>
                    <a:lnTo>
                      <a:pt x="3736" y="1697"/>
                    </a:lnTo>
                    <a:lnTo>
                      <a:pt x="3761" y="1696"/>
                    </a:lnTo>
                    <a:lnTo>
                      <a:pt x="3788" y="1696"/>
                    </a:lnTo>
                    <a:lnTo>
                      <a:pt x="3798" y="1696"/>
                    </a:lnTo>
                    <a:lnTo>
                      <a:pt x="3809" y="1697"/>
                    </a:lnTo>
                    <a:lnTo>
                      <a:pt x="3818" y="1700"/>
                    </a:lnTo>
                    <a:lnTo>
                      <a:pt x="3826" y="1702"/>
                    </a:lnTo>
                    <a:lnTo>
                      <a:pt x="3836" y="1708"/>
                    </a:lnTo>
                    <a:lnTo>
                      <a:pt x="3843" y="1713"/>
                    </a:lnTo>
                    <a:lnTo>
                      <a:pt x="3845" y="1716"/>
                    </a:lnTo>
                    <a:lnTo>
                      <a:pt x="3846" y="1720"/>
                    </a:lnTo>
                    <a:lnTo>
                      <a:pt x="3845" y="1725"/>
                    </a:lnTo>
                    <a:lnTo>
                      <a:pt x="3842" y="1730"/>
                    </a:lnTo>
                    <a:lnTo>
                      <a:pt x="3836" y="1743"/>
                    </a:lnTo>
                    <a:lnTo>
                      <a:pt x="3832" y="1757"/>
                    </a:lnTo>
                    <a:lnTo>
                      <a:pt x="3829" y="1764"/>
                    </a:lnTo>
                    <a:lnTo>
                      <a:pt x="3829" y="1770"/>
                    </a:lnTo>
                    <a:lnTo>
                      <a:pt x="3830" y="1776"/>
                    </a:lnTo>
                    <a:lnTo>
                      <a:pt x="3833" y="1781"/>
                    </a:lnTo>
                    <a:lnTo>
                      <a:pt x="3841" y="1793"/>
                    </a:lnTo>
                    <a:lnTo>
                      <a:pt x="3853" y="1806"/>
                    </a:lnTo>
                    <a:lnTo>
                      <a:pt x="3864" y="1821"/>
                    </a:lnTo>
                    <a:lnTo>
                      <a:pt x="3873" y="1835"/>
                    </a:lnTo>
                    <a:lnTo>
                      <a:pt x="3876" y="1842"/>
                    </a:lnTo>
                    <a:lnTo>
                      <a:pt x="3878" y="1851"/>
                    </a:lnTo>
                    <a:lnTo>
                      <a:pt x="3879" y="1860"/>
                    </a:lnTo>
                    <a:lnTo>
                      <a:pt x="3878" y="1871"/>
                    </a:lnTo>
                    <a:lnTo>
                      <a:pt x="3877" y="1882"/>
                    </a:lnTo>
                    <a:lnTo>
                      <a:pt x="3876" y="1892"/>
                    </a:lnTo>
                    <a:lnTo>
                      <a:pt x="3872" y="1902"/>
                    </a:lnTo>
                    <a:lnTo>
                      <a:pt x="3868" y="1911"/>
                    </a:lnTo>
                    <a:lnTo>
                      <a:pt x="3864" y="1920"/>
                    </a:lnTo>
                    <a:lnTo>
                      <a:pt x="3859" y="1926"/>
                    </a:lnTo>
                    <a:lnTo>
                      <a:pt x="3853" y="1929"/>
                    </a:lnTo>
                    <a:lnTo>
                      <a:pt x="3847" y="1933"/>
                    </a:lnTo>
                    <a:lnTo>
                      <a:pt x="3841" y="1935"/>
                    </a:lnTo>
                    <a:lnTo>
                      <a:pt x="3834" y="1939"/>
                    </a:lnTo>
                    <a:lnTo>
                      <a:pt x="3828" y="1942"/>
                    </a:lnTo>
                    <a:lnTo>
                      <a:pt x="3822" y="1947"/>
                    </a:lnTo>
                    <a:lnTo>
                      <a:pt x="3815" y="1954"/>
                    </a:lnTo>
                    <a:lnTo>
                      <a:pt x="3809" y="1965"/>
                    </a:lnTo>
                    <a:lnTo>
                      <a:pt x="3803" y="1977"/>
                    </a:lnTo>
                    <a:lnTo>
                      <a:pt x="3796" y="1990"/>
                    </a:lnTo>
                    <a:lnTo>
                      <a:pt x="3784" y="2016"/>
                    </a:lnTo>
                    <a:lnTo>
                      <a:pt x="3774" y="2040"/>
                    </a:lnTo>
                    <a:lnTo>
                      <a:pt x="3767" y="2048"/>
                    </a:lnTo>
                    <a:lnTo>
                      <a:pt x="3759" y="2058"/>
                    </a:lnTo>
                    <a:lnTo>
                      <a:pt x="3748" y="2066"/>
                    </a:lnTo>
                    <a:lnTo>
                      <a:pt x="3736" y="2074"/>
                    </a:lnTo>
                    <a:lnTo>
                      <a:pt x="3713" y="2089"/>
                    </a:lnTo>
                    <a:lnTo>
                      <a:pt x="3692" y="2099"/>
                    </a:lnTo>
                    <a:lnTo>
                      <a:pt x="3676" y="2109"/>
                    </a:lnTo>
                    <a:lnTo>
                      <a:pt x="3659" y="2119"/>
                    </a:lnTo>
                    <a:lnTo>
                      <a:pt x="3651" y="2125"/>
                    </a:lnTo>
                    <a:lnTo>
                      <a:pt x="3643" y="2129"/>
                    </a:lnTo>
                    <a:lnTo>
                      <a:pt x="3635" y="2132"/>
                    </a:lnTo>
                    <a:lnTo>
                      <a:pt x="3629" y="2135"/>
                    </a:lnTo>
                    <a:lnTo>
                      <a:pt x="3624" y="2136"/>
                    </a:lnTo>
                    <a:lnTo>
                      <a:pt x="3618" y="2138"/>
                    </a:lnTo>
                    <a:lnTo>
                      <a:pt x="3614" y="2142"/>
                    </a:lnTo>
                    <a:lnTo>
                      <a:pt x="3610" y="2146"/>
                    </a:lnTo>
                    <a:lnTo>
                      <a:pt x="3609" y="2149"/>
                    </a:lnTo>
                    <a:lnTo>
                      <a:pt x="3609" y="2153"/>
                    </a:lnTo>
                    <a:lnTo>
                      <a:pt x="3610" y="2156"/>
                    </a:lnTo>
                    <a:lnTo>
                      <a:pt x="3614" y="2160"/>
                    </a:lnTo>
                    <a:lnTo>
                      <a:pt x="3618" y="2163"/>
                    </a:lnTo>
                    <a:lnTo>
                      <a:pt x="3621" y="2167"/>
                    </a:lnTo>
                    <a:lnTo>
                      <a:pt x="3624" y="2171"/>
                    </a:lnTo>
                    <a:lnTo>
                      <a:pt x="3625" y="2174"/>
                    </a:lnTo>
                    <a:lnTo>
                      <a:pt x="3627" y="2184"/>
                    </a:lnTo>
                    <a:lnTo>
                      <a:pt x="3628" y="2194"/>
                    </a:lnTo>
                    <a:lnTo>
                      <a:pt x="3631" y="2206"/>
                    </a:lnTo>
                    <a:lnTo>
                      <a:pt x="3637" y="2218"/>
                    </a:lnTo>
                    <a:lnTo>
                      <a:pt x="3641" y="2230"/>
                    </a:lnTo>
                    <a:lnTo>
                      <a:pt x="3645" y="2242"/>
                    </a:lnTo>
                    <a:lnTo>
                      <a:pt x="3645" y="2248"/>
                    </a:lnTo>
                    <a:lnTo>
                      <a:pt x="3644" y="2253"/>
                    </a:lnTo>
                    <a:lnTo>
                      <a:pt x="3641" y="2255"/>
                    </a:lnTo>
                    <a:lnTo>
                      <a:pt x="3638" y="2257"/>
                    </a:lnTo>
                    <a:lnTo>
                      <a:pt x="3626" y="2262"/>
                    </a:lnTo>
                    <a:lnTo>
                      <a:pt x="3607" y="2267"/>
                    </a:lnTo>
                    <a:lnTo>
                      <a:pt x="3602" y="2269"/>
                    </a:lnTo>
                    <a:lnTo>
                      <a:pt x="3597" y="2272"/>
                    </a:lnTo>
                    <a:lnTo>
                      <a:pt x="3593" y="2274"/>
                    </a:lnTo>
                    <a:lnTo>
                      <a:pt x="3589" y="2277"/>
                    </a:lnTo>
                    <a:lnTo>
                      <a:pt x="3583" y="2286"/>
                    </a:lnTo>
                    <a:lnTo>
                      <a:pt x="3580" y="2295"/>
                    </a:lnTo>
                    <a:lnTo>
                      <a:pt x="3577" y="2307"/>
                    </a:lnTo>
                    <a:lnTo>
                      <a:pt x="3576" y="2319"/>
                    </a:lnTo>
                    <a:lnTo>
                      <a:pt x="3576" y="2332"/>
                    </a:lnTo>
                    <a:lnTo>
                      <a:pt x="3576" y="2345"/>
                    </a:lnTo>
                    <a:lnTo>
                      <a:pt x="3577" y="2358"/>
                    </a:lnTo>
                    <a:lnTo>
                      <a:pt x="3578" y="2369"/>
                    </a:lnTo>
                    <a:lnTo>
                      <a:pt x="3580" y="2379"/>
                    </a:lnTo>
                    <a:lnTo>
                      <a:pt x="3583" y="2386"/>
                    </a:lnTo>
                    <a:lnTo>
                      <a:pt x="3587" y="2392"/>
                    </a:lnTo>
                    <a:lnTo>
                      <a:pt x="3590" y="2396"/>
                    </a:lnTo>
                    <a:lnTo>
                      <a:pt x="3596" y="2400"/>
                    </a:lnTo>
                    <a:lnTo>
                      <a:pt x="3602" y="2401"/>
                    </a:lnTo>
                    <a:lnTo>
                      <a:pt x="3616" y="2405"/>
                    </a:lnTo>
                    <a:lnTo>
                      <a:pt x="3633" y="2409"/>
                    </a:lnTo>
                    <a:lnTo>
                      <a:pt x="3650" y="2415"/>
                    </a:lnTo>
                    <a:lnTo>
                      <a:pt x="3668" y="2423"/>
                    </a:lnTo>
                    <a:lnTo>
                      <a:pt x="3676" y="2426"/>
                    </a:lnTo>
                    <a:lnTo>
                      <a:pt x="3682" y="2430"/>
                    </a:lnTo>
                    <a:lnTo>
                      <a:pt x="3688" y="2433"/>
                    </a:lnTo>
                    <a:lnTo>
                      <a:pt x="3691" y="2438"/>
                    </a:lnTo>
                    <a:lnTo>
                      <a:pt x="3698" y="2449"/>
                    </a:lnTo>
                    <a:lnTo>
                      <a:pt x="3704" y="2459"/>
                    </a:lnTo>
                    <a:lnTo>
                      <a:pt x="3713" y="2474"/>
                    </a:lnTo>
                    <a:lnTo>
                      <a:pt x="3725" y="2491"/>
                    </a:lnTo>
                    <a:lnTo>
                      <a:pt x="3739" y="2509"/>
                    </a:lnTo>
                    <a:lnTo>
                      <a:pt x="3752" y="2525"/>
                    </a:lnTo>
                    <a:lnTo>
                      <a:pt x="3767" y="2539"/>
                    </a:lnTo>
                    <a:lnTo>
                      <a:pt x="3784" y="2556"/>
                    </a:lnTo>
                    <a:lnTo>
                      <a:pt x="3794" y="2563"/>
                    </a:lnTo>
                    <a:lnTo>
                      <a:pt x="3803" y="2570"/>
                    </a:lnTo>
                    <a:lnTo>
                      <a:pt x="3811" y="2576"/>
                    </a:lnTo>
                    <a:lnTo>
                      <a:pt x="3820" y="2579"/>
                    </a:lnTo>
                    <a:lnTo>
                      <a:pt x="3836" y="2584"/>
                    </a:lnTo>
                    <a:lnTo>
                      <a:pt x="3852" y="2588"/>
                    </a:lnTo>
                    <a:lnTo>
                      <a:pt x="3867" y="2589"/>
                    </a:lnTo>
                    <a:lnTo>
                      <a:pt x="3883" y="2590"/>
                    </a:lnTo>
                    <a:lnTo>
                      <a:pt x="3899" y="2591"/>
                    </a:lnTo>
                    <a:lnTo>
                      <a:pt x="3918" y="2591"/>
                    </a:lnTo>
                    <a:lnTo>
                      <a:pt x="3928" y="2591"/>
                    </a:lnTo>
                    <a:lnTo>
                      <a:pt x="3937" y="2591"/>
                    </a:lnTo>
                    <a:lnTo>
                      <a:pt x="3946" y="2592"/>
                    </a:lnTo>
                    <a:lnTo>
                      <a:pt x="3953" y="2595"/>
                    </a:lnTo>
                    <a:lnTo>
                      <a:pt x="3968" y="2598"/>
                    </a:lnTo>
                    <a:lnTo>
                      <a:pt x="3984" y="2600"/>
                    </a:lnTo>
                    <a:lnTo>
                      <a:pt x="3997" y="2600"/>
                    </a:lnTo>
                    <a:lnTo>
                      <a:pt x="4009" y="2600"/>
                    </a:lnTo>
                    <a:lnTo>
                      <a:pt x="4015" y="2598"/>
                    </a:lnTo>
                    <a:lnTo>
                      <a:pt x="4021" y="2598"/>
                    </a:lnTo>
                    <a:lnTo>
                      <a:pt x="4025" y="2600"/>
                    </a:lnTo>
                    <a:lnTo>
                      <a:pt x="4029" y="2601"/>
                    </a:lnTo>
                    <a:lnTo>
                      <a:pt x="4030" y="2606"/>
                    </a:lnTo>
                    <a:lnTo>
                      <a:pt x="4031" y="2610"/>
                    </a:lnTo>
                    <a:lnTo>
                      <a:pt x="4031" y="2614"/>
                    </a:lnTo>
                    <a:lnTo>
                      <a:pt x="4031" y="2616"/>
                    </a:lnTo>
                    <a:lnTo>
                      <a:pt x="4030" y="2620"/>
                    </a:lnTo>
                    <a:lnTo>
                      <a:pt x="4028" y="2621"/>
                    </a:lnTo>
                    <a:lnTo>
                      <a:pt x="4016" y="2631"/>
                    </a:lnTo>
                    <a:lnTo>
                      <a:pt x="4006" y="2639"/>
                    </a:lnTo>
                    <a:lnTo>
                      <a:pt x="3992" y="2648"/>
                    </a:lnTo>
                    <a:lnTo>
                      <a:pt x="3978" y="2657"/>
                    </a:lnTo>
                    <a:lnTo>
                      <a:pt x="3975" y="2659"/>
                    </a:lnTo>
                    <a:lnTo>
                      <a:pt x="3973" y="2660"/>
                    </a:lnTo>
                    <a:lnTo>
                      <a:pt x="3972" y="2663"/>
                    </a:lnTo>
                    <a:lnTo>
                      <a:pt x="3973" y="2665"/>
                    </a:lnTo>
                    <a:lnTo>
                      <a:pt x="3975" y="2669"/>
                    </a:lnTo>
                    <a:lnTo>
                      <a:pt x="3980" y="2673"/>
                    </a:lnTo>
                    <a:lnTo>
                      <a:pt x="3986" y="2683"/>
                    </a:lnTo>
                    <a:lnTo>
                      <a:pt x="3993" y="2692"/>
                    </a:lnTo>
                    <a:lnTo>
                      <a:pt x="3998" y="2696"/>
                    </a:lnTo>
                    <a:lnTo>
                      <a:pt x="4002" y="2697"/>
                    </a:lnTo>
                    <a:lnTo>
                      <a:pt x="4004" y="2698"/>
                    </a:lnTo>
                    <a:lnTo>
                      <a:pt x="4007" y="2697"/>
                    </a:lnTo>
                    <a:lnTo>
                      <a:pt x="4015" y="2694"/>
                    </a:lnTo>
                    <a:lnTo>
                      <a:pt x="4022" y="2688"/>
                    </a:lnTo>
                    <a:lnTo>
                      <a:pt x="4030" y="2683"/>
                    </a:lnTo>
                    <a:lnTo>
                      <a:pt x="4038" y="2679"/>
                    </a:lnTo>
                    <a:lnTo>
                      <a:pt x="4043" y="2679"/>
                    </a:lnTo>
                    <a:lnTo>
                      <a:pt x="4048" y="2680"/>
                    </a:lnTo>
                    <a:lnTo>
                      <a:pt x="4053" y="2683"/>
                    </a:lnTo>
                    <a:lnTo>
                      <a:pt x="4056" y="2688"/>
                    </a:lnTo>
                    <a:lnTo>
                      <a:pt x="4065" y="2701"/>
                    </a:lnTo>
                    <a:lnTo>
                      <a:pt x="4073" y="2717"/>
                    </a:lnTo>
                    <a:lnTo>
                      <a:pt x="4076" y="2726"/>
                    </a:lnTo>
                    <a:lnTo>
                      <a:pt x="4081" y="2734"/>
                    </a:lnTo>
                    <a:lnTo>
                      <a:pt x="4086" y="2741"/>
                    </a:lnTo>
                    <a:lnTo>
                      <a:pt x="4092" y="2748"/>
                    </a:lnTo>
                    <a:lnTo>
                      <a:pt x="4099" y="2755"/>
                    </a:lnTo>
                    <a:lnTo>
                      <a:pt x="4107" y="2761"/>
                    </a:lnTo>
                    <a:lnTo>
                      <a:pt x="4117" y="2767"/>
                    </a:lnTo>
                    <a:lnTo>
                      <a:pt x="4128" y="2773"/>
                    </a:lnTo>
                    <a:lnTo>
                      <a:pt x="4137" y="2779"/>
                    </a:lnTo>
                    <a:lnTo>
                      <a:pt x="4145" y="2785"/>
                    </a:lnTo>
                    <a:lnTo>
                      <a:pt x="4151" y="2790"/>
                    </a:lnTo>
                    <a:lnTo>
                      <a:pt x="4155" y="2795"/>
                    </a:lnTo>
                    <a:lnTo>
                      <a:pt x="4158" y="2803"/>
                    </a:lnTo>
                    <a:lnTo>
                      <a:pt x="4161" y="2812"/>
                    </a:lnTo>
                    <a:lnTo>
                      <a:pt x="4162" y="2817"/>
                    </a:lnTo>
                    <a:lnTo>
                      <a:pt x="4164" y="2823"/>
                    </a:lnTo>
                    <a:lnTo>
                      <a:pt x="4167" y="2829"/>
                    </a:lnTo>
                    <a:lnTo>
                      <a:pt x="4172" y="2835"/>
                    </a:lnTo>
                    <a:lnTo>
                      <a:pt x="4182" y="2843"/>
                    </a:lnTo>
                    <a:lnTo>
                      <a:pt x="4192" y="2850"/>
                    </a:lnTo>
                    <a:lnTo>
                      <a:pt x="4196" y="2854"/>
                    </a:lnTo>
                    <a:lnTo>
                      <a:pt x="4201" y="2858"/>
                    </a:lnTo>
                    <a:lnTo>
                      <a:pt x="4206" y="2862"/>
                    </a:lnTo>
                    <a:lnTo>
                      <a:pt x="4210" y="2868"/>
                    </a:lnTo>
                    <a:lnTo>
                      <a:pt x="4212" y="2875"/>
                    </a:lnTo>
                    <a:lnTo>
                      <a:pt x="4214" y="2881"/>
                    </a:lnTo>
                    <a:lnTo>
                      <a:pt x="4216" y="2887"/>
                    </a:lnTo>
                    <a:lnTo>
                      <a:pt x="4216" y="2892"/>
                    </a:lnTo>
                    <a:lnTo>
                      <a:pt x="4214" y="2896"/>
                    </a:lnTo>
                    <a:lnTo>
                      <a:pt x="4212" y="2900"/>
                    </a:lnTo>
                    <a:lnTo>
                      <a:pt x="4208" y="2904"/>
                    </a:lnTo>
                    <a:lnTo>
                      <a:pt x="4205" y="2907"/>
                    </a:lnTo>
                    <a:lnTo>
                      <a:pt x="4193" y="2913"/>
                    </a:lnTo>
                    <a:lnTo>
                      <a:pt x="4181" y="2918"/>
                    </a:lnTo>
                    <a:lnTo>
                      <a:pt x="4175" y="2921"/>
                    </a:lnTo>
                    <a:lnTo>
                      <a:pt x="4172" y="2924"/>
                    </a:lnTo>
                    <a:lnTo>
                      <a:pt x="4168" y="2929"/>
                    </a:lnTo>
                    <a:lnTo>
                      <a:pt x="4168" y="2936"/>
                    </a:lnTo>
                    <a:lnTo>
                      <a:pt x="4168" y="2943"/>
                    </a:lnTo>
                    <a:lnTo>
                      <a:pt x="4169" y="2949"/>
                    </a:lnTo>
                    <a:lnTo>
                      <a:pt x="4172" y="2955"/>
                    </a:lnTo>
                    <a:lnTo>
                      <a:pt x="4174" y="2960"/>
                    </a:lnTo>
                    <a:lnTo>
                      <a:pt x="4180" y="2970"/>
                    </a:lnTo>
                    <a:lnTo>
                      <a:pt x="4185" y="2982"/>
                    </a:lnTo>
                    <a:lnTo>
                      <a:pt x="4187" y="2988"/>
                    </a:lnTo>
                    <a:lnTo>
                      <a:pt x="4192" y="2994"/>
                    </a:lnTo>
                    <a:lnTo>
                      <a:pt x="4198" y="3000"/>
                    </a:lnTo>
                    <a:lnTo>
                      <a:pt x="4205" y="3005"/>
                    </a:lnTo>
                    <a:lnTo>
                      <a:pt x="4212" y="3011"/>
                    </a:lnTo>
                    <a:lnTo>
                      <a:pt x="4218" y="3016"/>
                    </a:lnTo>
                    <a:lnTo>
                      <a:pt x="4223" y="3020"/>
                    </a:lnTo>
                    <a:lnTo>
                      <a:pt x="4226" y="3026"/>
                    </a:lnTo>
                    <a:lnTo>
                      <a:pt x="4231" y="3039"/>
                    </a:lnTo>
                    <a:lnTo>
                      <a:pt x="4237" y="3056"/>
                    </a:lnTo>
                    <a:lnTo>
                      <a:pt x="4243" y="3074"/>
                    </a:lnTo>
                    <a:lnTo>
                      <a:pt x="4248" y="3087"/>
                    </a:lnTo>
                    <a:lnTo>
                      <a:pt x="4252" y="3095"/>
                    </a:lnTo>
                    <a:lnTo>
                      <a:pt x="4254" y="3102"/>
                    </a:lnTo>
                    <a:lnTo>
                      <a:pt x="4255" y="3110"/>
                    </a:lnTo>
                    <a:lnTo>
                      <a:pt x="4252" y="3119"/>
                    </a:lnTo>
                    <a:lnTo>
                      <a:pt x="4249" y="3130"/>
                    </a:lnTo>
                    <a:lnTo>
                      <a:pt x="4249" y="3137"/>
                    </a:lnTo>
                    <a:lnTo>
                      <a:pt x="4249" y="3140"/>
                    </a:lnTo>
                    <a:lnTo>
                      <a:pt x="4250" y="3144"/>
                    </a:lnTo>
                    <a:lnTo>
                      <a:pt x="4252" y="3146"/>
                    </a:lnTo>
                    <a:lnTo>
                      <a:pt x="4256" y="3149"/>
                    </a:lnTo>
                    <a:lnTo>
                      <a:pt x="4259" y="3152"/>
                    </a:lnTo>
                    <a:lnTo>
                      <a:pt x="4262" y="3156"/>
                    </a:lnTo>
                    <a:lnTo>
                      <a:pt x="4264" y="3161"/>
                    </a:lnTo>
                    <a:lnTo>
                      <a:pt x="4264" y="3167"/>
                    </a:lnTo>
                    <a:lnTo>
                      <a:pt x="4264" y="3173"/>
                    </a:lnTo>
                    <a:lnTo>
                      <a:pt x="4263" y="3178"/>
                    </a:lnTo>
                    <a:lnTo>
                      <a:pt x="4261" y="3183"/>
                    </a:lnTo>
                    <a:lnTo>
                      <a:pt x="4258" y="3187"/>
                    </a:lnTo>
                    <a:lnTo>
                      <a:pt x="4251" y="3194"/>
                    </a:lnTo>
                    <a:lnTo>
                      <a:pt x="4243" y="3202"/>
                    </a:lnTo>
                    <a:lnTo>
                      <a:pt x="4238" y="3206"/>
                    </a:lnTo>
                    <a:lnTo>
                      <a:pt x="4233" y="3208"/>
                    </a:lnTo>
                    <a:lnTo>
                      <a:pt x="4226" y="3212"/>
                    </a:lnTo>
                    <a:lnTo>
                      <a:pt x="4219" y="3214"/>
                    </a:lnTo>
                    <a:lnTo>
                      <a:pt x="4212" y="3216"/>
                    </a:lnTo>
                    <a:lnTo>
                      <a:pt x="4207" y="3219"/>
                    </a:lnTo>
                    <a:lnTo>
                      <a:pt x="4202" y="3221"/>
                    </a:lnTo>
                    <a:lnTo>
                      <a:pt x="4199" y="3225"/>
                    </a:lnTo>
                    <a:lnTo>
                      <a:pt x="4195" y="3228"/>
                    </a:lnTo>
                    <a:lnTo>
                      <a:pt x="4194" y="3233"/>
                    </a:lnTo>
                    <a:lnTo>
                      <a:pt x="4193" y="3239"/>
                    </a:lnTo>
                    <a:lnTo>
                      <a:pt x="4193" y="3246"/>
                    </a:lnTo>
                    <a:lnTo>
                      <a:pt x="4194" y="3262"/>
                    </a:lnTo>
                    <a:lnTo>
                      <a:pt x="4196" y="3278"/>
                    </a:lnTo>
                    <a:lnTo>
                      <a:pt x="4200" y="3295"/>
                    </a:lnTo>
                    <a:lnTo>
                      <a:pt x="4202" y="3309"/>
                    </a:lnTo>
                    <a:lnTo>
                      <a:pt x="4204" y="3315"/>
                    </a:lnTo>
                    <a:lnTo>
                      <a:pt x="4205" y="3321"/>
                    </a:lnTo>
                    <a:lnTo>
                      <a:pt x="4206" y="3325"/>
                    </a:lnTo>
                    <a:lnTo>
                      <a:pt x="4207" y="3327"/>
                    </a:lnTo>
                    <a:lnTo>
                      <a:pt x="4210" y="3328"/>
                    </a:lnTo>
                    <a:lnTo>
                      <a:pt x="4212" y="3329"/>
                    </a:lnTo>
                    <a:lnTo>
                      <a:pt x="4216" y="3329"/>
                    </a:lnTo>
                    <a:lnTo>
                      <a:pt x="4220" y="3328"/>
                    </a:lnTo>
                    <a:lnTo>
                      <a:pt x="4224" y="3327"/>
                    </a:lnTo>
                    <a:lnTo>
                      <a:pt x="4227" y="3326"/>
                    </a:lnTo>
                    <a:lnTo>
                      <a:pt x="4231" y="3327"/>
                    </a:lnTo>
                    <a:lnTo>
                      <a:pt x="4233" y="3327"/>
                    </a:lnTo>
                    <a:lnTo>
                      <a:pt x="4236" y="3329"/>
                    </a:lnTo>
                    <a:lnTo>
                      <a:pt x="4237" y="3332"/>
                    </a:lnTo>
                    <a:lnTo>
                      <a:pt x="4239" y="3337"/>
                    </a:lnTo>
                    <a:lnTo>
                      <a:pt x="4240" y="3342"/>
                    </a:lnTo>
                    <a:lnTo>
                      <a:pt x="4242" y="3348"/>
                    </a:lnTo>
                    <a:lnTo>
                      <a:pt x="4244" y="3353"/>
                    </a:lnTo>
                    <a:lnTo>
                      <a:pt x="4246" y="3358"/>
                    </a:lnTo>
                    <a:lnTo>
                      <a:pt x="4250" y="3361"/>
                    </a:lnTo>
                    <a:lnTo>
                      <a:pt x="4254" y="3365"/>
                    </a:lnTo>
                    <a:lnTo>
                      <a:pt x="4257" y="3367"/>
                    </a:lnTo>
                    <a:lnTo>
                      <a:pt x="4261" y="3370"/>
                    </a:lnTo>
                    <a:lnTo>
                      <a:pt x="4265" y="3371"/>
                    </a:lnTo>
                    <a:lnTo>
                      <a:pt x="4269" y="3371"/>
                    </a:lnTo>
                    <a:lnTo>
                      <a:pt x="4274" y="3371"/>
                    </a:lnTo>
                    <a:lnTo>
                      <a:pt x="4277" y="3370"/>
                    </a:lnTo>
                    <a:lnTo>
                      <a:pt x="4281" y="3367"/>
                    </a:lnTo>
                    <a:lnTo>
                      <a:pt x="4292" y="3364"/>
                    </a:lnTo>
                    <a:lnTo>
                      <a:pt x="4307" y="3360"/>
                    </a:lnTo>
                    <a:lnTo>
                      <a:pt x="4323" y="3359"/>
                    </a:lnTo>
                    <a:lnTo>
                      <a:pt x="4332" y="3359"/>
                    </a:lnTo>
                    <a:lnTo>
                      <a:pt x="4336" y="3360"/>
                    </a:lnTo>
                    <a:lnTo>
                      <a:pt x="4338" y="3361"/>
                    </a:lnTo>
                    <a:lnTo>
                      <a:pt x="4340" y="3364"/>
                    </a:lnTo>
                    <a:lnTo>
                      <a:pt x="4342" y="3366"/>
                    </a:lnTo>
                    <a:lnTo>
                      <a:pt x="4344" y="3371"/>
                    </a:lnTo>
                    <a:lnTo>
                      <a:pt x="4344" y="3373"/>
                    </a:lnTo>
                    <a:lnTo>
                      <a:pt x="4342" y="3376"/>
                    </a:lnTo>
                    <a:lnTo>
                      <a:pt x="4337" y="3376"/>
                    </a:lnTo>
                    <a:lnTo>
                      <a:pt x="4331" y="3377"/>
                    </a:lnTo>
                    <a:lnTo>
                      <a:pt x="4326" y="3379"/>
                    </a:lnTo>
                    <a:lnTo>
                      <a:pt x="4325" y="3382"/>
                    </a:lnTo>
                    <a:lnTo>
                      <a:pt x="4324" y="3384"/>
                    </a:lnTo>
                    <a:lnTo>
                      <a:pt x="4325" y="3386"/>
                    </a:lnTo>
                    <a:lnTo>
                      <a:pt x="4327" y="3390"/>
                    </a:lnTo>
                    <a:lnTo>
                      <a:pt x="4332" y="3398"/>
                    </a:lnTo>
                    <a:lnTo>
                      <a:pt x="4339" y="3407"/>
                    </a:lnTo>
                    <a:lnTo>
                      <a:pt x="4347" y="3417"/>
                    </a:lnTo>
                    <a:lnTo>
                      <a:pt x="4356" y="3429"/>
                    </a:lnTo>
                    <a:lnTo>
                      <a:pt x="4362" y="3440"/>
                    </a:lnTo>
                    <a:lnTo>
                      <a:pt x="4364" y="3446"/>
                    </a:lnTo>
                    <a:lnTo>
                      <a:pt x="4365" y="3451"/>
                    </a:lnTo>
                    <a:lnTo>
                      <a:pt x="4366" y="3455"/>
                    </a:lnTo>
                    <a:lnTo>
                      <a:pt x="4366" y="3459"/>
                    </a:lnTo>
                    <a:lnTo>
                      <a:pt x="4368" y="3461"/>
                    </a:lnTo>
                    <a:lnTo>
                      <a:pt x="4369" y="3463"/>
                    </a:lnTo>
                    <a:lnTo>
                      <a:pt x="4371" y="3463"/>
                    </a:lnTo>
                    <a:lnTo>
                      <a:pt x="4376" y="3461"/>
                    </a:lnTo>
                    <a:lnTo>
                      <a:pt x="4382" y="3457"/>
                    </a:lnTo>
                    <a:lnTo>
                      <a:pt x="4387" y="3452"/>
                    </a:lnTo>
                    <a:lnTo>
                      <a:pt x="4390" y="3448"/>
                    </a:lnTo>
                    <a:lnTo>
                      <a:pt x="4393" y="3447"/>
                    </a:lnTo>
                    <a:lnTo>
                      <a:pt x="4395" y="3448"/>
                    </a:lnTo>
                    <a:lnTo>
                      <a:pt x="4400" y="3449"/>
                    </a:lnTo>
                    <a:lnTo>
                      <a:pt x="4407" y="3452"/>
                    </a:lnTo>
                    <a:lnTo>
                      <a:pt x="4419" y="3457"/>
                    </a:lnTo>
                    <a:lnTo>
                      <a:pt x="4424" y="3461"/>
                    </a:lnTo>
                    <a:lnTo>
                      <a:pt x="4425" y="3463"/>
                    </a:lnTo>
                    <a:lnTo>
                      <a:pt x="4425" y="3465"/>
                    </a:lnTo>
                    <a:lnTo>
                      <a:pt x="4425" y="3467"/>
                    </a:lnTo>
                    <a:lnTo>
                      <a:pt x="4422" y="3470"/>
                    </a:lnTo>
                    <a:lnTo>
                      <a:pt x="4410" y="3480"/>
                    </a:lnTo>
                    <a:lnTo>
                      <a:pt x="4396" y="3493"/>
                    </a:lnTo>
                    <a:lnTo>
                      <a:pt x="4395" y="3496"/>
                    </a:lnTo>
                    <a:lnTo>
                      <a:pt x="4394" y="3499"/>
                    </a:lnTo>
                    <a:lnTo>
                      <a:pt x="4394" y="3502"/>
                    </a:lnTo>
                    <a:lnTo>
                      <a:pt x="4395" y="3503"/>
                    </a:lnTo>
                    <a:lnTo>
                      <a:pt x="4397" y="3504"/>
                    </a:lnTo>
                    <a:lnTo>
                      <a:pt x="4401" y="3504"/>
                    </a:lnTo>
                    <a:lnTo>
                      <a:pt x="4405" y="3504"/>
                    </a:lnTo>
                    <a:lnTo>
                      <a:pt x="4409" y="3503"/>
                    </a:lnTo>
                    <a:lnTo>
                      <a:pt x="4426" y="3495"/>
                    </a:lnTo>
                    <a:lnTo>
                      <a:pt x="4438" y="3486"/>
                    </a:lnTo>
                    <a:lnTo>
                      <a:pt x="4440" y="3485"/>
                    </a:lnTo>
                    <a:lnTo>
                      <a:pt x="4443" y="3485"/>
                    </a:lnTo>
                    <a:lnTo>
                      <a:pt x="4444" y="3486"/>
                    </a:lnTo>
                    <a:lnTo>
                      <a:pt x="4446" y="3487"/>
                    </a:lnTo>
                    <a:lnTo>
                      <a:pt x="4447" y="3492"/>
                    </a:lnTo>
                    <a:lnTo>
                      <a:pt x="4447" y="3501"/>
                    </a:lnTo>
                    <a:lnTo>
                      <a:pt x="4449" y="3504"/>
                    </a:lnTo>
                    <a:lnTo>
                      <a:pt x="4450" y="3509"/>
                    </a:lnTo>
                    <a:lnTo>
                      <a:pt x="4452" y="3512"/>
                    </a:lnTo>
                    <a:lnTo>
                      <a:pt x="4454" y="3516"/>
                    </a:lnTo>
                    <a:lnTo>
                      <a:pt x="4459" y="3523"/>
                    </a:lnTo>
                    <a:lnTo>
                      <a:pt x="4464" y="3527"/>
                    </a:lnTo>
                    <a:lnTo>
                      <a:pt x="4466" y="3528"/>
                    </a:lnTo>
                    <a:lnTo>
                      <a:pt x="4469" y="3528"/>
                    </a:lnTo>
                    <a:lnTo>
                      <a:pt x="4470" y="3527"/>
                    </a:lnTo>
                    <a:lnTo>
                      <a:pt x="4472" y="3526"/>
                    </a:lnTo>
                    <a:lnTo>
                      <a:pt x="4477" y="3520"/>
                    </a:lnTo>
                    <a:lnTo>
                      <a:pt x="4482" y="3512"/>
                    </a:lnTo>
                    <a:lnTo>
                      <a:pt x="4484" y="3509"/>
                    </a:lnTo>
                    <a:lnTo>
                      <a:pt x="4488" y="3506"/>
                    </a:lnTo>
                    <a:lnTo>
                      <a:pt x="4492" y="3504"/>
                    </a:lnTo>
                    <a:lnTo>
                      <a:pt x="4496" y="3504"/>
                    </a:lnTo>
                    <a:lnTo>
                      <a:pt x="4501" y="3505"/>
                    </a:lnTo>
                    <a:lnTo>
                      <a:pt x="4506" y="3508"/>
                    </a:lnTo>
                    <a:lnTo>
                      <a:pt x="4508" y="3510"/>
                    </a:lnTo>
                    <a:lnTo>
                      <a:pt x="4509" y="3516"/>
                    </a:lnTo>
                    <a:lnTo>
                      <a:pt x="4512" y="3526"/>
                    </a:lnTo>
                    <a:lnTo>
                      <a:pt x="4514" y="3536"/>
                    </a:lnTo>
                    <a:lnTo>
                      <a:pt x="4517" y="3546"/>
                    </a:lnTo>
                    <a:lnTo>
                      <a:pt x="4525" y="3558"/>
                    </a:lnTo>
                    <a:lnTo>
                      <a:pt x="4532" y="3569"/>
                    </a:lnTo>
                    <a:lnTo>
                      <a:pt x="4538" y="3579"/>
                    </a:lnTo>
                    <a:lnTo>
                      <a:pt x="4542" y="3586"/>
                    </a:lnTo>
                    <a:lnTo>
                      <a:pt x="4547" y="3590"/>
                    </a:lnTo>
                    <a:lnTo>
                      <a:pt x="4550" y="3591"/>
                    </a:lnTo>
                    <a:lnTo>
                      <a:pt x="4553" y="3590"/>
                    </a:lnTo>
                    <a:lnTo>
                      <a:pt x="4558" y="3589"/>
                    </a:lnTo>
                    <a:lnTo>
                      <a:pt x="4561" y="3586"/>
                    </a:lnTo>
                    <a:lnTo>
                      <a:pt x="4571" y="3579"/>
                    </a:lnTo>
                    <a:lnTo>
                      <a:pt x="4579" y="3572"/>
                    </a:lnTo>
                    <a:lnTo>
                      <a:pt x="4583" y="3568"/>
                    </a:lnTo>
                    <a:lnTo>
                      <a:pt x="4586" y="3562"/>
                    </a:lnTo>
                    <a:lnTo>
                      <a:pt x="4589" y="3556"/>
                    </a:lnTo>
                    <a:lnTo>
                      <a:pt x="4591" y="3549"/>
                    </a:lnTo>
                    <a:lnTo>
                      <a:pt x="4595" y="3533"/>
                    </a:lnTo>
                    <a:lnTo>
                      <a:pt x="4598" y="3516"/>
                    </a:lnTo>
                    <a:lnTo>
                      <a:pt x="4598" y="3506"/>
                    </a:lnTo>
                    <a:lnTo>
                      <a:pt x="4598" y="3499"/>
                    </a:lnTo>
                    <a:lnTo>
                      <a:pt x="4597" y="3492"/>
                    </a:lnTo>
                    <a:lnTo>
                      <a:pt x="4596" y="3485"/>
                    </a:lnTo>
                    <a:lnTo>
                      <a:pt x="4592" y="3473"/>
                    </a:lnTo>
                    <a:lnTo>
                      <a:pt x="4591" y="3461"/>
                    </a:lnTo>
                    <a:lnTo>
                      <a:pt x="4591" y="3448"/>
                    </a:lnTo>
                    <a:lnTo>
                      <a:pt x="4592" y="3435"/>
                    </a:lnTo>
                    <a:lnTo>
                      <a:pt x="4594" y="3423"/>
                    </a:lnTo>
                    <a:lnTo>
                      <a:pt x="4592" y="3414"/>
                    </a:lnTo>
                    <a:lnTo>
                      <a:pt x="4589" y="3405"/>
                    </a:lnTo>
                    <a:lnTo>
                      <a:pt x="4586" y="3396"/>
                    </a:lnTo>
                    <a:lnTo>
                      <a:pt x="4585" y="3391"/>
                    </a:lnTo>
                    <a:lnTo>
                      <a:pt x="4585" y="3386"/>
                    </a:lnTo>
                    <a:lnTo>
                      <a:pt x="4585" y="3382"/>
                    </a:lnTo>
                    <a:lnTo>
                      <a:pt x="4588" y="3376"/>
                    </a:lnTo>
                    <a:lnTo>
                      <a:pt x="4590" y="3371"/>
                    </a:lnTo>
                    <a:lnTo>
                      <a:pt x="4595" y="3367"/>
                    </a:lnTo>
                    <a:lnTo>
                      <a:pt x="4601" y="3365"/>
                    </a:lnTo>
                    <a:lnTo>
                      <a:pt x="4607" y="3363"/>
                    </a:lnTo>
                    <a:lnTo>
                      <a:pt x="4613" y="3363"/>
                    </a:lnTo>
                    <a:lnTo>
                      <a:pt x="4619" y="3364"/>
                    </a:lnTo>
                    <a:lnTo>
                      <a:pt x="4623" y="3366"/>
                    </a:lnTo>
                    <a:lnTo>
                      <a:pt x="4628" y="3370"/>
                    </a:lnTo>
                    <a:lnTo>
                      <a:pt x="4635" y="3378"/>
                    </a:lnTo>
                    <a:lnTo>
                      <a:pt x="4643" y="3385"/>
                    </a:lnTo>
                    <a:lnTo>
                      <a:pt x="4647" y="3388"/>
                    </a:lnTo>
                    <a:lnTo>
                      <a:pt x="4652" y="3390"/>
                    </a:lnTo>
                    <a:lnTo>
                      <a:pt x="4658" y="3391"/>
                    </a:lnTo>
                    <a:lnTo>
                      <a:pt x="4664" y="3392"/>
                    </a:lnTo>
                    <a:lnTo>
                      <a:pt x="4668" y="3392"/>
                    </a:lnTo>
                    <a:lnTo>
                      <a:pt x="4672" y="3392"/>
                    </a:lnTo>
                    <a:lnTo>
                      <a:pt x="4676" y="3391"/>
                    </a:lnTo>
                    <a:lnTo>
                      <a:pt x="4678" y="3389"/>
                    </a:lnTo>
                    <a:lnTo>
                      <a:pt x="4679" y="3384"/>
                    </a:lnTo>
                    <a:lnTo>
                      <a:pt x="4682" y="3378"/>
                    </a:lnTo>
                    <a:lnTo>
                      <a:pt x="4684" y="3375"/>
                    </a:lnTo>
                    <a:lnTo>
                      <a:pt x="4687" y="3371"/>
                    </a:lnTo>
                    <a:lnTo>
                      <a:pt x="4693" y="3370"/>
                    </a:lnTo>
                    <a:lnTo>
                      <a:pt x="4701" y="3370"/>
                    </a:lnTo>
                    <a:lnTo>
                      <a:pt x="4710" y="3371"/>
                    </a:lnTo>
                    <a:lnTo>
                      <a:pt x="4721" y="3370"/>
                    </a:lnTo>
                    <a:lnTo>
                      <a:pt x="4725" y="3369"/>
                    </a:lnTo>
                    <a:lnTo>
                      <a:pt x="4729" y="3366"/>
                    </a:lnTo>
                    <a:lnTo>
                      <a:pt x="4733" y="3363"/>
                    </a:lnTo>
                    <a:lnTo>
                      <a:pt x="4736" y="3357"/>
                    </a:lnTo>
                    <a:lnTo>
                      <a:pt x="4739" y="3352"/>
                    </a:lnTo>
                    <a:lnTo>
                      <a:pt x="4737" y="3346"/>
                    </a:lnTo>
                    <a:lnTo>
                      <a:pt x="4736" y="3341"/>
                    </a:lnTo>
                    <a:lnTo>
                      <a:pt x="4734" y="3337"/>
                    </a:lnTo>
                    <a:lnTo>
                      <a:pt x="4727" y="3328"/>
                    </a:lnTo>
                    <a:lnTo>
                      <a:pt x="4721" y="3320"/>
                    </a:lnTo>
                    <a:lnTo>
                      <a:pt x="4718" y="3318"/>
                    </a:lnTo>
                    <a:lnTo>
                      <a:pt x="4717" y="3314"/>
                    </a:lnTo>
                    <a:lnTo>
                      <a:pt x="4717" y="3312"/>
                    </a:lnTo>
                    <a:lnTo>
                      <a:pt x="4717" y="3308"/>
                    </a:lnTo>
                    <a:lnTo>
                      <a:pt x="4721" y="3302"/>
                    </a:lnTo>
                    <a:lnTo>
                      <a:pt x="4728" y="3296"/>
                    </a:lnTo>
                    <a:lnTo>
                      <a:pt x="4735" y="3290"/>
                    </a:lnTo>
                    <a:lnTo>
                      <a:pt x="4740" y="3283"/>
                    </a:lnTo>
                    <a:lnTo>
                      <a:pt x="4742" y="3275"/>
                    </a:lnTo>
                    <a:lnTo>
                      <a:pt x="4747" y="3260"/>
                    </a:lnTo>
                    <a:lnTo>
                      <a:pt x="4750" y="3245"/>
                    </a:lnTo>
                    <a:lnTo>
                      <a:pt x="4752" y="3228"/>
                    </a:lnTo>
                    <a:lnTo>
                      <a:pt x="4752" y="3221"/>
                    </a:lnTo>
                    <a:lnTo>
                      <a:pt x="4752" y="3214"/>
                    </a:lnTo>
                    <a:lnTo>
                      <a:pt x="4749" y="3207"/>
                    </a:lnTo>
                    <a:lnTo>
                      <a:pt x="4747" y="3201"/>
                    </a:lnTo>
                    <a:lnTo>
                      <a:pt x="4740" y="3188"/>
                    </a:lnTo>
                    <a:lnTo>
                      <a:pt x="4733" y="3177"/>
                    </a:lnTo>
                    <a:lnTo>
                      <a:pt x="4728" y="3173"/>
                    </a:lnTo>
                    <a:lnTo>
                      <a:pt x="4724" y="3168"/>
                    </a:lnTo>
                    <a:lnTo>
                      <a:pt x="4721" y="3165"/>
                    </a:lnTo>
                    <a:lnTo>
                      <a:pt x="4717" y="3163"/>
                    </a:lnTo>
                    <a:lnTo>
                      <a:pt x="4709" y="3161"/>
                    </a:lnTo>
                    <a:lnTo>
                      <a:pt x="4697" y="3157"/>
                    </a:lnTo>
                    <a:lnTo>
                      <a:pt x="4684" y="3153"/>
                    </a:lnTo>
                    <a:lnTo>
                      <a:pt x="4671" y="3149"/>
                    </a:lnTo>
                    <a:lnTo>
                      <a:pt x="4659" y="3142"/>
                    </a:lnTo>
                    <a:lnTo>
                      <a:pt x="4648" y="3134"/>
                    </a:lnTo>
                    <a:lnTo>
                      <a:pt x="4642" y="3131"/>
                    </a:lnTo>
                    <a:lnTo>
                      <a:pt x="4638" y="3129"/>
                    </a:lnTo>
                    <a:lnTo>
                      <a:pt x="4634" y="3127"/>
                    </a:lnTo>
                    <a:lnTo>
                      <a:pt x="4630" y="3126"/>
                    </a:lnTo>
                    <a:lnTo>
                      <a:pt x="4624" y="3126"/>
                    </a:lnTo>
                    <a:lnTo>
                      <a:pt x="4620" y="3127"/>
                    </a:lnTo>
                    <a:lnTo>
                      <a:pt x="4617" y="3129"/>
                    </a:lnTo>
                    <a:lnTo>
                      <a:pt x="4614" y="3131"/>
                    </a:lnTo>
                    <a:lnTo>
                      <a:pt x="4609" y="3133"/>
                    </a:lnTo>
                    <a:lnTo>
                      <a:pt x="4607" y="3133"/>
                    </a:lnTo>
                    <a:lnTo>
                      <a:pt x="4605" y="3131"/>
                    </a:lnTo>
                    <a:lnTo>
                      <a:pt x="4604" y="3129"/>
                    </a:lnTo>
                    <a:lnTo>
                      <a:pt x="4604" y="3124"/>
                    </a:lnTo>
                    <a:lnTo>
                      <a:pt x="4604" y="3118"/>
                    </a:lnTo>
                    <a:lnTo>
                      <a:pt x="4607" y="3102"/>
                    </a:lnTo>
                    <a:lnTo>
                      <a:pt x="4609" y="3088"/>
                    </a:lnTo>
                    <a:lnTo>
                      <a:pt x="4611" y="3074"/>
                    </a:lnTo>
                    <a:lnTo>
                      <a:pt x="4613" y="3061"/>
                    </a:lnTo>
                    <a:lnTo>
                      <a:pt x="4613" y="3055"/>
                    </a:lnTo>
                    <a:lnTo>
                      <a:pt x="4613" y="3050"/>
                    </a:lnTo>
                    <a:lnTo>
                      <a:pt x="4611" y="3045"/>
                    </a:lnTo>
                    <a:lnTo>
                      <a:pt x="4609" y="3041"/>
                    </a:lnTo>
                    <a:lnTo>
                      <a:pt x="4607" y="3037"/>
                    </a:lnTo>
                    <a:lnTo>
                      <a:pt x="4603" y="3033"/>
                    </a:lnTo>
                    <a:lnTo>
                      <a:pt x="4598" y="3030"/>
                    </a:lnTo>
                    <a:lnTo>
                      <a:pt x="4591" y="3025"/>
                    </a:lnTo>
                    <a:lnTo>
                      <a:pt x="4578" y="3018"/>
                    </a:lnTo>
                    <a:lnTo>
                      <a:pt x="4570" y="3011"/>
                    </a:lnTo>
                    <a:lnTo>
                      <a:pt x="4569" y="3008"/>
                    </a:lnTo>
                    <a:lnTo>
                      <a:pt x="4569" y="3006"/>
                    </a:lnTo>
                    <a:lnTo>
                      <a:pt x="4570" y="3005"/>
                    </a:lnTo>
                    <a:lnTo>
                      <a:pt x="4575" y="3004"/>
                    </a:lnTo>
                    <a:lnTo>
                      <a:pt x="4585" y="3004"/>
                    </a:lnTo>
                    <a:lnTo>
                      <a:pt x="4595" y="3003"/>
                    </a:lnTo>
                    <a:lnTo>
                      <a:pt x="4598" y="3001"/>
                    </a:lnTo>
                    <a:lnTo>
                      <a:pt x="4602" y="3000"/>
                    </a:lnTo>
                    <a:lnTo>
                      <a:pt x="4604" y="2997"/>
                    </a:lnTo>
                    <a:lnTo>
                      <a:pt x="4604" y="2993"/>
                    </a:lnTo>
                    <a:lnTo>
                      <a:pt x="4604" y="2980"/>
                    </a:lnTo>
                    <a:lnTo>
                      <a:pt x="4603" y="2964"/>
                    </a:lnTo>
                    <a:lnTo>
                      <a:pt x="4603" y="2957"/>
                    </a:lnTo>
                    <a:lnTo>
                      <a:pt x="4604" y="2949"/>
                    </a:lnTo>
                    <a:lnTo>
                      <a:pt x="4605" y="2943"/>
                    </a:lnTo>
                    <a:lnTo>
                      <a:pt x="4608" y="2937"/>
                    </a:lnTo>
                    <a:lnTo>
                      <a:pt x="4611" y="2932"/>
                    </a:lnTo>
                    <a:lnTo>
                      <a:pt x="4615" y="2930"/>
                    </a:lnTo>
                    <a:lnTo>
                      <a:pt x="4620" y="2928"/>
                    </a:lnTo>
                    <a:lnTo>
                      <a:pt x="4624" y="2928"/>
                    </a:lnTo>
                    <a:lnTo>
                      <a:pt x="4633" y="2926"/>
                    </a:lnTo>
                    <a:lnTo>
                      <a:pt x="4641" y="2926"/>
                    </a:lnTo>
                    <a:lnTo>
                      <a:pt x="4648" y="2925"/>
                    </a:lnTo>
                    <a:lnTo>
                      <a:pt x="4652" y="2924"/>
                    </a:lnTo>
                    <a:lnTo>
                      <a:pt x="4654" y="2919"/>
                    </a:lnTo>
                    <a:lnTo>
                      <a:pt x="4654" y="2912"/>
                    </a:lnTo>
                    <a:lnTo>
                      <a:pt x="4655" y="2904"/>
                    </a:lnTo>
                    <a:lnTo>
                      <a:pt x="4655" y="2896"/>
                    </a:lnTo>
                    <a:lnTo>
                      <a:pt x="4658" y="2888"/>
                    </a:lnTo>
                    <a:lnTo>
                      <a:pt x="4661" y="2882"/>
                    </a:lnTo>
                    <a:lnTo>
                      <a:pt x="4664" y="2880"/>
                    </a:lnTo>
                    <a:lnTo>
                      <a:pt x="4665" y="2875"/>
                    </a:lnTo>
                    <a:lnTo>
                      <a:pt x="4665" y="2872"/>
                    </a:lnTo>
                    <a:lnTo>
                      <a:pt x="4665" y="2867"/>
                    </a:lnTo>
                    <a:lnTo>
                      <a:pt x="4665" y="2862"/>
                    </a:lnTo>
                    <a:lnTo>
                      <a:pt x="4664" y="2859"/>
                    </a:lnTo>
                    <a:lnTo>
                      <a:pt x="4662" y="2855"/>
                    </a:lnTo>
                    <a:lnTo>
                      <a:pt x="4660" y="2853"/>
                    </a:lnTo>
                    <a:lnTo>
                      <a:pt x="4653" y="2850"/>
                    </a:lnTo>
                    <a:lnTo>
                      <a:pt x="4643" y="2848"/>
                    </a:lnTo>
                    <a:lnTo>
                      <a:pt x="4639" y="2847"/>
                    </a:lnTo>
                    <a:lnTo>
                      <a:pt x="4634" y="2844"/>
                    </a:lnTo>
                    <a:lnTo>
                      <a:pt x="4632" y="2842"/>
                    </a:lnTo>
                    <a:lnTo>
                      <a:pt x="4629" y="2839"/>
                    </a:lnTo>
                    <a:lnTo>
                      <a:pt x="4628" y="2834"/>
                    </a:lnTo>
                    <a:lnTo>
                      <a:pt x="4627" y="2830"/>
                    </a:lnTo>
                    <a:lnTo>
                      <a:pt x="4628" y="2825"/>
                    </a:lnTo>
                    <a:lnTo>
                      <a:pt x="4629" y="2821"/>
                    </a:lnTo>
                    <a:lnTo>
                      <a:pt x="4630" y="2817"/>
                    </a:lnTo>
                    <a:lnTo>
                      <a:pt x="4633" y="2816"/>
                    </a:lnTo>
                    <a:lnTo>
                      <a:pt x="4635" y="2816"/>
                    </a:lnTo>
                    <a:lnTo>
                      <a:pt x="4639" y="2818"/>
                    </a:lnTo>
                    <a:lnTo>
                      <a:pt x="4642" y="2821"/>
                    </a:lnTo>
                    <a:lnTo>
                      <a:pt x="4646" y="2822"/>
                    </a:lnTo>
                    <a:lnTo>
                      <a:pt x="4648" y="2823"/>
                    </a:lnTo>
                    <a:lnTo>
                      <a:pt x="4652" y="2822"/>
                    </a:lnTo>
                    <a:lnTo>
                      <a:pt x="4654" y="2821"/>
                    </a:lnTo>
                    <a:lnTo>
                      <a:pt x="4657" y="2818"/>
                    </a:lnTo>
                    <a:lnTo>
                      <a:pt x="4659" y="2814"/>
                    </a:lnTo>
                    <a:lnTo>
                      <a:pt x="4660" y="2809"/>
                    </a:lnTo>
                    <a:lnTo>
                      <a:pt x="4661" y="2804"/>
                    </a:lnTo>
                    <a:lnTo>
                      <a:pt x="4662" y="2798"/>
                    </a:lnTo>
                    <a:lnTo>
                      <a:pt x="4661" y="2792"/>
                    </a:lnTo>
                    <a:lnTo>
                      <a:pt x="4661" y="2787"/>
                    </a:lnTo>
                    <a:lnTo>
                      <a:pt x="4659" y="2777"/>
                    </a:lnTo>
                    <a:lnTo>
                      <a:pt x="4657" y="2767"/>
                    </a:lnTo>
                    <a:lnTo>
                      <a:pt x="4655" y="2762"/>
                    </a:lnTo>
                    <a:lnTo>
                      <a:pt x="4655" y="2760"/>
                    </a:lnTo>
                    <a:lnTo>
                      <a:pt x="4657" y="2758"/>
                    </a:lnTo>
                    <a:lnTo>
                      <a:pt x="4658" y="2755"/>
                    </a:lnTo>
                    <a:lnTo>
                      <a:pt x="4662" y="2754"/>
                    </a:lnTo>
                    <a:lnTo>
                      <a:pt x="4671" y="2755"/>
                    </a:lnTo>
                    <a:lnTo>
                      <a:pt x="4680" y="2756"/>
                    </a:lnTo>
                    <a:lnTo>
                      <a:pt x="4686" y="2756"/>
                    </a:lnTo>
                    <a:lnTo>
                      <a:pt x="4691" y="2756"/>
                    </a:lnTo>
                    <a:lnTo>
                      <a:pt x="4697" y="2753"/>
                    </a:lnTo>
                    <a:lnTo>
                      <a:pt x="4703" y="2747"/>
                    </a:lnTo>
                    <a:lnTo>
                      <a:pt x="4710" y="2743"/>
                    </a:lnTo>
                    <a:lnTo>
                      <a:pt x="4715" y="2742"/>
                    </a:lnTo>
                    <a:lnTo>
                      <a:pt x="4718" y="2742"/>
                    </a:lnTo>
                    <a:lnTo>
                      <a:pt x="4723" y="2743"/>
                    </a:lnTo>
                    <a:lnTo>
                      <a:pt x="4727" y="2747"/>
                    </a:lnTo>
                    <a:lnTo>
                      <a:pt x="4735" y="2753"/>
                    </a:lnTo>
                    <a:lnTo>
                      <a:pt x="4745" y="2758"/>
                    </a:lnTo>
                    <a:lnTo>
                      <a:pt x="4754" y="2761"/>
                    </a:lnTo>
                    <a:lnTo>
                      <a:pt x="4766" y="2762"/>
                    </a:lnTo>
                    <a:lnTo>
                      <a:pt x="4774" y="2762"/>
                    </a:lnTo>
                    <a:lnTo>
                      <a:pt x="4783" y="2762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9" name="四川"/>
              <p:cNvSpPr/>
              <p:nvPr>
                <p:custDataLst>
                  <p:tags r:id="rId46"/>
                </p:custDataLst>
              </p:nvPr>
            </p:nvSpPr>
            <p:spPr bwMode="auto">
              <a:xfrm>
                <a:off x="3279466" y="3671747"/>
                <a:ext cx="1460245" cy="1355002"/>
              </a:xfrm>
              <a:custGeom>
                <a:avLst/>
                <a:gdLst>
                  <a:gd name="T0" fmla="*/ 3666 w 4006"/>
                  <a:gd name="T1" fmla="*/ 1742 h 3723"/>
                  <a:gd name="T2" fmla="*/ 3823 w 4006"/>
                  <a:gd name="T3" fmla="*/ 1601 h 3723"/>
                  <a:gd name="T4" fmla="*/ 3955 w 4006"/>
                  <a:gd name="T5" fmla="*/ 1338 h 3723"/>
                  <a:gd name="T6" fmla="*/ 3994 w 4006"/>
                  <a:gd name="T7" fmla="*/ 1152 h 3723"/>
                  <a:gd name="T8" fmla="*/ 3670 w 4006"/>
                  <a:gd name="T9" fmla="*/ 1062 h 3723"/>
                  <a:gd name="T10" fmla="*/ 3471 w 4006"/>
                  <a:gd name="T11" fmla="*/ 1017 h 3723"/>
                  <a:gd name="T12" fmla="*/ 3203 w 4006"/>
                  <a:gd name="T13" fmla="*/ 929 h 3723"/>
                  <a:gd name="T14" fmla="*/ 3003 w 4006"/>
                  <a:gd name="T15" fmla="*/ 892 h 3723"/>
                  <a:gd name="T16" fmla="*/ 2846 w 4006"/>
                  <a:gd name="T17" fmla="*/ 922 h 3723"/>
                  <a:gd name="T18" fmla="*/ 2611 w 4006"/>
                  <a:gd name="T19" fmla="*/ 912 h 3723"/>
                  <a:gd name="T20" fmla="*/ 2522 w 4006"/>
                  <a:gd name="T21" fmla="*/ 721 h 3723"/>
                  <a:gd name="T22" fmla="*/ 2442 w 4006"/>
                  <a:gd name="T23" fmla="*/ 463 h 3723"/>
                  <a:gd name="T24" fmla="*/ 2206 w 4006"/>
                  <a:gd name="T25" fmla="*/ 399 h 3723"/>
                  <a:gd name="T26" fmla="*/ 2064 w 4006"/>
                  <a:gd name="T27" fmla="*/ 192 h 3723"/>
                  <a:gd name="T28" fmla="*/ 1864 w 4006"/>
                  <a:gd name="T29" fmla="*/ 238 h 3723"/>
                  <a:gd name="T30" fmla="*/ 1815 w 4006"/>
                  <a:gd name="T31" fmla="*/ 430 h 3723"/>
                  <a:gd name="T32" fmla="*/ 1712 w 4006"/>
                  <a:gd name="T33" fmla="*/ 569 h 3723"/>
                  <a:gd name="T34" fmla="*/ 1667 w 4006"/>
                  <a:gd name="T35" fmla="*/ 495 h 3723"/>
                  <a:gd name="T36" fmla="*/ 1565 w 4006"/>
                  <a:gd name="T37" fmla="*/ 556 h 3723"/>
                  <a:gd name="T38" fmla="*/ 1396 w 4006"/>
                  <a:gd name="T39" fmla="*/ 590 h 3723"/>
                  <a:gd name="T40" fmla="*/ 1269 w 4006"/>
                  <a:gd name="T41" fmla="*/ 824 h 3723"/>
                  <a:gd name="T42" fmla="*/ 1097 w 4006"/>
                  <a:gd name="T43" fmla="*/ 880 h 3723"/>
                  <a:gd name="T44" fmla="*/ 995 w 4006"/>
                  <a:gd name="T45" fmla="*/ 800 h 3723"/>
                  <a:gd name="T46" fmla="*/ 904 w 4006"/>
                  <a:gd name="T47" fmla="*/ 630 h 3723"/>
                  <a:gd name="T48" fmla="*/ 677 w 4006"/>
                  <a:gd name="T49" fmla="*/ 592 h 3723"/>
                  <a:gd name="T50" fmla="*/ 508 w 4006"/>
                  <a:gd name="T51" fmla="*/ 306 h 3723"/>
                  <a:gd name="T52" fmla="*/ 310 w 4006"/>
                  <a:gd name="T53" fmla="*/ 43 h 3723"/>
                  <a:gd name="T54" fmla="*/ 145 w 4006"/>
                  <a:gd name="T55" fmla="*/ 131 h 3723"/>
                  <a:gd name="T56" fmla="*/ 120 w 4006"/>
                  <a:gd name="T57" fmla="*/ 326 h 3723"/>
                  <a:gd name="T58" fmla="*/ 79 w 4006"/>
                  <a:gd name="T59" fmla="*/ 523 h 3723"/>
                  <a:gd name="T60" fmla="*/ 213 w 4006"/>
                  <a:gd name="T61" fmla="*/ 791 h 3723"/>
                  <a:gd name="T62" fmla="*/ 373 w 4006"/>
                  <a:gd name="T63" fmla="*/ 1130 h 3723"/>
                  <a:gd name="T64" fmla="*/ 400 w 4006"/>
                  <a:gd name="T65" fmla="*/ 1380 h 3723"/>
                  <a:gd name="T66" fmla="*/ 471 w 4006"/>
                  <a:gd name="T67" fmla="*/ 1697 h 3723"/>
                  <a:gd name="T68" fmla="*/ 461 w 4006"/>
                  <a:gd name="T69" fmla="*/ 2216 h 3723"/>
                  <a:gd name="T70" fmla="*/ 490 w 4006"/>
                  <a:gd name="T71" fmla="*/ 2674 h 3723"/>
                  <a:gd name="T72" fmla="*/ 605 w 4006"/>
                  <a:gd name="T73" fmla="*/ 2482 h 3723"/>
                  <a:gd name="T74" fmla="*/ 759 w 4006"/>
                  <a:gd name="T75" fmla="*/ 2583 h 3723"/>
                  <a:gd name="T76" fmla="*/ 804 w 4006"/>
                  <a:gd name="T77" fmla="*/ 2832 h 3723"/>
                  <a:gd name="T78" fmla="*/ 914 w 4006"/>
                  <a:gd name="T79" fmla="*/ 2880 h 3723"/>
                  <a:gd name="T80" fmla="*/ 1075 w 4006"/>
                  <a:gd name="T81" fmla="*/ 3085 h 3723"/>
                  <a:gd name="T82" fmla="*/ 1182 w 4006"/>
                  <a:gd name="T83" fmla="*/ 3336 h 3723"/>
                  <a:gd name="T84" fmla="*/ 1221 w 4006"/>
                  <a:gd name="T85" fmla="*/ 3479 h 3723"/>
                  <a:gd name="T86" fmla="*/ 1314 w 4006"/>
                  <a:gd name="T87" fmla="*/ 3648 h 3723"/>
                  <a:gd name="T88" fmla="*/ 1579 w 4006"/>
                  <a:gd name="T89" fmla="*/ 3648 h 3723"/>
                  <a:gd name="T90" fmla="*/ 1814 w 4006"/>
                  <a:gd name="T91" fmla="*/ 3629 h 3723"/>
                  <a:gd name="T92" fmla="*/ 1804 w 4006"/>
                  <a:gd name="T93" fmla="*/ 3357 h 3723"/>
                  <a:gd name="T94" fmla="*/ 1953 w 4006"/>
                  <a:gd name="T95" fmla="*/ 3099 h 3723"/>
                  <a:gd name="T96" fmla="*/ 2164 w 4006"/>
                  <a:gd name="T97" fmla="*/ 2835 h 3723"/>
                  <a:gd name="T98" fmla="*/ 2340 w 4006"/>
                  <a:gd name="T99" fmla="*/ 2664 h 3723"/>
                  <a:gd name="T100" fmla="*/ 2399 w 4006"/>
                  <a:gd name="T101" fmla="*/ 2794 h 3723"/>
                  <a:gd name="T102" fmla="*/ 2444 w 4006"/>
                  <a:gd name="T103" fmla="*/ 2992 h 3723"/>
                  <a:gd name="T104" fmla="*/ 2714 w 4006"/>
                  <a:gd name="T105" fmla="*/ 2961 h 3723"/>
                  <a:gd name="T106" fmla="*/ 2820 w 4006"/>
                  <a:gd name="T107" fmla="*/ 3062 h 3723"/>
                  <a:gd name="T108" fmla="*/ 3140 w 4006"/>
                  <a:gd name="T109" fmla="*/ 3063 h 3723"/>
                  <a:gd name="T110" fmla="*/ 2965 w 4006"/>
                  <a:gd name="T111" fmla="*/ 2892 h 3723"/>
                  <a:gd name="T112" fmla="*/ 2959 w 4006"/>
                  <a:gd name="T113" fmla="*/ 2708 h 3723"/>
                  <a:gd name="T114" fmla="*/ 3169 w 4006"/>
                  <a:gd name="T115" fmla="*/ 2771 h 3723"/>
                  <a:gd name="T116" fmla="*/ 2979 w 4006"/>
                  <a:gd name="T117" fmla="*/ 2527 h 3723"/>
                  <a:gd name="T118" fmla="*/ 2841 w 4006"/>
                  <a:gd name="T119" fmla="*/ 2302 h 3723"/>
                  <a:gd name="T120" fmla="*/ 2898 w 4006"/>
                  <a:gd name="T121" fmla="*/ 2039 h 3723"/>
                  <a:gd name="T122" fmla="*/ 3080 w 4006"/>
                  <a:gd name="T123" fmla="*/ 1935 h 3723"/>
                  <a:gd name="T124" fmla="*/ 3371 w 4006"/>
                  <a:gd name="T125" fmla="*/ 2085 h 3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06" h="3723">
                    <a:moveTo>
                      <a:pt x="3509" y="1987"/>
                    </a:moveTo>
                    <a:lnTo>
                      <a:pt x="3516" y="1975"/>
                    </a:lnTo>
                    <a:lnTo>
                      <a:pt x="3525" y="1965"/>
                    </a:lnTo>
                    <a:lnTo>
                      <a:pt x="3532" y="1954"/>
                    </a:lnTo>
                    <a:lnTo>
                      <a:pt x="3540" y="1943"/>
                    </a:lnTo>
                    <a:lnTo>
                      <a:pt x="3549" y="1928"/>
                    </a:lnTo>
                    <a:lnTo>
                      <a:pt x="3557" y="1914"/>
                    </a:lnTo>
                    <a:lnTo>
                      <a:pt x="3568" y="1900"/>
                    </a:lnTo>
                    <a:lnTo>
                      <a:pt x="3582" y="1882"/>
                    </a:lnTo>
                    <a:lnTo>
                      <a:pt x="3589" y="1872"/>
                    </a:lnTo>
                    <a:lnTo>
                      <a:pt x="3595" y="1863"/>
                    </a:lnTo>
                    <a:lnTo>
                      <a:pt x="3601" y="1853"/>
                    </a:lnTo>
                    <a:lnTo>
                      <a:pt x="3603" y="1845"/>
                    </a:lnTo>
                    <a:lnTo>
                      <a:pt x="3604" y="1838"/>
                    </a:lnTo>
                    <a:lnTo>
                      <a:pt x="3602" y="1832"/>
                    </a:lnTo>
                    <a:lnTo>
                      <a:pt x="3600" y="1826"/>
                    </a:lnTo>
                    <a:lnTo>
                      <a:pt x="3596" y="1820"/>
                    </a:lnTo>
                    <a:lnTo>
                      <a:pt x="3593" y="1815"/>
                    </a:lnTo>
                    <a:lnTo>
                      <a:pt x="3590" y="1809"/>
                    </a:lnTo>
                    <a:lnTo>
                      <a:pt x="3588" y="1805"/>
                    </a:lnTo>
                    <a:lnTo>
                      <a:pt x="3587" y="1799"/>
                    </a:lnTo>
                    <a:lnTo>
                      <a:pt x="3587" y="1796"/>
                    </a:lnTo>
                    <a:lnTo>
                      <a:pt x="3588" y="1794"/>
                    </a:lnTo>
                    <a:lnTo>
                      <a:pt x="3588" y="1790"/>
                    </a:lnTo>
                    <a:lnTo>
                      <a:pt x="3590" y="1788"/>
                    </a:lnTo>
                    <a:lnTo>
                      <a:pt x="3593" y="1787"/>
                    </a:lnTo>
                    <a:lnTo>
                      <a:pt x="3595" y="1786"/>
                    </a:lnTo>
                    <a:lnTo>
                      <a:pt x="3600" y="1782"/>
                    </a:lnTo>
                    <a:lnTo>
                      <a:pt x="3602" y="1777"/>
                    </a:lnTo>
                    <a:lnTo>
                      <a:pt x="3602" y="1762"/>
                    </a:lnTo>
                    <a:lnTo>
                      <a:pt x="3601" y="1745"/>
                    </a:lnTo>
                    <a:lnTo>
                      <a:pt x="3601" y="1743"/>
                    </a:lnTo>
                    <a:lnTo>
                      <a:pt x="3601" y="1741"/>
                    </a:lnTo>
                    <a:lnTo>
                      <a:pt x="3601" y="1738"/>
                    </a:lnTo>
                    <a:lnTo>
                      <a:pt x="3602" y="1735"/>
                    </a:lnTo>
                    <a:lnTo>
                      <a:pt x="3604" y="1731"/>
                    </a:lnTo>
                    <a:lnTo>
                      <a:pt x="3608" y="1730"/>
                    </a:lnTo>
                    <a:lnTo>
                      <a:pt x="3610" y="1729"/>
                    </a:lnTo>
                    <a:lnTo>
                      <a:pt x="3614" y="1729"/>
                    </a:lnTo>
                    <a:lnTo>
                      <a:pt x="3626" y="1736"/>
                    </a:lnTo>
                    <a:lnTo>
                      <a:pt x="3639" y="1745"/>
                    </a:lnTo>
                    <a:lnTo>
                      <a:pt x="3643" y="1748"/>
                    </a:lnTo>
                    <a:lnTo>
                      <a:pt x="3648" y="1751"/>
                    </a:lnTo>
                    <a:lnTo>
                      <a:pt x="3653" y="1751"/>
                    </a:lnTo>
                    <a:lnTo>
                      <a:pt x="3657" y="1750"/>
                    </a:lnTo>
                    <a:lnTo>
                      <a:pt x="3666" y="1742"/>
                    </a:lnTo>
                    <a:lnTo>
                      <a:pt x="3675" y="1732"/>
                    </a:lnTo>
                    <a:lnTo>
                      <a:pt x="3677" y="1731"/>
                    </a:lnTo>
                    <a:lnTo>
                      <a:pt x="3679" y="1731"/>
                    </a:lnTo>
                    <a:lnTo>
                      <a:pt x="3682" y="1732"/>
                    </a:lnTo>
                    <a:lnTo>
                      <a:pt x="3683" y="1735"/>
                    </a:lnTo>
                    <a:lnTo>
                      <a:pt x="3685" y="1739"/>
                    </a:lnTo>
                    <a:lnTo>
                      <a:pt x="3686" y="1746"/>
                    </a:lnTo>
                    <a:lnTo>
                      <a:pt x="3688" y="1751"/>
                    </a:lnTo>
                    <a:lnTo>
                      <a:pt x="3690" y="1756"/>
                    </a:lnTo>
                    <a:lnTo>
                      <a:pt x="3692" y="1760"/>
                    </a:lnTo>
                    <a:lnTo>
                      <a:pt x="3695" y="1763"/>
                    </a:lnTo>
                    <a:lnTo>
                      <a:pt x="3700" y="1765"/>
                    </a:lnTo>
                    <a:lnTo>
                      <a:pt x="3704" y="1769"/>
                    </a:lnTo>
                    <a:lnTo>
                      <a:pt x="3709" y="1770"/>
                    </a:lnTo>
                    <a:lnTo>
                      <a:pt x="3714" y="1771"/>
                    </a:lnTo>
                    <a:lnTo>
                      <a:pt x="3720" y="1771"/>
                    </a:lnTo>
                    <a:lnTo>
                      <a:pt x="3725" y="1771"/>
                    </a:lnTo>
                    <a:lnTo>
                      <a:pt x="3729" y="1770"/>
                    </a:lnTo>
                    <a:lnTo>
                      <a:pt x="3734" y="1768"/>
                    </a:lnTo>
                    <a:lnTo>
                      <a:pt x="3738" y="1765"/>
                    </a:lnTo>
                    <a:lnTo>
                      <a:pt x="3741" y="1761"/>
                    </a:lnTo>
                    <a:lnTo>
                      <a:pt x="3742" y="1755"/>
                    </a:lnTo>
                    <a:lnTo>
                      <a:pt x="3744" y="1749"/>
                    </a:lnTo>
                    <a:lnTo>
                      <a:pt x="3745" y="1743"/>
                    </a:lnTo>
                    <a:lnTo>
                      <a:pt x="3745" y="1737"/>
                    </a:lnTo>
                    <a:lnTo>
                      <a:pt x="3746" y="1729"/>
                    </a:lnTo>
                    <a:lnTo>
                      <a:pt x="3748" y="1720"/>
                    </a:lnTo>
                    <a:lnTo>
                      <a:pt x="3753" y="1713"/>
                    </a:lnTo>
                    <a:lnTo>
                      <a:pt x="3757" y="1707"/>
                    </a:lnTo>
                    <a:lnTo>
                      <a:pt x="3761" y="1701"/>
                    </a:lnTo>
                    <a:lnTo>
                      <a:pt x="3765" y="1699"/>
                    </a:lnTo>
                    <a:lnTo>
                      <a:pt x="3777" y="1692"/>
                    </a:lnTo>
                    <a:lnTo>
                      <a:pt x="3788" y="1683"/>
                    </a:lnTo>
                    <a:lnTo>
                      <a:pt x="3791" y="1679"/>
                    </a:lnTo>
                    <a:lnTo>
                      <a:pt x="3795" y="1675"/>
                    </a:lnTo>
                    <a:lnTo>
                      <a:pt x="3797" y="1670"/>
                    </a:lnTo>
                    <a:lnTo>
                      <a:pt x="3799" y="1666"/>
                    </a:lnTo>
                    <a:lnTo>
                      <a:pt x="3796" y="1651"/>
                    </a:lnTo>
                    <a:lnTo>
                      <a:pt x="3793" y="1637"/>
                    </a:lnTo>
                    <a:lnTo>
                      <a:pt x="3796" y="1632"/>
                    </a:lnTo>
                    <a:lnTo>
                      <a:pt x="3801" y="1628"/>
                    </a:lnTo>
                    <a:lnTo>
                      <a:pt x="3807" y="1624"/>
                    </a:lnTo>
                    <a:lnTo>
                      <a:pt x="3812" y="1619"/>
                    </a:lnTo>
                    <a:lnTo>
                      <a:pt x="3820" y="1612"/>
                    </a:lnTo>
                    <a:lnTo>
                      <a:pt x="3823" y="1606"/>
                    </a:lnTo>
                    <a:lnTo>
                      <a:pt x="3823" y="1601"/>
                    </a:lnTo>
                    <a:lnTo>
                      <a:pt x="3821" y="1598"/>
                    </a:lnTo>
                    <a:lnTo>
                      <a:pt x="3818" y="1593"/>
                    </a:lnTo>
                    <a:lnTo>
                      <a:pt x="3816" y="1590"/>
                    </a:lnTo>
                    <a:lnTo>
                      <a:pt x="3815" y="1586"/>
                    </a:lnTo>
                    <a:lnTo>
                      <a:pt x="3815" y="1581"/>
                    </a:lnTo>
                    <a:lnTo>
                      <a:pt x="3817" y="1578"/>
                    </a:lnTo>
                    <a:lnTo>
                      <a:pt x="3818" y="1575"/>
                    </a:lnTo>
                    <a:lnTo>
                      <a:pt x="3834" y="1560"/>
                    </a:lnTo>
                    <a:lnTo>
                      <a:pt x="3847" y="1544"/>
                    </a:lnTo>
                    <a:lnTo>
                      <a:pt x="3853" y="1535"/>
                    </a:lnTo>
                    <a:lnTo>
                      <a:pt x="3859" y="1525"/>
                    </a:lnTo>
                    <a:lnTo>
                      <a:pt x="3866" y="1511"/>
                    </a:lnTo>
                    <a:lnTo>
                      <a:pt x="3871" y="1494"/>
                    </a:lnTo>
                    <a:lnTo>
                      <a:pt x="3873" y="1490"/>
                    </a:lnTo>
                    <a:lnTo>
                      <a:pt x="3875" y="1485"/>
                    </a:lnTo>
                    <a:lnTo>
                      <a:pt x="3879" y="1480"/>
                    </a:lnTo>
                    <a:lnTo>
                      <a:pt x="3883" y="1475"/>
                    </a:lnTo>
                    <a:lnTo>
                      <a:pt x="3891" y="1468"/>
                    </a:lnTo>
                    <a:lnTo>
                      <a:pt x="3900" y="1459"/>
                    </a:lnTo>
                    <a:lnTo>
                      <a:pt x="3909" y="1443"/>
                    </a:lnTo>
                    <a:lnTo>
                      <a:pt x="3918" y="1428"/>
                    </a:lnTo>
                    <a:lnTo>
                      <a:pt x="3924" y="1423"/>
                    </a:lnTo>
                    <a:lnTo>
                      <a:pt x="3933" y="1420"/>
                    </a:lnTo>
                    <a:lnTo>
                      <a:pt x="3942" y="1416"/>
                    </a:lnTo>
                    <a:lnTo>
                      <a:pt x="3953" y="1412"/>
                    </a:lnTo>
                    <a:lnTo>
                      <a:pt x="3963" y="1409"/>
                    </a:lnTo>
                    <a:lnTo>
                      <a:pt x="3973" y="1405"/>
                    </a:lnTo>
                    <a:lnTo>
                      <a:pt x="3980" y="1401"/>
                    </a:lnTo>
                    <a:lnTo>
                      <a:pt x="3985" y="1395"/>
                    </a:lnTo>
                    <a:lnTo>
                      <a:pt x="3988" y="1390"/>
                    </a:lnTo>
                    <a:lnTo>
                      <a:pt x="3991" y="1382"/>
                    </a:lnTo>
                    <a:lnTo>
                      <a:pt x="3992" y="1373"/>
                    </a:lnTo>
                    <a:lnTo>
                      <a:pt x="3993" y="1365"/>
                    </a:lnTo>
                    <a:lnTo>
                      <a:pt x="3994" y="1357"/>
                    </a:lnTo>
                    <a:lnTo>
                      <a:pt x="3994" y="1351"/>
                    </a:lnTo>
                    <a:lnTo>
                      <a:pt x="3992" y="1349"/>
                    </a:lnTo>
                    <a:lnTo>
                      <a:pt x="3990" y="1348"/>
                    </a:lnTo>
                    <a:lnTo>
                      <a:pt x="3987" y="1348"/>
                    </a:lnTo>
                    <a:lnTo>
                      <a:pt x="3985" y="1348"/>
                    </a:lnTo>
                    <a:lnTo>
                      <a:pt x="3979" y="1349"/>
                    </a:lnTo>
                    <a:lnTo>
                      <a:pt x="3973" y="1351"/>
                    </a:lnTo>
                    <a:lnTo>
                      <a:pt x="3968" y="1351"/>
                    </a:lnTo>
                    <a:lnTo>
                      <a:pt x="3965" y="1351"/>
                    </a:lnTo>
                    <a:lnTo>
                      <a:pt x="3962" y="1349"/>
                    </a:lnTo>
                    <a:lnTo>
                      <a:pt x="3961" y="1348"/>
                    </a:lnTo>
                    <a:lnTo>
                      <a:pt x="3955" y="1338"/>
                    </a:lnTo>
                    <a:lnTo>
                      <a:pt x="3949" y="1329"/>
                    </a:lnTo>
                    <a:lnTo>
                      <a:pt x="3941" y="1321"/>
                    </a:lnTo>
                    <a:lnTo>
                      <a:pt x="3930" y="1313"/>
                    </a:lnTo>
                    <a:lnTo>
                      <a:pt x="3922" y="1304"/>
                    </a:lnTo>
                    <a:lnTo>
                      <a:pt x="3911" y="1297"/>
                    </a:lnTo>
                    <a:lnTo>
                      <a:pt x="3902" y="1290"/>
                    </a:lnTo>
                    <a:lnTo>
                      <a:pt x="3895" y="1282"/>
                    </a:lnTo>
                    <a:lnTo>
                      <a:pt x="3890" y="1275"/>
                    </a:lnTo>
                    <a:lnTo>
                      <a:pt x="3887" y="1266"/>
                    </a:lnTo>
                    <a:lnTo>
                      <a:pt x="3887" y="1260"/>
                    </a:lnTo>
                    <a:lnTo>
                      <a:pt x="3887" y="1254"/>
                    </a:lnTo>
                    <a:lnTo>
                      <a:pt x="3889" y="1251"/>
                    </a:lnTo>
                    <a:lnTo>
                      <a:pt x="3892" y="1243"/>
                    </a:lnTo>
                    <a:lnTo>
                      <a:pt x="3897" y="1237"/>
                    </a:lnTo>
                    <a:lnTo>
                      <a:pt x="3900" y="1232"/>
                    </a:lnTo>
                    <a:lnTo>
                      <a:pt x="3904" y="1228"/>
                    </a:lnTo>
                    <a:lnTo>
                      <a:pt x="3910" y="1223"/>
                    </a:lnTo>
                    <a:lnTo>
                      <a:pt x="3914" y="1223"/>
                    </a:lnTo>
                    <a:lnTo>
                      <a:pt x="3918" y="1222"/>
                    </a:lnTo>
                    <a:lnTo>
                      <a:pt x="3924" y="1222"/>
                    </a:lnTo>
                    <a:lnTo>
                      <a:pt x="3930" y="1222"/>
                    </a:lnTo>
                    <a:lnTo>
                      <a:pt x="3934" y="1221"/>
                    </a:lnTo>
                    <a:lnTo>
                      <a:pt x="3937" y="1221"/>
                    </a:lnTo>
                    <a:lnTo>
                      <a:pt x="3943" y="1219"/>
                    </a:lnTo>
                    <a:lnTo>
                      <a:pt x="3949" y="1215"/>
                    </a:lnTo>
                    <a:lnTo>
                      <a:pt x="3954" y="1210"/>
                    </a:lnTo>
                    <a:lnTo>
                      <a:pt x="3958" y="1207"/>
                    </a:lnTo>
                    <a:lnTo>
                      <a:pt x="3961" y="1203"/>
                    </a:lnTo>
                    <a:lnTo>
                      <a:pt x="3963" y="1200"/>
                    </a:lnTo>
                    <a:lnTo>
                      <a:pt x="3967" y="1195"/>
                    </a:lnTo>
                    <a:lnTo>
                      <a:pt x="3968" y="1190"/>
                    </a:lnTo>
                    <a:lnTo>
                      <a:pt x="3968" y="1182"/>
                    </a:lnTo>
                    <a:lnTo>
                      <a:pt x="3968" y="1175"/>
                    </a:lnTo>
                    <a:lnTo>
                      <a:pt x="3968" y="1174"/>
                    </a:lnTo>
                    <a:lnTo>
                      <a:pt x="3969" y="1171"/>
                    </a:lnTo>
                    <a:lnTo>
                      <a:pt x="3972" y="1170"/>
                    </a:lnTo>
                    <a:lnTo>
                      <a:pt x="3975" y="1170"/>
                    </a:lnTo>
                    <a:lnTo>
                      <a:pt x="3985" y="1171"/>
                    </a:lnTo>
                    <a:lnTo>
                      <a:pt x="3998" y="1175"/>
                    </a:lnTo>
                    <a:lnTo>
                      <a:pt x="4004" y="1176"/>
                    </a:lnTo>
                    <a:lnTo>
                      <a:pt x="4006" y="1177"/>
                    </a:lnTo>
                    <a:lnTo>
                      <a:pt x="4006" y="1175"/>
                    </a:lnTo>
                    <a:lnTo>
                      <a:pt x="4006" y="1172"/>
                    </a:lnTo>
                    <a:lnTo>
                      <a:pt x="4004" y="1166"/>
                    </a:lnTo>
                    <a:lnTo>
                      <a:pt x="4000" y="1160"/>
                    </a:lnTo>
                    <a:lnTo>
                      <a:pt x="3994" y="1152"/>
                    </a:lnTo>
                    <a:lnTo>
                      <a:pt x="3987" y="1145"/>
                    </a:lnTo>
                    <a:lnTo>
                      <a:pt x="3979" y="1138"/>
                    </a:lnTo>
                    <a:lnTo>
                      <a:pt x="3973" y="1134"/>
                    </a:lnTo>
                    <a:lnTo>
                      <a:pt x="3966" y="1132"/>
                    </a:lnTo>
                    <a:lnTo>
                      <a:pt x="3956" y="1132"/>
                    </a:lnTo>
                    <a:lnTo>
                      <a:pt x="3942" y="1136"/>
                    </a:lnTo>
                    <a:lnTo>
                      <a:pt x="3930" y="1137"/>
                    </a:lnTo>
                    <a:lnTo>
                      <a:pt x="3919" y="1131"/>
                    </a:lnTo>
                    <a:lnTo>
                      <a:pt x="3909" y="1127"/>
                    </a:lnTo>
                    <a:lnTo>
                      <a:pt x="3897" y="1131"/>
                    </a:lnTo>
                    <a:lnTo>
                      <a:pt x="3886" y="1137"/>
                    </a:lnTo>
                    <a:lnTo>
                      <a:pt x="3875" y="1143"/>
                    </a:lnTo>
                    <a:lnTo>
                      <a:pt x="3865" y="1146"/>
                    </a:lnTo>
                    <a:lnTo>
                      <a:pt x="3854" y="1146"/>
                    </a:lnTo>
                    <a:lnTo>
                      <a:pt x="3840" y="1145"/>
                    </a:lnTo>
                    <a:lnTo>
                      <a:pt x="3832" y="1145"/>
                    </a:lnTo>
                    <a:lnTo>
                      <a:pt x="3824" y="1145"/>
                    </a:lnTo>
                    <a:lnTo>
                      <a:pt x="3818" y="1146"/>
                    </a:lnTo>
                    <a:lnTo>
                      <a:pt x="3812" y="1150"/>
                    </a:lnTo>
                    <a:lnTo>
                      <a:pt x="3809" y="1153"/>
                    </a:lnTo>
                    <a:lnTo>
                      <a:pt x="3807" y="1159"/>
                    </a:lnTo>
                    <a:lnTo>
                      <a:pt x="3805" y="1164"/>
                    </a:lnTo>
                    <a:lnTo>
                      <a:pt x="3804" y="1170"/>
                    </a:lnTo>
                    <a:lnTo>
                      <a:pt x="3802" y="1176"/>
                    </a:lnTo>
                    <a:lnTo>
                      <a:pt x="3798" y="1181"/>
                    </a:lnTo>
                    <a:lnTo>
                      <a:pt x="3797" y="1182"/>
                    </a:lnTo>
                    <a:lnTo>
                      <a:pt x="3795" y="1181"/>
                    </a:lnTo>
                    <a:lnTo>
                      <a:pt x="3792" y="1180"/>
                    </a:lnTo>
                    <a:lnTo>
                      <a:pt x="3789" y="1178"/>
                    </a:lnTo>
                    <a:lnTo>
                      <a:pt x="3778" y="1171"/>
                    </a:lnTo>
                    <a:lnTo>
                      <a:pt x="3766" y="1163"/>
                    </a:lnTo>
                    <a:lnTo>
                      <a:pt x="3755" y="1153"/>
                    </a:lnTo>
                    <a:lnTo>
                      <a:pt x="3744" y="1143"/>
                    </a:lnTo>
                    <a:lnTo>
                      <a:pt x="3735" y="1133"/>
                    </a:lnTo>
                    <a:lnTo>
                      <a:pt x="3726" y="1121"/>
                    </a:lnTo>
                    <a:lnTo>
                      <a:pt x="3722" y="1117"/>
                    </a:lnTo>
                    <a:lnTo>
                      <a:pt x="3715" y="1108"/>
                    </a:lnTo>
                    <a:lnTo>
                      <a:pt x="3704" y="1098"/>
                    </a:lnTo>
                    <a:lnTo>
                      <a:pt x="3696" y="1087"/>
                    </a:lnTo>
                    <a:lnTo>
                      <a:pt x="3692" y="1080"/>
                    </a:lnTo>
                    <a:lnTo>
                      <a:pt x="3690" y="1073"/>
                    </a:lnTo>
                    <a:lnTo>
                      <a:pt x="3688" y="1070"/>
                    </a:lnTo>
                    <a:lnTo>
                      <a:pt x="3685" y="1067"/>
                    </a:lnTo>
                    <a:lnTo>
                      <a:pt x="3683" y="1064"/>
                    </a:lnTo>
                    <a:lnTo>
                      <a:pt x="3681" y="1063"/>
                    </a:lnTo>
                    <a:lnTo>
                      <a:pt x="3670" y="1062"/>
                    </a:lnTo>
                    <a:lnTo>
                      <a:pt x="3658" y="1063"/>
                    </a:lnTo>
                    <a:lnTo>
                      <a:pt x="3646" y="1065"/>
                    </a:lnTo>
                    <a:lnTo>
                      <a:pt x="3634" y="1068"/>
                    </a:lnTo>
                    <a:lnTo>
                      <a:pt x="3626" y="1068"/>
                    </a:lnTo>
                    <a:lnTo>
                      <a:pt x="3619" y="1068"/>
                    </a:lnTo>
                    <a:lnTo>
                      <a:pt x="3612" y="1065"/>
                    </a:lnTo>
                    <a:lnTo>
                      <a:pt x="3604" y="1063"/>
                    </a:lnTo>
                    <a:lnTo>
                      <a:pt x="3603" y="1062"/>
                    </a:lnTo>
                    <a:lnTo>
                      <a:pt x="3601" y="1059"/>
                    </a:lnTo>
                    <a:lnTo>
                      <a:pt x="3599" y="1056"/>
                    </a:lnTo>
                    <a:lnTo>
                      <a:pt x="3596" y="1051"/>
                    </a:lnTo>
                    <a:lnTo>
                      <a:pt x="3597" y="1042"/>
                    </a:lnTo>
                    <a:lnTo>
                      <a:pt x="3600" y="1030"/>
                    </a:lnTo>
                    <a:lnTo>
                      <a:pt x="3602" y="1019"/>
                    </a:lnTo>
                    <a:lnTo>
                      <a:pt x="3603" y="1010"/>
                    </a:lnTo>
                    <a:lnTo>
                      <a:pt x="3602" y="1008"/>
                    </a:lnTo>
                    <a:lnTo>
                      <a:pt x="3601" y="1007"/>
                    </a:lnTo>
                    <a:lnTo>
                      <a:pt x="3599" y="1006"/>
                    </a:lnTo>
                    <a:lnTo>
                      <a:pt x="3597" y="1006"/>
                    </a:lnTo>
                    <a:lnTo>
                      <a:pt x="3593" y="1006"/>
                    </a:lnTo>
                    <a:lnTo>
                      <a:pt x="3589" y="1006"/>
                    </a:lnTo>
                    <a:lnTo>
                      <a:pt x="3584" y="1007"/>
                    </a:lnTo>
                    <a:lnTo>
                      <a:pt x="3577" y="1010"/>
                    </a:lnTo>
                    <a:lnTo>
                      <a:pt x="3570" y="1014"/>
                    </a:lnTo>
                    <a:lnTo>
                      <a:pt x="3563" y="1020"/>
                    </a:lnTo>
                    <a:lnTo>
                      <a:pt x="3555" y="1031"/>
                    </a:lnTo>
                    <a:lnTo>
                      <a:pt x="3549" y="1043"/>
                    </a:lnTo>
                    <a:lnTo>
                      <a:pt x="3541" y="1049"/>
                    </a:lnTo>
                    <a:lnTo>
                      <a:pt x="3538" y="1052"/>
                    </a:lnTo>
                    <a:lnTo>
                      <a:pt x="3530" y="1055"/>
                    </a:lnTo>
                    <a:lnTo>
                      <a:pt x="3524" y="1055"/>
                    </a:lnTo>
                    <a:lnTo>
                      <a:pt x="3520" y="1055"/>
                    </a:lnTo>
                    <a:lnTo>
                      <a:pt x="3512" y="1055"/>
                    </a:lnTo>
                    <a:lnTo>
                      <a:pt x="3507" y="1054"/>
                    </a:lnTo>
                    <a:lnTo>
                      <a:pt x="3503" y="1050"/>
                    </a:lnTo>
                    <a:lnTo>
                      <a:pt x="3501" y="1045"/>
                    </a:lnTo>
                    <a:lnTo>
                      <a:pt x="3500" y="1039"/>
                    </a:lnTo>
                    <a:lnTo>
                      <a:pt x="3500" y="1036"/>
                    </a:lnTo>
                    <a:lnTo>
                      <a:pt x="3499" y="1033"/>
                    </a:lnTo>
                    <a:lnTo>
                      <a:pt x="3496" y="1031"/>
                    </a:lnTo>
                    <a:lnTo>
                      <a:pt x="3495" y="1030"/>
                    </a:lnTo>
                    <a:lnTo>
                      <a:pt x="3490" y="1027"/>
                    </a:lnTo>
                    <a:lnTo>
                      <a:pt x="3486" y="1026"/>
                    </a:lnTo>
                    <a:lnTo>
                      <a:pt x="3481" y="1024"/>
                    </a:lnTo>
                    <a:lnTo>
                      <a:pt x="3476" y="1021"/>
                    </a:lnTo>
                    <a:lnTo>
                      <a:pt x="3471" y="1017"/>
                    </a:lnTo>
                    <a:lnTo>
                      <a:pt x="3469" y="1012"/>
                    </a:lnTo>
                    <a:lnTo>
                      <a:pt x="3469" y="1011"/>
                    </a:lnTo>
                    <a:lnTo>
                      <a:pt x="3469" y="1010"/>
                    </a:lnTo>
                    <a:lnTo>
                      <a:pt x="3470" y="996"/>
                    </a:lnTo>
                    <a:lnTo>
                      <a:pt x="3473" y="976"/>
                    </a:lnTo>
                    <a:lnTo>
                      <a:pt x="3474" y="963"/>
                    </a:lnTo>
                    <a:lnTo>
                      <a:pt x="3473" y="951"/>
                    </a:lnTo>
                    <a:lnTo>
                      <a:pt x="3471" y="945"/>
                    </a:lnTo>
                    <a:lnTo>
                      <a:pt x="3469" y="941"/>
                    </a:lnTo>
                    <a:lnTo>
                      <a:pt x="3467" y="937"/>
                    </a:lnTo>
                    <a:lnTo>
                      <a:pt x="3463" y="933"/>
                    </a:lnTo>
                    <a:lnTo>
                      <a:pt x="3453" y="929"/>
                    </a:lnTo>
                    <a:lnTo>
                      <a:pt x="3439" y="925"/>
                    </a:lnTo>
                    <a:lnTo>
                      <a:pt x="3423" y="923"/>
                    </a:lnTo>
                    <a:lnTo>
                      <a:pt x="3405" y="923"/>
                    </a:lnTo>
                    <a:lnTo>
                      <a:pt x="3396" y="922"/>
                    </a:lnTo>
                    <a:lnTo>
                      <a:pt x="3389" y="923"/>
                    </a:lnTo>
                    <a:lnTo>
                      <a:pt x="3381" y="923"/>
                    </a:lnTo>
                    <a:lnTo>
                      <a:pt x="3375" y="922"/>
                    </a:lnTo>
                    <a:lnTo>
                      <a:pt x="3371" y="920"/>
                    </a:lnTo>
                    <a:lnTo>
                      <a:pt x="3368" y="919"/>
                    </a:lnTo>
                    <a:lnTo>
                      <a:pt x="3364" y="914"/>
                    </a:lnTo>
                    <a:lnTo>
                      <a:pt x="3357" y="912"/>
                    </a:lnTo>
                    <a:lnTo>
                      <a:pt x="3354" y="912"/>
                    </a:lnTo>
                    <a:lnTo>
                      <a:pt x="3349" y="912"/>
                    </a:lnTo>
                    <a:lnTo>
                      <a:pt x="3345" y="913"/>
                    </a:lnTo>
                    <a:lnTo>
                      <a:pt x="3342" y="914"/>
                    </a:lnTo>
                    <a:lnTo>
                      <a:pt x="3335" y="920"/>
                    </a:lnTo>
                    <a:lnTo>
                      <a:pt x="3326" y="928"/>
                    </a:lnTo>
                    <a:lnTo>
                      <a:pt x="3325" y="928"/>
                    </a:lnTo>
                    <a:lnTo>
                      <a:pt x="3324" y="929"/>
                    </a:lnTo>
                    <a:lnTo>
                      <a:pt x="3314" y="933"/>
                    </a:lnTo>
                    <a:lnTo>
                      <a:pt x="3305" y="936"/>
                    </a:lnTo>
                    <a:lnTo>
                      <a:pt x="3295" y="937"/>
                    </a:lnTo>
                    <a:lnTo>
                      <a:pt x="3287" y="937"/>
                    </a:lnTo>
                    <a:lnTo>
                      <a:pt x="3279" y="937"/>
                    </a:lnTo>
                    <a:lnTo>
                      <a:pt x="3273" y="939"/>
                    </a:lnTo>
                    <a:lnTo>
                      <a:pt x="3268" y="942"/>
                    </a:lnTo>
                    <a:lnTo>
                      <a:pt x="3264" y="947"/>
                    </a:lnTo>
                    <a:lnTo>
                      <a:pt x="3261" y="950"/>
                    </a:lnTo>
                    <a:lnTo>
                      <a:pt x="3257" y="952"/>
                    </a:lnTo>
                    <a:lnTo>
                      <a:pt x="3253" y="954"/>
                    </a:lnTo>
                    <a:lnTo>
                      <a:pt x="3249" y="954"/>
                    </a:lnTo>
                    <a:lnTo>
                      <a:pt x="3238" y="945"/>
                    </a:lnTo>
                    <a:lnTo>
                      <a:pt x="3217" y="933"/>
                    </a:lnTo>
                    <a:lnTo>
                      <a:pt x="3203" y="929"/>
                    </a:lnTo>
                    <a:lnTo>
                      <a:pt x="3188" y="924"/>
                    </a:lnTo>
                    <a:lnTo>
                      <a:pt x="3175" y="920"/>
                    </a:lnTo>
                    <a:lnTo>
                      <a:pt x="3161" y="917"/>
                    </a:lnTo>
                    <a:lnTo>
                      <a:pt x="3154" y="913"/>
                    </a:lnTo>
                    <a:lnTo>
                      <a:pt x="3148" y="909"/>
                    </a:lnTo>
                    <a:lnTo>
                      <a:pt x="3143" y="903"/>
                    </a:lnTo>
                    <a:lnTo>
                      <a:pt x="3138" y="897"/>
                    </a:lnTo>
                    <a:lnTo>
                      <a:pt x="3136" y="891"/>
                    </a:lnTo>
                    <a:lnTo>
                      <a:pt x="3134" y="885"/>
                    </a:lnTo>
                    <a:lnTo>
                      <a:pt x="3135" y="880"/>
                    </a:lnTo>
                    <a:lnTo>
                      <a:pt x="3136" y="876"/>
                    </a:lnTo>
                    <a:lnTo>
                      <a:pt x="3140" y="870"/>
                    </a:lnTo>
                    <a:lnTo>
                      <a:pt x="3141" y="866"/>
                    </a:lnTo>
                    <a:lnTo>
                      <a:pt x="3140" y="860"/>
                    </a:lnTo>
                    <a:lnTo>
                      <a:pt x="3138" y="854"/>
                    </a:lnTo>
                    <a:lnTo>
                      <a:pt x="3136" y="851"/>
                    </a:lnTo>
                    <a:lnTo>
                      <a:pt x="3134" y="849"/>
                    </a:lnTo>
                    <a:lnTo>
                      <a:pt x="3131" y="848"/>
                    </a:lnTo>
                    <a:lnTo>
                      <a:pt x="3128" y="848"/>
                    </a:lnTo>
                    <a:lnTo>
                      <a:pt x="3123" y="848"/>
                    </a:lnTo>
                    <a:lnTo>
                      <a:pt x="3118" y="849"/>
                    </a:lnTo>
                    <a:lnTo>
                      <a:pt x="3112" y="853"/>
                    </a:lnTo>
                    <a:lnTo>
                      <a:pt x="3105" y="856"/>
                    </a:lnTo>
                    <a:lnTo>
                      <a:pt x="3098" y="860"/>
                    </a:lnTo>
                    <a:lnTo>
                      <a:pt x="3092" y="863"/>
                    </a:lnTo>
                    <a:lnTo>
                      <a:pt x="3086" y="865"/>
                    </a:lnTo>
                    <a:lnTo>
                      <a:pt x="3080" y="865"/>
                    </a:lnTo>
                    <a:lnTo>
                      <a:pt x="3070" y="865"/>
                    </a:lnTo>
                    <a:lnTo>
                      <a:pt x="3059" y="863"/>
                    </a:lnTo>
                    <a:lnTo>
                      <a:pt x="3053" y="863"/>
                    </a:lnTo>
                    <a:lnTo>
                      <a:pt x="3048" y="865"/>
                    </a:lnTo>
                    <a:lnTo>
                      <a:pt x="3045" y="866"/>
                    </a:lnTo>
                    <a:lnTo>
                      <a:pt x="3041" y="868"/>
                    </a:lnTo>
                    <a:lnTo>
                      <a:pt x="3039" y="870"/>
                    </a:lnTo>
                    <a:lnTo>
                      <a:pt x="3036" y="874"/>
                    </a:lnTo>
                    <a:lnTo>
                      <a:pt x="3035" y="878"/>
                    </a:lnTo>
                    <a:lnTo>
                      <a:pt x="3034" y="882"/>
                    </a:lnTo>
                    <a:lnTo>
                      <a:pt x="3033" y="887"/>
                    </a:lnTo>
                    <a:lnTo>
                      <a:pt x="3030" y="891"/>
                    </a:lnTo>
                    <a:lnTo>
                      <a:pt x="3028" y="893"/>
                    </a:lnTo>
                    <a:lnTo>
                      <a:pt x="3026" y="894"/>
                    </a:lnTo>
                    <a:lnTo>
                      <a:pt x="3022" y="895"/>
                    </a:lnTo>
                    <a:lnTo>
                      <a:pt x="3018" y="895"/>
                    </a:lnTo>
                    <a:lnTo>
                      <a:pt x="3014" y="894"/>
                    </a:lnTo>
                    <a:lnTo>
                      <a:pt x="3008" y="893"/>
                    </a:lnTo>
                    <a:lnTo>
                      <a:pt x="3003" y="892"/>
                    </a:lnTo>
                    <a:lnTo>
                      <a:pt x="2997" y="892"/>
                    </a:lnTo>
                    <a:lnTo>
                      <a:pt x="2992" y="894"/>
                    </a:lnTo>
                    <a:lnTo>
                      <a:pt x="2989" y="895"/>
                    </a:lnTo>
                    <a:lnTo>
                      <a:pt x="2980" y="903"/>
                    </a:lnTo>
                    <a:lnTo>
                      <a:pt x="2972" y="910"/>
                    </a:lnTo>
                    <a:lnTo>
                      <a:pt x="2968" y="913"/>
                    </a:lnTo>
                    <a:lnTo>
                      <a:pt x="2963" y="914"/>
                    </a:lnTo>
                    <a:lnTo>
                      <a:pt x="2957" y="914"/>
                    </a:lnTo>
                    <a:lnTo>
                      <a:pt x="2951" y="912"/>
                    </a:lnTo>
                    <a:lnTo>
                      <a:pt x="2946" y="910"/>
                    </a:lnTo>
                    <a:lnTo>
                      <a:pt x="2941" y="906"/>
                    </a:lnTo>
                    <a:lnTo>
                      <a:pt x="2936" y="903"/>
                    </a:lnTo>
                    <a:lnTo>
                      <a:pt x="2935" y="898"/>
                    </a:lnTo>
                    <a:lnTo>
                      <a:pt x="2932" y="886"/>
                    </a:lnTo>
                    <a:lnTo>
                      <a:pt x="2929" y="874"/>
                    </a:lnTo>
                    <a:lnTo>
                      <a:pt x="2927" y="862"/>
                    </a:lnTo>
                    <a:lnTo>
                      <a:pt x="2923" y="851"/>
                    </a:lnTo>
                    <a:lnTo>
                      <a:pt x="2921" y="838"/>
                    </a:lnTo>
                    <a:lnTo>
                      <a:pt x="2921" y="825"/>
                    </a:lnTo>
                    <a:lnTo>
                      <a:pt x="2921" y="819"/>
                    </a:lnTo>
                    <a:lnTo>
                      <a:pt x="2919" y="816"/>
                    </a:lnTo>
                    <a:lnTo>
                      <a:pt x="2915" y="813"/>
                    </a:lnTo>
                    <a:lnTo>
                      <a:pt x="2908" y="813"/>
                    </a:lnTo>
                    <a:lnTo>
                      <a:pt x="2902" y="813"/>
                    </a:lnTo>
                    <a:lnTo>
                      <a:pt x="2897" y="816"/>
                    </a:lnTo>
                    <a:lnTo>
                      <a:pt x="2892" y="818"/>
                    </a:lnTo>
                    <a:lnTo>
                      <a:pt x="2888" y="823"/>
                    </a:lnTo>
                    <a:lnTo>
                      <a:pt x="2883" y="829"/>
                    </a:lnTo>
                    <a:lnTo>
                      <a:pt x="2879" y="835"/>
                    </a:lnTo>
                    <a:lnTo>
                      <a:pt x="2878" y="842"/>
                    </a:lnTo>
                    <a:lnTo>
                      <a:pt x="2877" y="849"/>
                    </a:lnTo>
                    <a:lnTo>
                      <a:pt x="2878" y="856"/>
                    </a:lnTo>
                    <a:lnTo>
                      <a:pt x="2879" y="863"/>
                    </a:lnTo>
                    <a:lnTo>
                      <a:pt x="2883" y="869"/>
                    </a:lnTo>
                    <a:lnTo>
                      <a:pt x="2885" y="875"/>
                    </a:lnTo>
                    <a:lnTo>
                      <a:pt x="2888" y="881"/>
                    </a:lnTo>
                    <a:lnTo>
                      <a:pt x="2890" y="886"/>
                    </a:lnTo>
                    <a:lnTo>
                      <a:pt x="2891" y="892"/>
                    </a:lnTo>
                    <a:lnTo>
                      <a:pt x="2890" y="897"/>
                    </a:lnTo>
                    <a:lnTo>
                      <a:pt x="2888" y="900"/>
                    </a:lnTo>
                    <a:lnTo>
                      <a:pt x="2884" y="903"/>
                    </a:lnTo>
                    <a:lnTo>
                      <a:pt x="2881" y="905"/>
                    </a:lnTo>
                    <a:lnTo>
                      <a:pt x="2876" y="907"/>
                    </a:lnTo>
                    <a:lnTo>
                      <a:pt x="2866" y="912"/>
                    </a:lnTo>
                    <a:lnTo>
                      <a:pt x="2858" y="916"/>
                    </a:lnTo>
                    <a:lnTo>
                      <a:pt x="2846" y="922"/>
                    </a:lnTo>
                    <a:lnTo>
                      <a:pt x="2835" y="929"/>
                    </a:lnTo>
                    <a:lnTo>
                      <a:pt x="2829" y="931"/>
                    </a:lnTo>
                    <a:lnTo>
                      <a:pt x="2826" y="932"/>
                    </a:lnTo>
                    <a:lnTo>
                      <a:pt x="2821" y="932"/>
                    </a:lnTo>
                    <a:lnTo>
                      <a:pt x="2818" y="930"/>
                    </a:lnTo>
                    <a:lnTo>
                      <a:pt x="2815" y="928"/>
                    </a:lnTo>
                    <a:lnTo>
                      <a:pt x="2813" y="925"/>
                    </a:lnTo>
                    <a:lnTo>
                      <a:pt x="2810" y="925"/>
                    </a:lnTo>
                    <a:lnTo>
                      <a:pt x="2808" y="925"/>
                    </a:lnTo>
                    <a:lnTo>
                      <a:pt x="2804" y="929"/>
                    </a:lnTo>
                    <a:lnTo>
                      <a:pt x="2798" y="936"/>
                    </a:lnTo>
                    <a:lnTo>
                      <a:pt x="2795" y="942"/>
                    </a:lnTo>
                    <a:lnTo>
                      <a:pt x="2790" y="947"/>
                    </a:lnTo>
                    <a:lnTo>
                      <a:pt x="2785" y="949"/>
                    </a:lnTo>
                    <a:lnTo>
                      <a:pt x="2777" y="952"/>
                    </a:lnTo>
                    <a:lnTo>
                      <a:pt x="2774" y="952"/>
                    </a:lnTo>
                    <a:lnTo>
                      <a:pt x="2770" y="952"/>
                    </a:lnTo>
                    <a:lnTo>
                      <a:pt x="2766" y="950"/>
                    </a:lnTo>
                    <a:lnTo>
                      <a:pt x="2764" y="948"/>
                    </a:lnTo>
                    <a:lnTo>
                      <a:pt x="2759" y="942"/>
                    </a:lnTo>
                    <a:lnTo>
                      <a:pt x="2755" y="933"/>
                    </a:lnTo>
                    <a:lnTo>
                      <a:pt x="2751" y="930"/>
                    </a:lnTo>
                    <a:lnTo>
                      <a:pt x="2747" y="928"/>
                    </a:lnTo>
                    <a:lnTo>
                      <a:pt x="2741" y="928"/>
                    </a:lnTo>
                    <a:lnTo>
                      <a:pt x="2735" y="928"/>
                    </a:lnTo>
                    <a:lnTo>
                      <a:pt x="2724" y="930"/>
                    </a:lnTo>
                    <a:lnTo>
                      <a:pt x="2713" y="935"/>
                    </a:lnTo>
                    <a:lnTo>
                      <a:pt x="2709" y="937"/>
                    </a:lnTo>
                    <a:lnTo>
                      <a:pt x="2706" y="938"/>
                    </a:lnTo>
                    <a:lnTo>
                      <a:pt x="2702" y="939"/>
                    </a:lnTo>
                    <a:lnTo>
                      <a:pt x="2700" y="938"/>
                    </a:lnTo>
                    <a:lnTo>
                      <a:pt x="2696" y="938"/>
                    </a:lnTo>
                    <a:lnTo>
                      <a:pt x="2694" y="936"/>
                    </a:lnTo>
                    <a:lnTo>
                      <a:pt x="2692" y="932"/>
                    </a:lnTo>
                    <a:lnTo>
                      <a:pt x="2688" y="929"/>
                    </a:lnTo>
                    <a:lnTo>
                      <a:pt x="2684" y="925"/>
                    </a:lnTo>
                    <a:lnTo>
                      <a:pt x="2682" y="923"/>
                    </a:lnTo>
                    <a:lnTo>
                      <a:pt x="2677" y="920"/>
                    </a:lnTo>
                    <a:lnTo>
                      <a:pt x="2674" y="920"/>
                    </a:lnTo>
                    <a:lnTo>
                      <a:pt x="2667" y="920"/>
                    </a:lnTo>
                    <a:lnTo>
                      <a:pt x="2658" y="922"/>
                    </a:lnTo>
                    <a:lnTo>
                      <a:pt x="2650" y="922"/>
                    </a:lnTo>
                    <a:lnTo>
                      <a:pt x="2640" y="922"/>
                    </a:lnTo>
                    <a:lnTo>
                      <a:pt x="2630" y="920"/>
                    </a:lnTo>
                    <a:lnTo>
                      <a:pt x="2620" y="917"/>
                    </a:lnTo>
                    <a:lnTo>
                      <a:pt x="2611" y="912"/>
                    </a:lnTo>
                    <a:lnTo>
                      <a:pt x="2602" y="906"/>
                    </a:lnTo>
                    <a:lnTo>
                      <a:pt x="2599" y="903"/>
                    </a:lnTo>
                    <a:lnTo>
                      <a:pt x="2595" y="898"/>
                    </a:lnTo>
                    <a:lnTo>
                      <a:pt x="2592" y="893"/>
                    </a:lnTo>
                    <a:lnTo>
                      <a:pt x="2589" y="887"/>
                    </a:lnTo>
                    <a:lnTo>
                      <a:pt x="2587" y="882"/>
                    </a:lnTo>
                    <a:lnTo>
                      <a:pt x="2583" y="879"/>
                    </a:lnTo>
                    <a:lnTo>
                      <a:pt x="2580" y="876"/>
                    </a:lnTo>
                    <a:lnTo>
                      <a:pt x="2576" y="874"/>
                    </a:lnTo>
                    <a:lnTo>
                      <a:pt x="2568" y="873"/>
                    </a:lnTo>
                    <a:lnTo>
                      <a:pt x="2558" y="872"/>
                    </a:lnTo>
                    <a:lnTo>
                      <a:pt x="2550" y="869"/>
                    </a:lnTo>
                    <a:lnTo>
                      <a:pt x="2542" y="866"/>
                    </a:lnTo>
                    <a:lnTo>
                      <a:pt x="2532" y="859"/>
                    </a:lnTo>
                    <a:lnTo>
                      <a:pt x="2522" y="849"/>
                    </a:lnTo>
                    <a:lnTo>
                      <a:pt x="2508" y="837"/>
                    </a:lnTo>
                    <a:lnTo>
                      <a:pt x="2498" y="828"/>
                    </a:lnTo>
                    <a:lnTo>
                      <a:pt x="2493" y="823"/>
                    </a:lnTo>
                    <a:lnTo>
                      <a:pt x="2491" y="817"/>
                    </a:lnTo>
                    <a:lnTo>
                      <a:pt x="2488" y="812"/>
                    </a:lnTo>
                    <a:lnTo>
                      <a:pt x="2487" y="806"/>
                    </a:lnTo>
                    <a:lnTo>
                      <a:pt x="2487" y="800"/>
                    </a:lnTo>
                    <a:lnTo>
                      <a:pt x="2487" y="796"/>
                    </a:lnTo>
                    <a:lnTo>
                      <a:pt x="2488" y="792"/>
                    </a:lnTo>
                    <a:lnTo>
                      <a:pt x="2489" y="790"/>
                    </a:lnTo>
                    <a:lnTo>
                      <a:pt x="2494" y="785"/>
                    </a:lnTo>
                    <a:lnTo>
                      <a:pt x="2501" y="781"/>
                    </a:lnTo>
                    <a:lnTo>
                      <a:pt x="2508" y="779"/>
                    </a:lnTo>
                    <a:lnTo>
                      <a:pt x="2516" y="775"/>
                    </a:lnTo>
                    <a:lnTo>
                      <a:pt x="2524" y="771"/>
                    </a:lnTo>
                    <a:lnTo>
                      <a:pt x="2531" y="764"/>
                    </a:lnTo>
                    <a:lnTo>
                      <a:pt x="2533" y="759"/>
                    </a:lnTo>
                    <a:lnTo>
                      <a:pt x="2536" y="756"/>
                    </a:lnTo>
                    <a:lnTo>
                      <a:pt x="2537" y="753"/>
                    </a:lnTo>
                    <a:lnTo>
                      <a:pt x="2537" y="750"/>
                    </a:lnTo>
                    <a:lnTo>
                      <a:pt x="2536" y="748"/>
                    </a:lnTo>
                    <a:lnTo>
                      <a:pt x="2535" y="746"/>
                    </a:lnTo>
                    <a:lnTo>
                      <a:pt x="2532" y="744"/>
                    </a:lnTo>
                    <a:lnTo>
                      <a:pt x="2529" y="743"/>
                    </a:lnTo>
                    <a:lnTo>
                      <a:pt x="2523" y="742"/>
                    </a:lnTo>
                    <a:lnTo>
                      <a:pt x="2519" y="739"/>
                    </a:lnTo>
                    <a:lnTo>
                      <a:pt x="2518" y="736"/>
                    </a:lnTo>
                    <a:lnTo>
                      <a:pt x="2517" y="734"/>
                    </a:lnTo>
                    <a:lnTo>
                      <a:pt x="2518" y="731"/>
                    </a:lnTo>
                    <a:lnTo>
                      <a:pt x="2519" y="727"/>
                    </a:lnTo>
                    <a:lnTo>
                      <a:pt x="2522" y="721"/>
                    </a:lnTo>
                    <a:lnTo>
                      <a:pt x="2523" y="716"/>
                    </a:lnTo>
                    <a:lnTo>
                      <a:pt x="2524" y="710"/>
                    </a:lnTo>
                    <a:lnTo>
                      <a:pt x="2523" y="701"/>
                    </a:lnTo>
                    <a:lnTo>
                      <a:pt x="2520" y="686"/>
                    </a:lnTo>
                    <a:lnTo>
                      <a:pt x="2516" y="671"/>
                    </a:lnTo>
                    <a:lnTo>
                      <a:pt x="2511" y="655"/>
                    </a:lnTo>
                    <a:lnTo>
                      <a:pt x="2507" y="641"/>
                    </a:lnTo>
                    <a:lnTo>
                      <a:pt x="2507" y="635"/>
                    </a:lnTo>
                    <a:lnTo>
                      <a:pt x="2507" y="632"/>
                    </a:lnTo>
                    <a:lnTo>
                      <a:pt x="2507" y="628"/>
                    </a:lnTo>
                    <a:lnTo>
                      <a:pt x="2508" y="627"/>
                    </a:lnTo>
                    <a:lnTo>
                      <a:pt x="2514" y="624"/>
                    </a:lnTo>
                    <a:lnTo>
                      <a:pt x="2522" y="626"/>
                    </a:lnTo>
                    <a:lnTo>
                      <a:pt x="2530" y="626"/>
                    </a:lnTo>
                    <a:lnTo>
                      <a:pt x="2537" y="626"/>
                    </a:lnTo>
                    <a:lnTo>
                      <a:pt x="2539" y="626"/>
                    </a:lnTo>
                    <a:lnTo>
                      <a:pt x="2542" y="624"/>
                    </a:lnTo>
                    <a:lnTo>
                      <a:pt x="2544" y="622"/>
                    </a:lnTo>
                    <a:lnTo>
                      <a:pt x="2544" y="620"/>
                    </a:lnTo>
                    <a:lnTo>
                      <a:pt x="2543" y="617"/>
                    </a:lnTo>
                    <a:lnTo>
                      <a:pt x="2543" y="615"/>
                    </a:lnTo>
                    <a:lnTo>
                      <a:pt x="2542" y="613"/>
                    </a:lnTo>
                    <a:lnTo>
                      <a:pt x="2539" y="611"/>
                    </a:lnTo>
                    <a:lnTo>
                      <a:pt x="2533" y="609"/>
                    </a:lnTo>
                    <a:lnTo>
                      <a:pt x="2525" y="608"/>
                    </a:lnTo>
                    <a:lnTo>
                      <a:pt x="2516" y="605"/>
                    </a:lnTo>
                    <a:lnTo>
                      <a:pt x="2508" y="603"/>
                    </a:lnTo>
                    <a:lnTo>
                      <a:pt x="2502" y="599"/>
                    </a:lnTo>
                    <a:lnTo>
                      <a:pt x="2497" y="592"/>
                    </a:lnTo>
                    <a:lnTo>
                      <a:pt x="2488" y="585"/>
                    </a:lnTo>
                    <a:lnTo>
                      <a:pt x="2480" y="576"/>
                    </a:lnTo>
                    <a:lnTo>
                      <a:pt x="2475" y="571"/>
                    </a:lnTo>
                    <a:lnTo>
                      <a:pt x="2472" y="564"/>
                    </a:lnTo>
                    <a:lnTo>
                      <a:pt x="2467" y="557"/>
                    </a:lnTo>
                    <a:lnTo>
                      <a:pt x="2463" y="547"/>
                    </a:lnTo>
                    <a:lnTo>
                      <a:pt x="2460" y="538"/>
                    </a:lnTo>
                    <a:lnTo>
                      <a:pt x="2459" y="531"/>
                    </a:lnTo>
                    <a:lnTo>
                      <a:pt x="2457" y="523"/>
                    </a:lnTo>
                    <a:lnTo>
                      <a:pt x="2457" y="517"/>
                    </a:lnTo>
                    <a:lnTo>
                      <a:pt x="2459" y="506"/>
                    </a:lnTo>
                    <a:lnTo>
                      <a:pt x="2460" y="495"/>
                    </a:lnTo>
                    <a:lnTo>
                      <a:pt x="2459" y="488"/>
                    </a:lnTo>
                    <a:lnTo>
                      <a:pt x="2456" y="482"/>
                    </a:lnTo>
                    <a:lnTo>
                      <a:pt x="2453" y="475"/>
                    </a:lnTo>
                    <a:lnTo>
                      <a:pt x="2448" y="469"/>
                    </a:lnTo>
                    <a:lnTo>
                      <a:pt x="2442" y="463"/>
                    </a:lnTo>
                    <a:lnTo>
                      <a:pt x="2435" y="457"/>
                    </a:lnTo>
                    <a:lnTo>
                      <a:pt x="2426" y="453"/>
                    </a:lnTo>
                    <a:lnTo>
                      <a:pt x="2418" y="450"/>
                    </a:lnTo>
                    <a:lnTo>
                      <a:pt x="2409" y="447"/>
                    </a:lnTo>
                    <a:lnTo>
                      <a:pt x="2400" y="446"/>
                    </a:lnTo>
                    <a:lnTo>
                      <a:pt x="2391" y="446"/>
                    </a:lnTo>
                    <a:lnTo>
                      <a:pt x="2381" y="446"/>
                    </a:lnTo>
                    <a:lnTo>
                      <a:pt x="2362" y="449"/>
                    </a:lnTo>
                    <a:lnTo>
                      <a:pt x="2347" y="450"/>
                    </a:lnTo>
                    <a:lnTo>
                      <a:pt x="2331" y="450"/>
                    </a:lnTo>
                    <a:lnTo>
                      <a:pt x="2315" y="450"/>
                    </a:lnTo>
                    <a:lnTo>
                      <a:pt x="2308" y="449"/>
                    </a:lnTo>
                    <a:lnTo>
                      <a:pt x="2300" y="446"/>
                    </a:lnTo>
                    <a:lnTo>
                      <a:pt x="2294" y="444"/>
                    </a:lnTo>
                    <a:lnTo>
                      <a:pt x="2291" y="440"/>
                    </a:lnTo>
                    <a:lnTo>
                      <a:pt x="2287" y="437"/>
                    </a:lnTo>
                    <a:lnTo>
                      <a:pt x="2283" y="434"/>
                    </a:lnTo>
                    <a:lnTo>
                      <a:pt x="2279" y="433"/>
                    </a:lnTo>
                    <a:lnTo>
                      <a:pt x="2275" y="432"/>
                    </a:lnTo>
                    <a:lnTo>
                      <a:pt x="2271" y="431"/>
                    </a:lnTo>
                    <a:lnTo>
                      <a:pt x="2267" y="432"/>
                    </a:lnTo>
                    <a:lnTo>
                      <a:pt x="2264" y="432"/>
                    </a:lnTo>
                    <a:lnTo>
                      <a:pt x="2260" y="434"/>
                    </a:lnTo>
                    <a:lnTo>
                      <a:pt x="2254" y="437"/>
                    </a:lnTo>
                    <a:lnTo>
                      <a:pt x="2246" y="439"/>
                    </a:lnTo>
                    <a:lnTo>
                      <a:pt x="2241" y="438"/>
                    </a:lnTo>
                    <a:lnTo>
                      <a:pt x="2237" y="438"/>
                    </a:lnTo>
                    <a:lnTo>
                      <a:pt x="2234" y="435"/>
                    </a:lnTo>
                    <a:lnTo>
                      <a:pt x="2231" y="433"/>
                    </a:lnTo>
                    <a:lnTo>
                      <a:pt x="2229" y="428"/>
                    </a:lnTo>
                    <a:lnTo>
                      <a:pt x="2228" y="425"/>
                    </a:lnTo>
                    <a:lnTo>
                      <a:pt x="2228" y="420"/>
                    </a:lnTo>
                    <a:lnTo>
                      <a:pt x="2229" y="415"/>
                    </a:lnTo>
                    <a:lnTo>
                      <a:pt x="2231" y="405"/>
                    </a:lnTo>
                    <a:lnTo>
                      <a:pt x="2235" y="394"/>
                    </a:lnTo>
                    <a:lnTo>
                      <a:pt x="2237" y="389"/>
                    </a:lnTo>
                    <a:lnTo>
                      <a:pt x="2237" y="386"/>
                    </a:lnTo>
                    <a:lnTo>
                      <a:pt x="2237" y="383"/>
                    </a:lnTo>
                    <a:lnTo>
                      <a:pt x="2236" y="382"/>
                    </a:lnTo>
                    <a:lnTo>
                      <a:pt x="2234" y="381"/>
                    </a:lnTo>
                    <a:lnTo>
                      <a:pt x="2231" y="382"/>
                    </a:lnTo>
                    <a:lnTo>
                      <a:pt x="2228" y="383"/>
                    </a:lnTo>
                    <a:lnTo>
                      <a:pt x="2224" y="386"/>
                    </a:lnTo>
                    <a:lnTo>
                      <a:pt x="2217" y="393"/>
                    </a:lnTo>
                    <a:lnTo>
                      <a:pt x="2210" y="397"/>
                    </a:lnTo>
                    <a:lnTo>
                      <a:pt x="2206" y="399"/>
                    </a:lnTo>
                    <a:lnTo>
                      <a:pt x="2203" y="400"/>
                    </a:lnTo>
                    <a:lnTo>
                      <a:pt x="2197" y="401"/>
                    </a:lnTo>
                    <a:lnTo>
                      <a:pt x="2191" y="402"/>
                    </a:lnTo>
                    <a:lnTo>
                      <a:pt x="2183" y="402"/>
                    </a:lnTo>
                    <a:lnTo>
                      <a:pt x="2173" y="401"/>
                    </a:lnTo>
                    <a:lnTo>
                      <a:pt x="2164" y="399"/>
                    </a:lnTo>
                    <a:lnTo>
                      <a:pt x="2153" y="395"/>
                    </a:lnTo>
                    <a:lnTo>
                      <a:pt x="2142" y="391"/>
                    </a:lnTo>
                    <a:lnTo>
                      <a:pt x="2133" y="388"/>
                    </a:lnTo>
                    <a:lnTo>
                      <a:pt x="2124" y="384"/>
                    </a:lnTo>
                    <a:lnTo>
                      <a:pt x="2120" y="381"/>
                    </a:lnTo>
                    <a:lnTo>
                      <a:pt x="2116" y="376"/>
                    </a:lnTo>
                    <a:lnTo>
                      <a:pt x="2114" y="372"/>
                    </a:lnTo>
                    <a:lnTo>
                      <a:pt x="2113" y="368"/>
                    </a:lnTo>
                    <a:lnTo>
                      <a:pt x="2113" y="363"/>
                    </a:lnTo>
                    <a:lnTo>
                      <a:pt x="2114" y="352"/>
                    </a:lnTo>
                    <a:lnTo>
                      <a:pt x="2116" y="343"/>
                    </a:lnTo>
                    <a:lnTo>
                      <a:pt x="2117" y="339"/>
                    </a:lnTo>
                    <a:lnTo>
                      <a:pt x="2117" y="336"/>
                    </a:lnTo>
                    <a:lnTo>
                      <a:pt x="2117" y="332"/>
                    </a:lnTo>
                    <a:lnTo>
                      <a:pt x="2116" y="328"/>
                    </a:lnTo>
                    <a:lnTo>
                      <a:pt x="2110" y="320"/>
                    </a:lnTo>
                    <a:lnTo>
                      <a:pt x="2104" y="311"/>
                    </a:lnTo>
                    <a:lnTo>
                      <a:pt x="2101" y="306"/>
                    </a:lnTo>
                    <a:lnTo>
                      <a:pt x="2100" y="301"/>
                    </a:lnTo>
                    <a:lnTo>
                      <a:pt x="2098" y="296"/>
                    </a:lnTo>
                    <a:lnTo>
                      <a:pt x="2100" y="292"/>
                    </a:lnTo>
                    <a:lnTo>
                      <a:pt x="2101" y="287"/>
                    </a:lnTo>
                    <a:lnTo>
                      <a:pt x="2102" y="283"/>
                    </a:lnTo>
                    <a:lnTo>
                      <a:pt x="2105" y="279"/>
                    </a:lnTo>
                    <a:lnTo>
                      <a:pt x="2109" y="275"/>
                    </a:lnTo>
                    <a:lnTo>
                      <a:pt x="2111" y="271"/>
                    </a:lnTo>
                    <a:lnTo>
                      <a:pt x="2114" y="268"/>
                    </a:lnTo>
                    <a:lnTo>
                      <a:pt x="2115" y="264"/>
                    </a:lnTo>
                    <a:lnTo>
                      <a:pt x="2116" y="261"/>
                    </a:lnTo>
                    <a:lnTo>
                      <a:pt x="2115" y="251"/>
                    </a:lnTo>
                    <a:lnTo>
                      <a:pt x="2114" y="238"/>
                    </a:lnTo>
                    <a:lnTo>
                      <a:pt x="2113" y="230"/>
                    </a:lnTo>
                    <a:lnTo>
                      <a:pt x="2110" y="224"/>
                    </a:lnTo>
                    <a:lnTo>
                      <a:pt x="2105" y="220"/>
                    </a:lnTo>
                    <a:lnTo>
                      <a:pt x="2102" y="217"/>
                    </a:lnTo>
                    <a:lnTo>
                      <a:pt x="2090" y="211"/>
                    </a:lnTo>
                    <a:lnTo>
                      <a:pt x="2078" y="204"/>
                    </a:lnTo>
                    <a:lnTo>
                      <a:pt x="2072" y="200"/>
                    </a:lnTo>
                    <a:lnTo>
                      <a:pt x="2067" y="195"/>
                    </a:lnTo>
                    <a:lnTo>
                      <a:pt x="2064" y="192"/>
                    </a:lnTo>
                    <a:lnTo>
                      <a:pt x="2061" y="188"/>
                    </a:lnTo>
                    <a:lnTo>
                      <a:pt x="2058" y="179"/>
                    </a:lnTo>
                    <a:lnTo>
                      <a:pt x="2054" y="167"/>
                    </a:lnTo>
                    <a:lnTo>
                      <a:pt x="2052" y="161"/>
                    </a:lnTo>
                    <a:lnTo>
                      <a:pt x="2048" y="155"/>
                    </a:lnTo>
                    <a:lnTo>
                      <a:pt x="2042" y="149"/>
                    </a:lnTo>
                    <a:lnTo>
                      <a:pt x="2038" y="144"/>
                    </a:lnTo>
                    <a:lnTo>
                      <a:pt x="2032" y="141"/>
                    </a:lnTo>
                    <a:lnTo>
                      <a:pt x="2027" y="138"/>
                    </a:lnTo>
                    <a:lnTo>
                      <a:pt x="2023" y="138"/>
                    </a:lnTo>
                    <a:lnTo>
                      <a:pt x="2022" y="138"/>
                    </a:lnTo>
                    <a:lnTo>
                      <a:pt x="2020" y="140"/>
                    </a:lnTo>
                    <a:lnTo>
                      <a:pt x="2017" y="141"/>
                    </a:lnTo>
                    <a:lnTo>
                      <a:pt x="2013" y="147"/>
                    </a:lnTo>
                    <a:lnTo>
                      <a:pt x="2010" y="153"/>
                    </a:lnTo>
                    <a:lnTo>
                      <a:pt x="2008" y="155"/>
                    </a:lnTo>
                    <a:lnTo>
                      <a:pt x="2006" y="156"/>
                    </a:lnTo>
                    <a:lnTo>
                      <a:pt x="2002" y="156"/>
                    </a:lnTo>
                    <a:lnTo>
                      <a:pt x="1998" y="155"/>
                    </a:lnTo>
                    <a:lnTo>
                      <a:pt x="1993" y="155"/>
                    </a:lnTo>
                    <a:lnTo>
                      <a:pt x="1989" y="155"/>
                    </a:lnTo>
                    <a:lnTo>
                      <a:pt x="1985" y="156"/>
                    </a:lnTo>
                    <a:lnTo>
                      <a:pt x="1982" y="159"/>
                    </a:lnTo>
                    <a:lnTo>
                      <a:pt x="1975" y="168"/>
                    </a:lnTo>
                    <a:lnTo>
                      <a:pt x="1966" y="183"/>
                    </a:lnTo>
                    <a:lnTo>
                      <a:pt x="1960" y="191"/>
                    </a:lnTo>
                    <a:lnTo>
                      <a:pt x="1954" y="195"/>
                    </a:lnTo>
                    <a:lnTo>
                      <a:pt x="1949" y="198"/>
                    </a:lnTo>
                    <a:lnTo>
                      <a:pt x="1944" y="200"/>
                    </a:lnTo>
                    <a:lnTo>
                      <a:pt x="1939" y="201"/>
                    </a:lnTo>
                    <a:lnTo>
                      <a:pt x="1935" y="204"/>
                    </a:lnTo>
                    <a:lnTo>
                      <a:pt x="1933" y="206"/>
                    </a:lnTo>
                    <a:lnTo>
                      <a:pt x="1932" y="211"/>
                    </a:lnTo>
                    <a:lnTo>
                      <a:pt x="1931" y="217"/>
                    </a:lnTo>
                    <a:lnTo>
                      <a:pt x="1928" y="222"/>
                    </a:lnTo>
                    <a:lnTo>
                      <a:pt x="1925" y="226"/>
                    </a:lnTo>
                    <a:lnTo>
                      <a:pt x="1921" y="230"/>
                    </a:lnTo>
                    <a:lnTo>
                      <a:pt x="1915" y="232"/>
                    </a:lnTo>
                    <a:lnTo>
                      <a:pt x="1909" y="233"/>
                    </a:lnTo>
                    <a:lnTo>
                      <a:pt x="1902" y="233"/>
                    </a:lnTo>
                    <a:lnTo>
                      <a:pt x="1894" y="232"/>
                    </a:lnTo>
                    <a:lnTo>
                      <a:pt x="1887" y="231"/>
                    </a:lnTo>
                    <a:lnTo>
                      <a:pt x="1880" y="231"/>
                    </a:lnTo>
                    <a:lnTo>
                      <a:pt x="1874" y="232"/>
                    </a:lnTo>
                    <a:lnTo>
                      <a:pt x="1869" y="235"/>
                    </a:lnTo>
                    <a:lnTo>
                      <a:pt x="1864" y="238"/>
                    </a:lnTo>
                    <a:lnTo>
                      <a:pt x="1861" y="243"/>
                    </a:lnTo>
                    <a:lnTo>
                      <a:pt x="1857" y="249"/>
                    </a:lnTo>
                    <a:lnTo>
                      <a:pt x="1855" y="255"/>
                    </a:lnTo>
                    <a:lnTo>
                      <a:pt x="1852" y="261"/>
                    </a:lnTo>
                    <a:lnTo>
                      <a:pt x="1850" y="265"/>
                    </a:lnTo>
                    <a:lnTo>
                      <a:pt x="1846" y="268"/>
                    </a:lnTo>
                    <a:lnTo>
                      <a:pt x="1842" y="270"/>
                    </a:lnTo>
                    <a:lnTo>
                      <a:pt x="1837" y="270"/>
                    </a:lnTo>
                    <a:lnTo>
                      <a:pt x="1830" y="270"/>
                    </a:lnTo>
                    <a:lnTo>
                      <a:pt x="1821" y="268"/>
                    </a:lnTo>
                    <a:lnTo>
                      <a:pt x="1812" y="264"/>
                    </a:lnTo>
                    <a:lnTo>
                      <a:pt x="1798" y="261"/>
                    </a:lnTo>
                    <a:lnTo>
                      <a:pt x="1782" y="258"/>
                    </a:lnTo>
                    <a:lnTo>
                      <a:pt x="1768" y="258"/>
                    </a:lnTo>
                    <a:lnTo>
                      <a:pt x="1755" y="260"/>
                    </a:lnTo>
                    <a:lnTo>
                      <a:pt x="1746" y="261"/>
                    </a:lnTo>
                    <a:lnTo>
                      <a:pt x="1743" y="262"/>
                    </a:lnTo>
                    <a:lnTo>
                      <a:pt x="1741" y="264"/>
                    </a:lnTo>
                    <a:lnTo>
                      <a:pt x="1741" y="267"/>
                    </a:lnTo>
                    <a:lnTo>
                      <a:pt x="1742" y="270"/>
                    </a:lnTo>
                    <a:lnTo>
                      <a:pt x="1745" y="273"/>
                    </a:lnTo>
                    <a:lnTo>
                      <a:pt x="1749" y="274"/>
                    </a:lnTo>
                    <a:lnTo>
                      <a:pt x="1752" y="276"/>
                    </a:lnTo>
                    <a:lnTo>
                      <a:pt x="1761" y="282"/>
                    </a:lnTo>
                    <a:lnTo>
                      <a:pt x="1770" y="293"/>
                    </a:lnTo>
                    <a:lnTo>
                      <a:pt x="1777" y="304"/>
                    </a:lnTo>
                    <a:lnTo>
                      <a:pt x="1783" y="317"/>
                    </a:lnTo>
                    <a:lnTo>
                      <a:pt x="1788" y="327"/>
                    </a:lnTo>
                    <a:lnTo>
                      <a:pt x="1790" y="337"/>
                    </a:lnTo>
                    <a:lnTo>
                      <a:pt x="1790" y="344"/>
                    </a:lnTo>
                    <a:lnTo>
                      <a:pt x="1793" y="350"/>
                    </a:lnTo>
                    <a:lnTo>
                      <a:pt x="1795" y="353"/>
                    </a:lnTo>
                    <a:lnTo>
                      <a:pt x="1798" y="357"/>
                    </a:lnTo>
                    <a:lnTo>
                      <a:pt x="1800" y="359"/>
                    </a:lnTo>
                    <a:lnTo>
                      <a:pt x="1805" y="361"/>
                    </a:lnTo>
                    <a:lnTo>
                      <a:pt x="1806" y="363"/>
                    </a:lnTo>
                    <a:lnTo>
                      <a:pt x="1808" y="364"/>
                    </a:lnTo>
                    <a:lnTo>
                      <a:pt x="1809" y="367"/>
                    </a:lnTo>
                    <a:lnTo>
                      <a:pt x="1811" y="370"/>
                    </a:lnTo>
                    <a:lnTo>
                      <a:pt x="1812" y="378"/>
                    </a:lnTo>
                    <a:lnTo>
                      <a:pt x="1812" y="387"/>
                    </a:lnTo>
                    <a:lnTo>
                      <a:pt x="1812" y="405"/>
                    </a:lnTo>
                    <a:lnTo>
                      <a:pt x="1811" y="418"/>
                    </a:lnTo>
                    <a:lnTo>
                      <a:pt x="1811" y="422"/>
                    </a:lnTo>
                    <a:lnTo>
                      <a:pt x="1813" y="426"/>
                    </a:lnTo>
                    <a:lnTo>
                      <a:pt x="1815" y="430"/>
                    </a:lnTo>
                    <a:lnTo>
                      <a:pt x="1820" y="433"/>
                    </a:lnTo>
                    <a:lnTo>
                      <a:pt x="1830" y="438"/>
                    </a:lnTo>
                    <a:lnTo>
                      <a:pt x="1843" y="444"/>
                    </a:lnTo>
                    <a:lnTo>
                      <a:pt x="1847" y="447"/>
                    </a:lnTo>
                    <a:lnTo>
                      <a:pt x="1851" y="451"/>
                    </a:lnTo>
                    <a:lnTo>
                      <a:pt x="1855" y="454"/>
                    </a:lnTo>
                    <a:lnTo>
                      <a:pt x="1856" y="459"/>
                    </a:lnTo>
                    <a:lnTo>
                      <a:pt x="1856" y="468"/>
                    </a:lnTo>
                    <a:lnTo>
                      <a:pt x="1853" y="476"/>
                    </a:lnTo>
                    <a:lnTo>
                      <a:pt x="1851" y="487"/>
                    </a:lnTo>
                    <a:lnTo>
                      <a:pt x="1846" y="497"/>
                    </a:lnTo>
                    <a:lnTo>
                      <a:pt x="1842" y="508"/>
                    </a:lnTo>
                    <a:lnTo>
                      <a:pt x="1838" y="516"/>
                    </a:lnTo>
                    <a:lnTo>
                      <a:pt x="1836" y="520"/>
                    </a:lnTo>
                    <a:lnTo>
                      <a:pt x="1831" y="521"/>
                    </a:lnTo>
                    <a:lnTo>
                      <a:pt x="1826" y="522"/>
                    </a:lnTo>
                    <a:lnTo>
                      <a:pt x="1820" y="523"/>
                    </a:lnTo>
                    <a:lnTo>
                      <a:pt x="1806" y="523"/>
                    </a:lnTo>
                    <a:lnTo>
                      <a:pt x="1790" y="522"/>
                    </a:lnTo>
                    <a:lnTo>
                      <a:pt x="1784" y="522"/>
                    </a:lnTo>
                    <a:lnTo>
                      <a:pt x="1780" y="523"/>
                    </a:lnTo>
                    <a:lnTo>
                      <a:pt x="1776" y="525"/>
                    </a:lnTo>
                    <a:lnTo>
                      <a:pt x="1774" y="526"/>
                    </a:lnTo>
                    <a:lnTo>
                      <a:pt x="1769" y="529"/>
                    </a:lnTo>
                    <a:lnTo>
                      <a:pt x="1764" y="533"/>
                    </a:lnTo>
                    <a:lnTo>
                      <a:pt x="1762" y="535"/>
                    </a:lnTo>
                    <a:lnTo>
                      <a:pt x="1761" y="539"/>
                    </a:lnTo>
                    <a:lnTo>
                      <a:pt x="1760" y="541"/>
                    </a:lnTo>
                    <a:lnTo>
                      <a:pt x="1760" y="545"/>
                    </a:lnTo>
                    <a:lnTo>
                      <a:pt x="1760" y="551"/>
                    </a:lnTo>
                    <a:lnTo>
                      <a:pt x="1760" y="557"/>
                    </a:lnTo>
                    <a:lnTo>
                      <a:pt x="1760" y="578"/>
                    </a:lnTo>
                    <a:lnTo>
                      <a:pt x="1757" y="591"/>
                    </a:lnTo>
                    <a:lnTo>
                      <a:pt x="1755" y="594"/>
                    </a:lnTo>
                    <a:lnTo>
                      <a:pt x="1751" y="594"/>
                    </a:lnTo>
                    <a:lnTo>
                      <a:pt x="1746" y="591"/>
                    </a:lnTo>
                    <a:lnTo>
                      <a:pt x="1743" y="588"/>
                    </a:lnTo>
                    <a:lnTo>
                      <a:pt x="1735" y="578"/>
                    </a:lnTo>
                    <a:lnTo>
                      <a:pt x="1727" y="569"/>
                    </a:lnTo>
                    <a:lnTo>
                      <a:pt x="1724" y="564"/>
                    </a:lnTo>
                    <a:lnTo>
                      <a:pt x="1721" y="561"/>
                    </a:lnTo>
                    <a:lnTo>
                      <a:pt x="1719" y="560"/>
                    </a:lnTo>
                    <a:lnTo>
                      <a:pt x="1717" y="561"/>
                    </a:lnTo>
                    <a:lnTo>
                      <a:pt x="1714" y="563"/>
                    </a:lnTo>
                    <a:lnTo>
                      <a:pt x="1713" y="566"/>
                    </a:lnTo>
                    <a:lnTo>
                      <a:pt x="1712" y="569"/>
                    </a:lnTo>
                    <a:lnTo>
                      <a:pt x="1712" y="573"/>
                    </a:lnTo>
                    <a:lnTo>
                      <a:pt x="1712" y="582"/>
                    </a:lnTo>
                    <a:lnTo>
                      <a:pt x="1711" y="591"/>
                    </a:lnTo>
                    <a:lnTo>
                      <a:pt x="1708" y="599"/>
                    </a:lnTo>
                    <a:lnTo>
                      <a:pt x="1706" y="607"/>
                    </a:lnTo>
                    <a:lnTo>
                      <a:pt x="1704" y="608"/>
                    </a:lnTo>
                    <a:lnTo>
                      <a:pt x="1701" y="609"/>
                    </a:lnTo>
                    <a:lnTo>
                      <a:pt x="1699" y="609"/>
                    </a:lnTo>
                    <a:lnTo>
                      <a:pt x="1697" y="610"/>
                    </a:lnTo>
                    <a:lnTo>
                      <a:pt x="1687" y="610"/>
                    </a:lnTo>
                    <a:lnTo>
                      <a:pt x="1672" y="614"/>
                    </a:lnTo>
                    <a:lnTo>
                      <a:pt x="1664" y="616"/>
                    </a:lnTo>
                    <a:lnTo>
                      <a:pt x="1657" y="621"/>
                    </a:lnTo>
                    <a:lnTo>
                      <a:pt x="1651" y="624"/>
                    </a:lnTo>
                    <a:lnTo>
                      <a:pt x="1648" y="629"/>
                    </a:lnTo>
                    <a:lnTo>
                      <a:pt x="1644" y="634"/>
                    </a:lnTo>
                    <a:lnTo>
                      <a:pt x="1641" y="638"/>
                    </a:lnTo>
                    <a:lnTo>
                      <a:pt x="1637" y="640"/>
                    </a:lnTo>
                    <a:lnTo>
                      <a:pt x="1634" y="640"/>
                    </a:lnTo>
                    <a:lnTo>
                      <a:pt x="1631" y="640"/>
                    </a:lnTo>
                    <a:lnTo>
                      <a:pt x="1629" y="639"/>
                    </a:lnTo>
                    <a:lnTo>
                      <a:pt x="1628" y="638"/>
                    </a:lnTo>
                    <a:lnTo>
                      <a:pt x="1626" y="635"/>
                    </a:lnTo>
                    <a:lnTo>
                      <a:pt x="1626" y="629"/>
                    </a:lnTo>
                    <a:lnTo>
                      <a:pt x="1628" y="619"/>
                    </a:lnTo>
                    <a:lnTo>
                      <a:pt x="1628" y="613"/>
                    </a:lnTo>
                    <a:lnTo>
                      <a:pt x="1628" y="608"/>
                    </a:lnTo>
                    <a:lnTo>
                      <a:pt x="1625" y="603"/>
                    </a:lnTo>
                    <a:lnTo>
                      <a:pt x="1623" y="599"/>
                    </a:lnTo>
                    <a:lnTo>
                      <a:pt x="1617" y="592"/>
                    </a:lnTo>
                    <a:lnTo>
                      <a:pt x="1611" y="586"/>
                    </a:lnTo>
                    <a:lnTo>
                      <a:pt x="1607" y="584"/>
                    </a:lnTo>
                    <a:lnTo>
                      <a:pt x="1607" y="580"/>
                    </a:lnTo>
                    <a:lnTo>
                      <a:pt x="1607" y="578"/>
                    </a:lnTo>
                    <a:lnTo>
                      <a:pt x="1610" y="575"/>
                    </a:lnTo>
                    <a:lnTo>
                      <a:pt x="1617" y="569"/>
                    </a:lnTo>
                    <a:lnTo>
                      <a:pt x="1626" y="561"/>
                    </a:lnTo>
                    <a:lnTo>
                      <a:pt x="1635" y="553"/>
                    </a:lnTo>
                    <a:lnTo>
                      <a:pt x="1641" y="545"/>
                    </a:lnTo>
                    <a:lnTo>
                      <a:pt x="1644" y="535"/>
                    </a:lnTo>
                    <a:lnTo>
                      <a:pt x="1648" y="523"/>
                    </a:lnTo>
                    <a:lnTo>
                      <a:pt x="1650" y="516"/>
                    </a:lnTo>
                    <a:lnTo>
                      <a:pt x="1655" y="510"/>
                    </a:lnTo>
                    <a:lnTo>
                      <a:pt x="1658" y="504"/>
                    </a:lnTo>
                    <a:lnTo>
                      <a:pt x="1663" y="498"/>
                    </a:lnTo>
                    <a:lnTo>
                      <a:pt x="1667" y="495"/>
                    </a:lnTo>
                    <a:lnTo>
                      <a:pt x="1668" y="493"/>
                    </a:lnTo>
                    <a:lnTo>
                      <a:pt x="1667" y="490"/>
                    </a:lnTo>
                    <a:lnTo>
                      <a:pt x="1664" y="484"/>
                    </a:lnTo>
                    <a:lnTo>
                      <a:pt x="1661" y="470"/>
                    </a:lnTo>
                    <a:lnTo>
                      <a:pt x="1660" y="456"/>
                    </a:lnTo>
                    <a:lnTo>
                      <a:pt x="1658" y="450"/>
                    </a:lnTo>
                    <a:lnTo>
                      <a:pt x="1657" y="445"/>
                    </a:lnTo>
                    <a:lnTo>
                      <a:pt x="1655" y="440"/>
                    </a:lnTo>
                    <a:lnTo>
                      <a:pt x="1653" y="437"/>
                    </a:lnTo>
                    <a:lnTo>
                      <a:pt x="1648" y="428"/>
                    </a:lnTo>
                    <a:lnTo>
                      <a:pt x="1642" y="421"/>
                    </a:lnTo>
                    <a:lnTo>
                      <a:pt x="1639" y="416"/>
                    </a:lnTo>
                    <a:lnTo>
                      <a:pt x="1637" y="412"/>
                    </a:lnTo>
                    <a:lnTo>
                      <a:pt x="1636" y="411"/>
                    </a:lnTo>
                    <a:lnTo>
                      <a:pt x="1635" y="411"/>
                    </a:lnTo>
                    <a:lnTo>
                      <a:pt x="1634" y="412"/>
                    </a:lnTo>
                    <a:lnTo>
                      <a:pt x="1632" y="414"/>
                    </a:lnTo>
                    <a:lnTo>
                      <a:pt x="1628" y="422"/>
                    </a:lnTo>
                    <a:lnTo>
                      <a:pt x="1623" y="428"/>
                    </a:lnTo>
                    <a:lnTo>
                      <a:pt x="1620" y="431"/>
                    </a:lnTo>
                    <a:lnTo>
                      <a:pt x="1618" y="434"/>
                    </a:lnTo>
                    <a:lnTo>
                      <a:pt x="1617" y="439"/>
                    </a:lnTo>
                    <a:lnTo>
                      <a:pt x="1617" y="446"/>
                    </a:lnTo>
                    <a:lnTo>
                      <a:pt x="1617" y="464"/>
                    </a:lnTo>
                    <a:lnTo>
                      <a:pt x="1617" y="479"/>
                    </a:lnTo>
                    <a:lnTo>
                      <a:pt x="1616" y="483"/>
                    </a:lnTo>
                    <a:lnTo>
                      <a:pt x="1616" y="488"/>
                    </a:lnTo>
                    <a:lnTo>
                      <a:pt x="1613" y="490"/>
                    </a:lnTo>
                    <a:lnTo>
                      <a:pt x="1611" y="494"/>
                    </a:lnTo>
                    <a:lnTo>
                      <a:pt x="1609" y="496"/>
                    </a:lnTo>
                    <a:lnTo>
                      <a:pt x="1604" y="498"/>
                    </a:lnTo>
                    <a:lnTo>
                      <a:pt x="1599" y="501"/>
                    </a:lnTo>
                    <a:lnTo>
                      <a:pt x="1593" y="502"/>
                    </a:lnTo>
                    <a:lnTo>
                      <a:pt x="1587" y="503"/>
                    </a:lnTo>
                    <a:lnTo>
                      <a:pt x="1581" y="506"/>
                    </a:lnTo>
                    <a:lnTo>
                      <a:pt x="1576" y="509"/>
                    </a:lnTo>
                    <a:lnTo>
                      <a:pt x="1572" y="513"/>
                    </a:lnTo>
                    <a:lnTo>
                      <a:pt x="1567" y="517"/>
                    </a:lnTo>
                    <a:lnTo>
                      <a:pt x="1563" y="522"/>
                    </a:lnTo>
                    <a:lnTo>
                      <a:pt x="1560" y="528"/>
                    </a:lnTo>
                    <a:lnTo>
                      <a:pt x="1556" y="534"/>
                    </a:lnTo>
                    <a:lnTo>
                      <a:pt x="1555" y="539"/>
                    </a:lnTo>
                    <a:lnTo>
                      <a:pt x="1555" y="544"/>
                    </a:lnTo>
                    <a:lnTo>
                      <a:pt x="1555" y="548"/>
                    </a:lnTo>
                    <a:lnTo>
                      <a:pt x="1557" y="551"/>
                    </a:lnTo>
                    <a:lnTo>
                      <a:pt x="1565" y="556"/>
                    </a:lnTo>
                    <a:lnTo>
                      <a:pt x="1572" y="560"/>
                    </a:lnTo>
                    <a:lnTo>
                      <a:pt x="1575" y="563"/>
                    </a:lnTo>
                    <a:lnTo>
                      <a:pt x="1578" y="567"/>
                    </a:lnTo>
                    <a:lnTo>
                      <a:pt x="1579" y="572"/>
                    </a:lnTo>
                    <a:lnTo>
                      <a:pt x="1579" y="578"/>
                    </a:lnTo>
                    <a:lnTo>
                      <a:pt x="1578" y="584"/>
                    </a:lnTo>
                    <a:lnTo>
                      <a:pt x="1576" y="590"/>
                    </a:lnTo>
                    <a:lnTo>
                      <a:pt x="1574" y="596"/>
                    </a:lnTo>
                    <a:lnTo>
                      <a:pt x="1571" y="601"/>
                    </a:lnTo>
                    <a:lnTo>
                      <a:pt x="1563" y="609"/>
                    </a:lnTo>
                    <a:lnTo>
                      <a:pt x="1557" y="619"/>
                    </a:lnTo>
                    <a:lnTo>
                      <a:pt x="1555" y="622"/>
                    </a:lnTo>
                    <a:lnTo>
                      <a:pt x="1553" y="626"/>
                    </a:lnTo>
                    <a:lnTo>
                      <a:pt x="1549" y="627"/>
                    </a:lnTo>
                    <a:lnTo>
                      <a:pt x="1547" y="628"/>
                    </a:lnTo>
                    <a:lnTo>
                      <a:pt x="1544" y="627"/>
                    </a:lnTo>
                    <a:lnTo>
                      <a:pt x="1541" y="626"/>
                    </a:lnTo>
                    <a:lnTo>
                      <a:pt x="1537" y="622"/>
                    </a:lnTo>
                    <a:lnTo>
                      <a:pt x="1534" y="619"/>
                    </a:lnTo>
                    <a:lnTo>
                      <a:pt x="1525" y="610"/>
                    </a:lnTo>
                    <a:lnTo>
                      <a:pt x="1517" y="599"/>
                    </a:lnTo>
                    <a:lnTo>
                      <a:pt x="1509" y="589"/>
                    </a:lnTo>
                    <a:lnTo>
                      <a:pt x="1499" y="582"/>
                    </a:lnTo>
                    <a:lnTo>
                      <a:pt x="1494" y="578"/>
                    </a:lnTo>
                    <a:lnTo>
                      <a:pt x="1490" y="577"/>
                    </a:lnTo>
                    <a:lnTo>
                      <a:pt x="1485" y="576"/>
                    </a:lnTo>
                    <a:lnTo>
                      <a:pt x="1480" y="575"/>
                    </a:lnTo>
                    <a:lnTo>
                      <a:pt x="1477" y="575"/>
                    </a:lnTo>
                    <a:lnTo>
                      <a:pt x="1473" y="576"/>
                    </a:lnTo>
                    <a:lnTo>
                      <a:pt x="1469" y="578"/>
                    </a:lnTo>
                    <a:lnTo>
                      <a:pt x="1467" y="580"/>
                    </a:lnTo>
                    <a:lnTo>
                      <a:pt x="1465" y="588"/>
                    </a:lnTo>
                    <a:lnTo>
                      <a:pt x="1462" y="596"/>
                    </a:lnTo>
                    <a:lnTo>
                      <a:pt x="1462" y="599"/>
                    </a:lnTo>
                    <a:lnTo>
                      <a:pt x="1461" y="601"/>
                    </a:lnTo>
                    <a:lnTo>
                      <a:pt x="1460" y="602"/>
                    </a:lnTo>
                    <a:lnTo>
                      <a:pt x="1458" y="602"/>
                    </a:lnTo>
                    <a:lnTo>
                      <a:pt x="1454" y="598"/>
                    </a:lnTo>
                    <a:lnTo>
                      <a:pt x="1449" y="592"/>
                    </a:lnTo>
                    <a:lnTo>
                      <a:pt x="1447" y="589"/>
                    </a:lnTo>
                    <a:lnTo>
                      <a:pt x="1443" y="586"/>
                    </a:lnTo>
                    <a:lnTo>
                      <a:pt x="1439" y="585"/>
                    </a:lnTo>
                    <a:lnTo>
                      <a:pt x="1434" y="585"/>
                    </a:lnTo>
                    <a:lnTo>
                      <a:pt x="1421" y="585"/>
                    </a:lnTo>
                    <a:lnTo>
                      <a:pt x="1404" y="588"/>
                    </a:lnTo>
                    <a:lnTo>
                      <a:pt x="1396" y="590"/>
                    </a:lnTo>
                    <a:lnTo>
                      <a:pt x="1390" y="591"/>
                    </a:lnTo>
                    <a:lnTo>
                      <a:pt x="1385" y="594"/>
                    </a:lnTo>
                    <a:lnTo>
                      <a:pt x="1380" y="597"/>
                    </a:lnTo>
                    <a:lnTo>
                      <a:pt x="1377" y="601"/>
                    </a:lnTo>
                    <a:lnTo>
                      <a:pt x="1373" y="605"/>
                    </a:lnTo>
                    <a:lnTo>
                      <a:pt x="1371" y="610"/>
                    </a:lnTo>
                    <a:lnTo>
                      <a:pt x="1368" y="617"/>
                    </a:lnTo>
                    <a:lnTo>
                      <a:pt x="1362" y="635"/>
                    </a:lnTo>
                    <a:lnTo>
                      <a:pt x="1358" y="657"/>
                    </a:lnTo>
                    <a:lnTo>
                      <a:pt x="1355" y="667"/>
                    </a:lnTo>
                    <a:lnTo>
                      <a:pt x="1354" y="677"/>
                    </a:lnTo>
                    <a:lnTo>
                      <a:pt x="1354" y="685"/>
                    </a:lnTo>
                    <a:lnTo>
                      <a:pt x="1355" y="693"/>
                    </a:lnTo>
                    <a:lnTo>
                      <a:pt x="1358" y="699"/>
                    </a:lnTo>
                    <a:lnTo>
                      <a:pt x="1360" y="705"/>
                    </a:lnTo>
                    <a:lnTo>
                      <a:pt x="1365" y="710"/>
                    </a:lnTo>
                    <a:lnTo>
                      <a:pt x="1370" y="716"/>
                    </a:lnTo>
                    <a:lnTo>
                      <a:pt x="1379" y="725"/>
                    </a:lnTo>
                    <a:lnTo>
                      <a:pt x="1387" y="734"/>
                    </a:lnTo>
                    <a:lnTo>
                      <a:pt x="1391" y="739"/>
                    </a:lnTo>
                    <a:lnTo>
                      <a:pt x="1392" y="744"/>
                    </a:lnTo>
                    <a:lnTo>
                      <a:pt x="1392" y="750"/>
                    </a:lnTo>
                    <a:lnTo>
                      <a:pt x="1392" y="758"/>
                    </a:lnTo>
                    <a:lnTo>
                      <a:pt x="1391" y="764"/>
                    </a:lnTo>
                    <a:lnTo>
                      <a:pt x="1389" y="769"/>
                    </a:lnTo>
                    <a:lnTo>
                      <a:pt x="1386" y="775"/>
                    </a:lnTo>
                    <a:lnTo>
                      <a:pt x="1384" y="780"/>
                    </a:lnTo>
                    <a:lnTo>
                      <a:pt x="1376" y="790"/>
                    </a:lnTo>
                    <a:lnTo>
                      <a:pt x="1367" y="799"/>
                    </a:lnTo>
                    <a:lnTo>
                      <a:pt x="1360" y="807"/>
                    </a:lnTo>
                    <a:lnTo>
                      <a:pt x="1355" y="811"/>
                    </a:lnTo>
                    <a:lnTo>
                      <a:pt x="1353" y="812"/>
                    </a:lnTo>
                    <a:lnTo>
                      <a:pt x="1351" y="812"/>
                    </a:lnTo>
                    <a:lnTo>
                      <a:pt x="1348" y="810"/>
                    </a:lnTo>
                    <a:lnTo>
                      <a:pt x="1343" y="807"/>
                    </a:lnTo>
                    <a:lnTo>
                      <a:pt x="1340" y="806"/>
                    </a:lnTo>
                    <a:lnTo>
                      <a:pt x="1336" y="806"/>
                    </a:lnTo>
                    <a:lnTo>
                      <a:pt x="1332" y="806"/>
                    </a:lnTo>
                    <a:lnTo>
                      <a:pt x="1326" y="807"/>
                    </a:lnTo>
                    <a:lnTo>
                      <a:pt x="1314" y="810"/>
                    </a:lnTo>
                    <a:lnTo>
                      <a:pt x="1302" y="815"/>
                    </a:lnTo>
                    <a:lnTo>
                      <a:pt x="1296" y="818"/>
                    </a:lnTo>
                    <a:lnTo>
                      <a:pt x="1286" y="823"/>
                    </a:lnTo>
                    <a:lnTo>
                      <a:pt x="1279" y="825"/>
                    </a:lnTo>
                    <a:lnTo>
                      <a:pt x="1273" y="827"/>
                    </a:lnTo>
                    <a:lnTo>
                      <a:pt x="1269" y="824"/>
                    </a:lnTo>
                    <a:lnTo>
                      <a:pt x="1264" y="819"/>
                    </a:lnTo>
                    <a:lnTo>
                      <a:pt x="1258" y="815"/>
                    </a:lnTo>
                    <a:lnTo>
                      <a:pt x="1251" y="811"/>
                    </a:lnTo>
                    <a:lnTo>
                      <a:pt x="1242" y="809"/>
                    </a:lnTo>
                    <a:lnTo>
                      <a:pt x="1235" y="809"/>
                    </a:lnTo>
                    <a:lnTo>
                      <a:pt x="1228" y="806"/>
                    </a:lnTo>
                    <a:lnTo>
                      <a:pt x="1220" y="802"/>
                    </a:lnTo>
                    <a:lnTo>
                      <a:pt x="1210" y="796"/>
                    </a:lnTo>
                    <a:lnTo>
                      <a:pt x="1200" y="791"/>
                    </a:lnTo>
                    <a:lnTo>
                      <a:pt x="1195" y="790"/>
                    </a:lnTo>
                    <a:lnTo>
                      <a:pt x="1190" y="788"/>
                    </a:lnTo>
                    <a:lnTo>
                      <a:pt x="1188" y="788"/>
                    </a:lnTo>
                    <a:lnTo>
                      <a:pt x="1185" y="788"/>
                    </a:lnTo>
                    <a:lnTo>
                      <a:pt x="1185" y="791"/>
                    </a:lnTo>
                    <a:lnTo>
                      <a:pt x="1185" y="793"/>
                    </a:lnTo>
                    <a:lnTo>
                      <a:pt x="1187" y="796"/>
                    </a:lnTo>
                    <a:lnTo>
                      <a:pt x="1188" y="800"/>
                    </a:lnTo>
                    <a:lnTo>
                      <a:pt x="1190" y="804"/>
                    </a:lnTo>
                    <a:lnTo>
                      <a:pt x="1191" y="807"/>
                    </a:lnTo>
                    <a:lnTo>
                      <a:pt x="1191" y="811"/>
                    </a:lnTo>
                    <a:lnTo>
                      <a:pt x="1191" y="813"/>
                    </a:lnTo>
                    <a:lnTo>
                      <a:pt x="1190" y="816"/>
                    </a:lnTo>
                    <a:lnTo>
                      <a:pt x="1189" y="818"/>
                    </a:lnTo>
                    <a:lnTo>
                      <a:pt x="1187" y="821"/>
                    </a:lnTo>
                    <a:lnTo>
                      <a:pt x="1184" y="822"/>
                    </a:lnTo>
                    <a:lnTo>
                      <a:pt x="1181" y="824"/>
                    </a:lnTo>
                    <a:lnTo>
                      <a:pt x="1179" y="828"/>
                    </a:lnTo>
                    <a:lnTo>
                      <a:pt x="1178" y="831"/>
                    </a:lnTo>
                    <a:lnTo>
                      <a:pt x="1177" y="836"/>
                    </a:lnTo>
                    <a:lnTo>
                      <a:pt x="1175" y="847"/>
                    </a:lnTo>
                    <a:lnTo>
                      <a:pt x="1170" y="859"/>
                    </a:lnTo>
                    <a:lnTo>
                      <a:pt x="1162" y="872"/>
                    </a:lnTo>
                    <a:lnTo>
                      <a:pt x="1153" y="884"/>
                    </a:lnTo>
                    <a:lnTo>
                      <a:pt x="1147" y="890"/>
                    </a:lnTo>
                    <a:lnTo>
                      <a:pt x="1143" y="894"/>
                    </a:lnTo>
                    <a:lnTo>
                      <a:pt x="1138" y="898"/>
                    </a:lnTo>
                    <a:lnTo>
                      <a:pt x="1132" y="900"/>
                    </a:lnTo>
                    <a:lnTo>
                      <a:pt x="1127" y="903"/>
                    </a:lnTo>
                    <a:lnTo>
                      <a:pt x="1121" y="903"/>
                    </a:lnTo>
                    <a:lnTo>
                      <a:pt x="1116" y="901"/>
                    </a:lnTo>
                    <a:lnTo>
                      <a:pt x="1112" y="899"/>
                    </a:lnTo>
                    <a:lnTo>
                      <a:pt x="1107" y="897"/>
                    </a:lnTo>
                    <a:lnTo>
                      <a:pt x="1103" y="893"/>
                    </a:lnTo>
                    <a:lnTo>
                      <a:pt x="1100" y="890"/>
                    </a:lnTo>
                    <a:lnTo>
                      <a:pt x="1099" y="885"/>
                    </a:lnTo>
                    <a:lnTo>
                      <a:pt x="1097" y="880"/>
                    </a:lnTo>
                    <a:lnTo>
                      <a:pt x="1097" y="875"/>
                    </a:lnTo>
                    <a:lnTo>
                      <a:pt x="1099" y="872"/>
                    </a:lnTo>
                    <a:lnTo>
                      <a:pt x="1100" y="868"/>
                    </a:lnTo>
                    <a:lnTo>
                      <a:pt x="1103" y="861"/>
                    </a:lnTo>
                    <a:lnTo>
                      <a:pt x="1109" y="856"/>
                    </a:lnTo>
                    <a:lnTo>
                      <a:pt x="1121" y="848"/>
                    </a:lnTo>
                    <a:lnTo>
                      <a:pt x="1135" y="837"/>
                    </a:lnTo>
                    <a:lnTo>
                      <a:pt x="1139" y="835"/>
                    </a:lnTo>
                    <a:lnTo>
                      <a:pt x="1141" y="834"/>
                    </a:lnTo>
                    <a:lnTo>
                      <a:pt x="1141" y="831"/>
                    </a:lnTo>
                    <a:lnTo>
                      <a:pt x="1141" y="829"/>
                    </a:lnTo>
                    <a:lnTo>
                      <a:pt x="1137" y="819"/>
                    </a:lnTo>
                    <a:lnTo>
                      <a:pt x="1128" y="806"/>
                    </a:lnTo>
                    <a:lnTo>
                      <a:pt x="1121" y="793"/>
                    </a:lnTo>
                    <a:lnTo>
                      <a:pt x="1115" y="777"/>
                    </a:lnTo>
                    <a:lnTo>
                      <a:pt x="1112" y="771"/>
                    </a:lnTo>
                    <a:lnTo>
                      <a:pt x="1106" y="765"/>
                    </a:lnTo>
                    <a:lnTo>
                      <a:pt x="1100" y="759"/>
                    </a:lnTo>
                    <a:lnTo>
                      <a:pt x="1094" y="755"/>
                    </a:lnTo>
                    <a:lnTo>
                      <a:pt x="1090" y="753"/>
                    </a:lnTo>
                    <a:lnTo>
                      <a:pt x="1087" y="753"/>
                    </a:lnTo>
                    <a:lnTo>
                      <a:pt x="1082" y="755"/>
                    </a:lnTo>
                    <a:lnTo>
                      <a:pt x="1076" y="758"/>
                    </a:lnTo>
                    <a:lnTo>
                      <a:pt x="1068" y="760"/>
                    </a:lnTo>
                    <a:lnTo>
                      <a:pt x="1059" y="760"/>
                    </a:lnTo>
                    <a:lnTo>
                      <a:pt x="1053" y="759"/>
                    </a:lnTo>
                    <a:lnTo>
                      <a:pt x="1047" y="755"/>
                    </a:lnTo>
                    <a:lnTo>
                      <a:pt x="1044" y="754"/>
                    </a:lnTo>
                    <a:lnTo>
                      <a:pt x="1040" y="753"/>
                    </a:lnTo>
                    <a:lnTo>
                      <a:pt x="1038" y="753"/>
                    </a:lnTo>
                    <a:lnTo>
                      <a:pt x="1037" y="753"/>
                    </a:lnTo>
                    <a:lnTo>
                      <a:pt x="1034" y="754"/>
                    </a:lnTo>
                    <a:lnTo>
                      <a:pt x="1033" y="758"/>
                    </a:lnTo>
                    <a:lnTo>
                      <a:pt x="1033" y="760"/>
                    </a:lnTo>
                    <a:lnTo>
                      <a:pt x="1032" y="765"/>
                    </a:lnTo>
                    <a:lnTo>
                      <a:pt x="1032" y="775"/>
                    </a:lnTo>
                    <a:lnTo>
                      <a:pt x="1031" y="785"/>
                    </a:lnTo>
                    <a:lnTo>
                      <a:pt x="1031" y="790"/>
                    </a:lnTo>
                    <a:lnTo>
                      <a:pt x="1028" y="793"/>
                    </a:lnTo>
                    <a:lnTo>
                      <a:pt x="1026" y="797"/>
                    </a:lnTo>
                    <a:lnTo>
                      <a:pt x="1022" y="800"/>
                    </a:lnTo>
                    <a:lnTo>
                      <a:pt x="1018" y="802"/>
                    </a:lnTo>
                    <a:lnTo>
                      <a:pt x="1013" y="803"/>
                    </a:lnTo>
                    <a:lnTo>
                      <a:pt x="1007" y="803"/>
                    </a:lnTo>
                    <a:lnTo>
                      <a:pt x="1001" y="803"/>
                    </a:lnTo>
                    <a:lnTo>
                      <a:pt x="995" y="800"/>
                    </a:lnTo>
                    <a:lnTo>
                      <a:pt x="990" y="798"/>
                    </a:lnTo>
                    <a:lnTo>
                      <a:pt x="986" y="794"/>
                    </a:lnTo>
                    <a:lnTo>
                      <a:pt x="982" y="791"/>
                    </a:lnTo>
                    <a:lnTo>
                      <a:pt x="980" y="786"/>
                    </a:lnTo>
                    <a:lnTo>
                      <a:pt x="979" y="781"/>
                    </a:lnTo>
                    <a:lnTo>
                      <a:pt x="979" y="777"/>
                    </a:lnTo>
                    <a:lnTo>
                      <a:pt x="980" y="772"/>
                    </a:lnTo>
                    <a:lnTo>
                      <a:pt x="983" y="762"/>
                    </a:lnTo>
                    <a:lnTo>
                      <a:pt x="988" y="755"/>
                    </a:lnTo>
                    <a:lnTo>
                      <a:pt x="992" y="748"/>
                    </a:lnTo>
                    <a:lnTo>
                      <a:pt x="994" y="739"/>
                    </a:lnTo>
                    <a:lnTo>
                      <a:pt x="995" y="728"/>
                    </a:lnTo>
                    <a:lnTo>
                      <a:pt x="994" y="715"/>
                    </a:lnTo>
                    <a:lnTo>
                      <a:pt x="994" y="703"/>
                    </a:lnTo>
                    <a:lnTo>
                      <a:pt x="994" y="692"/>
                    </a:lnTo>
                    <a:lnTo>
                      <a:pt x="994" y="684"/>
                    </a:lnTo>
                    <a:lnTo>
                      <a:pt x="992" y="674"/>
                    </a:lnTo>
                    <a:lnTo>
                      <a:pt x="988" y="662"/>
                    </a:lnTo>
                    <a:lnTo>
                      <a:pt x="984" y="651"/>
                    </a:lnTo>
                    <a:lnTo>
                      <a:pt x="981" y="643"/>
                    </a:lnTo>
                    <a:lnTo>
                      <a:pt x="977" y="638"/>
                    </a:lnTo>
                    <a:lnTo>
                      <a:pt x="971" y="633"/>
                    </a:lnTo>
                    <a:lnTo>
                      <a:pt x="965" y="628"/>
                    </a:lnTo>
                    <a:lnTo>
                      <a:pt x="954" y="622"/>
                    </a:lnTo>
                    <a:lnTo>
                      <a:pt x="946" y="617"/>
                    </a:lnTo>
                    <a:lnTo>
                      <a:pt x="944" y="615"/>
                    </a:lnTo>
                    <a:lnTo>
                      <a:pt x="942" y="611"/>
                    </a:lnTo>
                    <a:lnTo>
                      <a:pt x="940" y="608"/>
                    </a:lnTo>
                    <a:lnTo>
                      <a:pt x="940" y="603"/>
                    </a:lnTo>
                    <a:lnTo>
                      <a:pt x="939" y="596"/>
                    </a:lnTo>
                    <a:lnTo>
                      <a:pt x="937" y="591"/>
                    </a:lnTo>
                    <a:lnTo>
                      <a:pt x="936" y="590"/>
                    </a:lnTo>
                    <a:lnTo>
                      <a:pt x="933" y="589"/>
                    </a:lnTo>
                    <a:lnTo>
                      <a:pt x="931" y="589"/>
                    </a:lnTo>
                    <a:lnTo>
                      <a:pt x="930" y="590"/>
                    </a:lnTo>
                    <a:lnTo>
                      <a:pt x="925" y="592"/>
                    </a:lnTo>
                    <a:lnTo>
                      <a:pt x="920" y="596"/>
                    </a:lnTo>
                    <a:lnTo>
                      <a:pt x="918" y="598"/>
                    </a:lnTo>
                    <a:lnTo>
                      <a:pt x="917" y="602"/>
                    </a:lnTo>
                    <a:lnTo>
                      <a:pt x="916" y="607"/>
                    </a:lnTo>
                    <a:lnTo>
                      <a:pt x="916" y="614"/>
                    </a:lnTo>
                    <a:lnTo>
                      <a:pt x="916" y="620"/>
                    </a:lnTo>
                    <a:lnTo>
                      <a:pt x="914" y="623"/>
                    </a:lnTo>
                    <a:lnTo>
                      <a:pt x="913" y="626"/>
                    </a:lnTo>
                    <a:lnTo>
                      <a:pt x="911" y="628"/>
                    </a:lnTo>
                    <a:lnTo>
                      <a:pt x="904" y="630"/>
                    </a:lnTo>
                    <a:lnTo>
                      <a:pt x="894" y="634"/>
                    </a:lnTo>
                    <a:lnTo>
                      <a:pt x="886" y="639"/>
                    </a:lnTo>
                    <a:lnTo>
                      <a:pt x="880" y="642"/>
                    </a:lnTo>
                    <a:lnTo>
                      <a:pt x="879" y="643"/>
                    </a:lnTo>
                    <a:lnTo>
                      <a:pt x="877" y="646"/>
                    </a:lnTo>
                    <a:lnTo>
                      <a:pt x="877" y="649"/>
                    </a:lnTo>
                    <a:lnTo>
                      <a:pt x="877" y="653"/>
                    </a:lnTo>
                    <a:lnTo>
                      <a:pt x="877" y="670"/>
                    </a:lnTo>
                    <a:lnTo>
                      <a:pt x="877" y="684"/>
                    </a:lnTo>
                    <a:lnTo>
                      <a:pt x="876" y="696"/>
                    </a:lnTo>
                    <a:lnTo>
                      <a:pt x="875" y="706"/>
                    </a:lnTo>
                    <a:lnTo>
                      <a:pt x="874" y="714"/>
                    </a:lnTo>
                    <a:lnTo>
                      <a:pt x="872" y="721"/>
                    </a:lnTo>
                    <a:lnTo>
                      <a:pt x="869" y="725"/>
                    </a:lnTo>
                    <a:lnTo>
                      <a:pt x="866" y="728"/>
                    </a:lnTo>
                    <a:lnTo>
                      <a:pt x="863" y="730"/>
                    </a:lnTo>
                    <a:lnTo>
                      <a:pt x="860" y="731"/>
                    </a:lnTo>
                    <a:lnTo>
                      <a:pt x="857" y="731"/>
                    </a:lnTo>
                    <a:lnTo>
                      <a:pt x="854" y="731"/>
                    </a:lnTo>
                    <a:lnTo>
                      <a:pt x="849" y="730"/>
                    </a:lnTo>
                    <a:lnTo>
                      <a:pt x="844" y="728"/>
                    </a:lnTo>
                    <a:lnTo>
                      <a:pt x="835" y="723"/>
                    </a:lnTo>
                    <a:lnTo>
                      <a:pt x="824" y="716"/>
                    </a:lnTo>
                    <a:lnTo>
                      <a:pt x="813" y="706"/>
                    </a:lnTo>
                    <a:lnTo>
                      <a:pt x="804" y="697"/>
                    </a:lnTo>
                    <a:lnTo>
                      <a:pt x="786" y="679"/>
                    </a:lnTo>
                    <a:lnTo>
                      <a:pt x="775" y="671"/>
                    </a:lnTo>
                    <a:lnTo>
                      <a:pt x="769" y="670"/>
                    </a:lnTo>
                    <a:lnTo>
                      <a:pt x="761" y="668"/>
                    </a:lnTo>
                    <a:lnTo>
                      <a:pt x="751" y="666"/>
                    </a:lnTo>
                    <a:lnTo>
                      <a:pt x="744" y="661"/>
                    </a:lnTo>
                    <a:lnTo>
                      <a:pt x="738" y="657"/>
                    </a:lnTo>
                    <a:lnTo>
                      <a:pt x="735" y="655"/>
                    </a:lnTo>
                    <a:lnTo>
                      <a:pt x="730" y="654"/>
                    </a:lnTo>
                    <a:lnTo>
                      <a:pt x="722" y="654"/>
                    </a:lnTo>
                    <a:lnTo>
                      <a:pt x="717" y="654"/>
                    </a:lnTo>
                    <a:lnTo>
                      <a:pt x="712" y="653"/>
                    </a:lnTo>
                    <a:lnTo>
                      <a:pt x="706" y="651"/>
                    </a:lnTo>
                    <a:lnTo>
                      <a:pt x="703" y="647"/>
                    </a:lnTo>
                    <a:lnTo>
                      <a:pt x="698" y="643"/>
                    </a:lnTo>
                    <a:lnTo>
                      <a:pt x="696" y="639"/>
                    </a:lnTo>
                    <a:lnTo>
                      <a:pt x="692" y="634"/>
                    </a:lnTo>
                    <a:lnTo>
                      <a:pt x="691" y="628"/>
                    </a:lnTo>
                    <a:lnTo>
                      <a:pt x="688" y="616"/>
                    </a:lnTo>
                    <a:lnTo>
                      <a:pt x="684" y="604"/>
                    </a:lnTo>
                    <a:lnTo>
                      <a:pt x="677" y="592"/>
                    </a:lnTo>
                    <a:lnTo>
                      <a:pt x="667" y="579"/>
                    </a:lnTo>
                    <a:lnTo>
                      <a:pt x="660" y="573"/>
                    </a:lnTo>
                    <a:lnTo>
                      <a:pt x="654" y="569"/>
                    </a:lnTo>
                    <a:lnTo>
                      <a:pt x="647" y="565"/>
                    </a:lnTo>
                    <a:lnTo>
                      <a:pt x="640" y="563"/>
                    </a:lnTo>
                    <a:lnTo>
                      <a:pt x="627" y="561"/>
                    </a:lnTo>
                    <a:lnTo>
                      <a:pt x="617" y="561"/>
                    </a:lnTo>
                    <a:lnTo>
                      <a:pt x="614" y="560"/>
                    </a:lnTo>
                    <a:lnTo>
                      <a:pt x="610" y="560"/>
                    </a:lnTo>
                    <a:lnTo>
                      <a:pt x="606" y="558"/>
                    </a:lnTo>
                    <a:lnTo>
                      <a:pt x="604" y="557"/>
                    </a:lnTo>
                    <a:lnTo>
                      <a:pt x="599" y="551"/>
                    </a:lnTo>
                    <a:lnTo>
                      <a:pt x="596" y="542"/>
                    </a:lnTo>
                    <a:lnTo>
                      <a:pt x="593" y="539"/>
                    </a:lnTo>
                    <a:lnTo>
                      <a:pt x="590" y="535"/>
                    </a:lnTo>
                    <a:lnTo>
                      <a:pt x="585" y="532"/>
                    </a:lnTo>
                    <a:lnTo>
                      <a:pt x="580" y="528"/>
                    </a:lnTo>
                    <a:lnTo>
                      <a:pt x="568" y="523"/>
                    </a:lnTo>
                    <a:lnTo>
                      <a:pt x="558" y="516"/>
                    </a:lnTo>
                    <a:lnTo>
                      <a:pt x="554" y="512"/>
                    </a:lnTo>
                    <a:lnTo>
                      <a:pt x="551" y="507"/>
                    </a:lnTo>
                    <a:lnTo>
                      <a:pt x="549" y="501"/>
                    </a:lnTo>
                    <a:lnTo>
                      <a:pt x="547" y="494"/>
                    </a:lnTo>
                    <a:lnTo>
                      <a:pt x="547" y="485"/>
                    </a:lnTo>
                    <a:lnTo>
                      <a:pt x="547" y="478"/>
                    </a:lnTo>
                    <a:lnTo>
                      <a:pt x="547" y="470"/>
                    </a:lnTo>
                    <a:lnTo>
                      <a:pt x="548" y="462"/>
                    </a:lnTo>
                    <a:lnTo>
                      <a:pt x="548" y="453"/>
                    </a:lnTo>
                    <a:lnTo>
                      <a:pt x="548" y="446"/>
                    </a:lnTo>
                    <a:lnTo>
                      <a:pt x="546" y="439"/>
                    </a:lnTo>
                    <a:lnTo>
                      <a:pt x="545" y="433"/>
                    </a:lnTo>
                    <a:lnTo>
                      <a:pt x="539" y="421"/>
                    </a:lnTo>
                    <a:lnTo>
                      <a:pt x="535" y="409"/>
                    </a:lnTo>
                    <a:lnTo>
                      <a:pt x="534" y="397"/>
                    </a:lnTo>
                    <a:lnTo>
                      <a:pt x="534" y="386"/>
                    </a:lnTo>
                    <a:lnTo>
                      <a:pt x="533" y="376"/>
                    </a:lnTo>
                    <a:lnTo>
                      <a:pt x="530" y="367"/>
                    </a:lnTo>
                    <a:lnTo>
                      <a:pt x="524" y="358"/>
                    </a:lnTo>
                    <a:lnTo>
                      <a:pt x="517" y="349"/>
                    </a:lnTo>
                    <a:lnTo>
                      <a:pt x="513" y="343"/>
                    </a:lnTo>
                    <a:lnTo>
                      <a:pt x="509" y="337"/>
                    </a:lnTo>
                    <a:lnTo>
                      <a:pt x="507" y="330"/>
                    </a:lnTo>
                    <a:lnTo>
                      <a:pt x="504" y="323"/>
                    </a:lnTo>
                    <a:lnTo>
                      <a:pt x="504" y="315"/>
                    </a:lnTo>
                    <a:lnTo>
                      <a:pt x="505" y="311"/>
                    </a:lnTo>
                    <a:lnTo>
                      <a:pt x="508" y="306"/>
                    </a:lnTo>
                    <a:lnTo>
                      <a:pt x="511" y="304"/>
                    </a:lnTo>
                    <a:lnTo>
                      <a:pt x="515" y="300"/>
                    </a:lnTo>
                    <a:lnTo>
                      <a:pt x="518" y="298"/>
                    </a:lnTo>
                    <a:lnTo>
                      <a:pt x="521" y="294"/>
                    </a:lnTo>
                    <a:lnTo>
                      <a:pt x="522" y="289"/>
                    </a:lnTo>
                    <a:lnTo>
                      <a:pt x="520" y="285"/>
                    </a:lnTo>
                    <a:lnTo>
                      <a:pt x="516" y="277"/>
                    </a:lnTo>
                    <a:lnTo>
                      <a:pt x="509" y="269"/>
                    </a:lnTo>
                    <a:lnTo>
                      <a:pt x="502" y="261"/>
                    </a:lnTo>
                    <a:lnTo>
                      <a:pt x="486" y="244"/>
                    </a:lnTo>
                    <a:lnTo>
                      <a:pt x="478" y="232"/>
                    </a:lnTo>
                    <a:lnTo>
                      <a:pt x="474" y="225"/>
                    </a:lnTo>
                    <a:lnTo>
                      <a:pt x="473" y="219"/>
                    </a:lnTo>
                    <a:lnTo>
                      <a:pt x="470" y="214"/>
                    </a:lnTo>
                    <a:lnTo>
                      <a:pt x="464" y="207"/>
                    </a:lnTo>
                    <a:lnTo>
                      <a:pt x="463" y="204"/>
                    </a:lnTo>
                    <a:lnTo>
                      <a:pt x="461" y="198"/>
                    </a:lnTo>
                    <a:lnTo>
                      <a:pt x="461" y="191"/>
                    </a:lnTo>
                    <a:lnTo>
                      <a:pt x="461" y="182"/>
                    </a:lnTo>
                    <a:lnTo>
                      <a:pt x="463" y="161"/>
                    </a:lnTo>
                    <a:lnTo>
                      <a:pt x="464" y="137"/>
                    </a:lnTo>
                    <a:lnTo>
                      <a:pt x="464" y="125"/>
                    </a:lnTo>
                    <a:lnTo>
                      <a:pt x="464" y="115"/>
                    </a:lnTo>
                    <a:lnTo>
                      <a:pt x="461" y="105"/>
                    </a:lnTo>
                    <a:lnTo>
                      <a:pt x="460" y="96"/>
                    </a:lnTo>
                    <a:lnTo>
                      <a:pt x="457" y="88"/>
                    </a:lnTo>
                    <a:lnTo>
                      <a:pt x="452" y="84"/>
                    </a:lnTo>
                    <a:lnTo>
                      <a:pt x="450" y="82"/>
                    </a:lnTo>
                    <a:lnTo>
                      <a:pt x="446" y="81"/>
                    </a:lnTo>
                    <a:lnTo>
                      <a:pt x="442" y="81"/>
                    </a:lnTo>
                    <a:lnTo>
                      <a:pt x="439" y="81"/>
                    </a:lnTo>
                    <a:lnTo>
                      <a:pt x="423" y="82"/>
                    </a:lnTo>
                    <a:lnTo>
                      <a:pt x="410" y="84"/>
                    </a:lnTo>
                    <a:lnTo>
                      <a:pt x="400" y="82"/>
                    </a:lnTo>
                    <a:lnTo>
                      <a:pt x="390" y="81"/>
                    </a:lnTo>
                    <a:lnTo>
                      <a:pt x="383" y="79"/>
                    </a:lnTo>
                    <a:lnTo>
                      <a:pt x="378" y="77"/>
                    </a:lnTo>
                    <a:lnTo>
                      <a:pt x="373" y="74"/>
                    </a:lnTo>
                    <a:lnTo>
                      <a:pt x="370" y="71"/>
                    </a:lnTo>
                    <a:lnTo>
                      <a:pt x="360" y="67"/>
                    </a:lnTo>
                    <a:lnTo>
                      <a:pt x="347" y="62"/>
                    </a:lnTo>
                    <a:lnTo>
                      <a:pt x="333" y="60"/>
                    </a:lnTo>
                    <a:lnTo>
                      <a:pt x="321" y="55"/>
                    </a:lnTo>
                    <a:lnTo>
                      <a:pt x="316" y="53"/>
                    </a:lnTo>
                    <a:lnTo>
                      <a:pt x="313" y="48"/>
                    </a:lnTo>
                    <a:lnTo>
                      <a:pt x="310" y="43"/>
                    </a:lnTo>
                    <a:lnTo>
                      <a:pt x="307" y="37"/>
                    </a:lnTo>
                    <a:lnTo>
                      <a:pt x="302" y="24"/>
                    </a:lnTo>
                    <a:lnTo>
                      <a:pt x="294" y="11"/>
                    </a:lnTo>
                    <a:lnTo>
                      <a:pt x="289" y="6"/>
                    </a:lnTo>
                    <a:lnTo>
                      <a:pt x="285" y="3"/>
                    </a:lnTo>
                    <a:lnTo>
                      <a:pt x="278" y="0"/>
                    </a:lnTo>
                    <a:lnTo>
                      <a:pt x="265" y="2"/>
                    </a:lnTo>
                    <a:lnTo>
                      <a:pt x="257" y="2"/>
                    </a:lnTo>
                    <a:lnTo>
                      <a:pt x="252" y="4"/>
                    </a:lnTo>
                    <a:lnTo>
                      <a:pt x="249" y="6"/>
                    </a:lnTo>
                    <a:lnTo>
                      <a:pt x="245" y="9"/>
                    </a:lnTo>
                    <a:lnTo>
                      <a:pt x="243" y="11"/>
                    </a:lnTo>
                    <a:lnTo>
                      <a:pt x="240" y="12"/>
                    </a:lnTo>
                    <a:lnTo>
                      <a:pt x="237" y="14"/>
                    </a:lnTo>
                    <a:lnTo>
                      <a:pt x="232" y="14"/>
                    </a:lnTo>
                    <a:lnTo>
                      <a:pt x="227" y="14"/>
                    </a:lnTo>
                    <a:lnTo>
                      <a:pt x="222" y="15"/>
                    </a:lnTo>
                    <a:lnTo>
                      <a:pt x="217" y="17"/>
                    </a:lnTo>
                    <a:lnTo>
                      <a:pt x="212" y="19"/>
                    </a:lnTo>
                    <a:lnTo>
                      <a:pt x="208" y="24"/>
                    </a:lnTo>
                    <a:lnTo>
                      <a:pt x="203" y="28"/>
                    </a:lnTo>
                    <a:lnTo>
                      <a:pt x="200" y="33"/>
                    </a:lnTo>
                    <a:lnTo>
                      <a:pt x="198" y="37"/>
                    </a:lnTo>
                    <a:lnTo>
                      <a:pt x="196" y="43"/>
                    </a:lnTo>
                    <a:lnTo>
                      <a:pt x="196" y="53"/>
                    </a:lnTo>
                    <a:lnTo>
                      <a:pt x="198" y="62"/>
                    </a:lnTo>
                    <a:lnTo>
                      <a:pt x="198" y="73"/>
                    </a:lnTo>
                    <a:lnTo>
                      <a:pt x="199" y="82"/>
                    </a:lnTo>
                    <a:lnTo>
                      <a:pt x="199" y="91"/>
                    </a:lnTo>
                    <a:lnTo>
                      <a:pt x="198" y="93"/>
                    </a:lnTo>
                    <a:lnTo>
                      <a:pt x="198" y="96"/>
                    </a:lnTo>
                    <a:lnTo>
                      <a:pt x="195" y="97"/>
                    </a:lnTo>
                    <a:lnTo>
                      <a:pt x="194" y="97"/>
                    </a:lnTo>
                    <a:lnTo>
                      <a:pt x="190" y="96"/>
                    </a:lnTo>
                    <a:lnTo>
                      <a:pt x="187" y="94"/>
                    </a:lnTo>
                    <a:lnTo>
                      <a:pt x="183" y="94"/>
                    </a:lnTo>
                    <a:lnTo>
                      <a:pt x="180" y="96"/>
                    </a:lnTo>
                    <a:lnTo>
                      <a:pt x="176" y="98"/>
                    </a:lnTo>
                    <a:lnTo>
                      <a:pt x="174" y="101"/>
                    </a:lnTo>
                    <a:lnTo>
                      <a:pt x="170" y="106"/>
                    </a:lnTo>
                    <a:lnTo>
                      <a:pt x="168" y="112"/>
                    </a:lnTo>
                    <a:lnTo>
                      <a:pt x="164" y="118"/>
                    </a:lnTo>
                    <a:lnTo>
                      <a:pt x="162" y="123"/>
                    </a:lnTo>
                    <a:lnTo>
                      <a:pt x="158" y="126"/>
                    </a:lnTo>
                    <a:lnTo>
                      <a:pt x="155" y="129"/>
                    </a:lnTo>
                    <a:lnTo>
                      <a:pt x="145" y="131"/>
                    </a:lnTo>
                    <a:lnTo>
                      <a:pt x="134" y="134"/>
                    </a:lnTo>
                    <a:lnTo>
                      <a:pt x="120" y="136"/>
                    </a:lnTo>
                    <a:lnTo>
                      <a:pt x="107" y="138"/>
                    </a:lnTo>
                    <a:lnTo>
                      <a:pt x="94" y="141"/>
                    </a:lnTo>
                    <a:lnTo>
                      <a:pt x="82" y="143"/>
                    </a:lnTo>
                    <a:lnTo>
                      <a:pt x="77" y="144"/>
                    </a:lnTo>
                    <a:lnTo>
                      <a:pt x="73" y="147"/>
                    </a:lnTo>
                    <a:lnTo>
                      <a:pt x="68" y="150"/>
                    </a:lnTo>
                    <a:lnTo>
                      <a:pt x="66" y="153"/>
                    </a:lnTo>
                    <a:lnTo>
                      <a:pt x="63" y="157"/>
                    </a:lnTo>
                    <a:lnTo>
                      <a:pt x="62" y="161"/>
                    </a:lnTo>
                    <a:lnTo>
                      <a:pt x="61" y="164"/>
                    </a:lnTo>
                    <a:lnTo>
                      <a:pt x="62" y="169"/>
                    </a:lnTo>
                    <a:lnTo>
                      <a:pt x="66" y="178"/>
                    </a:lnTo>
                    <a:lnTo>
                      <a:pt x="69" y="185"/>
                    </a:lnTo>
                    <a:lnTo>
                      <a:pt x="74" y="194"/>
                    </a:lnTo>
                    <a:lnTo>
                      <a:pt x="77" y="208"/>
                    </a:lnTo>
                    <a:lnTo>
                      <a:pt x="79" y="217"/>
                    </a:lnTo>
                    <a:lnTo>
                      <a:pt x="79" y="224"/>
                    </a:lnTo>
                    <a:lnTo>
                      <a:pt x="79" y="230"/>
                    </a:lnTo>
                    <a:lnTo>
                      <a:pt x="77" y="236"/>
                    </a:lnTo>
                    <a:lnTo>
                      <a:pt x="74" y="245"/>
                    </a:lnTo>
                    <a:lnTo>
                      <a:pt x="69" y="255"/>
                    </a:lnTo>
                    <a:lnTo>
                      <a:pt x="69" y="260"/>
                    </a:lnTo>
                    <a:lnTo>
                      <a:pt x="69" y="264"/>
                    </a:lnTo>
                    <a:lnTo>
                      <a:pt x="70" y="268"/>
                    </a:lnTo>
                    <a:lnTo>
                      <a:pt x="74" y="271"/>
                    </a:lnTo>
                    <a:lnTo>
                      <a:pt x="76" y="275"/>
                    </a:lnTo>
                    <a:lnTo>
                      <a:pt x="81" y="276"/>
                    </a:lnTo>
                    <a:lnTo>
                      <a:pt x="85" y="279"/>
                    </a:lnTo>
                    <a:lnTo>
                      <a:pt x="89" y="280"/>
                    </a:lnTo>
                    <a:lnTo>
                      <a:pt x="96" y="280"/>
                    </a:lnTo>
                    <a:lnTo>
                      <a:pt x="101" y="282"/>
                    </a:lnTo>
                    <a:lnTo>
                      <a:pt x="102" y="283"/>
                    </a:lnTo>
                    <a:lnTo>
                      <a:pt x="102" y="285"/>
                    </a:lnTo>
                    <a:lnTo>
                      <a:pt x="102" y="287"/>
                    </a:lnTo>
                    <a:lnTo>
                      <a:pt x="101" y="290"/>
                    </a:lnTo>
                    <a:lnTo>
                      <a:pt x="100" y="294"/>
                    </a:lnTo>
                    <a:lnTo>
                      <a:pt x="99" y="298"/>
                    </a:lnTo>
                    <a:lnTo>
                      <a:pt x="99" y="301"/>
                    </a:lnTo>
                    <a:lnTo>
                      <a:pt x="99" y="306"/>
                    </a:lnTo>
                    <a:lnTo>
                      <a:pt x="101" y="309"/>
                    </a:lnTo>
                    <a:lnTo>
                      <a:pt x="104" y="313"/>
                    </a:lnTo>
                    <a:lnTo>
                      <a:pt x="106" y="317"/>
                    </a:lnTo>
                    <a:lnTo>
                      <a:pt x="111" y="320"/>
                    </a:lnTo>
                    <a:lnTo>
                      <a:pt x="120" y="326"/>
                    </a:lnTo>
                    <a:lnTo>
                      <a:pt x="132" y="333"/>
                    </a:lnTo>
                    <a:lnTo>
                      <a:pt x="138" y="337"/>
                    </a:lnTo>
                    <a:lnTo>
                      <a:pt x="144" y="340"/>
                    </a:lnTo>
                    <a:lnTo>
                      <a:pt x="151" y="343"/>
                    </a:lnTo>
                    <a:lnTo>
                      <a:pt x="158" y="345"/>
                    </a:lnTo>
                    <a:lnTo>
                      <a:pt x="165" y="348"/>
                    </a:lnTo>
                    <a:lnTo>
                      <a:pt x="171" y="350"/>
                    </a:lnTo>
                    <a:lnTo>
                      <a:pt x="176" y="352"/>
                    </a:lnTo>
                    <a:lnTo>
                      <a:pt x="181" y="355"/>
                    </a:lnTo>
                    <a:lnTo>
                      <a:pt x="183" y="358"/>
                    </a:lnTo>
                    <a:lnTo>
                      <a:pt x="184" y="361"/>
                    </a:lnTo>
                    <a:lnTo>
                      <a:pt x="184" y="363"/>
                    </a:lnTo>
                    <a:lnTo>
                      <a:pt x="182" y="364"/>
                    </a:lnTo>
                    <a:lnTo>
                      <a:pt x="174" y="367"/>
                    </a:lnTo>
                    <a:lnTo>
                      <a:pt x="164" y="370"/>
                    </a:lnTo>
                    <a:lnTo>
                      <a:pt x="152" y="372"/>
                    </a:lnTo>
                    <a:lnTo>
                      <a:pt x="140" y="374"/>
                    </a:lnTo>
                    <a:lnTo>
                      <a:pt x="136" y="375"/>
                    </a:lnTo>
                    <a:lnTo>
                      <a:pt x="131" y="377"/>
                    </a:lnTo>
                    <a:lnTo>
                      <a:pt x="127" y="380"/>
                    </a:lnTo>
                    <a:lnTo>
                      <a:pt x="124" y="384"/>
                    </a:lnTo>
                    <a:lnTo>
                      <a:pt x="121" y="389"/>
                    </a:lnTo>
                    <a:lnTo>
                      <a:pt x="119" y="395"/>
                    </a:lnTo>
                    <a:lnTo>
                      <a:pt x="118" y="401"/>
                    </a:lnTo>
                    <a:lnTo>
                      <a:pt x="117" y="408"/>
                    </a:lnTo>
                    <a:lnTo>
                      <a:pt x="115" y="414"/>
                    </a:lnTo>
                    <a:lnTo>
                      <a:pt x="113" y="420"/>
                    </a:lnTo>
                    <a:lnTo>
                      <a:pt x="111" y="425"/>
                    </a:lnTo>
                    <a:lnTo>
                      <a:pt x="107" y="430"/>
                    </a:lnTo>
                    <a:lnTo>
                      <a:pt x="98" y="438"/>
                    </a:lnTo>
                    <a:lnTo>
                      <a:pt x="86" y="445"/>
                    </a:lnTo>
                    <a:lnTo>
                      <a:pt x="81" y="447"/>
                    </a:lnTo>
                    <a:lnTo>
                      <a:pt x="76" y="451"/>
                    </a:lnTo>
                    <a:lnTo>
                      <a:pt x="73" y="454"/>
                    </a:lnTo>
                    <a:lnTo>
                      <a:pt x="70" y="458"/>
                    </a:lnTo>
                    <a:lnTo>
                      <a:pt x="69" y="462"/>
                    </a:lnTo>
                    <a:lnTo>
                      <a:pt x="68" y="465"/>
                    </a:lnTo>
                    <a:lnTo>
                      <a:pt x="68" y="468"/>
                    </a:lnTo>
                    <a:lnTo>
                      <a:pt x="69" y="471"/>
                    </a:lnTo>
                    <a:lnTo>
                      <a:pt x="74" y="481"/>
                    </a:lnTo>
                    <a:lnTo>
                      <a:pt x="80" y="491"/>
                    </a:lnTo>
                    <a:lnTo>
                      <a:pt x="82" y="498"/>
                    </a:lnTo>
                    <a:lnTo>
                      <a:pt x="83" y="504"/>
                    </a:lnTo>
                    <a:lnTo>
                      <a:pt x="83" y="512"/>
                    </a:lnTo>
                    <a:lnTo>
                      <a:pt x="82" y="517"/>
                    </a:lnTo>
                    <a:lnTo>
                      <a:pt x="79" y="523"/>
                    </a:lnTo>
                    <a:lnTo>
                      <a:pt x="75" y="527"/>
                    </a:lnTo>
                    <a:lnTo>
                      <a:pt x="71" y="529"/>
                    </a:lnTo>
                    <a:lnTo>
                      <a:pt x="66" y="532"/>
                    </a:lnTo>
                    <a:lnTo>
                      <a:pt x="54" y="533"/>
                    </a:lnTo>
                    <a:lnTo>
                      <a:pt x="37" y="533"/>
                    </a:lnTo>
                    <a:lnTo>
                      <a:pt x="28" y="533"/>
                    </a:lnTo>
                    <a:lnTo>
                      <a:pt x="22" y="535"/>
                    </a:lnTo>
                    <a:lnTo>
                      <a:pt x="16" y="538"/>
                    </a:lnTo>
                    <a:lnTo>
                      <a:pt x="10" y="541"/>
                    </a:lnTo>
                    <a:lnTo>
                      <a:pt x="3" y="548"/>
                    </a:lnTo>
                    <a:lnTo>
                      <a:pt x="0" y="552"/>
                    </a:lnTo>
                    <a:lnTo>
                      <a:pt x="0" y="554"/>
                    </a:lnTo>
                    <a:lnTo>
                      <a:pt x="1" y="557"/>
                    </a:lnTo>
                    <a:lnTo>
                      <a:pt x="3" y="560"/>
                    </a:lnTo>
                    <a:lnTo>
                      <a:pt x="6" y="564"/>
                    </a:lnTo>
                    <a:lnTo>
                      <a:pt x="7" y="566"/>
                    </a:lnTo>
                    <a:lnTo>
                      <a:pt x="10" y="570"/>
                    </a:lnTo>
                    <a:lnTo>
                      <a:pt x="11" y="572"/>
                    </a:lnTo>
                    <a:lnTo>
                      <a:pt x="11" y="577"/>
                    </a:lnTo>
                    <a:lnTo>
                      <a:pt x="11" y="588"/>
                    </a:lnTo>
                    <a:lnTo>
                      <a:pt x="12" y="601"/>
                    </a:lnTo>
                    <a:lnTo>
                      <a:pt x="13" y="613"/>
                    </a:lnTo>
                    <a:lnTo>
                      <a:pt x="14" y="622"/>
                    </a:lnTo>
                    <a:lnTo>
                      <a:pt x="18" y="630"/>
                    </a:lnTo>
                    <a:lnTo>
                      <a:pt x="24" y="638"/>
                    </a:lnTo>
                    <a:lnTo>
                      <a:pt x="31" y="643"/>
                    </a:lnTo>
                    <a:lnTo>
                      <a:pt x="37" y="648"/>
                    </a:lnTo>
                    <a:lnTo>
                      <a:pt x="44" y="651"/>
                    </a:lnTo>
                    <a:lnTo>
                      <a:pt x="51" y="655"/>
                    </a:lnTo>
                    <a:lnTo>
                      <a:pt x="58" y="660"/>
                    </a:lnTo>
                    <a:lnTo>
                      <a:pt x="66" y="667"/>
                    </a:lnTo>
                    <a:lnTo>
                      <a:pt x="73" y="677"/>
                    </a:lnTo>
                    <a:lnTo>
                      <a:pt x="82" y="689"/>
                    </a:lnTo>
                    <a:lnTo>
                      <a:pt x="94" y="701"/>
                    </a:lnTo>
                    <a:lnTo>
                      <a:pt x="105" y="714"/>
                    </a:lnTo>
                    <a:lnTo>
                      <a:pt x="113" y="722"/>
                    </a:lnTo>
                    <a:lnTo>
                      <a:pt x="120" y="730"/>
                    </a:lnTo>
                    <a:lnTo>
                      <a:pt x="127" y="736"/>
                    </a:lnTo>
                    <a:lnTo>
                      <a:pt x="134" y="743"/>
                    </a:lnTo>
                    <a:lnTo>
                      <a:pt x="145" y="752"/>
                    </a:lnTo>
                    <a:lnTo>
                      <a:pt x="154" y="759"/>
                    </a:lnTo>
                    <a:lnTo>
                      <a:pt x="165" y="766"/>
                    </a:lnTo>
                    <a:lnTo>
                      <a:pt x="180" y="774"/>
                    </a:lnTo>
                    <a:lnTo>
                      <a:pt x="193" y="783"/>
                    </a:lnTo>
                    <a:lnTo>
                      <a:pt x="203" y="787"/>
                    </a:lnTo>
                    <a:lnTo>
                      <a:pt x="213" y="791"/>
                    </a:lnTo>
                    <a:lnTo>
                      <a:pt x="226" y="796"/>
                    </a:lnTo>
                    <a:lnTo>
                      <a:pt x="238" y="800"/>
                    </a:lnTo>
                    <a:lnTo>
                      <a:pt x="247" y="805"/>
                    </a:lnTo>
                    <a:lnTo>
                      <a:pt x="255" y="812"/>
                    </a:lnTo>
                    <a:lnTo>
                      <a:pt x="263" y="821"/>
                    </a:lnTo>
                    <a:lnTo>
                      <a:pt x="270" y="829"/>
                    </a:lnTo>
                    <a:lnTo>
                      <a:pt x="274" y="837"/>
                    </a:lnTo>
                    <a:lnTo>
                      <a:pt x="277" y="844"/>
                    </a:lnTo>
                    <a:lnTo>
                      <a:pt x="278" y="853"/>
                    </a:lnTo>
                    <a:lnTo>
                      <a:pt x="281" y="861"/>
                    </a:lnTo>
                    <a:lnTo>
                      <a:pt x="281" y="870"/>
                    </a:lnTo>
                    <a:lnTo>
                      <a:pt x="281" y="881"/>
                    </a:lnTo>
                    <a:lnTo>
                      <a:pt x="282" y="890"/>
                    </a:lnTo>
                    <a:lnTo>
                      <a:pt x="284" y="898"/>
                    </a:lnTo>
                    <a:lnTo>
                      <a:pt x="287" y="904"/>
                    </a:lnTo>
                    <a:lnTo>
                      <a:pt x="294" y="916"/>
                    </a:lnTo>
                    <a:lnTo>
                      <a:pt x="300" y="928"/>
                    </a:lnTo>
                    <a:lnTo>
                      <a:pt x="303" y="937"/>
                    </a:lnTo>
                    <a:lnTo>
                      <a:pt x="310" y="947"/>
                    </a:lnTo>
                    <a:lnTo>
                      <a:pt x="318" y="957"/>
                    </a:lnTo>
                    <a:lnTo>
                      <a:pt x="324" y="966"/>
                    </a:lnTo>
                    <a:lnTo>
                      <a:pt x="328" y="973"/>
                    </a:lnTo>
                    <a:lnTo>
                      <a:pt x="333" y="980"/>
                    </a:lnTo>
                    <a:lnTo>
                      <a:pt x="337" y="988"/>
                    </a:lnTo>
                    <a:lnTo>
                      <a:pt x="339" y="998"/>
                    </a:lnTo>
                    <a:lnTo>
                      <a:pt x="339" y="1008"/>
                    </a:lnTo>
                    <a:lnTo>
                      <a:pt x="338" y="1017"/>
                    </a:lnTo>
                    <a:lnTo>
                      <a:pt x="337" y="1025"/>
                    </a:lnTo>
                    <a:lnTo>
                      <a:pt x="334" y="1031"/>
                    </a:lnTo>
                    <a:lnTo>
                      <a:pt x="328" y="1038"/>
                    </a:lnTo>
                    <a:lnTo>
                      <a:pt x="325" y="1045"/>
                    </a:lnTo>
                    <a:lnTo>
                      <a:pt x="325" y="1049"/>
                    </a:lnTo>
                    <a:lnTo>
                      <a:pt x="326" y="1052"/>
                    </a:lnTo>
                    <a:lnTo>
                      <a:pt x="329" y="1057"/>
                    </a:lnTo>
                    <a:lnTo>
                      <a:pt x="333" y="1059"/>
                    </a:lnTo>
                    <a:lnTo>
                      <a:pt x="335" y="1063"/>
                    </a:lnTo>
                    <a:lnTo>
                      <a:pt x="338" y="1067"/>
                    </a:lnTo>
                    <a:lnTo>
                      <a:pt x="340" y="1071"/>
                    </a:lnTo>
                    <a:lnTo>
                      <a:pt x="341" y="1077"/>
                    </a:lnTo>
                    <a:lnTo>
                      <a:pt x="343" y="1086"/>
                    </a:lnTo>
                    <a:lnTo>
                      <a:pt x="346" y="1094"/>
                    </a:lnTo>
                    <a:lnTo>
                      <a:pt x="352" y="1102"/>
                    </a:lnTo>
                    <a:lnTo>
                      <a:pt x="357" y="1109"/>
                    </a:lnTo>
                    <a:lnTo>
                      <a:pt x="363" y="1117"/>
                    </a:lnTo>
                    <a:lnTo>
                      <a:pt x="369" y="1124"/>
                    </a:lnTo>
                    <a:lnTo>
                      <a:pt x="373" y="1130"/>
                    </a:lnTo>
                    <a:lnTo>
                      <a:pt x="376" y="1137"/>
                    </a:lnTo>
                    <a:lnTo>
                      <a:pt x="377" y="1146"/>
                    </a:lnTo>
                    <a:lnTo>
                      <a:pt x="381" y="1156"/>
                    </a:lnTo>
                    <a:lnTo>
                      <a:pt x="384" y="1165"/>
                    </a:lnTo>
                    <a:lnTo>
                      <a:pt x="390" y="1174"/>
                    </a:lnTo>
                    <a:lnTo>
                      <a:pt x="397" y="1183"/>
                    </a:lnTo>
                    <a:lnTo>
                      <a:pt x="409" y="1195"/>
                    </a:lnTo>
                    <a:lnTo>
                      <a:pt x="421" y="1208"/>
                    </a:lnTo>
                    <a:lnTo>
                      <a:pt x="430" y="1219"/>
                    </a:lnTo>
                    <a:lnTo>
                      <a:pt x="440" y="1229"/>
                    </a:lnTo>
                    <a:lnTo>
                      <a:pt x="452" y="1245"/>
                    </a:lnTo>
                    <a:lnTo>
                      <a:pt x="464" y="1258"/>
                    </a:lnTo>
                    <a:lnTo>
                      <a:pt x="471" y="1267"/>
                    </a:lnTo>
                    <a:lnTo>
                      <a:pt x="476" y="1273"/>
                    </a:lnTo>
                    <a:lnTo>
                      <a:pt x="479" y="1282"/>
                    </a:lnTo>
                    <a:lnTo>
                      <a:pt x="480" y="1285"/>
                    </a:lnTo>
                    <a:lnTo>
                      <a:pt x="480" y="1289"/>
                    </a:lnTo>
                    <a:lnTo>
                      <a:pt x="480" y="1292"/>
                    </a:lnTo>
                    <a:lnTo>
                      <a:pt x="479" y="1296"/>
                    </a:lnTo>
                    <a:lnTo>
                      <a:pt x="473" y="1302"/>
                    </a:lnTo>
                    <a:lnTo>
                      <a:pt x="463" y="1310"/>
                    </a:lnTo>
                    <a:lnTo>
                      <a:pt x="452" y="1317"/>
                    </a:lnTo>
                    <a:lnTo>
                      <a:pt x="445" y="1323"/>
                    </a:lnTo>
                    <a:lnTo>
                      <a:pt x="441" y="1325"/>
                    </a:lnTo>
                    <a:lnTo>
                      <a:pt x="438" y="1326"/>
                    </a:lnTo>
                    <a:lnTo>
                      <a:pt x="435" y="1326"/>
                    </a:lnTo>
                    <a:lnTo>
                      <a:pt x="432" y="1325"/>
                    </a:lnTo>
                    <a:lnTo>
                      <a:pt x="426" y="1321"/>
                    </a:lnTo>
                    <a:lnTo>
                      <a:pt x="421" y="1316"/>
                    </a:lnTo>
                    <a:lnTo>
                      <a:pt x="416" y="1309"/>
                    </a:lnTo>
                    <a:lnTo>
                      <a:pt x="411" y="1303"/>
                    </a:lnTo>
                    <a:lnTo>
                      <a:pt x="408" y="1298"/>
                    </a:lnTo>
                    <a:lnTo>
                      <a:pt x="403" y="1296"/>
                    </a:lnTo>
                    <a:lnTo>
                      <a:pt x="397" y="1297"/>
                    </a:lnTo>
                    <a:lnTo>
                      <a:pt x="391" y="1300"/>
                    </a:lnTo>
                    <a:lnTo>
                      <a:pt x="389" y="1302"/>
                    </a:lnTo>
                    <a:lnTo>
                      <a:pt x="387" y="1306"/>
                    </a:lnTo>
                    <a:lnTo>
                      <a:pt x="384" y="1309"/>
                    </a:lnTo>
                    <a:lnTo>
                      <a:pt x="382" y="1313"/>
                    </a:lnTo>
                    <a:lnTo>
                      <a:pt x="381" y="1325"/>
                    </a:lnTo>
                    <a:lnTo>
                      <a:pt x="381" y="1340"/>
                    </a:lnTo>
                    <a:lnTo>
                      <a:pt x="382" y="1347"/>
                    </a:lnTo>
                    <a:lnTo>
                      <a:pt x="383" y="1354"/>
                    </a:lnTo>
                    <a:lnTo>
                      <a:pt x="384" y="1361"/>
                    </a:lnTo>
                    <a:lnTo>
                      <a:pt x="388" y="1366"/>
                    </a:lnTo>
                    <a:lnTo>
                      <a:pt x="400" y="1380"/>
                    </a:lnTo>
                    <a:lnTo>
                      <a:pt x="410" y="1393"/>
                    </a:lnTo>
                    <a:lnTo>
                      <a:pt x="414" y="1398"/>
                    </a:lnTo>
                    <a:lnTo>
                      <a:pt x="415" y="1403"/>
                    </a:lnTo>
                    <a:lnTo>
                      <a:pt x="416" y="1408"/>
                    </a:lnTo>
                    <a:lnTo>
                      <a:pt x="416" y="1415"/>
                    </a:lnTo>
                    <a:lnTo>
                      <a:pt x="417" y="1422"/>
                    </a:lnTo>
                    <a:lnTo>
                      <a:pt x="419" y="1428"/>
                    </a:lnTo>
                    <a:lnTo>
                      <a:pt x="421" y="1434"/>
                    </a:lnTo>
                    <a:lnTo>
                      <a:pt x="426" y="1439"/>
                    </a:lnTo>
                    <a:lnTo>
                      <a:pt x="430" y="1443"/>
                    </a:lnTo>
                    <a:lnTo>
                      <a:pt x="434" y="1448"/>
                    </a:lnTo>
                    <a:lnTo>
                      <a:pt x="436" y="1454"/>
                    </a:lnTo>
                    <a:lnTo>
                      <a:pt x="438" y="1461"/>
                    </a:lnTo>
                    <a:lnTo>
                      <a:pt x="436" y="1472"/>
                    </a:lnTo>
                    <a:lnTo>
                      <a:pt x="435" y="1484"/>
                    </a:lnTo>
                    <a:lnTo>
                      <a:pt x="435" y="1490"/>
                    </a:lnTo>
                    <a:lnTo>
                      <a:pt x="435" y="1496"/>
                    </a:lnTo>
                    <a:lnTo>
                      <a:pt x="436" y="1500"/>
                    </a:lnTo>
                    <a:lnTo>
                      <a:pt x="439" y="1504"/>
                    </a:lnTo>
                    <a:lnTo>
                      <a:pt x="452" y="1519"/>
                    </a:lnTo>
                    <a:lnTo>
                      <a:pt x="470" y="1537"/>
                    </a:lnTo>
                    <a:lnTo>
                      <a:pt x="476" y="1547"/>
                    </a:lnTo>
                    <a:lnTo>
                      <a:pt x="479" y="1554"/>
                    </a:lnTo>
                    <a:lnTo>
                      <a:pt x="480" y="1560"/>
                    </a:lnTo>
                    <a:lnTo>
                      <a:pt x="480" y="1566"/>
                    </a:lnTo>
                    <a:lnTo>
                      <a:pt x="480" y="1572"/>
                    </a:lnTo>
                    <a:lnTo>
                      <a:pt x="478" y="1578"/>
                    </a:lnTo>
                    <a:lnTo>
                      <a:pt x="473" y="1582"/>
                    </a:lnTo>
                    <a:lnTo>
                      <a:pt x="470" y="1587"/>
                    </a:lnTo>
                    <a:lnTo>
                      <a:pt x="467" y="1591"/>
                    </a:lnTo>
                    <a:lnTo>
                      <a:pt x="467" y="1593"/>
                    </a:lnTo>
                    <a:lnTo>
                      <a:pt x="467" y="1597"/>
                    </a:lnTo>
                    <a:lnTo>
                      <a:pt x="470" y="1600"/>
                    </a:lnTo>
                    <a:lnTo>
                      <a:pt x="473" y="1607"/>
                    </a:lnTo>
                    <a:lnTo>
                      <a:pt x="477" y="1615"/>
                    </a:lnTo>
                    <a:lnTo>
                      <a:pt x="477" y="1618"/>
                    </a:lnTo>
                    <a:lnTo>
                      <a:pt x="476" y="1623"/>
                    </a:lnTo>
                    <a:lnTo>
                      <a:pt x="474" y="1626"/>
                    </a:lnTo>
                    <a:lnTo>
                      <a:pt x="473" y="1631"/>
                    </a:lnTo>
                    <a:lnTo>
                      <a:pt x="471" y="1636"/>
                    </a:lnTo>
                    <a:lnTo>
                      <a:pt x="469" y="1642"/>
                    </a:lnTo>
                    <a:lnTo>
                      <a:pt x="467" y="1648"/>
                    </a:lnTo>
                    <a:lnTo>
                      <a:pt x="467" y="1654"/>
                    </a:lnTo>
                    <a:lnTo>
                      <a:pt x="469" y="1669"/>
                    </a:lnTo>
                    <a:lnTo>
                      <a:pt x="470" y="1683"/>
                    </a:lnTo>
                    <a:lnTo>
                      <a:pt x="471" y="1697"/>
                    </a:lnTo>
                    <a:lnTo>
                      <a:pt x="472" y="1707"/>
                    </a:lnTo>
                    <a:lnTo>
                      <a:pt x="471" y="1718"/>
                    </a:lnTo>
                    <a:lnTo>
                      <a:pt x="470" y="1727"/>
                    </a:lnTo>
                    <a:lnTo>
                      <a:pt x="470" y="1738"/>
                    </a:lnTo>
                    <a:lnTo>
                      <a:pt x="469" y="1748"/>
                    </a:lnTo>
                    <a:lnTo>
                      <a:pt x="467" y="1760"/>
                    </a:lnTo>
                    <a:lnTo>
                      <a:pt x="466" y="1775"/>
                    </a:lnTo>
                    <a:lnTo>
                      <a:pt x="465" y="1790"/>
                    </a:lnTo>
                    <a:lnTo>
                      <a:pt x="464" y="1802"/>
                    </a:lnTo>
                    <a:lnTo>
                      <a:pt x="464" y="1812"/>
                    </a:lnTo>
                    <a:lnTo>
                      <a:pt x="465" y="1823"/>
                    </a:lnTo>
                    <a:lnTo>
                      <a:pt x="466" y="1833"/>
                    </a:lnTo>
                    <a:lnTo>
                      <a:pt x="469" y="1840"/>
                    </a:lnTo>
                    <a:lnTo>
                      <a:pt x="471" y="1848"/>
                    </a:lnTo>
                    <a:lnTo>
                      <a:pt x="473" y="1857"/>
                    </a:lnTo>
                    <a:lnTo>
                      <a:pt x="476" y="1869"/>
                    </a:lnTo>
                    <a:lnTo>
                      <a:pt x="478" y="1881"/>
                    </a:lnTo>
                    <a:lnTo>
                      <a:pt x="480" y="1893"/>
                    </a:lnTo>
                    <a:lnTo>
                      <a:pt x="482" y="1905"/>
                    </a:lnTo>
                    <a:lnTo>
                      <a:pt x="482" y="1918"/>
                    </a:lnTo>
                    <a:lnTo>
                      <a:pt x="482" y="1932"/>
                    </a:lnTo>
                    <a:lnTo>
                      <a:pt x="479" y="1946"/>
                    </a:lnTo>
                    <a:lnTo>
                      <a:pt x="477" y="1957"/>
                    </a:lnTo>
                    <a:lnTo>
                      <a:pt x="473" y="1966"/>
                    </a:lnTo>
                    <a:lnTo>
                      <a:pt x="469" y="1975"/>
                    </a:lnTo>
                    <a:lnTo>
                      <a:pt x="463" y="1982"/>
                    </a:lnTo>
                    <a:lnTo>
                      <a:pt x="459" y="1989"/>
                    </a:lnTo>
                    <a:lnTo>
                      <a:pt x="454" y="1996"/>
                    </a:lnTo>
                    <a:lnTo>
                      <a:pt x="452" y="2004"/>
                    </a:lnTo>
                    <a:lnTo>
                      <a:pt x="448" y="2015"/>
                    </a:lnTo>
                    <a:lnTo>
                      <a:pt x="446" y="2027"/>
                    </a:lnTo>
                    <a:lnTo>
                      <a:pt x="444" y="2040"/>
                    </a:lnTo>
                    <a:lnTo>
                      <a:pt x="445" y="2053"/>
                    </a:lnTo>
                    <a:lnTo>
                      <a:pt x="447" y="2066"/>
                    </a:lnTo>
                    <a:lnTo>
                      <a:pt x="452" y="2079"/>
                    </a:lnTo>
                    <a:lnTo>
                      <a:pt x="455" y="2091"/>
                    </a:lnTo>
                    <a:lnTo>
                      <a:pt x="457" y="2099"/>
                    </a:lnTo>
                    <a:lnTo>
                      <a:pt x="458" y="2110"/>
                    </a:lnTo>
                    <a:lnTo>
                      <a:pt x="457" y="2122"/>
                    </a:lnTo>
                    <a:lnTo>
                      <a:pt x="455" y="2136"/>
                    </a:lnTo>
                    <a:lnTo>
                      <a:pt x="454" y="2148"/>
                    </a:lnTo>
                    <a:lnTo>
                      <a:pt x="454" y="2161"/>
                    </a:lnTo>
                    <a:lnTo>
                      <a:pt x="454" y="2178"/>
                    </a:lnTo>
                    <a:lnTo>
                      <a:pt x="455" y="2196"/>
                    </a:lnTo>
                    <a:lnTo>
                      <a:pt x="458" y="2208"/>
                    </a:lnTo>
                    <a:lnTo>
                      <a:pt x="461" y="2216"/>
                    </a:lnTo>
                    <a:lnTo>
                      <a:pt x="464" y="2224"/>
                    </a:lnTo>
                    <a:lnTo>
                      <a:pt x="466" y="2233"/>
                    </a:lnTo>
                    <a:lnTo>
                      <a:pt x="467" y="2241"/>
                    </a:lnTo>
                    <a:lnTo>
                      <a:pt x="467" y="2248"/>
                    </a:lnTo>
                    <a:lnTo>
                      <a:pt x="467" y="2256"/>
                    </a:lnTo>
                    <a:lnTo>
                      <a:pt x="467" y="2277"/>
                    </a:lnTo>
                    <a:lnTo>
                      <a:pt x="466" y="2293"/>
                    </a:lnTo>
                    <a:lnTo>
                      <a:pt x="466" y="2306"/>
                    </a:lnTo>
                    <a:lnTo>
                      <a:pt x="466" y="2317"/>
                    </a:lnTo>
                    <a:lnTo>
                      <a:pt x="464" y="2327"/>
                    </a:lnTo>
                    <a:lnTo>
                      <a:pt x="460" y="2338"/>
                    </a:lnTo>
                    <a:lnTo>
                      <a:pt x="457" y="2350"/>
                    </a:lnTo>
                    <a:lnTo>
                      <a:pt x="454" y="2361"/>
                    </a:lnTo>
                    <a:lnTo>
                      <a:pt x="454" y="2380"/>
                    </a:lnTo>
                    <a:lnTo>
                      <a:pt x="452" y="2395"/>
                    </a:lnTo>
                    <a:lnTo>
                      <a:pt x="450" y="2403"/>
                    </a:lnTo>
                    <a:lnTo>
                      <a:pt x="447" y="2412"/>
                    </a:lnTo>
                    <a:lnTo>
                      <a:pt x="445" y="2424"/>
                    </a:lnTo>
                    <a:lnTo>
                      <a:pt x="444" y="2436"/>
                    </a:lnTo>
                    <a:lnTo>
                      <a:pt x="444" y="2449"/>
                    </a:lnTo>
                    <a:lnTo>
                      <a:pt x="446" y="2463"/>
                    </a:lnTo>
                    <a:lnTo>
                      <a:pt x="448" y="2476"/>
                    </a:lnTo>
                    <a:lnTo>
                      <a:pt x="451" y="2487"/>
                    </a:lnTo>
                    <a:lnTo>
                      <a:pt x="454" y="2498"/>
                    </a:lnTo>
                    <a:lnTo>
                      <a:pt x="458" y="2508"/>
                    </a:lnTo>
                    <a:lnTo>
                      <a:pt x="460" y="2519"/>
                    </a:lnTo>
                    <a:lnTo>
                      <a:pt x="463" y="2530"/>
                    </a:lnTo>
                    <a:lnTo>
                      <a:pt x="464" y="2539"/>
                    </a:lnTo>
                    <a:lnTo>
                      <a:pt x="464" y="2550"/>
                    </a:lnTo>
                    <a:lnTo>
                      <a:pt x="464" y="2559"/>
                    </a:lnTo>
                    <a:lnTo>
                      <a:pt x="461" y="2568"/>
                    </a:lnTo>
                    <a:lnTo>
                      <a:pt x="459" y="2573"/>
                    </a:lnTo>
                    <a:lnTo>
                      <a:pt x="455" y="2578"/>
                    </a:lnTo>
                    <a:lnTo>
                      <a:pt x="453" y="2586"/>
                    </a:lnTo>
                    <a:lnTo>
                      <a:pt x="452" y="2593"/>
                    </a:lnTo>
                    <a:lnTo>
                      <a:pt x="452" y="2602"/>
                    </a:lnTo>
                    <a:lnTo>
                      <a:pt x="455" y="2612"/>
                    </a:lnTo>
                    <a:lnTo>
                      <a:pt x="459" y="2620"/>
                    </a:lnTo>
                    <a:lnTo>
                      <a:pt x="464" y="2627"/>
                    </a:lnTo>
                    <a:lnTo>
                      <a:pt x="470" y="2634"/>
                    </a:lnTo>
                    <a:lnTo>
                      <a:pt x="477" y="2643"/>
                    </a:lnTo>
                    <a:lnTo>
                      <a:pt x="480" y="2647"/>
                    </a:lnTo>
                    <a:lnTo>
                      <a:pt x="484" y="2652"/>
                    </a:lnTo>
                    <a:lnTo>
                      <a:pt x="486" y="2658"/>
                    </a:lnTo>
                    <a:lnTo>
                      <a:pt x="488" y="2663"/>
                    </a:lnTo>
                    <a:lnTo>
                      <a:pt x="490" y="2674"/>
                    </a:lnTo>
                    <a:lnTo>
                      <a:pt x="494" y="2682"/>
                    </a:lnTo>
                    <a:lnTo>
                      <a:pt x="497" y="2690"/>
                    </a:lnTo>
                    <a:lnTo>
                      <a:pt x="502" y="2697"/>
                    </a:lnTo>
                    <a:lnTo>
                      <a:pt x="505" y="2702"/>
                    </a:lnTo>
                    <a:lnTo>
                      <a:pt x="508" y="2703"/>
                    </a:lnTo>
                    <a:lnTo>
                      <a:pt x="510" y="2704"/>
                    </a:lnTo>
                    <a:lnTo>
                      <a:pt x="511" y="2703"/>
                    </a:lnTo>
                    <a:lnTo>
                      <a:pt x="513" y="2699"/>
                    </a:lnTo>
                    <a:lnTo>
                      <a:pt x="514" y="2691"/>
                    </a:lnTo>
                    <a:lnTo>
                      <a:pt x="515" y="2684"/>
                    </a:lnTo>
                    <a:lnTo>
                      <a:pt x="517" y="2678"/>
                    </a:lnTo>
                    <a:lnTo>
                      <a:pt x="521" y="2674"/>
                    </a:lnTo>
                    <a:lnTo>
                      <a:pt x="523" y="2669"/>
                    </a:lnTo>
                    <a:lnTo>
                      <a:pt x="526" y="2665"/>
                    </a:lnTo>
                    <a:lnTo>
                      <a:pt x="528" y="2660"/>
                    </a:lnTo>
                    <a:lnTo>
                      <a:pt x="530" y="2653"/>
                    </a:lnTo>
                    <a:lnTo>
                      <a:pt x="533" y="2647"/>
                    </a:lnTo>
                    <a:lnTo>
                      <a:pt x="535" y="2632"/>
                    </a:lnTo>
                    <a:lnTo>
                      <a:pt x="535" y="2615"/>
                    </a:lnTo>
                    <a:lnTo>
                      <a:pt x="535" y="2600"/>
                    </a:lnTo>
                    <a:lnTo>
                      <a:pt x="533" y="2587"/>
                    </a:lnTo>
                    <a:lnTo>
                      <a:pt x="529" y="2576"/>
                    </a:lnTo>
                    <a:lnTo>
                      <a:pt x="526" y="2568"/>
                    </a:lnTo>
                    <a:lnTo>
                      <a:pt x="524" y="2564"/>
                    </a:lnTo>
                    <a:lnTo>
                      <a:pt x="524" y="2561"/>
                    </a:lnTo>
                    <a:lnTo>
                      <a:pt x="526" y="2556"/>
                    </a:lnTo>
                    <a:lnTo>
                      <a:pt x="528" y="2552"/>
                    </a:lnTo>
                    <a:lnTo>
                      <a:pt x="532" y="2549"/>
                    </a:lnTo>
                    <a:lnTo>
                      <a:pt x="535" y="2546"/>
                    </a:lnTo>
                    <a:lnTo>
                      <a:pt x="540" y="2544"/>
                    </a:lnTo>
                    <a:lnTo>
                      <a:pt x="546" y="2544"/>
                    </a:lnTo>
                    <a:lnTo>
                      <a:pt x="558" y="2544"/>
                    </a:lnTo>
                    <a:lnTo>
                      <a:pt x="570" y="2543"/>
                    </a:lnTo>
                    <a:lnTo>
                      <a:pt x="574" y="2542"/>
                    </a:lnTo>
                    <a:lnTo>
                      <a:pt x="579" y="2539"/>
                    </a:lnTo>
                    <a:lnTo>
                      <a:pt x="585" y="2537"/>
                    </a:lnTo>
                    <a:lnTo>
                      <a:pt x="590" y="2533"/>
                    </a:lnTo>
                    <a:lnTo>
                      <a:pt x="593" y="2529"/>
                    </a:lnTo>
                    <a:lnTo>
                      <a:pt x="597" y="2524"/>
                    </a:lnTo>
                    <a:lnTo>
                      <a:pt x="598" y="2520"/>
                    </a:lnTo>
                    <a:lnTo>
                      <a:pt x="599" y="2515"/>
                    </a:lnTo>
                    <a:lnTo>
                      <a:pt x="599" y="2506"/>
                    </a:lnTo>
                    <a:lnTo>
                      <a:pt x="599" y="2499"/>
                    </a:lnTo>
                    <a:lnTo>
                      <a:pt x="600" y="2491"/>
                    </a:lnTo>
                    <a:lnTo>
                      <a:pt x="603" y="2485"/>
                    </a:lnTo>
                    <a:lnTo>
                      <a:pt x="605" y="2482"/>
                    </a:lnTo>
                    <a:lnTo>
                      <a:pt x="609" y="2480"/>
                    </a:lnTo>
                    <a:lnTo>
                      <a:pt x="612" y="2477"/>
                    </a:lnTo>
                    <a:lnTo>
                      <a:pt x="617" y="2476"/>
                    </a:lnTo>
                    <a:lnTo>
                      <a:pt x="622" y="2475"/>
                    </a:lnTo>
                    <a:lnTo>
                      <a:pt x="625" y="2474"/>
                    </a:lnTo>
                    <a:lnTo>
                      <a:pt x="629" y="2472"/>
                    </a:lnTo>
                    <a:lnTo>
                      <a:pt x="631" y="2469"/>
                    </a:lnTo>
                    <a:lnTo>
                      <a:pt x="634" y="2463"/>
                    </a:lnTo>
                    <a:lnTo>
                      <a:pt x="635" y="2454"/>
                    </a:lnTo>
                    <a:lnTo>
                      <a:pt x="636" y="2449"/>
                    </a:lnTo>
                    <a:lnTo>
                      <a:pt x="639" y="2445"/>
                    </a:lnTo>
                    <a:lnTo>
                      <a:pt x="642" y="2441"/>
                    </a:lnTo>
                    <a:lnTo>
                      <a:pt x="646" y="2437"/>
                    </a:lnTo>
                    <a:lnTo>
                      <a:pt x="655" y="2432"/>
                    </a:lnTo>
                    <a:lnTo>
                      <a:pt x="666" y="2429"/>
                    </a:lnTo>
                    <a:lnTo>
                      <a:pt x="669" y="2428"/>
                    </a:lnTo>
                    <a:lnTo>
                      <a:pt x="673" y="2429"/>
                    </a:lnTo>
                    <a:lnTo>
                      <a:pt x="677" y="2430"/>
                    </a:lnTo>
                    <a:lnTo>
                      <a:pt x="678" y="2432"/>
                    </a:lnTo>
                    <a:lnTo>
                      <a:pt x="679" y="2436"/>
                    </a:lnTo>
                    <a:lnTo>
                      <a:pt x="679" y="2439"/>
                    </a:lnTo>
                    <a:lnTo>
                      <a:pt x="679" y="2444"/>
                    </a:lnTo>
                    <a:lnTo>
                      <a:pt x="677" y="2449"/>
                    </a:lnTo>
                    <a:lnTo>
                      <a:pt x="673" y="2458"/>
                    </a:lnTo>
                    <a:lnTo>
                      <a:pt x="672" y="2467"/>
                    </a:lnTo>
                    <a:lnTo>
                      <a:pt x="672" y="2470"/>
                    </a:lnTo>
                    <a:lnTo>
                      <a:pt x="673" y="2475"/>
                    </a:lnTo>
                    <a:lnTo>
                      <a:pt x="675" y="2479"/>
                    </a:lnTo>
                    <a:lnTo>
                      <a:pt x="679" y="2481"/>
                    </a:lnTo>
                    <a:lnTo>
                      <a:pt x="690" y="2488"/>
                    </a:lnTo>
                    <a:lnTo>
                      <a:pt x="705" y="2496"/>
                    </a:lnTo>
                    <a:lnTo>
                      <a:pt x="712" y="2501"/>
                    </a:lnTo>
                    <a:lnTo>
                      <a:pt x="719" y="2506"/>
                    </a:lnTo>
                    <a:lnTo>
                      <a:pt x="722" y="2508"/>
                    </a:lnTo>
                    <a:lnTo>
                      <a:pt x="723" y="2511"/>
                    </a:lnTo>
                    <a:lnTo>
                      <a:pt x="724" y="2513"/>
                    </a:lnTo>
                    <a:lnTo>
                      <a:pt x="725" y="2517"/>
                    </a:lnTo>
                    <a:lnTo>
                      <a:pt x="716" y="2536"/>
                    </a:lnTo>
                    <a:lnTo>
                      <a:pt x="711" y="2550"/>
                    </a:lnTo>
                    <a:lnTo>
                      <a:pt x="724" y="2549"/>
                    </a:lnTo>
                    <a:lnTo>
                      <a:pt x="742" y="2548"/>
                    </a:lnTo>
                    <a:lnTo>
                      <a:pt x="744" y="2551"/>
                    </a:lnTo>
                    <a:lnTo>
                      <a:pt x="748" y="2556"/>
                    </a:lnTo>
                    <a:lnTo>
                      <a:pt x="750" y="2562"/>
                    </a:lnTo>
                    <a:lnTo>
                      <a:pt x="753" y="2568"/>
                    </a:lnTo>
                    <a:lnTo>
                      <a:pt x="759" y="2583"/>
                    </a:lnTo>
                    <a:lnTo>
                      <a:pt x="765" y="2596"/>
                    </a:lnTo>
                    <a:lnTo>
                      <a:pt x="770" y="2607"/>
                    </a:lnTo>
                    <a:lnTo>
                      <a:pt x="776" y="2617"/>
                    </a:lnTo>
                    <a:lnTo>
                      <a:pt x="780" y="2625"/>
                    </a:lnTo>
                    <a:lnTo>
                      <a:pt x="782" y="2634"/>
                    </a:lnTo>
                    <a:lnTo>
                      <a:pt x="782" y="2643"/>
                    </a:lnTo>
                    <a:lnTo>
                      <a:pt x="784" y="2651"/>
                    </a:lnTo>
                    <a:lnTo>
                      <a:pt x="785" y="2655"/>
                    </a:lnTo>
                    <a:lnTo>
                      <a:pt x="787" y="2657"/>
                    </a:lnTo>
                    <a:lnTo>
                      <a:pt x="790" y="2660"/>
                    </a:lnTo>
                    <a:lnTo>
                      <a:pt x="793" y="2663"/>
                    </a:lnTo>
                    <a:lnTo>
                      <a:pt x="800" y="2666"/>
                    </a:lnTo>
                    <a:lnTo>
                      <a:pt x="809" y="2670"/>
                    </a:lnTo>
                    <a:lnTo>
                      <a:pt x="812" y="2672"/>
                    </a:lnTo>
                    <a:lnTo>
                      <a:pt x="813" y="2675"/>
                    </a:lnTo>
                    <a:lnTo>
                      <a:pt x="814" y="2678"/>
                    </a:lnTo>
                    <a:lnTo>
                      <a:pt x="814" y="2682"/>
                    </a:lnTo>
                    <a:lnTo>
                      <a:pt x="811" y="2689"/>
                    </a:lnTo>
                    <a:lnTo>
                      <a:pt x="807" y="2694"/>
                    </a:lnTo>
                    <a:lnTo>
                      <a:pt x="806" y="2695"/>
                    </a:lnTo>
                    <a:lnTo>
                      <a:pt x="806" y="2697"/>
                    </a:lnTo>
                    <a:lnTo>
                      <a:pt x="807" y="2700"/>
                    </a:lnTo>
                    <a:lnTo>
                      <a:pt x="809" y="2702"/>
                    </a:lnTo>
                    <a:lnTo>
                      <a:pt x="812" y="2708"/>
                    </a:lnTo>
                    <a:lnTo>
                      <a:pt x="813" y="2714"/>
                    </a:lnTo>
                    <a:lnTo>
                      <a:pt x="813" y="2720"/>
                    </a:lnTo>
                    <a:lnTo>
                      <a:pt x="811" y="2726"/>
                    </a:lnTo>
                    <a:lnTo>
                      <a:pt x="809" y="2728"/>
                    </a:lnTo>
                    <a:lnTo>
                      <a:pt x="806" y="2729"/>
                    </a:lnTo>
                    <a:lnTo>
                      <a:pt x="803" y="2731"/>
                    </a:lnTo>
                    <a:lnTo>
                      <a:pt x="798" y="2732"/>
                    </a:lnTo>
                    <a:lnTo>
                      <a:pt x="788" y="2733"/>
                    </a:lnTo>
                    <a:lnTo>
                      <a:pt x="779" y="2733"/>
                    </a:lnTo>
                    <a:lnTo>
                      <a:pt x="774" y="2733"/>
                    </a:lnTo>
                    <a:lnTo>
                      <a:pt x="769" y="2734"/>
                    </a:lnTo>
                    <a:lnTo>
                      <a:pt x="766" y="2737"/>
                    </a:lnTo>
                    <a:lnTo>
                      <a:pt x="762" y="2739"/>
                    </a:lnTo>
                    <a:lnTo>
                      <a:pt x="760" y="2743"/>
                    </a:lnTo>
                    <a:lnTo>
                      <a:pt x="759" y="2746"/>
                    </a:lnTo>
                    <a:lnTo>
                      <a:pt x="760" y="2751"/>
                    </a:lnTo>
                    <a:lnTo>
                      <a:pt x="761" y="2757"/>
                    </a:lnTo>
                    <a:lnTo>
                      <a:pt x="768" y="2771"/>
                    </a:lnTo>
                    <a:lnTo>
                      <a:pt x="778" y="2789"/>
                    </a:lnTo>
                    <a:lnTo>
                      <a:pt x="788" y="2807"/>
                    </a:lnTo>
                    <a:lnTo>
                      <a:pt x="797" y="2821"/>
                    </a:lnTo>
                    <a:lnTo>
                      <a:pt x="804" y="2832"/>
                    </a:lnTo>
                    <a:lnTo>
                      <a:pt x="810" y="2839"/>
                    </a:lnTo>
                    <a:lnTo>
                      <a:pt x="812" y="2841"/>
                    </a:lnTo>
                    <a:lnTo>
                      <a:pt x="812" y="2844"/>
                    </a:lnTo>
                    <a:lnTo>
                      <a:pt x="812" y="2846"/>
                    </a:lnTo>
                    <a:lnTo>
                      <a:pt x="810" y="2849"/>
                    </a:lnTo>
                    <a:lnTo>
                      <a:pt x="803" y="2855"/>
                    </a:lnTo>
                    <a:lnTo>
                      <a:pt x="799" y="2860"/>
                    </a:lnTo>
                    <a:lnTo>
                      <a:pt x="798" y="2864"/>
                    </a:lnTo>
                    <a:lnTo>
                      <a:pt x="799" y="2866"/>
                    </a:lnTo>
                    <a:lnTo>
                      <a:pt x="801" y="2869"/>
                    </a:lnTo>
                    <a:lnTo>
                      <a:pt x="806" y="2872"/>
                    </a:lnTo>
                    <a:lnTo>
                      <a:pt x="819" y="2877"/>
                    </a:lnTo>
                    <a:lnTo>
                      <a:pt x="831" y="2879"/>
                    </a:lnTo>
                    <a:lnTo>
                      <a:pt x="837" y="2882"/>
                    </a:lnTo>
                    <a:lnTo>
                      <a:pt x="842" y="2883"/>
                    </a:lnTo>
                    <a:lnTo>
                      <a:pt x="844" y="2886"/>
                    </a:lnTo>
                    <a:lnTo>
                      <a:pt x="847" y="2890"/>
                    </a:lnTo>
                    <a:lnTo>
                      <a:pt x="847" y="2893"/>
                    </a:lnTo>
                    <a:lnTo>
                      <a:pt x="847" y="2897"/>
                    </a:lnTo>
                    <a:lnTo>
                      <a:pt x="845" y="2901"/>
                    </a:lnTo>
                    <a:lnTo>
                      <a:pt x="844" y="2905"/>
                    </a:lnTo>
                    <a:lnTo>
                      <a:pt x="841" y="2915"/>
                    </a:lnTo>
                    <a:lnTo>
                      <a:pt x="839" y="2927"/>
                    </a:lnTo>
                    <a:lnTo>
                      <a:pt x="841" y="2934"/>
                    </a:lnTo>
                    <a:lnTo>
                      <a:pt x="842" y="2939"/>
                    </a:lnTo>
                    <a:lnTo>
                      <a:pt x="844" y="2940"/>
                    </a:lnTo>
                    <a:lnTo>
                      <a:pt x="847" y="2941"/>
                    </a:lnTo>
                    <a:lnTo>
                      <a:pt x="850" y="2941"/>
                    </a:lnTo>
                    <a:lnTo>
                      <a:pt x="854" y="2940"/>
                    </a:lnTo>
                    <a:lnTo>
                      <a:pt x="861" y="2939"/>
                    </a:lnTo>
                    <a:lnTo>
                      <a:pt x="867" y="2935"/>
                    </a:lnTo>
                    <a:lnTo>
                      <a:pt x="873" y="2933"/>
                    </a:lnTo>
                    <a:lnTo>
                      <a:pt x="879" y="2931"/>
                    </a:lnTo>
                    <a:lnTo>
                      <a:pt x="881" y="2931"/>
                    </a:lnTo>
                    <a:lnTo>
                      <a:pt x="882" y="2931"/>
                    </a:lnTo>
                    <a:lnTo>
                      <a:pt x="883" y="2930"/>
                    </a:lnTo>
                    <a:lnTo>
                      <a:pt x="885" y="2928"/>
                    </a:lnTo>
                    <a:lnTo>
                      <a:pt x="887" y="2918"/>
                    </a:lnTo>
                    <a:lnTo>
                      <a:pt x="891" y="2910"/>
                    </a:lnTo>
                    <a:lnTo>
                      <a:pt x="898" y="2897"/>
                    </a:lnTo>
                    <a:lnTo>
                      <a:pt x="906" y="2885"/>
                    </a:lnTo>
                    <a:lnTo>
                      <a:pt x="908" y="2882"/>
                    </a:lnTo>
                    <a:lnTo>
                      <a:pt x="911" y="2879"/>
                    </a:lnTo>
                    <a:lnTo>
                      <a:pt x="912" y="2878"/>
                    </a:lnTo>
                    <a:lnTo>
                      <a:pt x="913" y="2879"/>
                    </a:lnTo>
                    <a:lnTo>
                      <a:pt x="914" y="2880"/>
                    </a:lnTo>
                    <a:lnTo>
                      <a:pt x="916" y="2882"/>
                    </a:lnTo>
                    <a:lnTo>
                      <a:pt x="920" y="2895"/>
                    </a:lnTo>
                    <a:lnTo>
                      <a:pt x="926" y="2907"/>
                    </a:lnTo>
                    <a:lnTo>
                      <a:pt x="930" y="2909"/>
                    </a:lnTo>
                    <a:lnTo>
                      <a:pt x="935" y="2911"/>
                    </a:lnTo>
                    <a:lnTo>
                      <a:pt x="938" y="2911"/>
                    </a:lnTo>
                    <a:lnTo>
                      <a:pt x="943" y="2910"/>
                    </a:lnTo>
                    <a:lnTo>
                      <a:pt x="946" y="2908"/>
                    </a:lnTo>
                    <a:lnTo>
                      <a:pt x="951" y="2904"/>
                    </a:lnTo>
                    <a:lnTo>
                      <a:pt x="955" y="2899"/>
                    </a:lnTo>
                    <a:lnTo>
                      <a:pt x="957" y="2893"/>
                    </a:lnTo>
                    <a:lnTo>
                      <a:pt x="959" y="2888"/>
                    </a:lnTo>
                    <a:lnTo>
                      <a:pt x="963" y="2883"/>
                    </a:lnTo>
                    <a:lnTo>
                      <a:pt x="968" y="2878"/>
                    </a:lnTo>
                    <a:lnTo>
                      <a:pt x="973" y="2876"/>
                    </a:lnTo>
                    <a:lnTo>
                      <a:pt x="976" y="2874"/>
                    </a:lnTo>
                    <a:lnTo>
                      <a:pt x="981" y="2874"/>
                    </a:lnTo>
                    <a:lnTo>
                      <a:pt x="986" y="2876"/>
                    </a:lnTo>
                    <a:lnTo>
                      <a:pt x="989" y="2878"/>
                    </a:lnTo>
                    <a:lnTo>
                      <a:pt x="994" y="2885"/>
                    </a:lnTo>
                    <a:lnTo>
                      <a:pt x="998" y="2897"/>
                    </a:lnTo>
                    <a:lnTo>
                      <a:pt x="1002" y="2911"/>
                    </a:lnTo>
                    <a:lnTo>
                      <a:pt x="1006" y="2926"/>
                    </a:lnTo>
                    <a:lnTo>
                      <a:pt x="1007" y="2935"/>
                    </a:lnTo>
                    <a:lnTo>
                      <a:pt x="1008" y="2943"/>
                    </a:lnTo>
                    <a:lnTo>
                      <a:pt x="1012" y="2952"/>
                    </a:lnTo>
                    <a:lnTo>
                      <a:pt x="1017" y="2960"/>
                    </a:lnTo>
                    <a:lnTo>
                      <a:pt x="1028" y="2973"/>
                    </a:lnTo>
                    <a:lnTo>
                      <a:pt x="1040" y="2985"/>
                    </a:lnTo>
                    <a:lnTo>
                      <a:pt x="1044" y="2990"/>
                    </a:lnTo>
                    <a:lnTo>
                      <a:pt x="1046" y="2993"/>
                    </a:lnTo>
                    <a:lnTo>
                      <a:pt x="1049" y="2998"/>
                    </a:lnTo>
                    <a:lnTo>
                      <a:pt x="1050" y="3002"/>
                    </a:lnTo>
                    <a:lnTo>
                      <a:pt x="1051" y="3010"/>
                    </a:lnTo>
                    <a:lnTo>
                      <a:pt x="1051" y="3019"/>
                    </a:lnTo>
                    <a:lnTo>
                      <a:pt x="1051" y="3029"/>
                    </a:lnTo>
                    <a:lnTo>
                      <a:pt x="1051" y="3040"/>
                    </a:lnTo>
                    <a:lnTo>
                      <a:pt x="1051" y="3048"/>
                    </a:lnTo>
                    <a:lnTo>
                      <a:pt x="1051" y="3056"/>
                    </a:lnTo>
                    <a:lnTo>
                      <a:pt x="1051" y="3065"/>
                    </a:lnTo>
                    <a:lnTo>
                      <a:pt x="1052" y="3071"/>
                    </a:lnTo>
                    <a:lnTo>
                      <a:pt x="1056" y="3074"/>
                    </a:lnTo>
                    <a:lnTo>
                      <a:pt x="1061" y="3077"/>
                    </a:lnTo>
                    <a:lnTo>
                      <a:pt x="1066" y="3079"/>
                    </a:lnTo>
                    <a:lnTo>
                      <a:pt x="1072" y="3082"/>
                    </a:lnTo>
                    <a:lnTo>
                      <a:pt x="1075" y="3085"/>
                    </a:lnTo>
                    <a:lnTo>
                      <a:pt x="1077" y="3088"/>
                    </a:lnTo>
                    <a:lnTo>
                      <a:pt x="1078" y="3093"/>
                    </a:lnTo>
                    <a:lnTo>
                      <a:pt x="1080" y="3098"/>
                    </a:lnTo>
                    <a:lnTo>
                      <a:pt x="1080" y="3104"/>
                    </a:lnTo>
                    <a:lnTo>
                      <a:pt x="1082" y="3109"/>
                    </a:lnTo>
                    <a:lnTo>
                      <a:pt x="1084" y="3115"/>
                    </a:lnTo>
                    <a:lnTo>
                      <a:pt x="1088" y="3120"/>
                    </a:lnTo>
                    <a:lnTo>
                      <a:pt x="1095" y="3132"/>
                    </a:lnTo>
                    <a:lnTo>
                      <a:pt x="1102" y="3144"/>
                    </a:lnTo>
                    <a:lnTo>
                      <a:pt x="1106" y="3155"/>
                    </a:lnTo>
                    <a:lnTo>
                      <a:pt x="1108" y="3164"/>
                    </a:lnTo>
                    <a:lnTo>
                      <a:pt x="1109" y="3174"/>
                    </a:lnTo>
                    <a:lnTo>
                      <a:pt x="1108" y="3183"/>
                    </a:lnTo>
                    <a:lnTo>
                      <a:pt x="1108" y="3193"/>
                    </a:lnTo>
                    <a:lnTo>
                      <a:pt x="1109" y="3199"/>
                    </a:lnTo>
                    <a:lnTo>
                      <a:pt x="1112" y="3201"/>
                    </a:lnTo>
                    <a:lnTo>
                      <a:pt x="1114" y="3202"/>
                    </a:lnTo>
                    <a:lnTo>
                      <a:pt x="1119" y="3202"/>
                    </a:lnTo>
                    <a:lnTo>
                      <a:pt x="1125" y="3204"/>
                    </a:lnTo>
                    <a:lnTo>
                      <a:pt x="1131" y="3204"/>
                    </a:lnTo>
                    <a:lnTo>
                      <a:pt x="1137" y="3204"/>
                    </a:lnTo>
                    <a:lnTo>
                      <a:pt x="1141" y="3206"/>
                    </a:lnTo>
                    <a:lnTo>
                      <a:pt x="1146" y="3207"/>
                    </a:lnTo>
                    <a:lnTo>
                      <a:pt x="1149" y="3211"/>
                    </a:lnTo>
                    <a:lnTo>
                      <a:pt x="1151" y="3214"/>
                    </a:lnTo>
                    <a:lnTo>
                      <a:pt x="1151" y="3220"/>
                    </a:lnTo>
                    <a:lnTo>
                      <a:pt x="1151" y="3227"/>
                    </a:lnTo>
                    <a:lnTo>
                      <a:pt x="1146" y="3242"/>
                    </a:lnTo>
                    <a:lnTo>
                      <a:pt x="1143" y="3254"/>
                    </a:lnTo>
                    <a:lnTo>
                      <a:pt x="1141" y="3258"/>
                    </a:lnTo>
                    <a:lnTo>
                      <a:pt x="1140" y="3264"/>
                    </a:lnTo>
                    <a:lnTo>
                      <a:pt x="1140" y="3270"/>
                    </a:lnTo>
                    <a:lnTo>
                      <a:pt x="1143" y="3276"/>
                    </a:lnTo>
                    <a:lnTo>
                      <a:pt x="1145" y="3282"/>
                    </a:lnTo>
                    <a:lnTo>
                      <a:pt x="1149" y="3287"/>
                    </a:lnTo>
                    <a:lnTo>
                      <a:pt x="1152" y="3290"/>
                    </a:lnTo>
                    <a:lnTo>
                      <a:pt x="1156" y="3294"/>
                    </a:lnTo>
                    <a:lnTo>
                      <a:pt x="1164" y="3299"/>
                    </a:lnTo>
                    <a:lnTo>
                      <a:pt x="1170" y="3304"/>
                    </a:lnTo>
                    <a:lnTo>
                      <a:pt x="1175" y="3308"/>
                    </a:lnTo>
                    <a:lnTo>
                      <a:pt x="1178" y="3312"/>
                    </a:lnTo>
                    <a:lnTo>
                      <a:pt x="1179" y="3317"/>
                    </a:lnTo>
                    <a:lnTo>
                      <a:pt x="1181" y="3325"/>
                    </a:lnTo>
                    <a:lnTo>
                      <a:pt x="1181" y="3328"/>
                    </a:lnTo>
                    <a:lnTo>
                      <a:pt x="1181" y="3332"/>
                    </a:lnTo>
                    <a:lnTo>
                      <a:pt x="1182" y="3336"/>
                    </a:lnTo>
                    <a:lnTo>
                      <a:pt x="1184" y="3338"/>
                    </a:lnTo>
                    <a:lnTo>
                      <a:pt x="1188" y="3340"/>
                    </a:lnTo>
                    <a:lnTo>
                      <a:pt x="1194" y="3342"/>
                    </a:lnTo>
                    <a:lnTo>
                      <a:pt x="1202" y="3343"/>
                    </a:lnTo>
                    <a:lnTo>
                      <a:pt x="1210" y="3346"/>
                    </a:lnTo>
                    <a:lnTo>
                      <a:pt x="1215" y="3349"/>
                    </a:lnTo>
                    <a:lnTo>
                      <a:pt x="1219" y="3351"/>
                    </a:lnTo>
                    <a:lnTo>
                      <a:pt x="1221" y="3356"/>
                    </a:lnTo>
                    <a:lnTo>
                      <a:pt x="1223" y="3361"/>
                    </a:lnTo>
                    <a:lnTo>
                      <a:pt x="1223" y="3365"/>
                    </a:lnTo>
                    <a:lnTo>
                      <a:pt x="1223" y="3370"/>
                    </a:lnTo>
                    <a:lnTo>
                      <a:pt x="1222" y="3376"/>
                    </a:lnTo>
                    <a:lnTo>
                      <a:pt x="1221" y="3382"/>
                    </a:lnTo>
                    <a:lnTo>
                      <a:pt x="1219" y="3393"/>
                    </a:lnTo>
                    <a:lnTo>
                      <a:pt x="1216" y="3403"/>
                    </a:lnTo>
                    <a:lnTo>
                      <a:pt x="1217" y="3408"/>
                    </a:lnTo>
                    <a:lnTo>
                      <a:pt x="1219" y="3410"/>
                    </a:lnTo>
                    <a:lnTo>
                      <a:pt x="1221" y="3413"/>
                    </a:lnTo>
                    <a:lnTo>
                      <a:pt x="1223" y="3415"/>
                    </a:lnTo>
                    <a:lnTo>
                      <a:pt x="1227" y="3416"/>
                    </a:lnTo>
                    <a:lnTo>
                      <a:pt x="1231" y="3416"/>
                    </a:lnTo>
                    <a:lnTo>
                      <a:pt x="1234" y="3415"/>
                    </a:lnTo>
                    <a:lnTo>
                      <a:pt x="1238" y="3414"/>
                    </a:lnTo>
                    <a:lnTo>
                      <a:pt x="1245" y="3401"/>
                    </a:lnTo>
                    <a:lnTo>
                      <a:pt x="1252" y="3390"/>
                    </a:lnTo>
                    <a:lnTo>
                      <a:pt x="1257" y="3390"/>
                    </a:lnTo>
                    <a:lnTo>
                      <a:pt x="1260" y="3391"/>
                    </a:lnTo>
                    <a:lnTo>
                      <a:pt x="1264" y="3393"/>
                    </a:lnTo>
                    <a:lnTo>
                      <a:pt x="1267" y="3395"/>
                    </a:lnTo>
                    <a:lnTo>
                      <a:pt x="1270" y="3397"/>
                    </a:lnTo>
                    <a:lnTo>
                      <a:pt x="1271" y="3400"/>
                    </a:lnTo>
                    <a:lnTo>
                      <a:pt x="1272" y="3402"/>
                    </a:lnTo>
                    <a:lnTo>
                      <a:pt x="1272" y="3406"/>
                    </a:lnTo>
                    <a:lnTo>
                      <a:pt x="1269" y="3409"/>
                    </a:lnTo>
                    <a:lnTo>
                      <a:pt x="1264" y="3413"/>
                    </a:lnTo>
                    <a:lnTo>
                      <a:pt x="1260" y="3415"/>
                    </a:lnTo>
                    <a:lnTo>
                      <a:pt x="1258" y="3419"/>
                    </a:lnTo>
                    <a:lnTo>
                      <a:pt x="1255" y="3424"/>
                    </a:lnTo>
                    <a:lnTo>
                      <a:pt x="1252" y="3428"/>
                    </a:lnTo>
                    <a:lnTo>
                      <a:pt x="1247" y="3441"/>
                    </a:lnTo>
                    <a:lnTo>
                      <a:pt x="1242" y="3453"/>
                    </a:lnTo>
                    <a:lnTo>
                      <a:pt x="1239" y="3459"/>
                    </a:lnTo>
                    <a:lnTo>
                      <a:pt x="1235" y="3465"/>
                    </a:lnTo>
                    <a:lnTo>
                      <a:pt x="1231" y="3470"/>
                    </a:lnTo>
                    <a:lnTo>
                      <a:pt x="1226" y="3475"/>
                    </a:lnTo>
                    <a:lnTo>
                      <a:pt x="1221" y="3479"/>
                    </a:lnTo>
                    <a:lnTo>
                      <a:pt x="1219" y="3483"/>
                    </a:lnTo>
                    <a:lnTo>
                      <a:pt x="1216" y="3487"/>
                    </a:lnTo>
                    <a:lnTo>
                      <a:pt x="1216" y="3490"/>
                    </a:lnTo>
                    <a:lnTo>
                      <a:pt x="1217" y="3493"/>
                    </a:lnTo>
                    <a:lnTo>
                      <a:pt x="1220" y="3495"/>
                    </a:lnTo>
                    <a:lnTo>
                      <a:pt x="1223" y="3497"/>
                    </a:lnTo>
                    <a:lnTo>
                      <a:pt x="1228" y="3498"/>
                    </a:lnTo>
                    <a:lnTo>
                      <a:pt x="1234" y="3501"/>
                    </a:lnTo>
                    <a:lnTo>
                      <a:pt x="1239" y="3503"/>
                    </a:lnTo>
                    <a:lnTo>
                      <a:pt x="1241" y="3506"/>
                    </a:lnTo>
                    <a:lnTo>
                      <a:pt x="1242" y="3508"/>
                    </a:lnTo>
                    <a:lnTo>
                      <a:pt x="1242" y="3510"/>
                    </a:lnTo>
                    <a:lnTo>
                      <a:pt x="1244" y="3515"/>
                    </a:lnTo>
                    <a:lnTo>
                      <a:pt x="1244" y="3521"/>
                    </a:lnTo>
                    <a:lnTo>
                      <a:pt x="1246" y="3526"/>
                    </a:lnTo>
                    <a:lnTo>
                      <a:pt x="1248" y="3532"/>
                    </a:lnTo>
                    <a:lnTo>
                      <a:pt x="1253" y="3538"/>
                    </a:lnTo>
                    <a:lnTo>
                      <a:pt x="1263" y="3548"/>
                    </a:lnTo>
                    <a:lnTo>
                      <a:pt x="1271" y="3556"/>
                    </a:lnTo>
                    <a:lnTo>
                      <a:pt x="1283" y="3564"/>
                    </a:lnTo>
                    <a:lnTo>
                      <a:pt x="1294" y="3571"/>
                    </a:lnTo>
                    <a:lnTo>
                      <a:pt x="1297" y="3575"/>
                    </a:lnTo>
                    <a:lnTo>
                      <a:pt x="1301" y="3579"/>
                    </a:lnTo>
                    <a:lnTo>
                      <a:pt x="1303" y="3584"/>
                    </a:lnTo>
                    <a:lnTo>
                      <a:pt x="1305" y="3590"/>
                    </a:lnTo>
                    <a:lnTo>
                      <a:pt x="1305" y="3592"/>
                    </a:lnTo>
                    <a:lnTo>
                      <a:pt x="1305" y="3595"/>
                    </a:lnTo>
                    <a:lnTo>
                      <a:pt x="1304" y="3596"/>
                    </a:lnTo>
                    <a:lnTo>
                      <a:pt x="1303" y="3597"/>
                    </a:lnTo>
                    <a:lnTo>
                      <a:pt x="1301" y="3597"/>
                    </a:lnTo>
                    <a:lnTo>
                      <a:pt x="1296" y="3597"/>
                    </a:lnTo>
                    <a:lnTo>
                      <a:pt x="1285" y="3594"/>
                    </a:lnTo>
                    <a:lnTo>
                      <a:pt x="1276" y="3594"/>
                    </a:lnTo>
                    <a:lnTo>
                      <a:pt x="1272" y="3595"/>
                    </a:lnTo>
                    <a:lnTo>
                      <a:pt x="1270" y="3597"/>
                    </a:lnTo>
                    <a:lnTo>
                      <a:pt x="1267" y="3599"/>
                    </a:lnTo>
                    <a:lnTo>
                      <a:pt x="1267" y="3603"/>
                    </a:lnTo>
                    <a:lnTo>
                      <a:pt x="1269" y="3611"/>
                    </a:lnTo>
                    <a:lnTo>
                      <a:pt x="1272" y="3622"/>
                    </a:lnTo>
                    <a:lnTo>
                      <a:pt x="1276" y="3633"/>
                    </a:lnTo>
                    <a:lnTo>
                      <a:pt x="1280" y="3642"/>
                    </a:lnTo>
                    <a:lnTo>
                      <a:pt x="1284" y="3646"/>
                    </a:lnTo>
                    <a:lnTo>
                      <a:pt x="1289" y="3648"/>
                    </a:lnTo>
                    <a:lnTo>
                      <a:pt x="1294" y="3649"/>
                    </a:lnTo>
                    <a:lnTo>
                      <a:pt x="1301" y="3649"/>
                    </a:lnTo>
                    <a:lnTo>
                      <a:pt x="1314" y="3648"/>
                    </a:lnTo>
                    <a:lnTo>
                      <a:pt x="1324" y="3647"/>
                    </a:lnTo>
                    <a:lnTo>
                      <a:pt x="1328" y="3648"/>
                    </a:lnTo>
                    <a:lnTo>
                      <a:pt x="1332" y="3649"/>
                    </a:lnTo>
                    <a:lnTo>
                      <a:pt x="1334" y="3653"/>
                    </a:lnTo>
                    <a:lnTo>
                      <a:pt x="1338" y="3657"/>
                    </a:lnTo>
                    <a:lnTo>
                      <a:pt x="1342" y="3670"/>
                    </a:lnTo>
                    <a:lnTo>
                      <a:pt x="1348" y="3687"/>
                    </a:lnTo>
                    <a:lnTo>
                      <a:pt x="1352" y="3696"/>
                    </a:lnTo>
                    <a:lnTo>
                      <a:pt x="1355" y="3704"/>
                    </a:lnTo>
                    <a:lnTo>
                      <a:pt x="1359" y="3711"/>
                    </a:lnTo>
                    <a:lnTo>
                      <a:pt x="1362" y="3716"/>
                    </a:lnTo>
                    <a:lnTo>
                      <a:pt x="1367" y="3720"/>
                    </a:lnTo>
                    <a:lnTo>
                      <a:pt x="1371" y="3722"/>
                    </a:lnTo>
                    <a:lnTo>
                      <a:pt x="1374" y="3723"/>
                    </a:lnTo>
                    <a:lnTo>
                      <a:pt x="1379" y="3723"/>
                    </a:lnTo>
                    <a:lnTo>
                      <a:pt x="1383" y="3722"/>
                    </a:lnTo>
                    <a:lnTo>
                      <a:pt x="1386" y="3720"/>
                    </a:lnTo>
                    <a:lnTo>
                      <a:pt x="1390" y="3716"/>
                    </a:lnTo>
                    <a:lnTo>
                      <a:pt x="1393" y="3712"/>
                    </a:lnTo>
                    <a:lnTo>
                      <a:pt x="1396" y="3708"/>
                    </a:lnTo>
                    <a:lnTo>
                      <a:pt x="1401" y="3704"/>
                    </a:lnTo>
                    <a:lnTo>
                      <a:pt x="1404" y="3702"/>
                    </a:lnTo>
                    <a:lnTo>
                      <a:pt x="1409" y="3701"/>
                    </a:lnTo>
                    <a:lnTo>
                      <a:pt x="1414" y="3701"/>
                    </a:lnTo>
                    <a:lnTo>
                      <a:pt x="1420" y="3701"/>
                    </a:lnTo>
                    <a:lnTo>
                      <a:pt x="1424" y="3703"/>
                    </a:lnTo>
                    <a:lnTo>
                      <a:pt x="1430" y="3706"/>
                    </a:lnTo>
                    <a:lnTo>
                      <a:pt x="1439" y="3711"/>
                    </a:lnTo>
                    <a:lnTo>
                      <a:pt x="1446" y="3715"/>
                    </a:lnTo>
                    <a:lnTo>
                      <a:pt x="1455" y="3717"/>
                    </a:lnTo>
                    <a:lnTo>
                      <a:pt x="1464" y="3718"/>
                    </a:lnTo>
                    <a:lnTo>
                      <a:pt x="1469" y="3718"/>
                    </a:lnTo>
                    <a:lnTo>
                      <a:pt x="1474" y="3718"/>
                    </a:lnTo>
                    <a:lnTo>
                      <a:pt x="1478" y="3716"/>
                    </a:lnTo>
                    <a:lnTo>
                      <a:pt x="1480" y="3715"/>
                    </a:lnTo>
                    <a:lnTo>
                      <a:pt x="1484" y="3709"/>
                    </a:lnTo>
                    <a:lnTo>
                      <a:pt x="1490" y="3701"/>
                    </a:lnTo>
                    <a:lnTo>
                      <a:pt x="1500" y="3689"/>
                    </a:lnTo>
                    <a:lnTo>
                      <a:pt x="1515" y="3674"/>
                    </a:lnTo>
                    <a:lnTo>
                      <a:pt x="1523" y="3668"/>
                    </a:lnTo>
                    <a:lnTo>
                      <a:pt x="1530" y="3662"/>
                    </a:lnTo>
                    <a:lnTo>
                      <a:pt x="1538" y="3659"/>
                    </a:lnTo>
                    <a:lnTo>
                      <a:pt x="1546" y="3657"/>
                    </a:lnTo>
                    <a:lnTo>
                      <a:pt x="1557" y="3655"/>
                    </a:lnTo>
                    <a:lnTo>
                      <a:pt x="1568" y="3653"/>
                    </a:lnTo>
                    <a:lnTo>
                      <a:pt x="1579" y="3648"/>
                    </a:lnTo>
                    <a:lnTo>
                      <a:pt x="1591" y="3642"/>
                    </a:lnTo>
                    <a:lnTo>
                      <a:pt x="1606" y="3634"/>
                    </a:lnTo>
                    <a:lnTo>
                      <a:pt x="1623" y="3624"/>
                    </a:lnTo>
                    <a:lnTo>
                      <a:pt x="1637" y="3617"/>
                    </a:lnTo>
                    <a:lnTo>
                      <a:pt x="1649" y="3611"/>
                    </a:lnTo>
                    <a:lnTo>
                      <a:pt x="1657" y="3610"/>
                    </a:lnTo>
                    <a:lnTo>
                      <a:pt x="1666" y="3610"/>
                    </a:lnTo>
                    <a:lnTo>
                      <a:pt x="1669" y="3610"/>
                    </a:lnTo>
                    <a:lnTo>
                      <a:pt x="1673" y="3611"/>
                    </a:lnTo>
                    <a:lnTo>
                      <a:pt x="1675" y="3614"/>
                    </a:lnTo>
                    <a:lnTo>
                      <a:pt x="1676" y="3617"/>
                    </a:lnTo>
                    <a:lnTo>
                      <a:pt x="1677" y="3623"/>
                    </a:lnTo>
                    <a:lnTo>
                      <a:pt x="1677" y="3632"/>
                    </a:lnTo>
                    <a:lnTo>
                      <a:pt x="1676" y="3639"/>
                    </a:lnTo>
                    <a:lnTo>
                      <a:pt x="1675" y="3645"/>
                    </a:lnTo>
                    <a:lnTo>
                      <a:pt x="1674" y="3649"/>
                    </a:lnTo>
                    <a:lnTo>
                      <a:pt x="1675" y="3655"/>
                    </a:lnTo>
                    <a:lnTo>
                      <a:pt x="1676" y="3660"/>
                    </a:lnTo>
                    <a:lnTo>
                      <a:pt x="1681" y="3666"/>
                    </a:lnTo>
                    <a:lnTo>
                      <a:pt x="1688" y="3672"/>
                    </a:lnTo>
                    <a:lnTo>
                      <a:pt x="1695" y="3674"/>
                    </a:lnTo>
                    <a:lnTo>
                      <a:pt x="1699" y="3676"/>
                    </a:lnTo>
                    <a:lnTo>
                      <a:pt x="1702" y="3674"/>
                    </a:lnTo>
                    <a:lnTo>
                      <a:pt x="1706" y="3674"/>
                    </a:lnTo>
                    <a:lnTo>
                      <a:pt x="1710" y="3672"/>
                    </a:lnTo>
                    <a:lnTo>
                      <a:pt x="1716" y="3666"/>
                    </a:lnTo>
                    <a:lnTo>
                      <a:pt x="1723" y="3657"/>
                    </a:lnTo>
                    <a:lnTo>
                      <a:pt x="1727" y="3653"/>
                    </a:lnTo>
                    <a:lnTo>
                      <a:pt x="1731" y="3649"/>
                    </a:lnTo>
                    <a:lnTo>
                      <a:pt x="1736" y="3647"/>
                    </a:lnTo>
                    <a:lnTo>
                      <a:pt x="1739" y="3646"/>
                    </a:lnTo>
                    <a:lnTo>
                      <a:pt x="1746" y="3646"/>
                    </a:lnTo>
                    <a:lnTo>
                      <a:pt x="1754" y="3645"/>
                    </a:lnTo>
                    <a:lnTo>
                      <a:pt x="1757" y="3645"/>
                    </a:lnTo>
                    <a:lnTo>
                      <a:pt x="1761" y="3643"/>
                    </a:lnTo>
                    <a:lnTo>
                      <a:pt x="1763" y="3641"/>
                    </a:lnTo>
                    <a:lnTo>
                      <a:pt x="1767" y="3638"/>
                    </a:lnTo>
                    <a:lnTo>
                      <a:pt x="1774" y="3632"/>
                    </a:lnTo>
                    <a:lnTo>
                      <a:pt x="1781" y="3628"/>
                    </a:lnTo>
                    <a:lnTo>
                      <a:pt x="1784" y="3627"/>
                    </a:lnTo>
                    <a:lnTo>
                      <a:pt x="1788" y="3626"/>
                    </a:lnTo>
                    <a:lnTo>
                      <a:pt x="1792" y="3626"/>
                    </a:lnTo>
                    <a:lnTo>
                      <a:pt x="1795" y="3627"/>
                    </a:lnTo>
                    <a:lnTo>
                      <a:pt x="1804" y="3629"/>
                    </a:lnTo>
                    <a:lnTo>
                      <a:pt x="1811" y="3629"/>
                    </a:lnTo>
                    <a:lnTo>
                      <a:pt x="1814" y="3629"/>
                    </a:lnTo>
                    <a:lnTo>
                      <a:pt x="1818" y="3628"/>
                    </a:lnTo>
                    <a:lnTo>
                      <a:pt x="1820" y="3626"/>
                    </a:lnTo>
                    <a:lnTo>
                      <a:pt x="1823" y="3623"/>
                    </a:lnTo>
                    <a:lnTo>
                      <a:pt x="1826" y="3614"/>
                    </a:lnTo>
                    <a:lnTo>
                      <a:pt x="1828" y="3602"/>
                    </a:lnTo>
                    <a:lnTo>
                      <a:pt x="1828" y="3590"/>
                    </a:lnTo>
                    <a:lnTo>
                      <a:pt x="1830" y="3579"/>
                    </a:lnTo>
                    <a:lnTo>
                      <a:pt x="1830" y="3571"/>
                    </a:lnTo>
                    <a:lnTo>
                      <a:pt x="1831" y="3565"/>
                    </a:lnTo>
                    <a:lnTo>
                      <a:pt x="1832" y="3561"/>
                    </a:lnTo>
                    <a:lnTo>
                      <a:pt x="1834" y="3559"/>
                    </a:lnTo>
                    <a:lnTo>
                      <a:pt x="1837" y="3558"/>
                    </a:lnTo>
                    <a:lnTo>
                      <a:pt x="1839" y="3557"/>
                    </a:lnTo>
                    <a:lnTo>
                      <a:pt x="1845" y="3554"/>
                    </a:lnTo>
                    <a:lnTo>
                      <a:pt x="1850" y="3552"/>
                    </a:lnTo>
                    <a:lnTo>
                      <a:pt x="1851" y="3551"/>
                    </a:lnTo>
                    <a:lnTo>
                      <a:pt x="1852" y="3548"/>
                    </a:lnTo>
                    <a:lnTo>
                      <a:pt x="1853" y="3545"/>
                    </a:lnTo>
                    <a:lnTo>
                      <a:pt x="1855" y="3541"/>
                    </a:lnTo>
                    <a:lnTo>
                      <a:pt x="1853" y="3533"/>
                    </a:lnTo>
                    <a:lnTo>
                      <a:pt x="1851" y="3527"/>
                    </a:lnTo>
                    <a:lnTo>
                      <a:pt x="1847" y="3521"/>
                    </a:lnTo>
                    <a:lnTo>
                      <a:pt x="1843" y="3517"/>
                    </a:lnTo>
                    <a:lnTo>
                      <a:pt x="1840" y="3515"/>
                    </a:lnTo>
                    <a:lnTo>
                      <a:pt x="1838" y="3513"/>
                    </a:lnTo>
                    <a:lnTo>
                      <a:pt x="1836" y="3509"/>
                    </a:lnTo>
                    <a:lnTo>
                      <a:pt x="1834" y="3506"/>
                    </a:lnTo>
                    <a:lnTo>
                      <a:pt x="1833" y="3501"/>
                    </a:lnTo>
                    <a:lnTo>
                      <a:pt x="1833" y="3496"/>
                    </a:lnTo>
                    <a:lnTo>
                      <a:pt x="1833" y="3491"/>
                    </a:lnTo>
                    <a:lnTo>
                      <a:pt x="1833" y="3487"/>
                    </a:lnTo>
                    <a:lnTo>
                      <a:pt x="1836" y="3476"/>
                    </a:lnTo>
                    <a:lnTo>
                      <a:pt x="1837" y="3465"/>
                    </a:lnTo>
                    <a:lnTo>
                      <a:pt x="1839" y="3456"/>
                    </a:lnTo>
                    <a:lnTo>
                      <a:pt x="1839" y="3446"/>
                    </a:lnTo>
                    <a:lnTo>
                      <a:pt x="1838" y="3437"/>
                    </a:lnTo>
                    <a:lnTo>
                      <a:pt x="1836" y="3426"/>
                    </a:lnTo>
                    <a:lnTo>
                      <a:pt x="1831" y="3414"/>
                    </a:lnTo>
                    <a:lnTo>
                      <a:pt x="1824" y="3403"/>
                    </a:lnTo>
                    <a:lnTo>
                      <a:pt x="1817" y="3395"/>
                    </a:lnTo>
                    <a:lnTo>
                      <a:pt x="1811" y="3387"/>
                    </a:lnTo>
                    <a:lnTo>
                      <a:pt x="1808" y="3383"/>
                    </a:lnTo>
                    <a:lnTo>
                      <a:pt x="1807" y="3378"/>
                    </a:lnTo>
                    <a:lnTo>
                      <a:pt x="1805" y="3375"/>
                    </a:lnTo>
                    <a:lnTo>
                      <a:pt x="1805" y="3370"/>
                    </a:lnTo>
                    <a:lnTo>
                      <a:pt x="1804" y="3357"/>
                    </a:lnTo>
                    <a:lnTo>
                      <a:pt x="1804" y="3339"/>
                    </a:lnTo>
                    <a:lnTo>
                      <a:pt x="1805" y="3321"/>
                    </a:lnTo>
                    <a:lnTo>
                      <a:pt x="1807" y="3308"/>
                    </a:lnTo>
                    <a:lnTo>
                      <a:pt x="1811" y="3299"/>
                    </a:lnTo>
                    <a:lnTo>
                      <a:pt x="1814" y="3289"/>
                    </a:lnTo>
                    <a:lnTo>
                      <a:pt x="1818" y="3277"/>
                    </a:lnTo>
                    <a:lnTo>
                      <a:pt x="1819" y="3264"/>
                    </a:lnTo>
                    <a:lnTo>
                      <a:pt x="1819" y="3249"/>
                    </a:lnTo>
                    <a:lnTo>
                      <a:pt x="1819" y="3232"/>
                    </a:lnTo>
                    <a:lnTo>
                      <a:pt x="1819" y="3225"/>
                    </a:lnTo>
                    <a:lnTo>
                      <a:pt x="1820" y="3217"/>
                    </a:lnTo>
                    <a:lnTo>
                      <a:pt x="1821" y="3211"/>
                    </a:lnTo>
                    <a:lnTo>
                      <a:pt x="1823" y="3207"/>
                    </a:lnTo>
                    <a:lnTo>
                      <a:pt x="1827" y="3201"/>
                    </a:lnTo>
                    <a:lnTo>
                      <a:pt x="1830" y="3197"/>
                    </a:lnTo>
                    <a:lnTo>
                      <a:pt x="1832" y="3192"/>
                    </a:lnTo>
                    <a:lnTo>
                      <a:pt x="1834" y="3185"/>
                    </a:lnTo>
                    <a:lnTo>
                      <a:pt x="1836" y="3176"/>
                    </a:lnTo>
                    <a:lnTo>
                      <a:pt x="1837" y="3170"/>
                    </a:lnTo>
                    <a:lnTo>
                      <a:pt x="1839" y="3166"/>
                    </a:lnTo>
                    <a:lnTo>
                      <a:pt x="1843" y="3164"/>
                    </a:lnTo>
                    <a:lnTo>
                      <a:pt x="1846" y="3164"/>
                    </a:lnTo>
                    <a:lnTo>
                      <a:pt x="1850" y="3166"/>
                    </a:lnTo>
                    <a:lnTo>
                      <a:pt x="1853" y="3169"/>
                    </a:lnTo>
                    <a:lnTo>
                      <a:pt x="1857" y="3174"/>
                    </a:lnTo>
                    <a:lnTo>
                      <a:pt x="1861" y="3179"/>
                    </a:lnTo>
                    <a:lnTo>
                      <a:pt x="1865" y="3182"/>
                    </a:lnTo>
                    <a:lnTo>
                      <a:pt x="1868" y="3182"/>
                    </a:lnTo>
                    <a:lnTo>
                      <a:pt x="1869" y="3182"/>
                    </a:lnTo>
                    <a:lnTo>
                      <a:pt x="1871" y="3181"/>
                    </a:lnTo>
                    <a:lnTo>
                      <a:pt x="1875" y="3179"/>
                    </a:lnTo>
                    <a:lnTo>
                      <a:pt x="1880" y="3174"/>
                    </a:lnTo>
                    <a:lnTo>
                      <a:pt x="1884" y="3170"/>
                    </a:lnTo>
                    <a:lnTo>
                      <a:pt x="1890" y="3166"/>
                    </a:lnTo>
                    <a:lnTo>
                      <a:pt x="1896" y="3163"/>
                    </a:lnTo>
                    <a:lnTo>
                      <a:pt x="1905" y="3160"/>
                    </a:lnTo>
                    <a:lnTo>
                      <a:pt x="1910" y="3156"/>
                    </a:lnTo>
                    <a:lnTo>
                      <a:pt x="1916" y="3151"/>
                    </a:lnTo>
                    <a:lnTo>
                      <a:pt x="1922" y="3143"/>
                    </a:lnTo>
                    <a:lnTo>
                      <a:pt x="1926" y="3132"/>
                    </a:lnTo>
                    <a:lnTo>
                      <a:pt x="1931" y="3123"/>
                    </a:lnTo>
                    <a:lnTo>
                      <a:pt x="1932" y="3117"/>
                    </a:lnTo>
                    <a:lnTo>
                      <a:pt x="1935" y="3112"/>
                    </a:lnTo>
                    <a:lnTo>
                      <a:pt x="1939" y="3109"/>
                    </a:lnTo>
                    <a:lnTo>
                      <a:pt x="1943" y="3105"/>
                    </a:lnTo>
                    <a:lnTo>
                      <a:pt x="1953" y="3099"/>
                    </a:lnTo>
                    <a:lnTo>
                      <a:pt x="1964" y="3092"/>
                    </a:lnTo>
                    <a:lnTo>
                      <a:pt x="1975" y="3085"/>
                    </a:lnTo>
                    <a:lnTo>
                      <a:pt x="1985" y="3074"/>
                    </a:lnTo>
                    <a:lnTo>
                      <a:pt x="1996" y="3061"/>
                    </a:lnTo>
                    <a:lnTo>
                      <a:pt x="2004" y="3050"/>
                    </a:lnTo>
                    <a:lnTo>
                      <a:pt x="2014" y="3041"/>
                    </a:lnTo>
                    <a:lnTo>
                      <a:pt x="2026" y="3030"/>
                    </a:lnTo>
                    <a:lnTo>
                      <a:pt x="2039" y="3021"/>
                    </a:lnTo>
                    <a:lnTo>
                      <a:pt x="2051" y="3010"/>
                    </a:lnTo>
                    <a:lnTo>
                      <a:pt x="2056" y="3005"/>
                    </a:lnTo>
                    <a:lnTo>
                      <a:pt x="2059" y="3000"/>
                    </a:lnTo>
                    <a:lnTo>
                      <a:pt x="2061" y="2994"/>
                    </a:lnTo>
                    <a:lnTo>
                      <a:pt x="2064" y="2990"/>
                    </a:lnTo>
                    <a:lnTo>
                      <a:pt x="2067" y="2978"/>
                    </a:lnTo>
                    <a:lnTo>
                      <a:pt x="2070" y="2962"/>
                    </a:lnTo>
                    <a:lnTo>
                      <a:pt x="2073" y="2948"/>
                    </a:lnTo>
                    <a:lnTo>
                      <a:pt x="2076" y="2937"/>
                    </a:lnTo>
                    <a:lnTo>
                      <a:pt x="2077" y="2929"/>
                    </a:lnTo>
                    <a:lnTo>
                      <a:pt x="2077" y="2922"/>
                    </a:lnTo>
                    <a:lnTo>
                      <a:pt x="2077" y="2918"/>
                    </a:lnTo>
                    <a:lnTo>
                      <a:pt x="2075" y="2914"/>
                    </a:lnTo>
                    <a:lnTo>
                      <a:pt x="2072" y="2910"/>
                    </a:lnTo>
                    <a:lnTo>
                      <a:pt x="2069" y="2907"/>
                    </a:lnTo>
                    <a:lnTo>
                      <a:pt x="2061" y="2899"/>
                    </a:lnTo>
                    <a:lnTo>
                      <a:pt x="2056" y="2891"/>
                    </a:lnTo>
                    <a:lnTo>
                      <a:pt x="2052" y="2884"/>
                    </a:lnTo>
                    <a:lnTo>
                      <a:pt x="2050" y="2877"/>
                    </a:lnTo>
                    <a:lnTo>
                      <a:pt x="2050" y="2871"/>
                    </a:lnTo>
                    <a:lnTo>
                      <a:pt x="2052" y="2864"/>
                    </a:lnTo>
                    <a:lnTo>
                      <a:pt x="2057" y="2858"/>
                    </a:lnTo>
                    <a:lnTo>
                      <a:pt x="2063" y="2853"/>
                    </a:lnTo>
                    <a:lnTo>
                      <a:pt x="2079" y="2841"/>
                    </a:lnTo>
                    <a:lnTo>
                      <a:pt x="2098" y="2826"/>
                    </a:lnTo>
                    <a:lnTo>
                      <a:pt x="2105" y="2819"/>
                    </a:lnTo>
                    <a:lnTo>
                      <a:pt x="2111" y="2813"/>
                    </a:lnTo>
                    <a:lnTo>
                      <a:pt x="2115" y="2809"/>
                    </a:lnTo>
                    <a:lnTo>
                      <a:pt x="2121" y="2808"/>
                    </a:lnTo>
                    <a:lnTo>
                      <a:pt x="2126" y="2809"/>
                    </a:lnTo>
                    <a:lnTo>
                      <a:pt x="2130" y="2811"/>
                    </a:lnTo>
                    <a:lnTo>
                      <a:pt x="2135" y="2815"/>
                    </a:lnTo>
                    <a:lnTo>
                      <a:pt x="2140" y="2821"/>
                    </a:lnTo>
                    <a:lnTo>
                      <a:pt x="2145" y="2827"/>
                    </a:lnTo>
                    <a:lnTo>
                      <a:pt x="2149" y="2832"/>
                    </a:lnTo>
                    <a:lnTo>
                      <a:pt x="2154" y="2834"/>
                    </a:lnTo>
                    <a:lnTo>
                      <a:pt x="2159" y="2835"/>
                    </a:lnTo>
                    <a:lnTo>
                      <a:pt x="2164" y="2835"/>
                    </a:lnTo>
                    <a:lnTo>
                      <a:pt x="2170" y="2833"/>
                    </a:lnTo>
                    <a:lnTo>
                      <a:pt x="2174" y="2829"/>
                    </a:lnTo>
                    <a:lnTo>
                      <a:pt x="2180" y="2823"/>
                    </a:lnTo>
                    <a:lnTo>
                      <a:pt x="2191" y="2814"/>
                    </a:lnTo>
                    <a:lnTo>
                      <a:pt x="2202" y="2806"/>
                    </a:lnTo>
                    <a:lnTo>
                      <a:pt x="2209" y="2801"/>
                    </a:lnTo>
                    <a:lnTo>
                      <a:pt x="2214" y="2795"/>
                    </a:lnTo>
                    <a:lnTo>
                      <a:pt x="2217" y="2789"/>
                    </a:lnTo>
                    <a:lnTo>
                      <a:pt x="2220" y="2781"/>
                    </a:lnTo>
                    <a:lnTo>
                      <a:pt x="2220" y="2772"/>
                    </a:lnTo>
                    <a:lnTo>
                      <a:pt x="2218" y="2764"/>
                    </a:lnTo>
                    <a:lnTo>
                      <a:pt x="2216" y="2754"/>
                    </a:lnTo>
                    <a:lnTo>
                      <a:pt x="2211" y="2745"/>
                    </a:lnTo>
                    <a:lnTo>
                      <a:pt x="2208" y="2735"/>
                    </a:lnTo>
                    <a:lnTo>
                      <a:pt x="2203" y="2726"/>
                    </a:lnTo>
                    <a:lnTo>
                      <a:pt x="2199" y="2716"/>
                    </a:lnTo>
                    <a:lnTo>
                      <a:pt x="2196" y="2709"/>
                    </a:lnTo>
                    <a:lnTo>
                      <a:pt x="2195" y="2702"/>
                    </a:lnTo>
                    <a:lnTo>
                      <a:pt x="2195" y="2694"/>
                    </a:lnTo>
                    <a:lnTo>
                      <a:pt x="2196" y="2687"/>
                    </a:lnTo>
                    <a:lnTo>
                      <a:pt x="2199" y="2681"/>
                    </a:lnTo>
                    <a:lnTo>
                      <a:pt x="2204" y="2675"/>
                    </a:lnTo>
                    <a:lnTo>
                      <a:pt x="2206" y="2669"/>
                    </a:lnTo>
                    <a:lnTo>
                      <a:pt x="2210" y="2663"/>
                    </a:lnTo>
                    <a:lnTo>
                      <a:pt x="2211" y="2656"/>
                    </a:lnTo>
                    <a:lnTo>
                      <a:pt x="2212" y="2650"/>
                    </a:lnTo>
                    <a:lnTo>
                      <a:pt x="2215" y="2646"/>
                    </a:lnTo>
                    <a:lnTo>
                      <a:pt x="2218" y="2645"/>
                    </a:lnTo>
                    <a:lnTo>
                      <a:pt x="2222" y="2644"/>
                    </a:lnTo>
                    <a:lnTo>
                      <a:pt x="2226" y="2645"/>
                    </a:lnTo>
                    <a:lnTo>
                      <a:pt x="2229" y="2647"/>
                    </a:lnTo>
                    <a:lnTo>
                      <a:pt x="2233" y="2651"/>
                    </a:lnTo>
                    <a:lnTo>
                      <a:pt x="2235" y="2655"/>
                    </a:lnTo>
                    <a:lnTo>
                      <a:pt x="2239" y="2659"/>
                    </a:lnTo>
                    <a:lnTo>
                      <a:pt x="2243" y="2662"/>
                    </a:lnTo>
                    <a:lnTo>
                      <a:pt x="2250" y="2664"/>
                    </a:lnTo>
                    <a:lnTo>
                      <a:pt x="2258" y="2664"/>
                    </a:lnTo>
                    <a:lnTo>
                      <a:pt x="2267" y="2663"/>
                    </a:lnTo>
                    <a:lnTo>
                      <a:pt x="2275" y="2662"/>
                    </a:lnTo>
                    <a:lnTo>
                      <a:pt x="2284" y="2663"/>
                    </a:lnTo>
                    <a:lnTo>
                      <a:pt x="2291" y="2665"/>
                    </a:lnTo>
                    <a:lnTo>
                      <a:pt x="2298" y="2668"/>
                    </a:lnTo>
                    <a:lnTo>
                      <a:pt x="2308" y="2669"/>
                    </a:lnTo>
                    <a:lnTo>
                      <a:pt x="2318" y="2669"/>
                    </a:lnTo>
                    <a:lnTo>
                      <a:pt x="2329" y="2666"/>
                    </a:lnTo>
                    <a:lnTo>
                      <a:pt x="2340" y="2664"/>
                    </a:lnTo>
                    <a:lnTo>
                      <a:pt x="2349" y="2659"/>
                    </a:lnTo>
                    <a:lnTo>
                      <a:pt x="2359" y="2656"/>
                    </a:lnTo>
                    <a:lnTo>
                      <a:pt x="2367" y="2653"/>
                    </a:lnTo>
                    <a:lnTo>
                      <a:pt x="2374" y="2653"/>
                    </a:lnTo>
                    <a:lnTo>
                      <a:pt x="2380" y="2653"/>
                    </a:lnTo>
                    <a:lnTo>
                      <a:pt x="2386" y="2656"/>
                    </a:lnTo>
                    <a:lnTo>
                      <a:pt x="2391" y="2658"/>
                    </a:lnTo>
                    <a:lnTo>
                      <a:pt x="2394" y="2659"/>
                    </a:lnTo>
                    <a:lnTo>
                      <a:pt x="2400" y="2660"/>
                    </a:lnTo>
                    <a:lnTo>
                      <a:pt x="2406" y="2660"/>
                    </a:lnTo>
                    <a:lnTo>
                      <a:pt x="2412" y="2660"/>
                    </a:lnTo>
                    <a:lnTo>
                      <a:pt x="2420" y="2660"/>
                    </a:lnTo>
                    <a:lnTo>
                      <a:pt x="2429" y="2660"/>
                    </a:lnTo>
                    <a:lnTo>
                      <a:pt x="2432" y="2662"/>
                    </a:lnTo>
                    <a:lnTo>
                      <a:pt x="2436" y="2663"/>
                    </a:lnTo>
                    <a:lnTo>
                      <a:pt x="2438" y="2664"/>
                    </a:lnTo>
                    <a:lnTo>
                      <a:pt x="2439" y="2665"/>
                    </a:lnTo>
                    <a:lnTo>
                      <a:pt x="2438" y="2666"/>
                    </a:lnTo>
                    <a:lnTo>
                      <a:pt x="2435" y="2670"/>
                    </a:lnTo>
                    <a:lnTo>
                      <a:pt x="2426" y="2677"/>
                    </a:lnTo>
                    <a:lnTo>
                      <a:pt x="2417" y="2683"/>
                    </a:lnTo>
                    <a:lnTo>
                      <a:pt x="2406" y="2689"/>
                    </a:lnTo>
                    <a:lnTo>
                      <a:pt x="2396" y="2695"/>
                    </a:lnTo>
                    <a:lnTo>
                      <a:pt x="2390" y="2699"/>
                    </a:lnTo>
                    <a:lnTo>
                      <a:pt x="2384" y="2704"/>
                    </a:lnTo>
                    <a:lnTo>
                      <a:pt x="2379" y="2710"/>
                    </a:lnTo>
                    <a:lnTo>
                      <a:pt x="2375" y="2716"/>
                    </a:lnTo>
                    <a:lnTo>
                      <a:pt x="2372" y="2725"/>
                    </a:lnTo>
                    <a:lnTo>
                      <a:pt x="2369" y="2732"/>
                    </a:lnTo>
                    <a:lnTo>
                      <a:pt x="2368" y="2740"/>
                    </a:lnTo>
                    <a:lnTo>
                      <a:pt x="2368" y="2747"/>
                    </a:lnTo>
                    <a:lnTo>
                      <a:pt x="2367" y="2763"/>
                    </a:lnTo>
                    <a:lnTo>
                      <a:pt x="2366" y="2775"/>
                    </a:lnTo>
                    <a:lnTo>
                      <a:pt x="2363" y="2785"/>
                    </a:lnTo>
                    <a:lnTo>
                      <a:pt x="2362" y="2794"/>
                    </a:lnTo>
                    <a:lnTo>
                      <a:pt x="2362" y="2797"/>
                    </a:lnTo>
                    <a:lnTo>
                      <a:pt x="2363" y="2800"/>
                    </a:lnTo>
                    <a:lnTo>
                      <a:pt x="2366" y="2802"/>
                    </a:lnTo>
                    <a:lnTo>
                      <a:pt x="2369" y="2803"/>
                    </a:lnTo>
                    <a:lnTo>
                      <a:pt x="2373" y="2804"/>
                    </a:lnTo>
                    <a:lnTo>
                      <a:pt x="2378" y="2804"/>
                    </a:lnTo>
                    <a:lnTo>
                      <a:pt x="2382" y="2802"/>
                    </a:lnTo>
                    <a:lnTo>
                      <a:pt x="2387" y="2800"/>
                    </a:lnTo>
                    <a:lnTo>
                      <a:pt x="2391" y="2797"/>
                    </a:lnTo>
                    <a:lnTo>
                      <a:pt x="2394" y="2795"/>
                    </a:lnTo>
                    <a:lnTo>
                      <a:pt x="2399" y="2794"/>
                    </a:lnTo>
                    <a:lnTo>
                      <a:pt x="2403" y="2794"/>
                    </a:lnTo>
                    <a:lnTo>
                      <a:pt x="2405" y="2795"/>
                    </a:lnTo>
                    <a:lnTo>
                      <a:pt x="2407" y="2796"/>
                    </a:lnTo>
                    <a:lnTo>
                      <a:pt x="2409" y="2798"/>
                    </a:lnTo>
                    <a:lnTo>
                      <a:pt x="2410" y="2802"/>
                    </a:lnTo>
                    <a:lnTo>
                      <a:pt x="2411" y="2810"/>
                    </a:lnTo>
                    <a:lnTo>
                      <a:pt x="2415" y="2815"/>
                    </a:lnTo>
                    <a:lnTo>
                      <a:pt x="2418" y="2820"/>
                    </a:lnTo>
                    <a:lnTo>
                      <a:pt x="2424" y="2825"/>
                    </a:lnTo>
                    <a:lnTo>
                      <a:pt x="2429" y="2830"/>
                    </a:lnTo>
                    <a:lnTo>
                      <a:pt x="2432" y="2835"/>
                    </a:lnTo>
                    <a:lnTo>
                      <a:pt x="2432" y="2839"/>
                    </a:lnTo>
                    <a:lnTo>
                      <a:pt x="2431" y="2841"/>
                    </a:lnTo>
                    <a:lnTo>
                      <a:pt x="2429" y="2845"/>
                    </a:lnTo>
                    <a:lnTo>
                      <a:pt x="2425" y="2847"/>
                    </a:lnTo>
                    <a:lnTo>
                      <a:pt x="2418" y="2853"/>
                    </a:lnTo>
                    <a:lnTo>
                      <a:pt x="2413" y="2858"/>
                    </a:lnTo>
                    <a:lnTo>
                      <a:pt x="2413" y="2860"/>
                    </a:lnTo>
                    <a:lnTo>
                      <a:pt x="2413" y="2863"/>
                    </a:lnTo>
                    <a:lnTo>
                      <a:pt x="2416" y="2865"/>
                    </a:lnTo>
                    <a:lnTo>
                      <a:pt x="2419" y="2867"/>
                    </a:lnTo>
                    <a:lnTo>
                      <a:pt x="2422" y="2871"/>
                    </a:lnTo>
                    <a:lnTo>
                      <a:pt x="2424" y="2873"/>
                    </a:lnTo>
                    <a:lnTo>
                      <a:pt x="2425" y="2876"/>
                    </a:lnTo>
                    <a:lnTo>
                      <a:pt x="2425" y="2879"/>
                    </a:lnTo>
                    <a:lnTo>
                      <a:pt x="2423" y="2885"/>
                    </a:lnTo>
                    <a:lnTo>
                      <a:pt x="2419" y="2892"/>
                    </a:lnTo>
                    <a:lnTo>
                      <a:pt x="2415" y="2899"/>
                    </a:lnTo>
                    <a:lnTo>
                      <a:pt x="2409" y="2905"/>
                    </a:lnTo>
                    <a:lnTo>
                      <a:pt x="2405" y="2908"/>
                    </a:lnTo>
                    <a:lnTo>
                      <a:pt x="2400" y="2910"/>
                    </a:lnTo>
                    <a:lnTo>
                      <a:pt x="2396" y="2912"/>
                    </a:lnTo>
                    <a:lnTo>
                      <a:pt x="2391" y="2914"/>
                    </a:lnTo>
                    <a:lnTo>
                      <a:pt x="2380" y="2917"/>
                    </a:lnTo>
                    <a:lnTo>
                      <a:pt x="2373" y="2920"/>
                    </a:lnTo>
                    <a:lnTo>
                      <a:pt x="2371" y="2922"/>
                    </a:lnTo>
                    <a:lnTo>
                      <a:pt x="2369" y="2924"/>
                    </a:lnTo>
                    <a:lnTo>
                      <a:pt x="2369" y="2927"/>
                    </a:lnTo>
                    <a:lnTo>
                      <a:pt x="2371" y="2930"/>
                    </a:lnTo>
                    <a:lnTo>
                      <a:pt x="2373" y="2935"/>
                    </a:lnTo>
                    <a:lnTo>
                      <a:pt x="2379" y="2940"/>
                    </a:lnTo>
                    <a:lnTo>
                      <a:pt x="2385" y="2946"/>
                    </a:lnTo>
                    <a:lnTo>
                      <a:pt x="2393" y="2952"/>
                    </a:lnTo>
                    <a:lnTo>
                      <a:pt x="2412" y="2965"/>
                    </a:lnTo>
                    <a:lnTo>
                      <a:pt x="2430" y="2979"/>
                    </a:lnTo>
                    <a:lnTo>
                      <a:pt x="2444" y="2992"/>
                    </a:lnTo>
                    <a:lnTo>
                      <a:pt x="2456" y="3003"/>
                    </a:lnTo>
                    <a:lnTo>
                      <a:pt x="2462" y="3008"/>
                    </a:lnTo>
                    <a:lnTo>
                      <a:pt x="2467" y="3010"/>
                    </a:lnTo>
                    <a:lnTo>
                      <a:pt x="2473" y="3014"/>
                    </a:lnTo>
                    <a:lnTo>
                      <a:pt x="2479" y="3015"/>
                    </a:lnTo>
                    <a:lnTo>
                      <a:pt x="2486" y="3015"/>
                    </a:lnTo>
                    <a:lnTo>
                      <a:pt x="2492" y="3014"/>
                    </a:lnTo>
                    <a:lnTo>
                      <a:pt x="2498" y="3011"/>
                    </a:lnTo>
                    <a:lnTo>
                      <a:pt x="2504" y="3008"/>
                    </a:lnTo>
                    <a:lnTo>
                      <a:pt x="2511" y="3003"/>
                    </a:lnTo>
                    <a:lnTo>
                      <a:pt x="2517" y="3000"/>
                    </a:lnTo>
                    <a:lnTo>
                      <a:pt x="2523" y="2998"/>
                    </a:lnTo>
                    <a:lnTo>
                      <a:pt x="2530" y="2998"/>
                    </a:lnTo>
                    <a:lnTo>
                      <a:pt x="2545" y="3000"/>
                    </a:lnTo>
                    <a:lnTo>
                      <a:pt x="2563" y="3003"/>
                    </a:lnTo>
                    <a:lnTo>
                      <a:pt x="2571" y="3003"/>
                    </a:lnTo>
                    <a:lnTo>
                      <a:pt x="2580" y="3002"/>
                    </a:lnTo>
                    <a:lnTo>
                      <a:pt x="2582" y="3002"/>
                    </a:lnTo>
                    <a:lnTo>
                      <a:pt x="2585" y="2999"/>
                    </a:lnTo>
                    <a:lnTo>
                      <a:pt x="2587" y="2998"/>
                    </a:lnTo>
                    <a:lnTo>
                      <a:pt x="2588" y="2996"/>
                    </a:lnTo>
                    <a:lnTo>
                      <a:pt x="2593" y="2981"/>
                    </a:lnTo>
                    <a:lnTo>
                      <a:pt x="2601" y="2964"/>
                    </a:lnTo>
                    <a:lnTo>
                      <a:pt x="2607" y="2954"/>
                    </a:lnTo>
                    <a:lnTo>
                      <a:pt x="2614" y="2945"/>
                    </a:lnTo>
                    <a:lnTo>
                      <a:pt x="2623" y="2936"/>
                    </a:lnTo>
                    <a:lnTo>
                      <a:pt x="2632" y="2928"/>
                    </a:lnTo>
                    <a:lnTo>
                      <a:pt x="2643" y="2922"/>
                    </a:lnTo>
                    <a:lnTo>
                      <a:pt x="2652" y="2918"/>
                    </a:lnTo>
                    <a:lnTo>
                      <a:pt x="2661" y="2917"/>
                    </a:lnTo>
                    <a:lnTo>
                      <a:pt x="2669" y="2917"/>
                    </a:lnTo>
                    <a:lnTo>
                      <a:pt x="2676" y="2918"/>
                    </a:lnTo>
                    <a:lnTo>
                      <a:pt x="2683" y="2921"/>
                    </a:lnTo>
                    <a:lnTo>
                      <a:pt x="2688" y="2924"/>
                    </a:lnTo>
                    <a:lnTo>
                      <a:pt x="2692" y="2928"/>
                    </a:lnTo>
                    <a:lnTo>
                      <a:pt x="2694" y="2930"/>
                    </a:lnTo>
                    <a:lnTo>
                      <a:pt x="2696" y="2934"/>
                    </a:lnTo>
                    <a:lnTo>
                      <a:pt x="2697" y="2937"/>
                    </a:lnTo>
                    <a:lnTo>
                      <a:pt x="2699" y="2942"/>
                    </a:lnTo>
                    <a:lnTo>
                      <a:pt x="2699" y="2949"/>
                    </a:lnTo>
                    <a:lnTo>
                      <a:pt x="2700" y="2956"/>
                    </a:lnTo>
                    <a:lnTo>
                      <a:pt x="2701" y="2959"/>
                    </a:lnTo>
                    <a:lnTo>
                      <a:pt x="2703" y="2960"/>
                    </a:lnTo>
                    <a:lnTo>
                      <a:pt x="2705" y="2961"/>
                    </a:lnTo>
                    <a:lnTo>
                      <a:pt x="2708" y="2961"/>
                    </a:lnTo>
                    <a:lnTo>
                      <a:pt x="2714" y="2961"/>
                    </a:lnTo>
                    <a:lnTo>
                      <a:pt x="2722" y="2961"/>
                    </a:lnTo>
                    <a:lnTo>
                      <a:pt x="2727" y="2961"/>
                    </a:lnTo>
                    <a:lnTo>
                      <a:pt x="2731" y="2962"/>
                    </a:lnTo>
                    <a:lnTo>
                      <a:pt x="2733" y="2964"/>
                    </a:lnTo>
                    <a:lnTo>
                      <a:pt x="2735" y="2966"/>
                    </a:lnTo>
                    <a:lnTo>
                      <a:pt x="2737" y="2970"/>
                    </a:lnTo>
                    <a:lnTo>
                      <a:pt x="2738" y="2973"/>
                    </a:lnTo>
                    <a:lnTo>
                      <a:pt x="2738" y="2979"/>
                    </a:lnTo>
                    <a:lnTo>
                      <a:pt x="2738" y="2985"/>
                    </a:lnTo>
                    <a:lnTo>
                      <a:pt x="2734" y="2997"/>
                    </a:lnTo>
                    <a:lnTo>
                      <a:pt x="2730" y="3005"/>
                    </a:lnTo>
                    <a:lnTo>
                      <a:pt x="2726" y="3014"/>
                    </a:lnTo>
                    <a:lnTo>
                      <a:pt x="2724" y="3023"/>
                    </a:lnTo>
                    <a:lnTo>
                      <a:pt x="2724" y="3028"/>
                    </a:lnTo>
                    <a:lnTo>
                      <a:pt x="2724" y="3031"/>
                    </a:lnTo>
                    <a:lnTo>
                      <a:pt x="2725" y="3035"/>
                    </a:lnTo>
                    <a:lnTo>
                      <a:pt x="2726" y="3037"/>
                    </a:lnTo>
                    <a:lnTo>
                      <a:pt x="2728" y="3040"/>
                    </a:lnTo>
                    <a:lnTo>
                      <a:pt x="2732" y="3041"/>
                    </a:lnTo>
                    <a:lnTo>
                      <a:pt x="2735" y="3041"/>
                    </a:lnTo>
                    <a:lnTo>
                      <a:pt x="2739" y="3041"/>
                    </a:lnTo>
                    <a:lnTo>
                      <a:pt x="2743" y="3041"/>
                    </a:lnTo>
                    <a:lnTo>
                      <a:pt x="2746" y="3042"/>
                    </a:lnTo>
                    <a:lnTo>
                      <a:pt x="2749" y="3043"/>
                    </a:lnTo>
                    <a:lnTo>
                      <a:pt x="2750" y="3044"/>
                    </a:lnTo>
                    <a:lnTo>
                      <a:pt x="2750" y="3046"/>
                    </a:lnTo>
                    <a:lnTo>
                      <a:pt x="2749" y="3048"/>
                    </a:lnTo>
                    <a:lnTo>
                      <a:pt x="2747" y="3050"/>
                    </a:lnTo>
                    <a:lnTo>
                      <a:pt x="2745" y="3053"/>
                    </a:lnTo>
                    <a:lnTo>
                      <a:pt x="2741" y="3057"/>
                    </a:lnTo>
                    <a:lnTo>
                      <a:pt x="2739" y="3063"/>
                    </a:lnTo>
                    <a:lnTo>
                      <a:pt x="2737" y="3071"/>
                    </a:lnTo>
                    <a:lnTo>
                      <a:pt x="2737" y="3078"/>
                    </a:lnTo>
                    <a:lnTo>
                      <a:pt x="2738" y="3080"/>
                    </a:lnTo>
                    <a:lnTo>
                      <a:pt x="2739" y="3082"/>
                    </a:lnTo>
                    <a:lnTo>
                      <a:pt x="2740" y="3082"/>
                    </a:lnTo>
                    <a:lnTo>
                      <a:pt x="2743" y="3082"/>
                    </a:lnTo>
                    <a:lnTo>
                      <a:pt x="2749" y="3084"/>
                    </a:lnTo>
                    <a:lnTo>
                      <a:pt x="2756" y="3081"/>
                    </a:lnTo>
                    <a:lnTo>
                      <a:pt x="2768" y="3077"/>
                    </a:lnTo>
                    <a:lnTo>
                      <a:pt x="2782" y="3071"/>
                    </a:lnTo>
                    <a:lnTo>
                      <a:pt x="2795" y="3066"/>
                    </a:lnTo>
                    <a:lnTo>
                      <a:pt x="2807" y="3062"/>
                    </a:lnTo>
                    <a:lnTo>
                      <a:pt x="2812" y="3062"/>
                    </a:lnTo>
                    <a:lnTo>
                      <a:pt x="2815" y="3062"/>
                    </a:lnTo>
                    <a:lnTo>
                      <a:pt x="2820" y="3062"/>
                    </a:lnTo>
                    <a:lnTo>
                      <a:pt x="2823" y="3065"/>
                    </a:lnTo>
                    <a:lnTo>
                      <a:pt x="2831" y="3068"/>
                    </a:lnTo>
                    <a:lnTo>
                      <a:pt x="2839" y="3075"/>
                    </a:lnTo>
                    <a:lnTo>
                      <a:pt x="2856" y="3090"/>
                    </a:lnTo>
                    <a:lnTo>
                      <a:pt x="2869" y="3103"/>
                    </a:lnTo>
                    <a:lnTo>
                      <a:pt x="2872" y="3105"/>
                    </a:lnTo>
                    <a:lnTo>
                      <a:pt x="2876" y="3107"/>
                    </a:lnTo>
                    <a:lnTo>
                      <a:pt x="2878" y="3109"/>
                    </a:lnTo>
                    <a:lnTo>
                      <a:pt x="2882" y="3109"/>
                    </a:lnTo>
                    <a:lnTo>
                      <a:pt x="2885" y="3109"/>
                    </a:lnTo>
                    <a:lnTo>
                      <a:pt x="2889" y="3109"/>
                    </a:lnTo>
                    <a:lnTo>
                      <a:pt x="2892" y="3107"/>
                    </a:lnTo>
                    <a:lnTo>
                      <a:pt x="2897" y="3105"/>
                    </a:lnTo>
                    <a:lnTo>
                      <a:pt x="2905" y="3100"/>
                    </a:lnTo>
                    <a:lnTo>
                      <a:pt x="2913" y="3098"/>
                    </a:lnTo>
                    <a:lnTo>
                      <a:pt x="2922" y="3096"/>
                    </a:lnTo>
                    <a:lnTo>
                      <a:pt x="2933" y="3094"/>
                    </a:lnTo>
                    <a:lnTo>
                      <a:pt x="2945" y="3094"/>
                    </a:lnTo>
                    <a:lnTo>
                      <a:pt x="2954" y="3092"/>
                    </a:lnTo>
                    <a:lnTo>
                      <a:pt x="2964" y="3090"/>
                    </a:lnTo>
                    <a:lnTo>
                      <a:pt x="2972" y="3087"/>
                    </a:lnTo>
                    <a:lnTo>
                      <a:pt x="2979" y="3086"/>
                    </a:lnTo>
                    <a:lnTo>
                      <a:pt x="2986" y="3085"/>
                    </a:lnTo>
                    <a:lnTo>
                      <a:pt x="2993" y="3084"/>
                    </a:lnTo>
                    <a:lnTo>
                      <a:pt x="3003" y="3084"/>
                    </a:lnTo>
                    <a:lnTo>
                      <a:pt x="3014" y="3084"/>
                    </a:lnTo>
                    <a:lnTo>
                      <a:pt x="3024" y="3082"/>
                    </a:lnTo>
                    <a:lnTo>
                      <a:pt x="3035" y="3080"/>
                    </a:lnTo>
                    <a:lnTo>
                      <a:pt x="3046" y="3075"/>
                    </a:lnTo>
                    <a:lnTo>
                      <a:pt x="3055" y="3069"/>
                    </a:lnTo>
                    <a:lnTo>
                      <a:pt x="3062" y="3067"/>
                    </a:lnTo>
                    <a:lnTo>
                      <a:pt x="3066" y="3066"/>
                    </a:lnTo>
                    <a:lnTo>
                      <a:pt x="3068" y="3067"/>
                    </a:lnTo>
                    <a:lnTo>
                      <a:pt x="3073" y="3068"/>
                    </a:lnTo>
                    <a:lnTo>
                      <a:pt x="3077" y="3071"/>
                    </a:lnTo>
                    <a:lnTo>
                      <a:pt x="3085" y="3075"/>
                    </a:lnTo>
                    <a:lnTo>
                      <a:pt x="3093" y="3079"/>
                    </a:lnTo>
                    <a:lnTo>
                      <a:pt x="3098" y="3080"/>
                    </a:lnTo>
                    <a:lnTo>
                      <a:pt x="3103" y="3080"/>
                    </a:lnTo>
                    <a:lnTo>
                      <a:pt x="3108" y="3080"/>
                    </a:lnTo>
                    <a:lnTo>
                      <a:pt x="3114" y="3079"/>
                    </a:lnTo>
                    <a:lnTo>
                      <a:pt x="3122" y="3075"/>
                    </a:lnTo>
                    <a:lnTo>
                      <a:pt x="3131" y="3071"/>
                    </a:lnTo>
                    <a:lnTo>
                      <a:pt x="3135" y="3068"/>
                    </a:lnTo>
                    <a:lnTo>
                      <a:pt x="3137" y="3066"/>
                    </a:lnTo>
                    <a:lnTo>
                      <a:pt x="3140" y="3063"/>
                    </a:lnTo>
                    <a:lnTo>
                      <a:pt x="3141" y="3061"/>
                    </a:lnTo>
                    <a:lnTo>
                      <a:pt x="3141" y="3056"/>
                    </a:lnTo>
                    <a:lnTo>
                      <a:pt x="3141" y="3049"/>
                    </a:lnTo>
                    <a:lnTo>
                      <a:pt x="3141" y="3033"/>
                    </a:lnTo>
                    <a:lnTo>
                      <a:pt x="3142" y="3015"/>
                    </a:lnTo>
                    <a:lnTo>
                      <a:pt x="3141" y="3000"/>
                    </a:lnTo>
                    <a:lnTo>
                      <a:pt x="3138" y="2991"/>
                    </a:lnTo>
                    <a:lnTo>
                      <a:pt x="3136" y="2986"/>
                    </a:lnTo>
                    <a:lnTo>
                      <a:pt x="3134" y="2984"/>
                    </a:lnTo>
                    <a:lnTo>
                      <a:pt x="3131" y="2981"/>
                    </a:lnTo>
                    <a:lnTo>
                      <a:pt x="3128" y="2980"/>
                    </a:lnTo>
                    <a:lnTo>
                      <a:pt x="3124" y="2979"/>
                    </a:lnTo>
                    <a:lnTo>
                      <a:pt x="3121" y="2977"/>
                    </a:lnTo>
                    <a:lnTo>
                      <a:pt x="3118" y="2975"/>
                    </a:lnTo>
                    <a:lnTo>
                      <a:pt x="3117" y="2972"/>
                    </a:lnTo>
                    <a:lnTo>
                      <a:pt x="3116" y="2968"/>
                    </a:lnTo>
                    <a:lnTo>
                      <a:pt x="3115" y="2964"/>
                    </a:lnTo>
                    <a:lnTo>
                      <a:pt x="3116" y="2959"/>
                    </a:lnTo>
                    <a:lnTo>
                      <a:pt x="3117" y="2952"/>
                    </a:lnTo>
                    <a:lnTo>
                      <a:pt x="3118" y="2946"/>
                    </a:lnTo>
                    <a:lnTo>
                      <a:pt x="3118" y="2942"/>
                    </a:lnTo>
                    <a:lnTo>
                      <a:pt x="3117" y="2940"/>
                    </a:lnTo>
                    <a:lnTo>
                      <a:pt x="3114" y="2936"/>
                    </a:lnTo>
                    <a:lnTo>
                      <a:pt x="3106" y="2929"/>
                    </a:lnTo>
                    <a:lnTo>
                      <a:pt x="3102" y="2922"/>
                    </a:lnTo>
                    <a:lnTo>
                      <a:pt x="3098" y="2917"/>
                    </a:lnTo>
                    <a:lnTo>
                      <a:pt x="3092" y="2912"/>
                    </a:lnTo>
                    <a:lnTo>
                      <a:pt x="3089" y="2910"/>
                    </a:lnTo>
                    <a:lnTo>
                      <a:pt x="3084" y="2909"/>
                    </a:lnTo>
                    <a:lnTo>
                      <a:pt x="3079" y="2909"/>
                    </a:lnTo>
                    <a:lnTo>
                      <a:pt x="3073" y="2909"/>
                    </a:lnTo>
                    <a:lnTo>
                      <a:pt x="3059" y="2912"/>
                    </a:lnTo>
                    <a:lnTo>
                      <a:pt x="3046" y="2916"/>
                    </a:lnTo>
                    <a:lnTo>
                      <a:pt x="3033" y="2920"/>
                    </a:lnTo>
                    <a:lnTo>
                      <a:pt x="3021" y="2922"/>
                    </a:lnTo>
                    <a:lnTo>
                      <a:pt x="3012" y="2923"/>
                    </a:lnTo>
                    <a:lnTo>
                      <a:pt x="3004" y="2922"/>
                    </a:lnTo>
                    <a:lnTo>
                      <a:pt x="2996" y="2921"/>
                    </a:lnTo>
                    <a:lnTo>
                      <a:pt x="2987" y="2920"/>
                    </a:lnTo>
                    <a:lnTo>
                      <a:pt x="2980" y="2917"/>
                    </a:lnTo>
                    <a:lnTo>
                      <a:pt x="2973" y="2915"/>
                    </a:lnTo>
                    <a:lnTo>
                      <a:pt x="2968" y="2911"/>
                    </a:lnTo>
                    <a:lnTo>
                      <a:pt x="2965" y="2908"/>
                    </a:lnTo>
                    <a:lnTo>
                      <a:pt x="2964" y="2903"/>
                    </a:lnTo>
                    <a:lnTo>
                      <a:pt x="2965" y="2898"/>
                    </a:lnTo>
                    <a:lnTo>
                      <a:pt x="2965" y="2892"/>
                    </a:lnTo>
                    <a:lnTo>
                      <a:pt x="2966" y="2886"/>
                    </a:lnTo>
                    <a:lnTo>
                      <a:pt x="2967" y="2880"/>
                    </a:lnTo>
                    <a:lnTo>
                      <a:pt x="2967" y="2874"/>
                    </a:lnTo>
                    <a:lnTo>
                      <a:pt x="2967" y="2869"/>
                    </a:lnTo>
                    <a:lnTo>
                      <a:pt x="2965" y="2861"/>
                    </a:lnTo>
                    <a:lnTo>
                      <a:pt x="2957" y="2849"/>
                    </a:lnTo>
                    <a:lnTo>
                      <a:pt x="2947" y="2838"/>
                    </a:lnTo>
                    <a:lnTo>
                      <a:pt x="2939" y="2829"/>
                    </a:lnTo>
                    <a:lnTo>
                      <a:pt x="2933" y="2826"/>
                    </a:lnTo>
                    <a:lnTo>
                      <a:pt x="2928" y="2825"/>
                    </a:lnTo>
                    <a:lnTo>
                      <a:pt x="2924" y="2826"/>
                    </a:lnTo>
                    <a:lnTo>
                      <a:pt x="2921" y="2829"/>
                    </a:lnTo>
                    <a:lnTo>
                      <a:pt x="2917" y="2835"/>
                    </a:lnTo>
                    <a:lnTo>
                      <a:pt x="2916" y="2839"/>
                    </a:lnTo>
                    <a:lnTo>
                      <a:pt x="2914" y="2841"/>
                    </a:lnTo>
                    <a:lnTo>
                      <a:pt x="2910" y="2842"/>
                    </a:lnTo>
                    <a:lnTo>
                      <a:pt x="2907" y="2844"/>
                    </a:lnTo>
                    <a:lnTo>
                      <a:pt x="2902" y="2844"/>
                    </a:lnTo>
                    <a:lnTo>
                      <a:pt x="2898" y="2842"/>
                    </a:lnTo>
                    <a:lnTo>
                      <a:pt x="2894" y="2840"/>
                    </a:lnTo>
                    <a:lnTo>
                      <a:pt x="2890" y="2836"/>
                    </a:lnTo>
                    <a:lnTo>
                      <a:pt x="2886" y="2832"/>
                    </a:lnTo>
                    <a:lnTo>
                      <a:pt x="2884" y="2826"/>
                    </a:lnTo>
                    <a:lnTo>
                      <a:pt x="2882" y="2819"/>
                    </a:lnTo>
                    <a:lnTo>
                      <a:pt x="2879" y="2811"/>
                    </a:lnTo>
                    <a:lnTo>
                      <a:pt x="2877" y="2795"/>
                    </a:lnTo>
                    <a:lnTo>
                      <a:pt x="2876" y="2777"/>
                    </a:lnTo>
                    <a:lnTo>
                      <a:pt x="2875" y="2769"/>
                    </a:lnTo>
                    <a:lnTo>
                      <a:pt x="2876" y="2763"/>
                    </a:lnTo>
                    <a:lnTo>
                      <a:pt x="2876" y="2756"/>
                    </a:lnTo>
                    <a:lnTo>
                      <a:pt x="2877" y="2751"/>
                    </a:lnTo>
                    <a:lnTo>
                      <a:pt x="2879" y="2746"/>
                    </a:lnTo>
                    <a:lnTo>
                      <a:pt x="2882" y="2743"/>
                    </a:lnTo>
                    <a:lnTo>
                      <a:pt x="2885" y="2739"/>
                    </a:lnTo>
                    <a:lnTo>
                      <a:pt x="2889" y="2737"/>
                    </a:lnTo>
                    <a:lnTo>
                      <a:pt x="2900" y="2721"/>
                    </a:lnTo>
                    <a:lnTo>
                      <a:pt x="2911" y="2702"/>
                    </a:lnTo>
                    <a:lnTo>
                      <a:pt x="2915" y="2699"/>
                    </a:lnTo>
                    <a:lnTo>
                      <a:pt x="2920" y="2696"/>
                    </a:lnTo>
                    <a:lnTo>
                      <a:pt x="2924" y="2696"/>
                    </a:lnTo>
                    <a:lnTo>
                      <a:pt x="2928" y="2696"/>
                    </a:lnTo>
                    <a:lnTo>
                      <a:pt x="2936" y="2700"/>
                    </a:lnTo>
                    <a:lnTo>
                      <a:pt x="2944" y="2704"/>
                    </a:lnTo>
                    <a:lnTo>
                      <a:pt x="2947" y="2706"/>
                    </a:lnTo>
                    <a:lnTo>
                      <a:pt x="2953" y="2707"/>
                    </a:lnTo>
                    <a:lnTo>
                      <a:pt x="2959" y="2708"/>
                    </a:lnTo>
                    <a:lnTo>
                      <a:pt x="2966" y="2708"/>
                    </a:lnTo>
                    <a:lnTo>
                      <a:pt x="2972" y="2706"/>
                    </a:lnTo>
                    <a:lnTo>
                      <a:pt x="2978" y="2702"/>
                    </a:lnTo>
                    <a:lnTo>
                      <a:pt x="2980" y="2700"/>
                    </a:lnTo>
                    <a:lnTo>
                      <a:pt x="2983" y="2697"/>
                    </a:lnTo>
                    <a:lnTo>
                      <a:pt x="2984" y="2694"/>
                    </a:lnTo>
                    <a:lnTo>
                      <a:pt x="2985" y="2690"/>
                    </a:lnTo>
                    <a:lnTo>
                      <a:pt x="2987" y="2682"/>
                    </a:lnTo>
                    <a:lnTo>
                      <a:pt x="2990" y="2674"/>
                    </a:lnTo>
                    <a:lnTo>
                      <a:pt x="2993" y="2666"/>
                    </a:lnTo>
                    <a:lnTo>
                      <a:pt x="2996" y="2659"/>
                    </a:lnTo>
                    <a:lnTo>
                      <a:pt x="3001" y="2653"/>
                    </a:lnTo>
                    <a:lnTo>
                      <a:pt x="3004" y="2647"/>
                    </a:lnTo>
                    <a:lnTo>
                      <a:pt x="3008" y="2643"/>
                    </a:lnTo>
                    <a:lnTo>
                      <a:pt x="3012" y="2640"/>
                    </a:lnTo>
                    <a:lnTo>
                      <a:pt x="3016" y="2638"/>
                    </a:lnTo>
                    <a:lnTo>
                      <a:pt x="3021" y="2638"/>
                    </a:lnTo>
                    <a:lnTo>
                      <a:pt x="3026" y="2638"/>
                    </a:lnTo>
                    <a:lnTo>
                      <a:pt x="3029" y="2640"/>
                    </a:lnTo>
                    <a:lnTo>
                      <a:pt x="3034" y="2644"/>
                    </a:lnTo>
                    <a:lnTo>
                      <a:pt x="3039" y="2647"/>
                    </a:lnTo>
                    <a:lnTo>
                      <a:pt x="3042" y="2652"/>
                    </a:lnTo>
                    <a:lnTo>
                      <a:pt x="3045" y="2658"/>
                    </a:lnTo>
                    <a:lnTo>
                      <a:pt x="3052" y="2670"/>
                    </a:lnTo>
                    <a:lnTo>
                      <a:pt x="3059" y="2681"/>
                    </a:lnTo>
                    <a:lnTo>
                      <a:pt x="3062" y="2685"/>
                    </a:lnTo>
                    <a:lnTo>
                      <a:pt x="3066" y="2689"/>
                    </a:lnTo>
                    <a:lnTo>
                      <a:pt x="3071" y="2693"/>
                    </a:lnTo>
                    <a:lnTo>
                      <a:pt x="3075" y="2695"/>
                    </a:lnTo>
                    <a:lnTo>
                      <a:pt x="3084" y="2700"/>
                    </a:lnTo>
                    <a:lnTo>
                      <a:pt x="3090" y="2706"/>
                    </a:lnTo>
                    <a:lnTo>
                      <a:pt x="3096" y="2713"/>
                    </a:lnTo>
                    <a:lnTo>
                      <a:pt x="3100" y="2720"/>
                    </a:lnTo>
                    <a:lnTo>
                      <a:pt x="3106" y="2727"/>
                    </a:lnTo>
                    <a:lnTo>
                      <a:pt x="3114" y="2732"/>
                    </a:lnTo>
                    <a:lnTo>
                      <a:pt x="3122" y="2738"/>
                    </a:lnTo>
                    <a:lnTo>
                      <a:pt x="3131" y="2743"/>
                    </a:lnTo>
                    <a:lnTo>
                      <a:pt x="3141" y="2748"/>
                    </a:lnTo>
                    <a:lnTo>
                      <a:pt x="3146" y="2754"/>
                    </a:lnTo>
                    <a:lnTo>
                      <a:pt x="3150" y="2762"/>
                    </a:lnTo>
                    <a:lnTo>
                      <a:pt x="3154" y="2767"/>
                    </a:lnTo>
                    <a:lnTo>
                      <a:pt x="3156" y="2770"/>
                    </a:lnTo>
                    <a:lnTo>
                      <a:pt x="3160" y="2772"/>
                    </a:lnTo>
                    <a:lnTo>
                      <a:pt x="3163" y="2772"/>
                    </a:lnTo>
                    <a:lnTo>
                      <a:pt x="3167" y="2772"/>
                    </a:lnTo>
                    <a:lnTo>
                      <a:pt x="3169" y="2771"/>
                    </a:lnTo>
                    <a:lnTo>
                      <a:pt x="3172" y="2769"/>
                    </a:lnTo>
                    <a:lnTo>
                      <a:pt x="3173" y="2765"/>
                    </a:lnTo>
                    <a:lnTo>
                      <a:pt x="3174" y="2760"/>
                    </a:lnTo>
                    <a:lnTo>
                      <a:pt x="3173" y="2750"/>
                    </a:lnTo>
                    <a:lnTo>
                      <a:pt x="3171" y="2739"/>
                    </a:lnTo>
                    <a:lnTo>
                      <a:pt x="3169" y="2732"/>
                    </a:lnTo>
                    <a:lnTo>
                      <a:pt x="3168" y="2725"/>
                    </a:lnTo>
                    <a:lnTo>
                      <a:pt x="3165" y="2719"/>
                    </a:lnTo>
                    <a:lnTo>
                      <a:pt x="3159" y="2710"/>
                    </a:lnTo>
                    <a:lnTo>
                      <a:pt x="3146" y="2696"/>
                    </a:lnTo>
                    <a:lnTo>
                      <a:pt x="3135" y="2682"/>
                    </a:lnTo>
                    <a:lnTo>
                      <a:pt x="3131" y="2677"/>
                    </a:lnTo>
                    <a:lnTo>
                      <a:pt x="3128" y="2674"/>
                    </a:lnTo>
                    <a:lnTo>
                      <a:pt x="3127" y="2669"/>
                    </a:lnTo>
                    <a:lnTo>
                      <a:pt x="3125" y="2665"/>
                    </a:lnTo>
                    <a:lnTo>
                      <a:pt x="3125" y="2658"/>
                    </a:lnTo>
                    <a:lnTo>
                      <a:pt x="3128" y="2650"/>
                    </a:lnTo>
                    <a:lnTo>
                      <a:pt x="3129" y="2645"/>
                    </a:lnTo>
                    <a:lnTo>
                      <a:pt x="3129" y="2639"/>
                    </a:lnTo>
                    <a:lnTo>
                      <a:pt x="3128" y="2634"/>
                    </a:lnTo>
                    <a:lnTo>
                      <a:pt x="3127" y="2628"/>
                    </a:lnTo>
                    <a:lnTo>
                      <a:pt x="3121" y="2617"/>
                    </a:lnTo>
                    <a:lnTo>
                      <a:pt x="3114" y="2606"/>
                    </a:lnTo>
                    <a:lnTo>
                      <a:pt x="3105" y="2594"/>
                    </a:lnTo>
                    <a:lnTo>
                      <a:pt x="3096" y="2584"/>
                    </a:lnTo>
                    <a:lnTo>
                      <a:pt x="3091" y="2580"/>
                    </a:lnTo>
                    <a:lnTo>
                      <a:pt x="3085" y="2577"/>
                    </a:lnTo>
                    <a:lnTo>
                      <a:pt x="3078" y="2575"/>
                    </a:lnTo>
                    <a:lnTo>
                      <a:pt x="3070" y="2574"/>
                    </a:lnTo>
                    <a:lnTo>
                      <a:pt x="3054" y="2574"/>
                    </a:lnTo>
                    <a:lnTo>
                      <a:pt x="3041" y="2574"/>
                    </a:lnTo>
                    <a:lnTo>
                      <a:pt x="3035" y="2573"/>
                    </a:lnTo>
                    <a:lnTo>
                      <a:pt x="3030" y="2571"/>
                    </a:lnTo>
                    <a:lnTo>
                      <a:pt x="3027" y="2569"/>
                    </a:lnTo>
                    <a:lnTo>
                      <a:pt x="3024" y="2565"/>
                    </a:lnTo>
                    <a:lnTo>
                      <a:pt x="3021" y="2556"/>
                    </a:lnTo>
                    <a:lnTo>
                      <a:pt x="3016" y="2549"/>
                    </a:lnTo>
                    <a:lnTo>
                      <a:pt x="3014" y="2546"/>
                    </a:lnTo>
                    <a:lnTo>
                      <a:pt x="3010" y="2544"/>
                    </a:lnTo>
                    <a:lnTo>
                      <a:pt x="3007" y="2543"/>
                    </a:lnTo>
                    <a:lnTo>
                      <a:pt x="3001" y="2543"/>
                    </a:lnTo>
                    <a:lnTo>
                      <a:pt x="2996" y="2542"/>
                    </a:lnTo>
                    <a:lnTo>
                      <a:pt x="2991" y="2539"/>
                    </a:lnTo>
                    <a:lnTo>
                      <a:pt x="2987" y="2536"/>
                    </a:lnTo>
                    <a:lnTo>
                      <a:pt x="2983" y="2532"/>
                    </a:lnTo>
                    <a:lnTo>
                      <a:pt x="2979" y="2527"/>
                    </a:lnTo>
                    <a:lnTo>
                      <a:pt x="2974" y="2523"/>
                    </a:lnTo>
                    <a:lnTo>
                      <a:pt x="2970" y="2519"/>
                    </a:lnTo>
                    <a:lnTo>
                      <a:pt x="2964" y="2515"/>
                    </a:lnTo>
                    <a:lnTo>
                      <a:pt x="2952" y="2512"/>
                    </a:lnTo>
                    <a:lnTo>
                      <a:pt x="2941" y="2511"/>
                    </a:lnTo>
                    <a:lnTo>
                      <a:pt x="2936" y="2510"/>
                    </a:lnTo>
                    <a:lnTo>
                      <a:pt x="2933" y="2506"/>
                    </a:lnTo>
                    <a:lnTo>
                      <a:pt x="2930" y="2501"/>
                    </a:lnTo>
                    <a:lnTo>
                      <a:pt x="2929" y="2494"/>
                    </a:lnTo>
                    <a:lnTo>
                      <a:pt x="2929" y="2477"/>
                    </a:lnTo>
                    <a:lnTo>
                      <a:pt x="2930" y="2464"/>
                    </a:lnTo>
                    <a:lnTo>
                      <a:pt x="2932" y="2451"/>
                    </a:lnTo>
                    <a:lnTo>
                      <a:pt x="2933" y="2437"/>
                    </a:lnTo>
                    <a:lnTo>
                      <a:pt x="2932" y="2428"/>
                    </a:lnTo>
                    <a:lnTo>
                      <a:pt x="2930" y="2420"/>
                    </a:lnTo>
                    <a:lnTo>
                      <a:pt x="2929" y="2416"/>
                    </a:lnTo>
                    <a:lnTo>
                      <a:pt x="2929" y="2411"/>
                    </a:lnTo>
                    <a:lnTo>
                      <a:pt x="2930" y="2405"/>
                    </a:lnTo>
                    <a:lnTo>
                      <a:pt x="2933" y="2397"/>
                    </a:lnTo>
                    <a:lnTo>
                      <a:pt x="2933" y="2393"/>
                    </a:lnTo>
                    <a:lnTo>
                      <a:pt x="2933" y="2391"/>
                    </a:lnTo>
                    <a:lnTo>
                      <a:pt x="2933" y="2387"/>
                    </a:lnTo>
                    <a:lnTo>
                      <a:pt x="2932" y="2386"/>
                    </a:lnTo>
                    <a:lnTo>
                      <a:pt x="2928" y="2384"/>
                    </a:lnTo>
                    <a:lnTo>
                      <a:pt x="2923" y="2384"/>
                    </a:lnTo>
                    <a:lnTo>
                      <a:pt x="2909" y="2387"/>
                    </a:lnTo>
                    <a:lnTo>
                      <a:pt x="2892" y="2391"/>
                    </a:lnTo>
                    <a:lnTo>
                      <a:pt x="2878" y="2394"/>
                    </a:lnTo>
                    <a:lnTo>
                      <a:pt x="2866" y="2397"/>
                    </a:lnTo>
                    <a:lnTo>
                      <a:pt x="2861" y="2399"/>
                    </a:lnTo>
                    <a:lnTo>
                      <a:pt x="2857" y="2399"/>
                    </a:lnTo>
                    <a:lnTo>
                      <a:pt x="2852" y="2399"/>
                    </a:lnTo>
                    <a:lnTo>
                      <a:pt x="2848" y="2398"/>
                    </a:lnTo>
                    <a:lnTo>
                      <a:pt x="2847" y="2395"/>
                    </a:lnTo>
                    <a:lnTo>
                      <a:pt x="2847" y="2392"/>
                    </a:lnTo>
                    <a:lnTo>
                      <a:pt x="2847" y="2387"/>
                    </a:lnTo>
                    <a:lnTo>
                      <a:pt x="2848" y="2380"/>
                    </a:lnTo>
                    <a:lnTo>
                      <a:pt x="2851" y="2366"/>
                    </a:lnTo>
                    <a:lnTo>
                      <a:pt x="2851" y="2350"/>
                    </a:lnTo>
                    <a:lnTo>
                      <a:pt x="2851" y="2341"/>
                    </a:lnTo>
                    <a:lnTo>
                      <a:pt x="2851" y="2331"/>
                    </a:lnTo>
                    <a:lnTo>
                      <a:pt x="2850" y="2321"/>
                    </a:lnTo>
                    <a:lnTo>
                      <a:pt x="2848" y="2315"/>
                    </a:lnTo>
                    <a:lnTo>
                      <a:pt x="2847" y="2310"/>
                    </a:lnTo>
                    <a:lnTo>
                      <a:pt x="2845" y="2306"/>
                    </a:lnTo>
                    <a:lnTo>
                      <a:pt x="2841" y="2302"/>
                    </a:lnTo>
                    <a:lnTo>
                      <a:pt x="2837" y="2298"/>
                    </a:lnTo>
                    <a:lnTo>
                      <a:pt x="2829" y="2294"/>
                    </a:lnTo>
                    <a:lnTo>
                      <a:pt x="2825" y="2290"/>
                    </a:lnTo>
                    <a:lnTo>
                      <a:pt x="2821" y="2284"/>
                    </a:lnTo>
                    <a:lnTo>
                      <a:pt x="2819" y="2279"/>
                    </a:lnTo>
                    <a:lnTo>
                      <a:pt x="2816" y="2273"/>
                    </a:lnTo>
                    <a:lnTo>
                      <a:pt x="2816" y="2267"/>
                    </a:lnTo>
                    <a:lnTo>
                      <a:pt x="2816" y="2261"/>
                    </a:lnTo>
                    <a:lnTo>
                      <a:pt x="2819" y="2255"/>
                    </a:lnTo>
                    <a:lnTo>
                      <a:pt x="2821" y="2249"/>
                    </a:lnTo>
                    <a:lnTo>
                      <a:pt x="2823" y="2244"/>
                    </a:lnTo>
                    <a:lnTo>
                      <a:pt x="2827" y="2240"/>
                    </a:lnTo>
                    <a:lnTo>
                      <a:pt x="2832" y="2235"/>
                    </a:lnTo>
                    <a:lnTo>
                      <a:pt x="2841" y="2227"/>
                    </a:lnTo>
                    <a:lnTo>
                      <a:pt x="2851" y="2218"/>
                    </a:lnTo>
                    <a:lnTo>
                      <a:pt x="2858" y="2214"/>
                    </a:lnTo>
                    <a:lnTo>
                      <a:pt x="2864" y="2209"/>
                    </a:lnTo>
                    <a:lnTo>
                      <a:pt x="2872" y="2198"/>
                    </a:lnTo>
                    <a:lnTo>
                      <a:pt x="2882" y="2183"/>
                    </a:lnTo>
                    <a:lnTo>
                      <a:pt x="2888" y="2176"/>
                    </a:lnTo>
                    <a:lnTo>
                      <a:pt x="2894" y="2168"/>
                    </a:lnTo>
                    <a:lnTo>
                      <a:pt x="2900" y="2162"/>
                    </a:lnTo>
                    <a:lnTo>
                      <a:pt x="2907" y="2158"/>
                    </a:lnTo>
                    <a:lnTo>
                      <a:pt x="2921" y="2154"/>
                    </a:lnTo>
                    <a:lnTo>
                      <a:pt x="2933" y="2152"/>
                    </a:lnTo>
                    <a:lnTo>
                      <a:pt x="2939" y="2151"/>
                    </a:lnTo>
                    <a:lnTo>
                      <a:pt x="2944" y="2148"/>
                    </a:lnTo>
                    <a:lnTo>
                      <a:pt x="2948" y="2145"/>
                    </a:lnTo>
                    <a:lnTo>
                      <a:pt x="2952" y="2140"/>
                    </a:lnTo>
                    <a:lnTo>
                      <a:pt x="2964" y="2124"/>
                    </a:lnTo>
                    <a:lnTo>
                      <a:pt x="2976" y="2110"/>
                    </a:lnTo>
                    <a:lnTo>
                      <a:pt x="2979" y="2105"/>
                    </a:lnTo>
                    <a:lnTo>
                      <a:pt x="2980" y="2099"/>
                    </a:lnTo>
                    <a:lnTo>
                      <a:pt x="2979" y="2096"/>
                    </a:lnTo>
                    <a:lnTo>
                      <a:pt x="2978" y="2091"/>
                    </a:lnTo>
                    <a:lnTo>
                      <a:pt x="2976" y="2088"/>
                    </a:lnTo>
                    <a:lnTo>
                      <a:pt x="2972" y="2085"/>
                    </a:lnTo>
                    <a:lnTo>
                      <a:pt x="2967" y="2083"/>
                    </a:lnTo>
                    <a:lnTo>
                      <a:pt x="2963" y="2080"/>
                    </a:lnTo>
                    <a:lnTo>
                      <a:pt x="2952" y="2077"/>
                    </a:lnTo>
                    <a:lnTo>
                      <a:pt x="2938" y="2070"/>
                    </a:lnTo>
                    <a:lnTo>
                      <a:pt x="2924" y="2061"/>
                    </a:lnTo>
                    <a:lnTo>
                      <a:pt x="2915" y="2054"/>
                    </a:lnTo>
                    <a:lnTo>
                      <a:pt x="2908" y="2048"/>
                    </a:lnTo>
                    <a:lnTo>
                      <a:pt x="2901" y="2042"/>
                    </a:lnTo>
                    <a:lnTo>
                      <a:pt x="2898" y="2039"/>
                    </a:lnTo>
                    <a:lnTo>
                      <a:pt x="2898" y="2034"/>
                    </a:lnTo>
                    <a:lnTo>
                      <a:pt x="2900" y="2031"/>
                    </a:lnTo>
                    <a:lnTo>
                      <a:pt x="2902" y="2027"/>
                    </a:lnTo>
                    <a:lnTo>
                      <a:pt x="2907" y="2023"/>
                    </a:lnTo>
                    <a:lnTo>
                      <a:pt x="2910" y="2021"/>
                    </a:lnTo>
                    <a:lnTo>
                      <a:pt x="2914" y="2020"/>
                    </a:lnTo>
                    <a:lnTo>
                      <a:pt x="2917" y="2019"/>
                    </a:lnTo>
                    <a:lnTo>
                      <a:pt x="2920" y="2019"/>
                    </a:lnTo>
                    <a:lnTo>
                      <a:pt x="2922" y="2017"/>
                    </a:lnTo>
                    <a:lnTo>
                      <a:pt x="2923" y="2015"/>
                    </a:lnTo>
                    <a:lnTo>
                      <a:pt x="2926" y="2012"/>
                    </a:lnTo>
                    <a:lnTo>
                      <a:pt x="2927" y="2004"/>
                    </a:lnTo>
                    <a:lnTo>
                      <a:pt x="2928" y="1996"/>
                    </a:lnTo>
                    <a:lnTo>
                      <a:pt x="2929" y="1993"/>
                    </a:lnTo>
                    <a:lnTo>
                      <a:pt x="2932" y="1988"/>
                    </a:lnTo>
                    <a:lnTo>
                      <a:pt x="2935" y="1984"/>
                    </a:lnTo>
                    <a:lnTo>
                      <a:pt x="2941" y="1981"/>
                    </a:lnTo>
                    <a:lnTo>
                      <a:pt x="2952" y="1973"/>
                    </a:lnTo>
                    <a:lnTo>
                      <a:pt x="2963" y="1964"/>
                    </a:lnTo>
                    <a:lnTo>
                      <a:pt x="2966" y="1959"/>
                    </a:lnTo>
                    <a:lnTo>
                      <a:pt x="2968" y="1954"/>
                    </a:lnTo>
                    <a:lnTo>
                      <a:pt x="2971" y="1950"/>
                    </a:lnTo>
                    <a:lnTo>
                      <a:pt x="2971" y="1946"/>
                    </a:lnTo>
                    <a:lnTo>
                      <a:pt x="2968" y="1937"/>
                    </a:lnTo>
                    <a:lnTo>
                      <a:pt x="2968" y="1927"/>
                    </a:lnTo>
                    <a:lnTo>
                      <a:pt x="2968" y="1924"/>
                    </a:lnTo>
                    <a:lnTo>
                      <a:pt x="2971" y="1919"/>
                    </a:lnTo>
                    <a:lnTo>
                      <a:pt x="2973" y="1916"/>
                    </a:lnTo>
                    <a:lnTo>
                      <a:pt x="2977" y="1914"/>
                    </a:lnTo>
                    <a:lnTo>
                      <a:pt x="2982" y="1912"/>
                    </a:lnTo>
                    <a:lnTo>
                      <a:pt x="2986" y="1910"/>
                    </a:lnTo>
                    <a:lnTo>
                      <a:pt x="2990" y="1910"/>
                    </a:lnTo>
                    <a:lnTo>
                      <a:pt x="2995" y="1910"/>
                    </a:lnTo>
                    <a:lnTo>
                      <a:pt x="2998" y="1913"/>
                    </a:lnTo>
                    <a:lnTo>
                      <a:pt x="3002" y="1914"/>
                    </a:lnTo>
                    <a:lnTo>
                      <a:pt x="3005" y="1918"/>
                    </a:lnTo>
                    <a:lnTo>
                      <a:pt x="3009" y="1921"/>
                    </a:lnTo>
                    <a:lnTo>
                      <a:pt x="3012" y="1925"/>
                    </a:lnTo>
                    <a:lnTo>
                      <a:pt x="3018" y="1927"/>
                    </a:lnTo>
                    <a:lnTo>
                      <a:pt x="3026" y="1930"/>
                    </a:lnTo>
                    <a:lnTo>
                      <a:pt x="3033" y="1931"/>
                    </a:lnTo>
                    <a:lnTo>
                      <a:pt x="3048" y="1932"/>
                    </a:lnTo>
                    <a:lnTo>
                      <a:pt x="3062" y="1932"/>
                    </a:lnTo>
                    <a:lnTo>
                      <a:pt x="3068" y="1932"/>
                    </a:lnTo>
                    <a:lnTo>
                      <a:pt x="3074" y="1933"/>
                    </a:lnTo>
                    <a:lnTo>
                      <a:pt x="3080" y="1935"/>
                    </a:lnTo>
                    <a:lnTo>
                      <a:pt x="3086" y="1938"/>
                    </a:lnTo>
                    <a:lnTo>
                      <a:pt x="3104" y="1951"/>
                    </a:lnTo>
                    <a:lnTo>
                      <a:pt x="3121" y="1964"/>
                    </a:lnTo>
                    <a:lnTo>
                      <a:pt x="3123" y="1969"/>
                    </a:lnTo>
                    <a:lnTo>
                      <a:pt x="3125" y="1976"/>
                    </a:lnTo>
                    <a:lnTo>
                      <a:pt x="3127" y="1984"/>
                    </a:lnTo>
                    <a:lnTo>
                      <a:pt x="3127" y="1991"/>
                    </a:lnTo>
                    <a:lnTo>
                      <a:pt x="3128" y="2001"/>
                    </a:lnTo>
                    <a:lnTo>
                      <a:pt x="3130" y="2007"/>
                    </a:lnTo>
                    <a:lnTo>
                      <a:pt x="3131" y="2009"/>
                    </a:lnTo>
                    <a:lnTo>
                      <a:pt x="3134" y="2012"/>
                    </a:lnTo>
                    <a:lnTo>
                      <a:pt x="3136" y="2012"/>
                    </a:lnTo>
                    <a:lnTo>
                      <a:pt x="3138" y="2012"/>
                    </a:lnTo>
                    <a:lnTo>
                      <a:pt x="3144" y="2009"/>
                    </a:lnTo>
                    <a:lnTo>
                      <a:pt x="3149" y="2008"/>
                    </a:lnTo>
                    <a:lnTo>
                      <a:pt x="3161" y="2004"/>
                    </a:lnTo>
                    <a:lnTo>
                      <a:pt x="3174" y="2001"/>
                    </a:lnTo>
                    <a:lnTo>
                      <a:pt x="3188" y="1997"/>
                    </a:lnTo>
                    <a:lnTo>
                      <a:pt x="3201" y="1994"/>
                    </a:lnTo>
                    <a:lnTo>
                      <a:pt x="3219" y="1991"/>
                    </a:lnTo>
                    <a:lnTo>
                      <a:pt x="3231" y="1990"/>
                    </a:lnTo>
                    <a:lnTo>
                      <a:pt x="3236" y="1990"/>
                    </a:lnTo>
                    <a:lnTo>
                      <a:pt x="3241" y="1989"/>
                    </a:lnTo>
                    <a:lnTo>
                      <a:pt x="3243" y="1988"/>
                    </a:lnTo>
                    <a:lnTo>
                      <a:pt x="3245" y="1987"/>
                    </a:lnTo>
                    <a:lnTo>
                      <a:pt x="3251" y="1981"/>
                    </a:lnTo>
                    <a:lnTo>
                      <a:pt x="3260" y="1976"/>
                    </a:lnTo>
                    <a:lnTo>
                      <a:pt x="3264" y="1975"/>
                    </a:lnTo>
                    <a:lnTo>
                      <a:pt x="3268" y="1975"/>
                    </a:lnTo>
                    <a:lnTo>
                      <a:pt x="3273" y="1976"/>
                    </a:lnTo>
                    <a:lnTo>
                      <a:pt x="3278" y="1979"/>
                    </a:lnTo>
                    <a:lnTo>
                      <a:pt x="3282" y="1984"/>
                    </a:lnTo>
                    <a:lnTo>
                      <a:pt x="3287" y="1991"/>
                    </a:lnTo>
                    <a:lnTo>
                      <a:pt x="3291" y="2000"/>
                    </a:lnTo>
                    <a:lnTo>
                      <a:pt x="3294" y="2008"/>
                    </a:lnTo>
                    <a:lnTo>
                      <a:pt x="3301" y="2027"/>
                    </a:lnTo>
                    <a:lnTo>
                      <a:pt x="3306" y="2044"/>
                    </a:lnTo>
                    <a:lnTo>
                      <a:pt x="3310" y="2057"/>
                    </a:lnTo>
                    <a:lnTo>
                      <a:pt x="3312" y="2064"/>
                    </a:lnTo>
                    <a:lnTo>
                      <a:pt x="3314" y="2067"/>
                    </a:lnTo>
                    <a:lnTo>
                      <a:pt x="3317" y="2070"/>
                    </a:lnTo>
                    <a:lnTo>
                      <a:pt x="3322" y="2072"/>
                    </a:lnTo>
                    <a:lnTo>
                      <a:pt x="3326" y="2075"/>
                    </a:lnTo>
                    <a:lnTo>
                      <a:pt x="3343" y="2079"/>
                    </a:lnTo>
                    <a:lnTo>
                      <a:pt x="3362" y="2083"/>
                    </a:lnTo>
                    <a:lnTo>
                      <a:pt x="3371" y="2085"/>
                    </a:lnTo>
                    <a:lnTo>
                      <a:pt x="3381" y="2085"/>
                    </a:lnTo>
                    <a:lnTo>
                      <a:pt x="3389" y="2085"/>
                    </a:lnTo>
                    <a:lnTo>
                      <a:pt x="3396" y="2084"/>
                    </a:lnTo>
                    <a:lnTo>
                      <a:pt x="3400" y="2083"/>
                    </a:lnTo>
                    <a:lnTo>
                      <a:pt x="3405" y="2083"/>
                    </a:lnTo>
                    <a:lnTo>
                      <a:pt x="3411" y="2082"/>
                    </a:lnTo>
                    <a:lnTo>
                      <a:pt x="3417" y="2078"/>
                    </a:lnTo>
                    <a:lnTo>
                      <a:pt x="3423" y="2072"/>
                    </a:lnTo>
                    <a:lnTo>
                      <a:pt x="3429" y="2067"/>
                    </a:lnTo>
                    <a:lnTo>
                      <a:pt x="3438" y="2066"/>
                    </a:lnTo>
                    <a:lnTo>
                      <a:pt x="3446" y="2065"/>
                    </a:lnTo>
                    <a:lnTo>
                      <a:pt x="3449" y="2064"/>
                    </a:lnTo>
                    <a:lnTo>
                      <a:pt x="3451" y="2061"/>
                    </a:lnTo>
                    <a:lnTo>
                      <a:pt x="3453" y="2059"/>
                    </a:lnTo>
                    <a:lnTo>
                      <a:pt x="3456" y="2056"/>
                    </a:lnTo>
                    <a:lnTo>
                      <a:pt x="3457" y="2047"/>
                    </a:lnTo>
                    <a:lnTo>
                      <a:pt x="3462" y="2040"/>
                    </a:lnTo>
                    <a:lnTo>
                      <a:pt x="3469" y="2038"/>
                    </a:lnTo>
                    <a:lnTo>
                      <a:pt x="3478" y="2036"/>
                    </a:lnTo>
                    <a:lnTo>
                      <a:pt x="3488" y="2032"/>
                    </a:lnTo>
                    <a:lnTo>
                      <a:pt x="3496" y="2027"/>
                    </a:lnTo>
                    <a:lnTo>
                      <a:pt x="3500" y="2022"/>
                    </a:lnTo>
                    <a:lnTo>
                      <a:pt x="3502" y="2016"/>
                    </a:lnTo>
                    <a:lnTo>
                      <a:pt x="3505" y="2009"/>
                    </a:lnTo>
                    <a:lnTo>
                      <a:pt x="3505" y="2002"/>
                    </a:lnTo>
                    <a:lnTo>
                      <a:pt x="3507" y="1994"/>
                    </a:lnTo>
                    <a:lnTo>
                      <a:pt x="3509" y="1987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0" name="贵州"/>
              <p:cNvSpPr/>
              <p:nvPr>
                <p:custDataLst>
                  <p:tags r:id="rId47"/>
                </p:custDataLst>
              </p:nvPr>
            </p:nvSpPr>
            <p:spPr bwMode="auto">
              <a:xfrm>
                <a:off x="4036466" y="4574703"/>
                <a:ext cx="828787" cy="710389"/>
              </a:xfrm>
              <a:custGeom>
                <a:avLst/>
                <a:gdLst>
                  <a:gd name="T0" fmla="*/ 1464 w 2274"/>
                  <a:gd name="T1" fmla="*/ 41 h 1956"/>
                  <a:gd name="T2" fmla="*/ 1595 w 2274"/>
                  <a:gd name="T3" fmla="*/ 13 h 1956"/>
                  <a:gd name="T4" fmla="*/ 1725 w 2274"/>
                  <a:gd name="T5" fmla="*/ 60 h 1956"/>
                  <a:gd name="T6" fmla="*/ 1814 w 2274"/>
                  <a:gd name="T7" fmla="*/ 79 h 1956"/>
                  <a:gd name="T8" fmla="*/ 1920 w 2274"/>
                  <a:gd name="T9" fmla="*/ 245 h 1956"/>
                  <a:gd name="T10" fmla="*/ 1946 w 2274"/>
                  <a:gd name="T11" fmla="*/ 383 h 1956"/>
                  <a:gd name="T12" fmla="*/ 1974 w 2274"/>
                  <a:gd name="T13" fmla="*/ 412 h 1956"/>
                  <a:gd name="T14" fmla="*/ 2045 w 2274"/>
                  <a:gd name="T15" fmla="*/ 445 h 1956"/>
                  <a:gd name="T16" fmla="*/ 2142 w 2274"/>
                  <a:gd name="T17" fmla="*/ 330 h 1956"/>
                  <a:gd name="T18" fmla="*/ 2205 w 2274"/>
                  <a:gd name="T19" fmla="*/ 453 h 1956"/>
                  <a:gd name="T20" fmla="*/ 2182 w 2274"/>
                  <a:gd name="T21" fmla="*/ 611 h 1956"/>
                  <a:gd name="T22" fmla="*/ 2187 w 2274"/>
                  <a:gd name="T23" fmla="*/ 763 h 1956"/>
                  <a:gd name="T24" fmla="*/ 2072 w 2274"/>
                  <a:gd name="T25" fmla="*/ 868 h 1956"/>
                  <a:gd name="T26" fmla="*/ 2031 w 2274"/>
                  <a:gd name="T27" fmla="*/ 964 h 1956"/>
                  <a:gd name="T28" fmla="*/ 2187 w 2274"/>
                  <a:gd name="T29" fmla="*/ 899 h 1956"/>
                  <a:gd name="T30" fmla="*/ 2274 w 2274"/>
                  <a:gd name="T31" fmla="*/ 980 h 1956"/>
                  <a:gd name="T32" fmla="*/ 2269 w 2274"/>
                  <a:gd name="T33" fmla="*/ 1028 h 1956"/>
                  <a:gd name="T34" fmla="*/ 2219 w 2274"/>
                  <a:gd name="T35" fmla="*/ 1157 h 1956"/>
                  <a:gd name="T36" fmla="*/ 2215 w 2274"/>
                  <a:gd name="T37" fmla="*/ 1283 h 1956"/>
                  <a:gd name="T38" fmla="*/ 2234 w 2274"/>
                  <a:gd name="T39" fmla="*/ 1310 h 1956"/>
                  <a:gd name="T40" fmla="*/ 2217 w 2274"/>
                  <a:gd name="T41" fmla="*/ 1453 h 1956"/>
                  <a:gd name="T42" fmla="*/ 2078 w 2274"/>
                  <a:gd name="T43" fmla="*/ 1485 h 1956"/>
                  <a:gd name="T44" fmla="*/ 2081 w 2274"/>
                  <a:gd name="T45" fmla="*/ 1554 h 1956"/>
                  <a:gd name="T46" fmla="*/ 1977 w 2274"/>
                  <a:gd name="T47" fmla="*/ 1585 h 1956"/>
                  <a:gd name="T48" fmla="*/ 1917 w 2274"/>
                  <a:gd name="T49" fmla="*/ 1623 h 1956"/>
                  <a:gd name="T50" fmla="*/ 1831 w 2274"/>
                  <a:gd name="T51" fmla="*/ 1636 h 1956"/>
                  <a:gd name="T52" fmla="*/ 1735 w 2274"/>
                  <a:gd name="T53" fmla="*/ 1647 h 1956"/>
                  <a:gd name="T54" fmla="*/ 1580 w 2274"/>
                  <a:gd name="T55" fmla="*/ 1770 h 1956"/>
                  <a:gd name="T56" fmla="*/ 1535 w 2274"/>
                  <a:gd name="T57" fmla="*/ 1690 h 1956"/>
                  <a:gd name="T58" fmla="*/ 1430 w 2274"/>
                  <a:gd name="T59" fmla="*/ 1656 h 1956"/>
                  <a:gd name="T60" fmla="*/ 1334 w 2274"/>
                  <a:gd name="T61" fmla="*/ 1576 h 1956"/>
                  <a:gd name="T62" fmla="*/ 1266 w 2274"/>
                  <a:gd name="T63" fmla="*/ 1733 h 1956"/>
                  <a:gd name="T64" fmla="*/ 1134 w 2274"/>
                  <a:gd name="T65" fmla="*/ 1745 h 1956"/>
                  <a:gd name="T66" fmla="*/ 960 w 2274"/>
                  <a:gd name="T67" fmla="*/ 1870 h 1956"/>
                  <a:gd name="T68" fmla="*/ 814 w 2274"/>
                  <a:gd name="T69" fmla="*/ 1931 h 1956"/>
                  <a:gd name="T70" fmla="*/ 664 w 2274"/>
                  <a:gd name="T71" fmla="*/ 1847 h 1956"/>
                  <a:gd name="T72" fmla="*/ 510 w 2274"/>
                  <a:gd name="T73" fmla="*/ 1828 h 1956"/>
                  <a:gd name="T74" fmla="*/ 368 w 2274"/>
                  <a:gd name="T75" fmla="*/ 1946 h 1956"/>
                  <a:gd name="T76" fmla="*/ 359 w 2274"/>
                  <a:gd name="T77" fmla="*/ 1776 h 1956"/>
                  <a:gd name="T78" fmla="*/ 403 w 2274"/>
                  <a:gd name="T79" fmla="*/ 1700 h 1956"/>
                  <a:gd name="T80" fmla="*/ 334 w 2274"/>
                  <a:gd name="T81" fmla="*/ 1616 h 1956"/>
                  <a:gd name="T82" fmla="*/ 270 w 2274"/>
                  <a:gd name="T83" fmla="*/ 1530 h 1956"/>
                  <a:gd name="T84" fmla="*/ 301 w 2274"/>
                  <a:gd name="T85" fmla="*/ 1320 h 1956"/>
                  <a:gd name="T86" fmla="*/ 376 w 2274"/>
                  <a:gd name="T87" fmla="*/ 1121 h 1956"/>
                  <a:gd name="T88" fmla="*/ 185 w 2274"/>
                  <a:gd name="T89" fmla="*/ 1063 h 1956"/>
                  <a:gd name="T90" fmla="*/ 38 w 2274"/>
                  <a:gd name="T91" fmla="*/ 990 h 1956"/>
                  <a:gd name="T92" fmla="*/ 0 w 2274"/>
                  <a:gd name="T93" fmla="*/ 867 h 1956"/>
                  <a:gd name="T94" fmla="*/ 132 w 2274"/>
                  <a:gd name="T95" fmla="*/ 699 h 1956"/>
                  <a:gd name="T96" fmla="*/ 296 w 2274"/>
                  <a:gd name="T97" fmla="*/ 713 h 1956"/>
                  <a:gd name="T98" fmla="*/ 474 w 2274"/>
                  <a:gd name="T99" fmla="*/ 775 h 1956"/>
                  <a:gd name="T100" fmla="*/ 625 w 2274"/>
                  <a:gd name="T101" fmla="*/ 747 h 1956"/>
                  <a:gd name="T102" fmla="*/ 729 w 2274"/>
                  <a:gd name="T103" fmla="*/ 592 h 1956"/>
                  <a:gd name="T104" fmla="*/ 941 w 2274"/>
                  <a:gd name="T105" fmla="*/ 612 h 1956"/>
                  <a:gd name="T106" fmla="*/ 1048 w 2274"/>
                  <a:gd name="T107" fmla="*/ 511 h 1956"/>
                  <a:gd name="T108" fmla="*/ 904 w 2274"/>
                  <a:gd name="T109" fmla="*/ 450 h 1956"/>
                  <a:gd name="T110" fmla="*/ 803 w 2274"/>
                  <a:gd name="T111" fmla="*/ 362 h 1956"/>
                  <a:gd name="T112" fmla="*/ 900 w 2274"/>
                  <a:gd name="T113" fmla="*/ 227 h 1956"/>
                  <a:gd name="T114" fmla="*/ 1023 w 2274"/>
                  <a:gd name="T115" fmla="*/ 257 h 1956"/>
                  <a:gd name="T116" fmla="*/ 1128 w 2274"/>
                  <a:gd name="T117" fmla="*/ 274 h 1956"/>
                  <a:gd name="T118" fmla="*/ 1141 w 2274"/>
                  <a:gd name="T119" fmla="*/ 149 h 1956"/>
                  <a:gd name="T120" fmla="*/ 1196 w 2274"/>
                  <a:gd name="T121" fmla="*/ 294 h 1956"/>
                  <a:gd name="T122" fmla="*/ 1290 w 2274"/>
                  <a:gd name="T123" fmla="*/ 163 h 1956"/>
                  <a:gd name="T124" fmla="*/ 1411 w 2274"/>
                  <a:gd name="T125" fmla="*/ 176 h 19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74" h="1956">
                    <a:moveTo>
                      <a:pt x="1428" y="176"/>
                    </a:moveTo>
                    <a:lnTo>
                      <a:pt x="1429" y="176"/>
                    </a:lnTo>
                    <a:lnTo>
                      <a:pt x="1430" y="175"/>
                    </a:lnTo>
                    <a:lnTo>
                      <a:pt x="1435" y="171"/>
                    </a:lnTo>
                    <a:lnTo>
                      <a:pt x="1438" y="169"/>
                    </a:lnTo>
                    <a:lnTo>
                      <a:pt x="1441" y="167"/>
                    </a:lnTo>
                    <a:lnTo>
                      <a:pt x="1443" y="164"/>
                    </a:lnTo>
                    <a:lnTo>
                      <a:pt x="1454" y="157"/>
                    </a:lnTo>
                    <a:lnTo>
                      <a:pt x="1467" y="149"/>
                    </a:lnTo>
                    <a:lnTo>
                      <a:pt x="1477" y="143"/>
                    </a:lnTo>
                    <a:lnTo>
                      <a:pt x="1489" y="137"/>
                    </a:lnTo>
                    <a:lnTo>
                      <a:pt x="1493" y="133"/>
                    </a:lnTo>
                    <a:lnTo>
                      <a:pt x="1496" y="130"/>
                    </a:lnTo>
                    <a:lnTo>
                      <a:pt x="1498" y="126"/>
                    </a:lnTo>
                    <a:lnTo>
                      <a:pt x="1499" y="122"/>
                    </a:lnTo>
                    <a:lnTo>
                      <a:pt x="1496" y="117"/>
                    </a:lnTo>
                    <a:lnTo>
                      <a:pt x="1491" y="111"/>
                    </a:lnTo>
                    <a:lnTo>
                      <a:pt x="1483" y="104"/>
                    </a:lnTo>
                    <a:lnTo>
                      <a:pt x="1475" y="95"/>
                    </a:lnTo>
                    <a:lnTo>
                      <a:pt x="1474" y="93"/>
                    </a:lnTo>
                    <a:lnTo>
                      <a:pt x="1472" y="89"/>
                    </a:lnTo>
                    <a:lnTo>
                      <a:pt x="1469" y="79"/>
                    </a:lnTo>
                    <a:lnTo>
                      <a:pt x="1468" y="68"/>
                    </a:lnTo>
                    <a:lnTo>
                      <a:pt x="1468" y="61"/>
                    </a:lnTo>
                    <a:lnTo>
                      <a:pt x="1466" y="53"/>
                    </a:lnTo>
                    <a:lnTo>
                      <a:pt x="1464" y="50"/>
                    </a:lnTo>
                    <a:lnTo>
                      <a:pt x="1463" y="47"/>
                    </a:lnTo>
                    <a:lnTo>
                      <a:pt x="1463" y="43"/>
                    </a:lnTo>
                    <a:lnTo>
                      <a:pt x="1464" y="41"/>
                    </a:lnTo>
                    <a:lnTo>
                      <a:pt x="1468" y="37"/>
                    </a:lnTo>
                    <a:lnTo>
                      <a:pt x="1472" y="32"/>
                    </a:lnTo>
                    <a:lnTo>
                      <a:pt x="1476" y="30"/>
                    </a:lnTo>
                    <a:lnTo>
                      <a:pt x="1482" y="26"/>
                    </a:lnTo>
                    <a:lnTo>
                      <a:pt x="1491" y="21"/>
                    </a:lnTo>
                    <a:lnTo>
                      <a:pt x="1498" y="16"/>
                    </a:lnTo>
                    <a:lnTo>
                      <a:pt x="1501" y="15"/>
                    </a:lnTo>
                    <a:lnTo>
                      <a:pt x="1505" y="12"/>
                    </a:lnTo>
                    <a:lnTo>
                      <a:pt x="1507" y="11"/>
                    </a:lnTo>
                    <a:lnTo>
                      <a:pt x="1508" y="10"/>
                    </a:lnTo>
                    <a:lnTo>
                      <a:pt x="1513" y="7"/>
                    </a:lnTo>
                    <a:lnTo>
                      <a:pt x="1519" y="4"/>
                    </a:lnTo>
                    <a:lnTo>
                      <a:pt x="1523" y="3"/>
                    </a:lnTo>
                    <a:lnTo>
                      <a:pt x="1526" y="2"/>
                    </a:lnTo>
                    <a:lnTo>
                      <a:pt x="1530" y="0"/>
                    </a:lnTo>
                    <a:lnTo>
                      <a:pt x="1532" y="2"/>
                    </a:lnTo>
                    <a:lnTo>
                      <a:pt x="1538" y="6"/>
                    </a:lnTo>
                    <a:lnTo>
                      <a:pt x="1543" y="13"/>
                    </a:lnTo>
                    <a:lnTo>
                      <a:pt x="1549" y="18"/>
                    </a:lnTo>
                    <a:lnTo>
                      <a:pt x="1554" y="21"/>
                    </a:lnTo>
                    <a:lnTo>
                      <a:pt x="1557" y="22"/>
                    </a:lnTo>
                    <a:lnTo>
                      <a:pt x="1562" y="22"/>
                    </a:lnTo>
                    <a:lnTo>
                      <a:pt x="1564" y="22"/>
                    </a:lnTo>
                    <a:lnTo>
                      <a:pt x="1567" y="22"/>
                    </a:lnTo>
                    <a:lnTo>
                      <a:pt x="1571" y="22"/>
                    </a:lnTo>
                    <a:lnTo>
                      <a:pt x="1580" y="21"/>
                    </a:lnTo>
                    <a:lnTo>
                      <a:pt x="1584" y="19"/>
                    </a:lnTo>
                    <a:lnTo>
                      <a:pt x="1590" y="17"/>
                    </a:lnTo>
                    <a:lnTo>
                      <a:pt x="1595" y="13"/>
                    </a:lnTo>
                    <a:lnTo>
                      <a:pt x="1600" y="10"/>
                    </a:lnTo>
                    <a:lnTo>
                      <a:pt x="1602" y="9"/>
                    </a:lnTo>
                    <a:lnTo>
                      <a:pt x="1606" y="7"/>
                    </a:lnTo>
                    <a:lnTo>
                      <a:pt x="1608" y="7"/>
                    </a:lnTo>
                    <a:lnTo>
                      <a:pt x="1611" y="7"/>
                    </a:lnTo>
                    <a:lnTo>
                      <a:pt x="1614" y="10"/>
                    </a:lnTo>
                    <a:lnTo>
                      <a:pt x="1617" y="13"/>
                    </a:lnTo>
                    <a:lnTo>
                      <a:pt x="1618" y="21"/>
                    </a:lnTo>
                    <a:lnTo>
                      <a:pt x="1619" y="32"/>
                    </a:lnTo>
                    <a:lnTo>
                      <a:pt x="1620" y="49"/>
                    </a:lnTo>
                    <a:lnTo>
                      <a:pt x="1623" y="66"/>
                    </a:lnTo>
                    <a:lnTo>
                      <a:pt x="1625" y="74"/>
                    </a:lnTo>
                    <a:lnTo>
                      <a:pt x="1627" y="80"/>
                    </a:lnTo>
                    <a:lnTo>
                      <a:pt x="1631" y="84"/>
                    </a:lnTo>
                    <a:lnTo>
                      <a:pt x="1633" y="86"/>
                    </a:lnTo>
                    <a:lnTo>
                      <a:pt x="1637" y="87"/>
                    </a:lnTo>
                    <a:lnTo>
                      <a:pt x="1639" y="88"/>
                    </a:lnTo>
                    <a:lnTo>
                      <a:pt x="1644" y="89"/>
                    </a:lnTo>
                    <a:lnTo>
                      <a:pt x="1646" y="89"/>
                    </a:lnTo>
                    <a:lnTo>
                      <a:pt x="1651" y="91"/>
                    </a:lnTo>
                    <a:lnTo>
                      <a:pt x="1656" y="89"/>
                    </a:lnTo>
                    <a:lnTo>
                      <a:pt x="1662" y="88"/>
                    </a:lnTo>
                    <a:lnTo>
                      <a:pt x="1668" y="87"/>
                    </a:lnTo>
                    <a:lnTo>
                      <a:pt x="1677" y="82"/>
                    </a:lnTo>
                    <a:lnTo>
                      <a:pt x="1687" y="76"/>
                    </a:lnTo>
                    <a:lnTo>
                      <a:pt x="1700" y="69"/>
                    </a:lnTo>
                    <a:lnTo>
                      <a:pt x="1715" y="63"/>
                    </a:lnTo>
                    <a:lnTo>
                      <a:pt x="1720" y="62"/>
                    </a:lnTo>
                    <a:lnTo>
                      <a:pt x="1725" y="60"/>
                    </a:lnTo>
                    <a:lnTo>
                      <a:pt x="1733" y="59"/>
                    </a:lnTo>
                    <a:lnTo>
                      <a:pt x="1741" y="59"/>
                    </a:lnTo>
                    <a:lnTo>
                      <a:pt x="1746" y="60"/>
                    </a:lnTo>
                    <a:lnTo>
                      <a:pt x="1751" y="61"/>
                    </a:lnTo>
                    <a:lnTo>
                      <a:pt x="1754" y="62"/>
                    </a:lnTo>
                    <a:lnTo>
                      <a:pt x="1758" y="63"/>
                    </a:lnTo>
                    <a:lnTo>
                      <a:pt x="1763" y="66"/>
                    </a:lnTo>
                    <a:lnTo>
                      <a:pt x="1768" y="68"/>
                    </a:lnTo>
                    <a:lnTo>
                      <a:pt x="1769" y="70"/>
                    </a:lnTo>
                    <a:lnTo>
                      <a:pt x="1771" y="72"/>
                    </a:lnTo>
                    <a:lnTo>
                      <a:pt x="1772" y="73"/>
                    </a:lnTo>
                    <a:lnTo>
                      <a:pt x="1775" y="74"/>
                    </a:lnTo>
                    <a:lnTo>
                      <a:pt x="1778" y="78"/>
                    </a:lnTo>
                    <a:lnTo>
                      <a:pt x="1782" y="81"/>
                    </a:lnTo>
                    <a:lnTo>
                      <a:pt x="1783" y="82"/>
                    </a:lnTo>
                    <a:lnTo>
                      <a:pt x="1784" y="82"/>
                    </a:lnTo>
                    <a:lnTo>
                      <a:pt x="1788" y="81"/>
                    </a:lnTo>
                    <a:lnTo>
                      <a:pt x="1792" y="78"/>
                    </a:lnTo>
                    <a:lnTo>
                      <a:pt x="1796" y="76"/>
                    </a:lnTo>
                    <a:lnTo>
                      <a:pt x="1798" y="74"/>
                    </a:lnTo>
                    <a:lnTo>
                      <a:pt x="1802" y="72"/>
                    </a:lnTo>
                    <a:lnTo>
                      <a:pt x="1806" y="69"/>
                    </a:lnTo>
                    <a:lnTo>
                      <a:pt x="1807" y="69"/>
                    </a:lnTo>
                    <a:lnTo>
                      <a:pt x="1808" y="69"/>
                    </a:lnTo>
                    <a:lnTo>
                      <a:pt x="1809" y="69"/>
                    </a:lnTo>
                    <a:lnTo>
                      <a:pt x="1810" y="70"/>
                    </a:lnTo>
                    <a:lnTo>
                      <a:pt x="1812" y="73"/>
                    </a:lnTo>
                    <a:lnTo>
                      <a:pt x="1813" y="74"/>
                    </a:lnTo>
                    <a:lnTo>
                      <a:pt x="1814" y="79"/>
                    </a:lnTo>
                    <a:lnTo>
                      <a:pt x="1815" y="84"/>
                    </a:lnTo>
                    <a:lnTo>
                      <a:pt x="1819" y="93"/>
                    </a:lnTo>
                    <a:lnTo>
                      <a:pt x="1822" y="105"/>
                    </a:lnTo>
                    <a:lnTo>
                      <a:pt x="1825" y="113"/>
                    </a:lnTo>
                    <a:lnTo>
                      <a:pt x="1826" y="122"/>
                    </a:lnTo>
                    <a:lnTo>
                      <a:pt x="1828" y="135"/>
                    </a:lnTo>
                    <a:lnTo>
                      <a:pt x="1831" y="148"/>
                    </a:lnTo>
                    <a:lnTo>
                      <a:pt x="1833" y="161"/>
                    </a:lnTo>
                    <a:lnTo>
                      <a:pt x="1835" y="175"/>
                    </a:lnTo>
                    <a:lnTo>
                      <a:pt x="1834" y="188"/>
                    </a:lnTo>
                    <a:lnTo>
                      <a:pt x="1833" y="201"/>
                    </a:lnTo>
                    <a:lnTo>
                      <a:pt x="1835" y="214"/>
                    </a:lnTo>
                    <a:lnTo>
                      <a:pt x="1838" y="224"/>
                    </a:lnTo>
                    <a:lnTo>
                      <a:pt x="1840" y="232"/>
                    </a:lnTo>
                    <a:lnTo>
                      <a:pt x="1842" y="238"/>
                    </a:lnTo>
                    <a:lnTo>
                      <a:pt x="1848" y="244"/>
                    </a:lnTo>
                    <a:lnTo>
                      <a:pt x="1854" y="246"/>
                    </a:lnTo>
                    <a:lnTo>
                      <a:pt x="1861" y="249"/>
                    </a:lnTo>
                    <a:lnTo>
                      <a:pt x="1869" y="252"/>
                    </a:lnTo>
                    <a:lnTo>
                      <a:pt x="1872" y="252"/>
                    </a:lnTo>
                    <a:lnTo>
                      <a:pt x="1877" y="251"/>
                    </a:lnTo>
                    <a:lnTo>
                      <a:pt x="1883" y="249"/>
                    </a:lnTo>
                    <a:lnTo>
                      <a:pt x="1889" y="246"/>
                    </a:lnTo>
                    <a:lnTo>
                      <a:pt x="1898" y="243"/>
                    </a:lnTo>
                    <a:lnTo>
                      <a:pt x="1907" y="242"/>
                    </a:lnTo>
                    <a:lnTo>
                      <a:pt x="1911" y="242"/>
                    </a:lnTo>
                    <a:lnTo>
                      <a:pt x="1915" y="242"/>
                    </a:lnTo>
                    <a:lnTo>
                      <a:pt x="1917" y="243"/>
                    </a:lnTo>
                    <a:lnTo>
                      <a:pt x="1920" y="245"/>
                    </a:lnTo>
                    <a:lnTo>
                      <a:pt x="1922" y="250"/>
                    </a:lnTo>
                    <a:lnTo>
                      <a:pt x="1922" y="255"/>
                    </a:lnTo>
                    <a:lnTo>
                      <a:pt x="1922" y="261"/>
                    </a:lnTo>
                    <a:lnTo>
                      <a:pt x="1920" y="268"/>
                    </a:lnTo>
                    <a:lnTo>
                      <a:pt x="1916" y="275"/>
                    </a:lnTo>
                    <a:lnTo>
                      <a:pt x="1914" y="282"/>
                    </a:lnTo>
                    <a:lnTo>
                      <a:pt x="1909" y="292"/>
                    </a:lnTo>
                    <a:lnTo>
                      <a:pt x="1908" y="301"/>
                    </a:lnTo>
                    <a:lnTo>
                      <a:pt x="1908" y="308"/>
                    </a:lnTo>
                    <a:lnTo>
                      <a:pt x="1909" y="313"/>
                    </a:lnTo>
                    <a:lnTo>
                      <a:pt x="1911" y="320"/>
                    </a:lnTo>
                    <a:lnTo>
                      <a:pt x="1914" y="327"/>
                    </a:lnTo>
                    <a:lnTo>
                      <a:pt x="1915" y="334"/>
                    </a:lnTo>
                    <a:lnTo>
                      <a:pt x="1916" y="343"/>
                    </a:lnTo>
                    <a:lnTo>
                      <a:pt x="1915" y="353"/>
                    </a:lnTo>
                    <a:lnTo>
                      <a:pt x="1911" y="362"/>
                    </a:lnTo>
                    <a:lnTo>
                      <a:pt x="1910" y="366"/>
                    </a:lnTo>
                    <a:lnTo>
                      <a:pt x="1909" y="371"/>
                    </a:lnTo>
                    <a:lnTo>
                      <a:pt x="1909" y="375"/>
                    </a:lnTo>
                    <a:lnTo>
                      <a:pt x="1909" y="379"/>
                    </a:lnTo>
                    <a:lnTo>
                      <a:pt x="1911" y="384"/>
                    </a:lnTo>
                    <a:lnTo>
                      <a:pt x="1915" y="388"/>
                    </a:lnTo>
                    <a:lnTo>
                      <a:pt x="1919" y="389"/>
                    </a:lnTo>
                    <a:lnTo>
                      <a:pt x="1922" y="390"/>
                    </a:lnTo>
                    <a:lnTo>
                      <a:pt x="1926" y="391"/>
                    </a:lnTo>
                    <a:lnTo>
                      <a:pt x="1929" y="390"/>
                    </a:lnTo>
                    <a:lnTo>
                      <a:pt x="1934" y="389"/>
                    </a:lnTo>
                    <a:lnTo>
                      <a:pt x="1940" y="387"/>
                    </a:lnTo>
                    <a:lnTo>
                      <a:pt x="1946" y="383"/>
                    </a:lnTo>
                    <a:lnTo>
                      <a:pt x="1951" y="377"/>
                    </a:lnTo>
                    <a:lnTo>
                      <a:pt x="1953" y="375"/>
                    </a:lnTo>
                    <a:lnTo>
                      <a:pt x="1954" y="369"/>
                    </a:lnTo>
                    <a:lnTo>
                      <a:pt x="1953" y="364"/>
                    </a:lnTo>
                    <a:lnTo>
                      <a:pt x="1952" y="357"/>
                    </a:lnTo>
                    <a:lnTo>
                      <a:pt x="1949" y="351"/>
                    </a:lnTo>
                    <a:lnTo>
                      <a:pt x="1948" y="343"/>
                    </a:lnTo>
                    <a:lnTo>
                      <a:pt x="1947" y="336"/>
                    </a:lnTo>
                    <a:lnTo>
                      <a:pt x="1948" y="328"/>
                    </a:lnTo>
                    <a:lnTo>
                      <a:pt x="1949" y="325"/>
                    </a:lnTo>
                    <a:lnTo>
                      <a:pt x="1951" y="322"/>
                    </a:lnTo>
                    <a:lnTo>
                      <a:pt x="1953" y="320"/>
                    </a:lnTo>
                    <a:lnTo>
                      <a:pt x="1954" y="318"/>
                    </a:lnTo>
                    <a:lnTo>
                      <a:pt x="1959" y="316"/>
                    </a:lnTo>
                    <a:lnTo>
                      <a:pt x="1964" y="316"/>
                    </a:lnTo>
                    <a:lnTo>
                      <a:pt x="1968" y="318"/>
                    </a:lnTo>
                    <a:lnTo>
                      <a:pt x="1974" y="324"/>
                    </a:lnTo>
                    <a:lnTo>
                      <a:pt x="1977" y="328"/>
                    </a:lnTo>
                    <a:lnTo>
                      <a:pt x="1980" y="336"/>
                    </a:lnTo>
                    <a:lnTo>
                      <a:pt x="1982" y="338"/>
                    </a:lnTo>
                    <a:lnTo>
                      <a:pt x="1982" y="341"/>
                    </a:lnTo>
                    <a:lnTo>
                      <a:pt x="1982" y="344"/>
                    </a:lnTo>
                    <a:lnTo>
                      <a:pt x="1983" y="346"/>
                    </a:lnTo>
                    <a:lnTo>
                      <a:pt x="1983" y="355"/>
                    </a:lnTo>
                    <a:lnTo>
                      <a:pt x="1983" y="362"/>
                    </a:lnTo>
                    <a:lnTo>
                      <a:pt x="1982" y="375"/>
                    </a:lnTo>
                    <a:lnTo>
                      <a:pt x="1979" y="388"/>
                    </a:lnTo>
                    <a:lnTo>
                      <a:pt x="1977" y="400"/>
                    </a:lnTo>
                    <a:lnTo>
                      <a:pt x="1974" y="412"/>
                    </a:lnTo>
                    <a:lnTo>
                      <a:pt x="1974" y="418"/>
                    </a:lnTo>
                    <a:lnTo>
                      <a:pt x="1973" y="423"/>
                    </a:lnTo>
                    <a:lnTo>
                      <a:pt x="1973" y="427"/>
                    </a:lnTo>
                    <a:lnTo>
                      <a:pt x="1973" y="431"/>
                    </a:lnTo>
                    <a:lnTo>
                      <a:pt x="1974" y="435"/>
                    </a:lnTo>
                    <a:lnTo>
                      <a:pt x="1977" y="438"/>
                    </a:lnTo>
                    <a:lnTo>
                      <a:pt x="1978" y="438"/>
                    </a:lnTo>
                    <a:lnTo>
                      <a:pt x="1979" y="439"/>
                    </a:lnTo>
                    <a:lnTo>
                      <a:pt x="1980" y="439"/>
                    </a:lnTo>
                    <a:lnTo>
                      <a:pt x="1982" y="439"/>
                    </a:lnTo>
                    <a:lnTo>
                      <a:pt x="1985" y="438"/>
                    </a:lnTo>
                    <a:lnTo>
                      <a:pt x="1987" y="437"/>
                    </a:lnTo>
                    <a:lnTo>
                      <a:pt x="1989" y="437"/>
                    </a:lnTo>
                    <a:lnTo>
                      <a:pt x="1990" y="435"/>
                    </a:lnTo>
                    <a:lnTo>
                      <a:pt x="1992" y="434"/>
                    </a:lnTo>
                    <a:lnTo>
                      <a:pt x="1995" y="434"/>
                    </a:lnTo>
                    <a:lnTo>
                      <a:pt x="1998" y="432"/>
                    </a:lnTo>
                    <a:lnTo>
                      <a:pt x="2003" y="429"/>
                    </a:lnTo>
                    <a:lnTo>
                      <a:pt x="2009" y="428"/>
                    </a:lnTo>
                    <a:lnTo>
                      <a:pt x="2015" y="428"/>
                    </a:lnTo>
                    <a:lnTo>
                      <a:pt x="2021" y="428"/>
                    </a:lnTo>
                    <a:lnTo>
                      <a:pt x="2027" y="429"/>
                    </a:lnTo>
                    <a:lnTo>
                      <a:pt x="2030" y="431"/>
                    </a:lnTo>
                    <a:lnTo>
                      <a:pt x="2034" y="432"/>
                    </a:lnTo>
                    <a:lnTo>
                      <a:pt x="2037" y="434"/>
                    </a:lnTo>
                    <a:lnTo>
                      <a:pt x="2040" y="437"/>
                    </a:lnTo>
                    <a:lnTo>
                      <a:pt x="2041" y="439"/>
                    </a:lnTo>
                    <a:lnTo>
                      <a:pt x="2042" y="442"/>
                    </a:lnTo>
                    <a:lnTo>
                      <a:pt x="2045" y="445"/>
                    </a:lnTo>
                    <a:lnTo>
                      <a:pt x="2046" y="448"/>
                    </a:lnTo>
                    <a:lnTo>
                      <a:pt x="2047" y="450"/>
                    </a:lnTo>
                    <a:lnTo>
                      <a:pt x="2049" y="452"/>
                    </a:lnTo>
                    <a:lnTo>
                      <a:pt x="2050" y="452"/>
                    </a:lnTo>
                    <a:lnTo>
                      <a:pt x="2052" y="452"/>
                    </a:lnTo>
                    <a:lnTo>
                      <a:pt x="2055" y="453"/>
                    </a:lnTo>
                    <a:lnTo>
                      <a:pt x="2058" y="453"/>
                    </a:lnTo>
                    <a:lnTo>
                      <a:pt x="2067" y="452"/>
                    </a:lnTo>
                    <a:lnTo>
                      <a:pt x="2078" y="451"/>
                    </a:lnTo>
                    <a:lnTo>
                      <a:pt x="2084" y="451"/>
                    </a:lnTo>
                    <a:lnTo>
                      <a:pt x="2090" y="450"/>
                    </a:lnTo>
                    <a:lnTo>
                      <a:pt x="2096" y="450"/>
                    </a:lnTo>
                    <a:lnTo>
                      <a:pt x="2100" y="450"/>
                    </a:lnTo>
                    <a:lnTo>
                      <a:pt x="2105" y="447"/>
                    </a:lnTo>
                    <a:lnTo>
                      <a:pt x="2108" y="445"/>
                    </a:lnTo>
                    <a:lnTo>
                      <a:pt x="2110" y="442"/>
                    </a:lnTo>
                    <a:lnTo>
                      <a:pt x="2110" y="438"/>
                    </a:lnTo>
                    <a:lnTo>
                      <a:pt x="2110" y="432"/>
                    </a:lnTo>
                    <a:lnTo>
                      <a:pt x="2110" y="423"/>
                    </a:lnTo>
                    <a:lnTo>
                      <a:pt x="2110" y="415"/>
                    </a:lnTo>
                    <a:lnTo>
                      <a:pt x="2112" y="404"/>
                    </a:lnTo>
                    <a:lnTo>
                      <a:pt x="2117" y="393"/>
                    </a:lnTo>
                    <a:lnTo>
                      <a:pt x="2123" y="382"/>
                    </a:lnTo>
                    <a:lnTo>
                      <a:pt x="2128" y="368"/>
                    </a:lnTo>
                    <a:lnTo>
                      <a:pt x="2131" y="350"/>
                    </a:lnTo>
                    <a:lnTo>
                      <a:pt x="2135" y="339"/>
                    </a:lnTo>
                    <a:lnTo>
                      <a:pt x="2137" y="333"/>
                    </a:lnTo>
                    <a:lnTo>
                      <a:pt x="2140" y="332"/>
                    </a:lnTo>
                    <a:lnTo>
                      <a:pt x="2142" y="330"/>
                    </a:lnTo>
                    <a:lnTo>
                      <a:pt x="2149" y="325"/>
                    </a:lnTo>
                    <a:lnTo>
                      <a:pt x="2156" y="321"/>
                    </a:lnTo>
                    <a:lnTo>
                      <a:pt x="2163" y="319"/>
                    </a:lnTo>
                    <a:lnTo>
                      <a:pt x="2168" y="318"/>
                    </a:lnTo>
                    <a:lnTo>
                      <a:pt x="2168" y="320"/>
                    </a:lnTo>
                    <a:lnTo>
                      <a:pt x="2168" y="322"/>
                    </a:lnTo>
                    <a:lnTo>
                      <a:pt x="2169" y="326"/>
                    </a:lnTo>
                    <a:lnTo>
                      <a:pt x="2169" y="328"/>
                    </a:lnTo>
                    <a:lnTo>
                      <a:pt x="2172" y="343"/>
                    </a:lnTo>
                    <a:lnTo>
                      <a:pt x="2174" y="358"/>
                    </a:lnTo>
                    <a:lnTo>
                      <a:pt x="2175" y="370"/>
                    </a:lnTo>
                    <a:lnTo>
                      <a:pt x="2175" y="383"/>
                    </a:lnTo>
                    <a:lnTo>
                      <a:pt x="2173" y="391"/>
                    </a:lnTo>
                    <a:lnTo>
                      <a:pt x="2172" y="399"/>
                    </a:lnTo>
                    <a:lnTo>
                      <a:pt x="2173" y="403"/>
                    </a:lnTo>
                    <a:lnTo>
                      <a:pt x="2174" y="404"/>
                    </a:lnTo>
                    <a:lnTo>
                      <a:pt x="2178" y="407"/>
                    </a:lnTo>
                    <a:lnTo>
                      <a:pt x="2180" y="409"/>
                    </a:lnTo>
                    <a:lnTo>
                      <a:pt x="2185" y="413"/>
                    </a:lnTo>
                    <a:lnTo>
                      <a:pt x="2190" y="415"/>
                    </a:lnTo>
                    <a:lnTo>
                      <a:pt x="2200" y="415"/>
                    </a:lnTo>
                    <a:lnTo>
                      <a:pt x="2211" y="416"/>
                    </a:lnTo>
                    <a:lnTo>
                      <a:pt x="2212" y="419"/>
                    </a:lnTo>
                    <a:lnTo>
                      <a:pt x="2215" y="422"/>
                    </a:lnTo>
                    <a:lnTo>
                      <a:pt x="2215" y="426"/>
                    </a:lnTo>
                    <a:lnTo>
                      <a:pt x="2215" y="429"/>
                    </a:lnTo>
                    <a:lnTo>
                      <a:pt x="2215" y="437"/>
                    </a:lnTo>
                    <a:lnTo>
                      <a:pt x="2213" y="444"/>
                    </a:lnTo>
                    <a:lnTo>
                      <a:pt x="2205" y="453"/>
                    </a:lnTo>
                    <a:lnTo>
                      <a:pt x="2198" y="464"/>
                    </a:lnTo>
                    <a:lnTo>
                      <a:pt x="2191" y="475"/>
                    </a:lnTo>
                    <a:lnTo>
                      <a:pt x="2186" y="485"/>
                    </a:lnTo>
                    <a:lnTo>
                      <a:pt x="2184" y="490"/>
                    </a:lnTo>
                    <a:lnTo>
                      <a:pt x="2182" y="496"/>
                    </a:lnTo>
                    <a:lnTo>
                      <a:pt x="2182" y="501"/>
                    </a:lnTo>
                    <a:lnTo>
                      <a:pt x="2182" y="505"/>
                    </a:lnTo>
                    <a:lnTo>
                      <a:pt x="2184" y="510"/>
                    </a:lnTo>
                    <a:lnTo>
                      <a:pt x="2185" y="513"/>
                    </a:lnTo>
                    <a:lnTo>
                      <a:pt x="2187" y="515"/>
                    </a:lnTo>
                    <a:lnTo>
                      <a:pt x="2192" y="517"/>
                    </a:lnTo>
                    <a:lnTo>
                      <a:pt x="2199" y="519"/>
                    </a:lnTo>
                    <a:lnTo>
                      <a:pt x="2204" y="519"/>
                    </a:lnTo>
                    <a:lnTo>
                      <a:pt x="2205" y="520"/>
                    </a:lnTo>
                    <a:lnTo>
                      <a:pt x="2206" y="521"/>
                    </a:lnTo>
                    <a:lnTo>
                      <a:pt x="2206" y="522"/>
                    </a:lnTo>
                    <a:lnTo>
                      <a:pt x="2206" y="522"/>
                    </a:lnTo>
                    <a:lnTo>
                      <a:pt x="2205" y="528"/>
                    </a:lnTo>
                    <a:lnTo>
                      <a:pt x="2201" y="535"/>
                    </a:lnTo>
                    <a:lnTo>
                      <a:pt x="2197" y="541"/>
                    </a:lnTo>
                    <a:lnTo>
                      <a:pt x="2192" y="548"/>
                    </a:lnTo>
                    <a:lnTo>
                      <a:pt x="2188" y="554"/>
                    </a:lnTo>
                    <a:lnTo>
                      <a:pt x="2187" y="559"/>
                    </a:lnTo>
                    <a:lnTo>
                      <a:pt x="2185" y="565"/>
                    </a:lnTo>
                    <a:lnTo>
                      <a:pt x="2185" y="571"/>
                    </a:lnTo>
                    <a:lnTo>
                      <a:pt x="2184" y="578"/>
                    </a:lnTo>
                    <a:lnTo>
                      <a:pt x="2184" y="585"/>
                    </a:lnTo>
                    <a:lnTo>
                      <a:pt x="2182" y="598"/>
                    </a:lnTo>
                    <a:lnTo>
                      <a:pt x="2182" y="611"/>
                    </a:lnTo>
                    <a:lnTo>
                      <a:pt x="2182" y="616"/>
                    </a:lnTo>
                    <a:lnTo>
                      <a:pt x="2184" y="621"/>
                    </a:lnTo>
                    <a:lnTo>
                      <a:pt x="2185" y="626"/>
                    </a:lnTo>
                    <a:lnTo>
                      <a:pt x="2188" y="631"/>
                    </a:lnTo>
                    <a:lnTo>
                      <a:pt x="2193" y="636"/>
                    </a:lnTo>
                    <a:lnTo>
                      <a:pt x="2200" y="640"/>
                    </a:lnTo>
                    <a:lnTo>
                      <a:pt x="2209" y="643"/>
                    </a:lnTo>
                    <a:lnTo>
                      <a:pt x="2213" y="646"/>
                    </a:lnTo>
                    <a:lnTo>
                      <a:pt x="2220" y="648"/>
                    </a:lnTo>
                    <a:lnTo>
                      <a:pt x="2226" y="650"/>
                    </a:lnTo>
                    <a:lnTo>
                      <a:pt x="2231" y="653"/>
                    </a:lnTo>
                    <a:lnTo>
                      <a:pt x="2236" y="658"/>
                    </a:lnTo>
                    <a:lnTo>
                      <a:pt x="2241" y="662"/>
                    </a:lnTo>
                    <a:lnTo>
                      <a:pt x="2244" y="667"/>
                    </a:lnTo>
                    <a:lnTo>
                      <a:pt x="2248" y="677"/>
                    </a:lnTo>
                    <a:lnTo>
                      <a:pt x="2249" y="687"/>
                    </a:lnTo>
                    <a:lnTo>
                      <a:pt x="2249" y="697"/>
                    </a:lnTo>
                    <a:lnTo>
                      <a:pt x="2247" y="705"/>
                    </a:lnTo>
                    <a:lnTo>
                      <a:pt x="2245" y="709"/>
                    </a:lnTo>
                    <a:lnTo>
                      <a:pt x="2244" y="712"/>
                    </a:lnTo>
                    <a:lnTo>
                      <a:pt x="2242" y="716"/>
                    </a:lnTo>
                    <a:lnTo>
                      <a:pt x="2238" y="719"/>
                    </a:lnTo>
                    <a:lnTo>
                      <a:pt x="2224" y="729"/>
                    </a:lnTo>
                    <a:lnTo>
                      <a:pt x="2210" y="737"/>
                    </a:lnTo>
                    <a:lnTo>
                      <a:pt x="2201" y="743"/>
                    </a:lnTo>
                    <a:lnTo>
                      <a:pt x="2195" y="749"/>
                    </a:lnTo>
                    <a:lnTo>
                      <a:pt x="2191" y="755"/>
                    </a:lnTo>
                    <a:lnTo>
                      <a:pt x="2188" y="760"/>
                    </a:lnTo>
                    <a:lnTo>
                      <a:pt x="2187" y="763"/>
                    </a:lnTo>
                    <a:lnTo>
                      <a:pt x="2187" y="768"/>
                    </a:lnTo>
                    <a:lnTo>
                      <a:pt x="2187" y="773"/>
                    </a:lnTo>
                    <a:lnTo>
                      <a:pt x="2186" y="776"/>
                    </a:lnTo>
                    <a:lnTo>
                      <a:pt x="2186" y="779"/>
                    </a:lnTo>
                    <a:lnTo>
                      <a:pt x="2185" y="781"/>
                    </a:lnTo>
                    <a:lnTo>
                      <a:pt x="2182" y="782"/>
                    </a:lnTo>
                    <a:lnTo>
                      <a:pt x="2180" y="782"/>
                    </a:lnTo>
                    <a:lnTo>
                      <a:pt x="2178" y="784"/>
                    </a:lnTo>
                    <a:lnTo>
                      <a:pt x="2175" y="784"/>
                    </a:lnTo>
                    <a:lnTo>
                      <a:pt x="2167" y="782"/>
                    </a:lnTo>
                    <a:lnTo>
                      <a:pt x="2161" y="781"/>
                    </a:lnTo>
                    <a:lnTo>
                      <a:pt x="2148" y="779"/>
                    </a:lnTo>
                    <a:lnTo>
                      <a:pt x="2127" y="775"/>
                    </a:lnTo>
                    <a:lnTo>
                      <a:pt x="2122" y="775"/>
                    </a:lnTo>
                    <a:lnTo>
                      <a:pt x="2118" y="776"/>
                    </a:lnTo>
                    <a:lnTo>
                      <a:pt x="2116" y="778"/>
                    </a:lnTo>
                    <a:lnTo>
                      <a:pt x="2115" y="779"/>
                    </a:lnTo>
                    <a:lnTo>
                      <a:pt x="2112" y="782"/>
                    </a:lnTo>
                    <a:lnTo>
                      <a:pt x="2111" y="786"/>
                    </a:lnTo>
                    <a:lnTo>
                      <a:pt x="2110" y="790"/>
                    </a:lnTo>
                    <a:lnTo>
                      <a:pt x="2109" y="793"/>
                    </a:lnTo>
                    <a:lnTo>
                      <a:pt x="2106" y="798"/>
                    </a:lnTo>
                    <a:lnTo>
                      <a:pt x="2103" y="804"/>
                    </a:lnTo>
                    <a:lnTo>
                      <a:pt x="2099" y="813"/>
                    </a:lnTo>
                    <a:lnTo>
                      <a:pt x="2096" y="823"/>
                    </a:lnTo>
                    <a:lnTo>
                      <a:pt x="2091" y="834"/>
                    </a:lnTo>
                    <a:lnTo>
                      <a:pt x="2086" y="843"/>
                    </a:lnTo>
                    <a:lnTo>
                      <a:pt x="2080" y="856"/>
                    </a:lnTo>
                    <a:lnTo>
                      <a:pt x="2072" y="868"/>
                    </a:lnTo>
                    <a:lnTo>
                      <a:pt x="2068" y="873"/>
                    </a:lnTo>
                    <a:lnTo>
                      <a:pt x="2064" y="878"/>
                    </a:lnTo>
                    <a:lnTo>
                      <a:pt x="2059" y="881"/>
                    </a:lnTo>
                    <a:lnTo>
                      <a:pt x="2053" y="886"/>
                    </a:lnTo>
                    <a:lnTo>
                      <a:pt x="2048" y="889"/>
                    </a:lnTo>
                    <a:lnTo>
                      <a:pt x="2042" y="894"/>
                    </a:lnTo>
                    <a:lnTo>
                      <a:pt x="2040" y="895"/>
                    </a:lnTo>
                    <a:lnTo>
                      <a:pt x="2035" y="900"/>
                    </a:lnTo>
                    <a:lnTo>
                      <a:pt x="2029" y="907"/>
                    </a:lnTo>
                    <a:lnTo>
                      <a:pt x="2024" y="913"/>
                    </a:lnTo>
                    <a:lnTo>
                      <a:pt x="2020" y="919"/>
                    </a:lnTo>
                    <a:lnTo>
                      <a:pt x="2014" y="923"/>
                    </a:lnTo>
                    <a:lnTo>
                      <a:pt x="2009" y="924"/>
                    </a:lnTo>
                    <a:lnTo>
                      <a:pt x="2004" y="925"/>
                    </a:lnTo>
                    <a:lnTo>
                      <a:pt x="2002" y="926"/>
                    </a:lnTo>
                    <a:lnTo>
                      <a:pt x="1999" y="926"/>
                    </a:lnTo>
                    <a:lnTo>
                      <a:pt x="1996" y="927"/>
                    </a:lnTo>
                    <a:lnTo>
                      <a:pt x="1993" y="929"/>
                    </a:lnTo>
                    <a:lnTo>
                      <a:pt x="1992" y="931"/>
                    </a:lnTo>
                    <a:lnTo>
                      <a:pt x="1992" y="933"/>
                    </a:lnTo>
                    <a:lnTo>
                      <a:pt x="1993" y="937"/>
                    </a:lnTo>
                    <a:lnTo>
                      <a:pt x="1997" y="940"/>
                    </a:lnTo>
                    <a:lnTo>
                      <a:pt x="2003" y="945"/>
                    </a:lnTo>
                    <a:lnTo>
                      <a:pt x="2010" y="950"/>
                    </a:lnTo>
                    <a:lnTo>
                      <a:pt x="2017" y="956"/>
                    </a:lnTo>
                    <a:lnTo>
                      <a:pt x="2025" y="963"/>
                    </a:lnTo>
                    <a:lnTo>
                      <a:pt x="2027" y="964"/>
                    </a:lnTo>
                    <a:lnTo>
                      <a:pt x="2029" y="965"/>
                    </a:lnTo>
                    <a:lnTo>
                      <a:pt x="2031" y="964"/>
                    </a:lnTo>
                    <a:lnTo>
                      <a:pt x="2034" y="963"/>
                    </a:lnTo>
                    <a:lnTo>
                      <a:pt x="2040" y="960"/>
                    </a:lnTo>
                    <a:lnTo>
                      <a:pt x="2047" y="955"/>
                    </a:lnTo>
                    <a:lnTo>
                      <a:pt x="2062" y="940"/>
                    </a:lnTo>
                    <a:lnTo>
                      <a:pt x="2079" y="925"/>
                    </a:lnTo>
                    <a:lnTo>
                      <a:pt x="2086" y="918"/>
                    </a:lnTo>
                    <a:lnTo>
                      <a:pt x="2097" y="910"/>
                    </a:lnTo>
                    <a:lnTo>
                      <a:pt x="2103" y="908"/>
                    </a:lnTo>
                    <a:lnTo>
                      <a:pt x="2106" y="908"/>
                    </a:lnTo>
                    <a:lnTo>
                      <a:pt x="2109" y="908"/>
                    </a:lnTo>
                    <a:lnTo>
                      <a:pt x="2110" y="910"/>
                    </a:lnTo>
                    <a:lnTo>
                      <a:pt x="2112" y="912"/>
                    </a:lnTo>
                    <a:lnTo>
                      <a:pt x="2112" y="914"/>
                    </a:lnTo>
                    <a:lnTo>
                      <a:pt x="2113" y="920"/>
                    </a:lnTo>
                    <a:lnTo>
                      <a:pt x="2112" y="925"/>
                    </a:lnTo>
                    <a:lnTo>
                      <a:pt x="2112" y="930"/>
                    </a:lnTo>
                    <a:lnTo>
                      <a:pt x="2113" y="935"/>
                    </a:lnTo>
                    <a:lnTo>
                      <a:pt x="2115" y="937"/>
                    </a:lnTo>
                    <a:lnTo>
                      <a:pt x="2118" y="938"/>
                    </a:lnTo>
                    <a:lnTo>
                      <a:pt x="2123" y="939"/>
                    </a:lnTo>
                    <a:lnTo>
                      <a:pt x="2128" y="939"/>
                    </a:lnTo>
                    <a:lnTo>
                      <a:pt x="2134" y="937"/>
                    </a:lnTo>
                    <a:lnTo>
                      <a:pt x="2140" y="935"/>
                    </a:lnTo>
                    <a:lnTo>
                      <a:pt x="2150" y="925"/>
                    </a:lnTo>
                    <a:lnTo>
                      <a:pt x="2162" y="912"/>
                    </a:lnTo>
                    <a:lnTo>
                      <a:pt x="2168" y="907"/>
                    </a:lnTo>
                    <a:lnTo>
                      <a:pt x="2176" y="902"/>
                    </a:lnTo>
                    <a:lnTo>
                      <a:pt x="2181" y="900"/>
                    </a:lnTo>
                    <a:lnTo>
                      <a:pt x="2187" y="899"/>
                    </a:lnTo>
                    <a:lnTo>
                      <a:pt x="2192" y="898"/>
                    </a:lnTo>
                    <a:lnTo>
                      <a:pt x="2197" y="897"/>
                    </a:lnTo>
                    <a:lnTo>
                      <a:pt x="2204" y="895"/>
                    </a:lnTo>
                    <a:lnTo>
                      <a:pt x="2212" y="895"/>
                    </a:lnTo>
                    <a:lnTo>
                      <a:pt x="2220" y="897"/>
                    </a:lnTo>
                    <a:lnTo>
                      <a:pt x="2229" y="898"/>
                    </a:lnTo>
                    <a:lnTo>
                      <a:pt x="2236" y="901"/>
                    </a:lnTo>
                    <a:lnTo>
                      <a:pt x="2241" y="906"/>
                    </a:lnTo>
                    <a:lnTo>
                      <a:pt x="2243" y="912"/>
                    </a:lnTo>
                    <a:lnTo>
                      <a:pt x="2244" y="918"/>
                    </a:lnTo>
                    <a:lnTo>
                      <a:pt x="2244" y="927"/>
                    </a:lnTo>
                    <a:lnTo>
                      <a:pt x="2244" y="936"/>
                    </a:lnTo>
                    <a:lnTo>
                      <a:pt x="2244" y="940"/>
                    </a:lnTo>
                    <a:lnTo>
                      <a:pt x="2247" y="945"/>
                    </a:lnTo>
                    <a:lnTo>
                      <a:pt x="2247" y="946"/>
                    </a:lnTo>
                    <a:lnTo>
                      <a:pt x="2248" y="946"/>
                    </a:lnTo>
                    <a:lnTo>
                      <a:pt x="2250" y="948"/>
                    </a:lnTo>
                    <a:lnTo>
                      <a:pt x="2255" y="949"/>
                    </a:lnTo>
                    <a:lnTo>
                      <a:pt x="2257" y="950"/>
                    </a:lnTo>
                    <a:lnTo>
                      <a:pt x="2261" y="950"/>
                    </a:lnTo>
                    <a:lnTo>
                      <a:pt x="2263" y="951"/>
                    </a:lnTo>
                    <a:lnTo>
                      <a:pt x="2266" y="951"/>
                    </a:lnTo>
                    <a:lnTo>
                      <a:pt x="2268" y="954"/>
                    </a:lnTo>
                    <a:lnTo>
                      <a:pt x="2270" y="955"/>
                    </a:lnTo>
                    <a:lnTo>
                      <a:pt x="2272" y="957"/>
                    </a:lnTo>
                    <a:lnTo>
                      <a:pt x="2272" y="958"/>
                    </a:lnTo>
                    <a:lnTo>
                      <a:pt x="2273" y="962"/>
                    </a:lnTo>
                    <a:lnTo>
                      <a:pt x="2274" y="964"/>
                    </a:lnTo>
                    <a:lnTo>
                      <a:pt x="2274" y="980"/>
                    </a:lnTo>
                    <a:lnTo>
                      <a:pt x="2273" y="993"/>
                    </a:lnTo>
                    <a:lnTo>
                      <a:pt x="2272" y="998"/>
                    </a:lnTo>
                    <a:lnTo>
                      <a:pt x="2269" y="1001"/>
                    </a:lnTo>
                    <a:lnTo>
                      <a:pt x="2266" y="1005"/>
                    </a:lnTo>
                    <a:lnTo>
                      <a:pt x="2262" y="1007"/>
                    </a:lnTo>
                    <a:lnTo>
                      <a:pt x="2257" y="1009"/>
                    </a:lnTo>
                    <a:lnTo>
                      <a:pt x="2253" y="1012"/>
                    </a:lnTo>
                    <a:lnTo>
                      <a:pt x="2248" y="1013"/>
                    </a:lnTo>
                    <a:lnTo>
                      <a:pt x="2243" y="1015"/>
                    </a:lnTo>
                    <a:lnTo>
                      <a:pt x="2238" y="1020"/>
                    </a:lnTo>
                    <a:lnTo>
                      <a:pt x="2236" y="1025"/>
                    </a:lnTo>
                    <a:lnTo>
                      <a:pt x="2236" y="1026"/>
                    </a:lnTo>
                    <a:lnTo>
                      <a:pt x="2237" y="1030"/>
                    </a:lnTo>
                    <a:lnTo>
                      <a:pt x="2238" y="1030"/>
                    </a:lnTo>
                    <a:lnTo>
                      <a:pt x="2239" y="1031"/>
                    </a:lnTo>
                    <a:lnTo>
                      <a:pt x="2242" y="1031"/>
                    </a:lnTo>
                    <a:lnTo>
                      <a:pt x="2244" y="1030"/>
                    </a:lnTo>
                    <a:lnTo>
                      <a:pt x="2248" y="1030"/>
                    </a:lnTo>
                    <a:lnTo>
                      <a:pt x="2250" y="1028"/>
                    </a:lnTo>
                    <a:lnTo>
                      <a:pt x="2253" y="1027"/>
                    </a:lnTo>
                    <a:lnTo>
                      <a:pt x="2254" y="1026"/>
                    </a:lnTo>
                    <a:lnTo>
                      <a:pt x="2256" y="1025"/>
                    </a:lnTo>
                    <a:lnTo>
                      <a:pt x="2258" y="1024"/>
                    </a:lnTo>
                    <a:lnTo>
                      <a:pt x="2261" y="1024"/>
                    </a:lnTo>
                    <a:lnTo>
                      <a:pt x="2262" y="1023"/>
                    </a:lnTo>
                    <a:lnTo>
                      <a:pt x="2264" y="1024"/>
                    </a:lnTo>
                    <a:lnTo>
                      <a:pt x="2267" y="1025"/>
                    </a:lnTo>
                    <a:lnTo>
                      <a:pt x="2268" y="1026"/>
                    </a:lnTo>
                    <a:lnTo>
                      <a:pt x="2269" y="1028"/>
                    </a:lnTo>
                    <a:lnTo>
                      <a:pt x="2270" y="1034"/>
                    </a:lnTo>
                    <a:lnTo>
                      <a:pt x="2270" y="1042"/>
                    </a:lnTo>
                    <a:lnTo>
                      <a:pt x="2270" y="1045"/>
                    </a:lnTo>
                    <a:lnTo>
                      <a:pt x="2269" y="1049"/>
                    </a:lnTo>
                    <a:lnTo>
                      <a:pt x="2269" y="1052"/>
                    </a:lnTo>
                    <a:lnTo>
                      <a:pt x="2268" y="1056"/>
                    </a:lnTo>
                    <a:lnTo>
                      <a:pt x="2268" y="1061"/>
                    </a:lnTo>
                    <a:lnTo>
                      <a:pt x="2266" y="1066"/>
                    </a:lnTo>
                    <a:lnTo>
                      <a:pt x="2264" y="1069"/>
                    </a:lnTo>
                    <a:lnTo>
                      <a:pt x="2263" y="1071"/>
                    </a:lnTo>
                    <a:lnTo>
                      <a:pt x="2262" y="1072"/>
                    </a:lnTo>
                    <a:lnTo>
                      <a:pt x="2260" y="1074"/>
                    </a:lnTo>
                    <a:lnTo>
                      <a:pt x="2256" y="1075"/>
                    </a:lnTo>
                    <a:lnTo>
                      <a:pt x="2254" y="1075"/>
                    </a:lnTo>
                    <a:lnTo>
                      <a:pt x="2250" y="1075"/>
                    </a:lnTo>
                    <a:lnTo>
                      <a:pt x="2247" y="1074"/>
                    </a:lnTo>
                    <a:lnTo>
                      <a:pt x="2239" y="1075"/>
                    </a:lnTo>
                    <a:lnTo>
                      <a:pt x="2235" y="1076"/>
                    </a:lnTo>
                    <a:lnTo>
                      <a:pt x="2230" y="1078"/>
                    </a:lnTo>
                    <a:lnTo>
                      <a:pt x="2225" y="1083"/>
                    </a:lnTo>
                    <a:lnTo>
                      <a:pt x="2222" y="1088"/>
                    </a:lnTo>
                    <a:lnTo>
                      <a:pt x="2219" y="1094"/>
                    </a:lnTo>
                    <a:lnTo>
                      <a:pt x="2218" y="1099"/>
                    </a:lnTo>
                    <a:lnTo>
                      <a:pt x="2216" y="1105"/>
                    </a:lnTo>
                    <a:lnTo>
                      <a:pt x="2215" y="1115"/>
                    </a:lnTo>
                    <a:lnTo>
                      <a:pt x="2215" y="1125"/>
                    </a:lnTo>
                    <a:lnTo>
                      <a:pt x="2218" y="1138"/>
                    </a:lnTo>
                    <a:lnTo>
                      <a:pt x="2219" y="1151"/>
                    </a:lnTo>
                    <a:lnTo>
                      <a:pt x="2219" y="1157"/>
                    </a:lnTo>
                    <a:lnTo>
                      <a:pt x="2219" y="1164"/>
                    </a:lnTo>
                    <a:lnTo>
                      <a:pt x="2218" y="1170"/>
                    </a:lnTo>
                    <a:lnTo>
                      <a:pt x="2217" y="1176"/>
                    </a:lnTo>
                    <a:lnTo>
                      <a:pt x="2213" y="1185"/>
                    </a:lnTo>
                    <a:lnTo>
                      <a:pt x="2207" y="1195"/>
                    </a:lnTo>
                    <a:lnTo>
                      <a:pt x="2201" y="1204"/>
                    </a:lnTo>
                    <a:lnTo>
                      <a:pt x="2195" y="1214"/>
                    </a:lnTo>
                    <a:lnTo>
                      <a:pt x="2190" y="1223"/>
                    </a:lnTo>
                    <a:lnTo>
                      <a:pt x="2185" y="1233"/>
                    </a:lnTo>
                    <a:lnTo>
                      <a:pt x="2180" y="1244"/>
                    </a:lnTo>
                    <a:lnTo>
                      <a:pt x="2175" y="1254"/>
                    </a:lnTo>
                    <a:lnTo>
                      <a:pt x="2174" y="1259"/>
                    </a:lnTo>
                    <a:lnTo>
                      <a:pt x="2174" y="1265"/>
                    </a:lnTo>
                    <a:lnTo>
                      <a:pt x="2174" y="1272"/>
                    </a:lnTo>
                    <a:lnTo>
                      <a:pt x="2176" y="1280"/>
                    </a:lnTo>
                    <a:lnTo>
                      <a:pt x="2178" y="1283"/>
                    </a:lnTo>
                    <a:lnTo>
                      <a:pt x="2179" y="1285"/>
                    </a:lnTo>
                    <a:lnTo>
                      <a:pt x="2179" y="1286"/>
                    </a:lnTo>
                    <a:lnTo>
                      <a:pt x="2180" y="1289"/>
                    </a:lnTo>
                    <a:lnTo>
                      <a:pt x="2181" y="1290"/>
                    </a:lnTo>
                    <a:lnTo>
                      <a:pt x="2185" y="1294"/>
                    </a:lnTo>
                    <a:lnTo>
                      <a:pt x="2188" y="1295"/>
                    </a:lnTo>
                    <a:lnTo>
                      <a:pt x="2193" y="1296"/>
                    </a:lnTo>
                    <a:lnTo>
                      <a:pt x="2198" y="1296"/>
                    </a:lnTo>
                    <a:lnTo>
                      <a:pt x="2201" y="1296"/>
                    </a:lnTo>
                    <a:lnTo>
                      <a:pt x="2206" y="1294"/>
                    </a:lnTo>
                    <a:lnTo>
                      <a:pt x="2209" y="1290"/>
                    </a:lnTo>
                    <a:lnTo>
                      <a:pt x="2211" y="1289"/>
                    </a:lnTo>
                    <a:lnTo>
                      <a:pt x="2215" y="1283"/>
                    </a:lnTo>
                    <a:lnTo>
                      <a:pt x="2216" y="1280"/>
                    </a:lnTo>
                    <a:lnTo>
                      <a:pt x="2217" y="1278"/>
                    </a:lnTo>
                    <a:lnTo>
                      <a:pt x="2217" y="1274"/>
                    </a:lnTo>
                    <a:lnTo>
                      <a:pt x="2218" y="1273"/>
                    </a:lnTo>
                    <a:lnTo>
                      <a:pt x="2219" y="1267"/>
                    </a:lnTo>
                    <a:lnTo>
                      <a:pt x="2219" y="1263"/>
                    </a:lnTo>
                    <a:lnTo>
                      <a:pt x="2220" y="1259"/>
                    </a:lnTo>
                    <a:lnTo>
                      <a:pt x="2223" y="1255"/>
                    </a:lnTo>
                    <a:lnTo>
                      <a:pt x="2224" y="1255"/>
                    </a:lnTo>
                    <a:lnTo>
                      <a:pt x="2226" y="1255"/>
                    </a:lnTo>
                    <a:lnTo>
                      <a:pt x="2229" y="1255"/>
                    </a:lnTo>
                    <a:lnTo>
                      <a:pt x="2230" y="1257"/>
                    </a:lnTo>
                    <a:lnTo>
                      <a:pt x="2231" y="1257"/>
                    </a:lnTo>
                    <a:lnTo>
                      <a:pt x="2232" y="1258"/>
                    </a:lnTo>
                    <a:lnTo>
                      <a:pt x="2234" y="1259"/>
                    </a:lnTo>
                    <a:lnTo>
                      <a:pt x="2235" y="1260"/>
                    </a:lnTo>
                    <a:lnTo>
                      <a:pt x="2236" y="1261"/>
                    </a:lnTo>
                    <a:lnTo>
                      <a:pt x="2237" y="1263"/>
                    </a:lnTo>
                    <a:lnTo>
                      <a:pt x="2238" y="1264"/>
                    </a:lnTo>
                    <a:lnTo>
                      <a:pt x="2238" y="1266"/>
                    </a:lnTo>
                    <a:lnTo>
                      <a:pt x="2241" y="1273"/>
                    </a:lnTo>
                    <a:lnTo>
                      <a:pt x="2241" y="1284"/>
                    </a:lnTo>
                    <a:lnTo>
                      <a:pt x="2239" y="1289"/>
                    </a:lnTo>
                    <a:lnTo>
                      <a:pt x="2238" y="1295"/>
                    </a:lnTo>
                    <a:lnTo>
                      <a:pt x="2237" y="1298"/>
                    </a:lnTo>
                    <a:lnTo>
                      <a:pt x="2236" y="1301"/>
                    </a:lnTo>
                    <a:lnTo>
                      <a:pt x="2235" y="1304"/>
                    </a:lnTo>
                    <a:lnTo>
                      <a:pt x="2234" y="1307"/>
                    </a:lnTo>
                    <a:lnTo>
                      <a:pt x="2234" y="1310"/>
                    </a:lnTo>
                    <a:lnTo>
                      <a:pt x="2234" y="1313"/>
                    </a:lnTo>
                    <a:lnTo>
                      <a:pt x="2234" y="1315"/>
                    </a:lnTo>
                    <a:lnTo>
                      <a:pt x="2235" y="1316"/>
                    </a:lnTo>
                    <a:lnTo>
                      <a:pt x="2239" y="1321"/>
                    </a:lnTo>
                    <a:lnTo>
                      <a:pt x="2244" y="1326"/>
                    </a:lnTo>
                    <a:lnTo>
                      <a:pt x="2248" y="1329"/>
                    </a:lnTo>
                    <a:lnTo>
                      <a:pt x="2250" y="1333"/>
                    </a:lnTo>
                    <a:lnTo>
                      <a:pt x="2251" y="1336"/>
                    </a:lnTo>
                    <a:lnTo>
                      <a:pt x="2251" y="1341"/>
                    </a:lnTo>
                    <a:lnTo>
                      <a:pt x="2249" y="1346"/>
                    </a:lnTo>
                    <a:lnTo>
                      <a:pt x="2244" y="1351"/>
                    </a:lnTo>
                    <a:lnTo>
                      <a:pt x="2239" y="1355"/>
                    </a:lnTo>
                    <a:lnTo>
                      <a:pt x="2236" y="1361"/>
                    </a:lnTo>
                    <a:lnTo>
                      <a:pt x="2232" y="1366"/>
                    </a:lnTo>
                    <a:lnTo>
                      <a:pt x="2231" y="1372"/>
                    </a:lnTo>
                    <a:lnTo>
                      <a:pt x="2232" y="1376"/>
                    </a:lnTo>
                    <a:lnTo>
                      <a:pt x="2234" y="1379"/>
                    </a:lnTo>
                    <a:lnTo>
                      <a:pt x="2239" y="1387"/>
                    </a:lnTo>
                    <a:lnTo>
                      <a:pt x="2245" y="1395"/>
                    </a:lnTo>
                    <a:lnTo>
                      <a:pt x="2243" y="1398"/>
                    </a:lnTo>
                    <a:lnTo>
                      <a:pt x="2241" y="1400"/>
                    </a:lnTo>
                    <a:lnTo>
                      <a:pt x="2236" y="1405"/>
                    </a:lnTo>
                    <a:lnTo>
                      <a:pt x="2232" y="1410"/>
                    </a:lnTo>
                    <a:lnTo>
                      <a:pt x="2229" y="1417"/>
                    </a:lnTo>
                    <a:lnTo>
                      <a:pt x="2228" y="1422"/>
                    </a:lnTo>
                    <a:lnTo>
                      <a:pt x="2228" y="1429"/>
                    </a:lnTo>
                    <a:lnTo>
                      <a:pt x="2226" y="1437"/>
                    </a:lnTo>
                    <a:lnTo>
                      <a:pt x="2223" y="1446"/>
                    </a:lnTo>
                    <a:lnTo>
                      <a:pt x="2217" y="1453"/>
                    </a:lnTo>
                    <a:lnTo>
                      <a:pt x="2205" y="1462"/>
                    </a:lnTo>
                    <a:lnTo>
                      <a:pt x="2195" y="1472"/>
                    </a:lnTo>
                    <a:lnTo>
                      <a:pt x="2193" y="1475"/>
                    </a:lnTo>
                    <a:lnTo>
                      <a:pt x="2191" y="1480"/>
                    </a:lnTo>
                    <a:lnTo>
                      <a:pt x="2190" y="1485"/>
                    </a:lnTo>
                    <a:lnTo>
                      <a:pt x="2190" y="1490"/>
                    </a:lnTo>
                    <a:lnTo>
                      <a:pt x="2191" y="1496"/>
                    </a:lnTo>
                    <a:lnTo>
                      <a:pt x="2193" y="1500"/>
                    </a:lnTo>
                    <a:lnTo>
                      <a:pt x="2194" y="1504"/>
                    </a:lnTo>
                    <a:lnTo>
                      <a:pt x="2194" y="1506"/>
                    </a:lnTo>
                    <a:lnTo>
                      <a:pt x="2194" y="1510"/>
                    </a:lnTo>
                    <a:lnTo>
                      <a:pt x="2193" y="1512"/>
                    </a:lnTo>
                    <a:lnTo>
                      <a:pt x="2190" y="1515"/>
                    </a:lnTo>
                    <a:lnTo>
                      <a:pt x="2187" y="1516"/>
                    </a:lnTo>
                    <a:lnTo>
                      <a:pt x="2184" y="1517"/>
                    </a:lnTo>
                    <a:lnTo>
                      <a:pt x="2179" y="1518"/>
                    </a:lnTo>
                    <a:lnTo>
                      <a:pt x="2169" y="1518"/>
                    </a:lnTo>
                    <a:lnTo>
                      <a:pt x="2159" y="1517"/>
                    </a:lnTo>
                    <a:lnTo>
                      <a:pt x="2150" y="1515"/>
                    </a:lnTo>
                    <a:lnTo>
                      <a:pt x="2144" y="1512"/>
                    </a:lnTo>
                    <a:lnTo>
                      <a:pt x="2134" y="1504"/>
                    </a:lnTo>
                    <a:lnTo>
                      <a:pt x="2123" y="1496"/>
                    </a:lnTo>
                    <a:lnTo>
                      <a:pt x="2118" y="1492"/>
                    </a:lnTo>
                    <a:lnTo>
                      <a:pt x="2113" y="1488"/>
                    </a:lnTo>
                    <a:lnTo>
                      <a:pt x="2108" y="1485"/>
                    </a:lnTo>
                    <a:lnTo>
                      <a:pt x="2102" y="1484"/>
                    </a:lnTo>
                    <a:lnTo>
                      <a:pt x="2096" y="1482"/>
                    </a:lnTo>
                    <a:lnTo>
                      <a:pt x="2085" y="1482"/>
                    </a:lnTo>
                    <a:lnTo>
                      <a:pt x="2078" y="1485"/>
                    </a:lnTo>
                    <a:lnTo>
                      <a:pt x="2069" y="1488"/>
                    </a:lnTo>
                    <a:lnTo>
                      <a:pt x="2061" y="1494"/>
                    </a:lnTo>
                    <a:lnTo>
                      <a:pt x="2052" y="1500"/>
                    </a:lnTo>
                    <a:lnTo>
                      <a:pt x="2035" y="1513"/>
                    </a:lnTo>
                    <a:lnTo>
                      <a:pt x="2024" y="1524"/>
                    </a:lnTo>
                    <a:lnTo>
                      <a:pt x="2022" y="1526"/>
                    </a:lnTo>
                    <a:lnTo>
                      <a:pt x="2020" y="1531"/>
                    </a:lnTo>
                    <a:lnTo>
                      <a:pt x="2020" y="1534"/>
                    </a:lnTo>
                    <a:lnTo>
                      <a:pt x="2020" y="1536"/>
                    </a:lnTo>
                    <a:lnTo>
                      <a:pt x="2021" y="1540"/>
                    </a:lnTo>
                    <a:lnTo>
                      <a:pt x="2023" y="1542"/>
                    </a:lnTo>
                    <a:lnTo>
                      <a:pt x="2028" y="1544"/>
                    </a:lnTo>
                    <a:lnTo>
                      <a:pt x="2034" y="1545"/>
                    </a:lnTo>
                    <a:lnTo>
                      <a:pt x="2037" y="1545"/>
                    </a:lnTo>
                    <a:lnTo>
                      <a:pt x="2041" y="1545"/>
                    </a:lnTo>
                    <a:lnTo>
                      <a:pt x="2045" y="1543"/>
                    </a:lnTo>
                    <a:lnTo>
                      <a:pt x="2049" y="1541"/>
                    </a:lnTo>
                    <a:lnTo>
                      <a:pt x="2056" y="1536"/>
                    </a:lnTo>
                    <a:lnTo>
                      <a:pt x="2066" y="1530"/>
                    </a:lnTo>
                    <a:lnTo>
                      <a:pt x="2073" y="1524"/>
                    </a:lnTo>
                    <a:lnTo>
                      <a:pt x="2080" y="1521"/>
                    </a:lnTo>
                    <a:lnTo>
                      <a:pt x="2083" y="1521"/>
                    </a:lnTo>
                    <a:lnTo>
                      <a:pt x="2085" y="1519"/>
                    </a:lnTo>
                    <a:lnTo>
                      <a:pt x="2087" y="1521"/>
                    </a:lnTo>
                    <a:lnTo>
                      <a:pt x="2088" y="1522"/>
                    </a:lnTo>
                    <a:lnTo>
                      <a:pt x="2090" y="1528"/>
                    </a:lnTo>
                    <a:lnTo>
                      <a:pt x="2087" y="1535"/>
                    </a:lnTo>
                    <a:lnTo>
                      <a:pt x="2085" y="1544"/>
                    </a:lnTo>
                    <a:lnTo>
                      <a:pt x="2081" y="1554"/>
                    </a:lnTo>
                    <a:lnTo>
                      <a:pt x="2079" y="1559"/>
                    </a:lnTo>
                    <a:lnTo>
                      <a:pt x="2077" y="1563"/>
                    </a:lnTo>
                    <a:lnTo>
                      <a:pt x="2075" y="1570"/>
                    </a:lnTo>
                    <a:lnTo>
                      <a:pt x="2074" y="1574"/>
                    </a:lnTo>
                    <a:lnTo>
                      <a:pt x="2075" y="1579"/>
                    </a:lnTo>
                    <a:lnTo>
                      <a:pt x="2079" y="1586"/>
                    </a:lnTo>
                    <a:lnTo>
                      <a:pt x="2084" y="1593"/>
                    </a:lnTo>
                    <a:lnTo>
                      <a:pt x="2087" y="1598"/>
                    </a:lnTo>
                    <a:lnTo>
                      <a:pt x="2090" y="1603"/>
                    </a:lnTo>
                    <a:lnTo>
                      <a:pt x="2088" y="1606"/>
                    </a:lnTo>
                    <a:lnTo>
                      <a:pt x="2085" y="1610"/>
                    </a:lnTo>
                    <a:lnTo>
                      <a:pt x="2080" y="1611"/>
                    </a:lnTo>
                    <a:lnTo>
                      <a:pt x="2074" y="1611"/>
                    </a:lnTo>
                    <a:lnTo>
                      <a:pt x="2067" y="1611"/>
                    </a:lnTo>
                    <a:lnTo>
                      <a:pt x="2060" y="1608"/>
                    </a:lnTo>
                    <a:lnTo>
                      <a:pt x="2052" y="1605"/>
                    </a:lnTo>
                    <a:lnTo>
                      <a:pt x="2034" y="1601"/>
                    </a:lnTo>
                    <a:lnTo>
                      <a:pt x="2021" y="1599"/>
                    </a:lnTo>
                    <a:lnTo>
                      <a:pt x="2020" y="1599"/>
                    </a:lnTo>
                    <a:lnTo>
                      <a:pt x="2018" y="1599"/>
                    </a:lnTo>
                    <a:lnTo>
                      <a:pt x="2011" y="1599"/>
                    </a:lnTo>
                    <a:lnTo>
                      <a:pt x="2003" y="1599"/>
                    </a:lnTo>
                    <a:lnTo>
                      <a:pt x="1996" y="1599"/>
                    </a:lnTo>
                    <a:lnTo>
                      <a:pt x="1990" y="1598"/>
                    </a:lnTo>
                    <a:lnTo>
                      <a:pt x="1987" y="1597"/>
                    </a:lnTo>
                    <a:lnTo>
                      <a:pt x="1985" y="1595"/>
                    </a:lnTo>
                    <a:lnTo>
                      <a:pt x="1982" y="1593"/>
                    </a:lnTo>
                    <a:lnTo>
                      <a:pt x="1978" y="1589"/>
                    </a:lnTo>
                    <a:lnTo>
                      <a:pt x="1977" y="1585"/>
                    </a:lnTo>
                    <a:lnTo>
                      <a:pt x="1976" y="1580"/>
                    </a:lnTo>
                    <a:lnTo>
                      <a:pt x="1974" y="1578"/>
                    </a:lnTo>
                    <a:lnTo>
                      <a:pt x="1974" y="1575"/>
                    </a:lnTo>
                    <a:lnTo>
                      <a:pt x="1973" y="1572"/>
                    </a:lnTo>
                    <a:lnTo>
                      <a:pt x="1972" y="1568"/>
                    </a:lnTo>
                    <a:lnTo>
                      <a:pt x="1970" y="1565"/>
                    </a:lnTo>
                    <a:lnTo>
                      <a:pt x="1967" y="1561"/>
                    </a:lnTo>
                    <a:lnTo>
                      <a:pt x="1962" y="1560"/>
                    </a:lnTo>
                    <a:lnTo>
                      <a:pt x="1959" y="1561"/>
                    </a:lnTo>
                    <a:lnTo>
                      <a:pt x="1951" y="1562"/>
                    </a:lnTo>
                    <a:lnTo>
                      <a:pt x="1946" y="1565"/>
                    </a:lnTo>
                    <a:lnTo>
                      <a:pt x="1943" y="1567"/>
                    </a:lnTo>
                    <a:lnTo>
                      <a:pt x="1939" y="1572"/>
                    </a:lnTo>
                    <a:lnTo>
                      <a:pt x="1936" y="1576"/>
                    </a:lnTo>
                    <a:lnTo>
                      <a:pt x="1933" y="1581"/>
                    </a:lnTo>
                    <a:lnTo>
                      <a:pt x="1932" y="1585"/>
                    </a:lnTo>
                    <a:lnTo>
                      <a:pt x="1932" y="1588"/>
                    </a:lnTo>
                    <a:lnTo>
                      <a:pt x="1930" y="1592"/>
                    </a:lnTo>
                    <a:lnTo>
                      <a:pt x="1932" y="1597"/>
                    </a:lnTo>
                    <a:lnTo>
                      <a:pt x="1932" y="1600"/>
                    </a:lnTo>
                    <a:lnTo>
                      <a:pt x="1933" y="1603"/>
                    </a:lnTo>
                    <a:lnTo>
                      <a:pt x="1933" y="1605"/>
                    </a:lnTo>
                    <a:lnTo>
                      <a:pt x="1932" y="1607"/>
                    </a:lnTo>
                    <a:lnTo>
                      <a:pt x="1929" y="1608"/>
                    </a:lnTo>
                    <a:lnTo>
                      <a:pt x="1927" y="1610"/>
                    </a:lnTo>
                    <a:lnTo>
                      <a:pt x="1923" y="1610"/>
                    </a:lnTo>
                    <a:lnTo>
                      <a:pt x="1921" y="1611"/>
                    </a:lnTo>
                    <a:lnTo>
                      <a:pt x="1919" y="1613"/>
                    </a:lnTo>
                    <a:lnTo>
                      <a:pt x="1917" y="1623"/>
                    </a:lnTo>
                    <a:lnTo>
                      <a:pt x="1917" y="1638"/>
                    </a:lnTo>
                    <a:lnTo>
                      <a:pt x="1919" y="1648"/>
                    </a:lnTo>
                    <a:lnTo>
                      <a:pt x="1920" y="1658"/>
                    </a:lnTo>
                    <a:lnTo>
                      <a:pt x="1919" y="1674"/>
                    </a:lnTo>
                    <a:lnTo>
                      <a:pt x="1917" y="1681"/>
                    </a:lnTo>
                    <a:lnTo>
                      <a:pt x="1914" y="1687"/>
                    </a:lnTo>
                    <a:lnTo>
                      <a:pt x="1911" y="1689"/>
                    </a:lnTo>
                    <a:lnTo>
                      <a:pt x="1909" y="1692"/>
                    </a:lnTo>
                    <a:lnTo>
                      <a:pt x="1907" y="1693"/>
                    </a:lnTo>
                    <a:lnTo>
                      <a:pt x="1904" y="1693"/>
                    </a:lnTo>
                    <a:lnTo>
                      <a:pt x="1902" y="1693"/>
                    </a:lnTo>
                    <a:lnTo>
                      <a:pt x="1898" y="1692"/>
                    </a:lnTo>
                    <a:lnTo>
                      <a:pt x="1896" y="1689"/>
                    </a:lnTo>
                    <a:lnTo>
                      <a:pt x="1894" y="1685"/>
                    </a:lnTo>
                    <a:lnTo>
                      <a:pt x="1891" y="1675"/>
                    </a:lnTo>
                    <a:lnTo>
                      <a:pt x="1889" y="1663"/>
                    </a:lnTo>
                    <a:lnTo>
                      <a:pt x="1888" y="1660"/>
                    </a:lnTo>
                    <a:lnTo>
                      <a:pt x="1888" y="1656"/>
                    </a:lnTo>
                    <a:lnTo>
                      <a:pt x="1883" y="1650"/>
                    </a:lnTo>
                    <a:lnTo>
                      <a:pt x="1877" y="1645"/>
                    </a:lnTo>
                    <a:lnTo>
                      <a:pt x="1875" y="1645"/>
                    </a:lnTo>
                    <a:lnTo>
                      <a:pt x="1872" y="1644"/>
                    </a:lnTo>
                    <a:lnTo>
                      <a:pt x="1865" y="1643"/>
                    </a:lnTo>
                    <a:lnTo>
                      <a:pt x="1855" y="1643"/>
                    </a:lnTo>
                    <a:lnTo>
                      <a:pt x="1850" y="1642"/>
                    </a:lnTo>
                    <a:lnTo>
                      <a:pt x="1844" y="1642"/>
                    </a:lnTo>
                    <a:lnTo>
                      <a:pt x="1840" y="1641"/>
                    </a:lnTo>
                    <a:lnTo>
                      <a:pt x="1835" y="1639"/>
                    </a:lnTo>
                    <a:lnTo>
                      <a:pt x="1831" y="1636"/>
                    </a:lnTo>
                    <a:lnTo>
                      <a:pt x="1827" y="1632"/>
                    </a:lnTo>
                    <a:lnTo>
                      <a:pt x="1821" y="1623"/>
                    </a:lnTo>
                    <a:lnTo>
                      <a:pt x="1815" y="1612"/>
                    </a:lnTo>
                    <a:lnTo>
                      <a:pt x="1809" y="1605"/>
                    </a:lnTo>
                    <a:lnTo>
                      <a:pt x="1803" y="1600"/>
                    </a:lnTo>
                    <a:lnTo>
                      <a:pt x="1801" y="1599"/>
                    </a:lnTo>
                    <a:lnTo>
                      <a:pt x="1798" y="1598"/>
                    </a:lnTo>
                    <a:lnTo>
                      <a:pt x="1796" y="1598"/>
                    </a:lnTo>
                    <a:lnTo>
                      <a:pt x="1795" y="1599"/>
                    </a:lnTo>
                    <a:lnTo>
                      <a:pt x="1791" y="1601"/>
                    </a:lnTo>
                    <a:lnTo>
                      <a:pt x="1789" y="1605"/>
                    </a:lnTo>
                    <a:lnTo>
                      <a:pt x="1788" y="1610"/>
                    </a:lnTo>
                    <a:lnTo>
                      <a:pt x="1785" y="1617"/>
                    </a:lnTo>
                    <a:lnTo>
                      <a:pt x="1784" y="1622"/>
                    </a:lnTo>
                    <a:lnTo>
                      <a:pt x="1783" y="1626"/>
                    </a:lnTo>
                    <a:lnTo>
                      <a:pt x="1781" y="1631"/>
                    </a:lnTo>
                    <a:lnTo>
                      <a:pt x="1777" y="1633"/>
                    </a:lnTo>
                    <a:lnTo>
                      <a:pt x="1773" y="1636"/>
                    </a:lnTo>
                    <a:lnTo>
                      <a:pt x="1770" y="1638"/>
                    </a:lnTo>
                    <a:lnTo>
                      <a:pt x="1765" y="1638"/>
                    </a:lnTo>
                    <a:lnTo>
                      <a:pt x="1760" y="1638"/>
                    </a:lnTo>
                    <a:lnTo>
                      <a:pt x="1753" y="1636"/>
                    </a:lnTo>
                    <a:lnTo>
                      <a:pt x="1746" y="1633"/>
                    </a:lnTo>
                    <a:lnTo>
                      <a:pt x="1743" y="1632"/>
                    </a:lnTo>
                    <a:lnTo>
                      <a:pt x="1739" y="1632"/>
                    </a:lnTo>
                    <a:lnTo>
                      <a:pt x="1737" y="1633"/>
                    </a:lnTo>
                    <a:lnTo>
                      <a:pt x="1735" y="1636"/>
                    </a:lnTo>
                    <a:lnTo>
                      <a:pt x="1734" y="1641"/>
                    </a:lnTo>
                    <a:lnTo>
                      <a:pt x="1735" y="1647"/>
                    </a:lnTo>
                    <a:lnTo>
                      <a:pt x="1737" y="1651"/>
                    </a:lnTo>
                    <a:lnTo>
                      <a:pt x="1737" y="1656"/>
                    </a:lnTo>
                    <a:lnTo>
                      <a:pt x="1733" y="1661"/>
                    </a:lnTo>
                    <a:lnTo>
                      <a:pt x="1729" y="1663"/>
                    </a:lnTo>
                    <a:lnTo>
                      <a:pt x="1726" y="1669"/>
                    </a:lnTo>
                    <a:lnTo>
                      <a:pt x="1725" y="1671"/>
                    </a:lnTo>
                    <a:lnTo>
                      <a:pt x="1724" y="1680"/>
                    </a:lnTo>
                    <a:lnTo>
                      <a:pt x="1724" y="1688"/>
                    </a:lnTo>
                    <a:lnTo>
                      <a:pt x="1725" y="1695"/>
                    </a:lnTo>
                    <a:lnTo>
                      <a:pt x="1726" y="1702"/>
                    </a:lnTo>
                    <a:lnTo>
                      <a:pt x="1726" y="1710"/>
                    </a:lnTo>
                    <a:lnTo>
                      <a:pt x="1725" y="1717"/>
                    </a:lnTo>
                    <a:lnTo>
                      <a:pt x="1722" y="1724"/>
                    </a:lnTo>
                    <a:lnTo>
                      <a:pt x="1718" y="1730"/>
                    </a:lnTo>
                    <a:lnTo>
                      <a:pt x="1712" y="1736"/>
                    </a:lnTo>
                    <a:lnTo>
                      <a:pt x="1703" y="1739"/>
                    </a:lnTo>
                    <a:lnTo>
                      <a:pt x="1695" y="1743"/>
                    </a:lnTo>
                    <a:lnTo>
                      <a:pt x="1684" y="1745"/>
                    </a:lnTo>
                    <a:lnTo>
                      <a:pt x="1664" y="1750"/>
                    </a:lnTo>
                    <a:lnTo>
                      <a:pt x="1647" y="1753"/>
                    </a:lnTo>
                    <a:lnTo>
                      <a:pt x="1638" y="1756"/>
                    </a:lnTo>
                    <a:lnTo>
                      <a:pt x="1626" y="1761"/>
                    </a:lnTo>
                    <a:lnTo>
                      <a:pt x="1615" y="1765"/>
                    </a:lnTo>
                    <a:lnTo>
                      <a:pt x="1605" y="1770"/>
                    </a:lnTo>
                    <a:lnTo>
                      <a:pt x="1599" y="1773"/>
                    </a:lnTo>
                    <a:lnTo>
                      <a:pt x="1593" y="1774"/>
                    </a:lnTo>
                    <a:lnTo>
                      <a:pt x="1588" y="1775"/>
                    </a:lnTo>
                    <a:lnTo>
                      <a:pt x="1583" y="1774"/>
                    </a:lnTo>
                    <a:lnTo>
                      <a:pt x="1580" y="1770"/>
                    </a:lnTo>
                    <a:lnTo>
                      <a:pt x="1579" y="1764"/>
                    </a:lnTo>
                    <a:lnTo>
                      <a:pt x="1577" y="1756"/>
                    </a:lnTo>
                    <a:lnTo>
                      <a:pt x="1577" y="1749"/>
                    </a:lnTo>
                    <a:lnTo>
                      <a:pt x="1576" y="1740"/>
                    </a:lnTo>
                    <a:lnTo>
                      <a:pt x="1576" y="1734"/>
                    </a:lnTo>
                    <a:lnTo>
                      <a:pt x="1575" y="1731"/>
                    </a:lnTo>
                    <a:lnTo>
                      <a:pt x="1574" y="1730"/>
                    </a:lnTo>
                    <a:lnTo>
                      <a:pt x="1573" y="1729"/>
                    </a:lnTo>
                    <a:lnTo>
                      <a:pt x="1571" y="1727"/>
                    </a:lnTo>
                    <a:lnTo>
                      <a:pt x="1569" y="1729"/>
                    </a:lnTo>
                    <a:lnTo>
                      <a:pt x="1567" y="1729"/>
                    </a:lnTo>
                    <a:lnTo>
                      <a:pt x="1561" y="1733"/>
                    </a:lnTo>
                    <a:lnTo>
                      <a:pt x="1556" y="1738"/>
                    </a:lnTo>
                    <a:lnTo>
                      <a:pt x="1554" y="1740"/>
                    </a:lnTo>
                    <a:lnTo>
                      <a:pt x="1550" y="1742"/>
                    </a:lnTo>
                    <a:lnTo>
                      <a:pt x="1549" y="1742"/>
                    </a:lnTo>
                    <a:lnTo>
                      <a:pt x="1546" y="1740"/>
                    </a:lnTo>
                    <a:lnTo>
                      <a:pt x="1544" y="1738"/>
                    </a:lnTo>
                    <a:lnTo>
                      <a:pt x="1540" y="1733"/>
                    </a:lnTo>
                    <a:lnTo>
                      <a:pt x="1539" y="1729"/>
                    </a:lnTo>
                    <a:lnTo>
                      <a:pt x="1538" y="1723"/>
                    </a:lnTo>
                    <a:lnTo>
                      <a:pt x="1538" y="1717"/>
                    </a:lnTo>
                    <a:lnTo>
                      <a:pt x="1538" y="1713"/>
                    </a:lnTo>
                    <a:lnTo>
                      <a:pt x="1538" y="1707"/>
                    </a:lnTo>
                    <a:lnTo>
                      <a:pt x="1538" y="1701"/>
                    </a:lnTo>
                    <a:lnTo>
                      <a:pt x="1538" y="1698"/>
                    </a:lnTo>
                    <a:lnTo>
                      <a:pt x="1538" y="1694"/>
                    </a:lnTo>
                    <a:lnTo>
                      <a:pt x="1536" y="1692"/>
                    </a:lnTo>
                    <a:lnTo>
                      <a:pt x="1535" y="1690"/>
                    </a:lnTo>
                    <a:lnTo>
                      <a:pt x="1532" y="1690"/>
                    </a:lnTo>
                    <a:lnTo>
                      <a:pt x="1530" y="1692"/>
                    </a:lnTo>
                    <a:lnTo>
                      <a:pt x="1526" y="1694"/>
                    </a:lnTo>
                    <a:lnTo>
                      <a:pt x="1520" y="1698"/>
                    </a:lnTo>
                    <a:lnTo>
                      <a:pt x="1511" y="1708"/>
                    </a:lnTo>
                    <a:lnTo>
                      <a:pt x="1500" y="1719"/>
                    </a:lnTo>
                    <a:lnTo>
                      <a:pt x="1493" y="1724"/>
                    </a:lnTo>
                    <a:lnTo>
                      <a:pt x="1487" y="1727"/>
                    </a:lnTo>
                    <a:lnTo>
                      <a:pt x="1482" y="1729"/>
                    </a:lnTo>
                    <a:lnTo>
                      <a:pt x="1474" y="1729"/>
                    </a:lnTo>
                    <a:lnTo>
                      <a:pt x="1468" y="1729"/>
                    </a:lnTo>
                    <a:lnTo>
                      <a:pt x="1463" y="1725"/>
                    </a:lnTo>
                    <a:lnTo>
                      <a:pt x="1458" y="1721"/>
                    </a:lnTo>
                    <a:lnTo>
                      <a:pt x="1454" y="1717"/>
                    </a:lnTo>
                    <a:lnTo>
                      <a:pt x="1450" y="1711"/>
                    </a:lnTo>
                    <a:lnTo>
                      <a:pt x="1447" y="1705"/>
                    </a:lnTo>
                    <a:lnTo>
                      <a:pt x="1445" y="1700"/>
                    </a:lnTo>
                    <a:lnTo>
                      <a:pt x="1444" y="1694"/>
                    </a:lnTo>
                    <a:lnTo>
                      <a:pt x="1444" y="1690"/>
                    </a:lnTo>
                    <a:lnTo>
                      <a:pt x="1443" y="1685"/>
                    </a:lnTo>
                    <a:lnTo>
                      <a:pt x="1443" y="1681"/>
                    </a:lnTo>
                    <a:lnTo>
                      <a:pt x="1443" y="1676"/>
                    </a:lnTo>
                    <a:lnTo>
                      <a:pt x="1443" y="1668"/>
                    </a:lnTo>
                    <a:lnTo>
                      <a:pt x="1441" y="1662"/>
                    </a:lnTo>
                    <a:lnTo>
                      <a:pt x="1441" y="1661"/>
                    </a:lnTo>
                    <a:lnTo>
                      <a:pt x="1439" y="1661"/>
                    </a:lnTo>
                    <a:lnTo>
                      <a:pt x="1435" y="1657"/>
                    </a:lnTo>
                    <a:lnTo>
                      <a:pt x="1432" y="1656"/>
                    </a:lnTo>
                    <a:lnTo>
                      <a:pt x="1430" y="1656"/>
                    </a:lnTo>
                    <a:lnTo>
                      <a:pt x="1425" y="1655"/>
                    </a:lnTo>
                    <a:lnTo>
                      <a:pt x="1423" y="1655"/>
                    </a:lnTo>
                    <a:lnTo>
                      <a:pt x="1419" y="1654"/>
                    </a:lnTo>
                    <a:lnTo>
                      <a:pt x="1414" y="1652"/>
                    </a:lnTo>
                    <a:lnTo>
                      <a:pt x="1410" y="1650"/>
                    </a:lnTo>
                    <a:lnTo>
                      <a:pt x="1407" y="1647"/>
                    </a:lnTo>
                    <a:lnTo>
                      <a:pt x="1405" y="1643"/>
                    </a:lnTo>
                    <a:lnTo>
                      <a:pt x="1403" y="1635"/>
                    </a:lnTo>
                    <a:lnTo>
                      <a:pt x="1401" y="1624"/>
                    </a:lnTo>
                    <a:lnTo>
                      <a:pt x="1400" y="1614"/>
                    </a:lnTo>
                    <a:lnTo>
                      <a:pt x="1399" y="1607"/>
                    </a:lnTo>
                    <a:lnTo>
                      <a:pt x="1397" y="1605"/>
                    </a:lnTo>
                    <a:lnTo>
                      <a:pt x="1395" y="1601"/>
                    </a:lnTo>
                    <a:lnTo>
                      <a:pt x="1393" y="1599"/>
                    </a:lnTo>
                    <a:lnTo>
                      <a:pt x="1390" y="1597"/>
                    </a:lnTo>
                    <a:lnTo>
                      <a:pt x="1384" y="1593"/>
                    </a:lnTo>
                    <a:lnTo>
                      <a:pt x="1378" y="1588"/>
                    </a:lnTo>
                    <a:lnTo>
                      <a:pt x="1373" y="1582"/>
                    </a:lnTo>
                    <a:lnTo>
                      <a:pt x="1369" y="1574"/>
                    </a:lnTo>
                    <a:lnTo>
                      <a:pt x="1368" y="1569"/>
                    </a:lnTo>
                    <a:lnTo>
                      <a:pt x="1366" y="1566"/>
                    </a:lnTo>
                    <a:lnTo>
                      <a:pt x="1363" y="1563"/>
                    </a:lnTo>
                    <a:lnTo>
                      <a:pt x="1361" y="1562"/>
                    </a:lnTo>
                    <a:lnTo>
                      <a:pt x="1359" y="1562"/>
                    </a:lnTo>
                    <a:lnTo>
                      <a:pt x="1355" y="1563"/>
                    </a:lnTo>
                    <a:lnTo>
                      <a:pt x="1350" y="1566"/>
                    </a:lnTo>
                    <a:lnTo>
                      <a:pt x="1346" y="1569"/>
                    </a:lnTo>
                    <a:lnTo>
                      <a:pt x="1340" y="1574"/>
                    </a:lnTo>
                    <a:lnTo>
                      <a:pt x="1334" y="1576"/>
                    </a:lnTo>
                    <a:lnTo>
                      <a:pt x="1328" y="1579"/>
                    </a:lnTo>
                    <a:lnTo>
                      <a:pt x="1323" y="1580"/>
                    </a:lnTo>
                    <a:lnTo>
                      <a:pt x="1321" y="1580"/>
                    </a:lnTo>
                    <a:lnTo>
                      <a:pt x="1319" y="1580"/>
                    </a:lnTo>
                    <a:lnTo>
                      <a:pt x="1313" y="1580"/>
                    </a:lnTo>
                    <a:lnTo>
                      <a:pt x="1310" y="1581"/>
                    </a:lnTo>
                    <a:lnTo>
                      <a:pt x="1306" y="1582"/>
                    </a:lnTo>
                    <a:lnTo>
                      <a:pt x="1305" y="1585"/>
                    </a:lnTo>
                    <a:lnTo>
                      <a:pt x="1302" y="1589"/>
                    </a:lnTo>
                    <a:lnTo>
                      <a:pt x="1299" y="1594"/>
                    </a:lnTo>
                    <a:lnTo>
                      <a:pt x="1292" y="1603"/>
                    </a:lnTo>
                    <a:lnTo>
                      <a:pt x="1281" y="1613"/>
                    </a:lnTo>
                    <a:lnTo>
                      <a:pt x="1275" y="1619"/>
                    </a:lnTo>
                    <a:lnTo>
                      <a:pt x="1271" y="1625"/>
                    </a:lnTo>
                    <a:lnTo>
                      <a:pt x="1268" y="1631"/>
                    </a:lnTo>
                    <a:lnTo>
                      <a:pt x="1267" y="1637"/>
                    </a:lnTo>
                    <a:lnTo>
                      <a:pt x="1267" y="1642"/>
                    </a:lnTo>
                    <a:lnTo>
                      <a:pt x="1268" y="1648"/>
                    </a:lnTo>
                    <a:lnTo>
                      <a:pt x="1269" y="1654"/>
                    </a:lnTo>
                    <a:lnTo>
                      <a:pt x="1272" y="1658"/>
                    </a:lnTo>
                    <a:lnTo>
                      <a:pt x="1277" y="1669"/>
                    </a:lnTo>
                    <a:lnTo>
                      <a:pt x="1279" y="1680"/>
                    </a:lnTo>
                    <a:lnTo>
                      <a:pt x="1280" y="1686"/>
                    </a:lnTo>
                    <a:lnTo>
                      <a:pt x="1280" y="1692"/>
                    </a:lnTo>
                    <a:lnTo>
                      <a:pt x="1279" y="1696"/>
                    </a:lnTo>
                    <a:lnTo>
                      <a:pt x="1277" y="1701"/>
                    </a:lnTo>
                    <a:lnTo>
                      <a:pt x="1272" y="1715"/>
                    </a:lnTo>
                    <a:lnTo>
                      <a:pt x="1267" y="1730"/>
                    </a:lnTo>
                    <a:lnTo>
                      <a:pt x="1266" y="1733"/>
                    </a:lnTo>
                    <a:lnTo>
                      <a:pt x="1265" y="1734"/>
                    </a:lnTo>
                    <a:lnTo>
                      <a:pt x="1262" y="1731"/>
                    </a:lnTo>
                    <a:lnTo>
                      <a:pt x="1261" y="1724"/>
                    </a:lnTo>
                    <a:lnTo>
                      <a:pt x="1260" y="1715"/>
                    </a:lnTo>
                    <a:lnTo>
                      <a:pt x="1256" y="1710"/>
                    </a:lnTo>
                    <a:lnTo>
                      <a:pt x="1255" y="1707"/>
                    </a:lnTo>
                    <a:lnTo>
                      <a:pt x="1253" y="1706"/>
                    </a:lnTo>
                    <a:lnTo>
                      <a:pt x="1250" y="1706"/>
                    </a:lnTo>
                    <a:lnTo>
                      <a:pt x="1248" y="1705"/>
                    </a:lnTo>
                    <a:lnTo>
                      <a:pt x="1246" y="1706"/>
                    </a:lnTo>
                    <a:lnTo>
                      <a:pt x="1243" y="1707"/>
                    </a:lnTo>
                    <a:lnTo>
                      <a:pt x="1242" y="1710"/>
                    </a:lnTo>
                    <a:lnTo>
                      <a:pt x="1241" y="1712"/>
                    </a:lnTo>
                    <a:lnTo>
                      <a:pt x="1239" y="1720"/>
                    </a:lnTo>
                    <a:lnTo>
                      <a:pt x="1236" y="1730"/>
                    </a:lnTo>
                    <a:lnTo>
                      <a:pt x="1234" y="1734"/>
                    </a:lnTo>
                    <a:lnTo>
                      <a:pt x="1230" y="1738"/>
                    </a:lnTo>
                    <a:lnTo>
                      <a:pt x="1228" y="1740"/>
                    </a:lnTo>
                    <a:lnTo>
                      <a:pt x="1224" y="1743"/>
                    </a:lnTo>
                    <a:lnTo>
                      <a:pt x="1216" y="1745"/>
                    </a:lnTo>
                    <a:lnTo>
                      <a:pt x="1209" y="1745"/>
                    </a:lnTo>
                    <a:lnTo>
                      <a:pt x="1199" y="1744"/>
                    </a:lnTo>
                    <a:lnTo>
                      <a:pt x="1190" y="1740"/>
                    </a:lnTo>
                    <a:lnTo>
                      <a:pt x="1177" y="1738"/>
                    </a:lnTo>
                    <a:lnTo>
                      <a:pt x="1164" y="1737"/>
                    </a:lnTo>
                    <a:lnTo>
                      <a:pt x="1157" y="1737"/>
                    </a:lnTo>
                    <a:lnTo>
                      <a:pt x="1148" y="1738"/>
                    </a:lnTo>
                    <a:lnTo>
                      <a:pt x="1141" y="1742"/>
                    </a:lnTo>
                    <a:lnTo>
                      <a:pt x="1134" y="1745"/>
                    </a:lnTo>
                    <a:lnTo>
                      <a:pt x="1128" y="1750"/>
                    </a:lnTo>
                    <a:lnTo>
                      <a:pt x="1121" y="1756"/>
                    </a:lnTo>
                    <a:lnTo>
                      <a:pt x="1115" y="1761"/>
                    </a:lnTo>
                    <a:lnTo>
                      <a:pt x="1109" y="1768"/>
                    </a:lnTo>
                    <a:lnTo>
                      <a:pt x="1103" y="1774"/>
                    </a:lnTo>
                    <a:lnTo>
                      <a:pt x="1094" y="1781"/>
                    </a:lnTo>
                    <a:lnTo>
                      <a:pt x="1083" y="1789"/>
                    </a:lnTo>
                    <a:lnTo>
                      <a:pt x="1072" y="1796"/>
                    </a:lnTo>
                    <a:lnTo>
                      <a:pt x="1048" y="1809"/>
                    </a:lnTo>
                    <a:lnTo>
                      <a:pt x="1029" y="1819"/>
                    </a:lnTo>
                    <a:lnTo>
                      <a:pt x="1021" y="1821"/>
                    </a:lnTo>
                    <a:lnTo>
                      <a:pt x="1014" y="1824"/>
                    </a:lnTo>
                    <a:lnTo>
                      <a:pt x="1006" y="1825"/>
                    </a:lnTo>
                    <a:lnTo>
                      <a:pt x="998" y="1825"/>
                    </a:lnTo>
                    <a:lnTo>
                      <a:pt x="985" y="1824"/>
                    </a:lnTo>
                    <a:lnTo>
                      <a:pt x="977" y="1822"/>
                    </a:lnTo>
                    <a:lnTo>
                      <a:pt x="970" y="1820"/>
                    </a:lnTo>
                    <a:lnTo>
                      <a:pt x="963" y="1820"/>
                    </a:lnTo>
                    <a:lnTo>
                      <a:pt x="957" y="1820"/>
                    </a:lnTo>
                    <a:lnTo>
                      <a:pt x="951" y="1822"/>
                    </a:lnTo>
                    <a:lnTo>
                      <a:pt x="950" y="1825"/>
                    </a:lnTo>
                    <a:lnTo>
                      <a:pt x="947" y="1827"/>
                    </a:lnTo>
                    <a:lnTo>
                      <a:pt x="947" y="1831"/>
                    </a:lnTo>
                    <a:lnTo>
                      <a:pt x="947" y="1834"/>
                    </a:lnTo>
                    <a:lnTo>
                      <a:pt x="950" y="1841"/>
                    </a:lnTo>
                    <a:lnTo>
                      <a:pt x="954" y="1852"/>
                    </a:lnTo>
                    <a:lnTo>
                      <a:pt x="958" y="1858"/>
                    </a:lnTo>
                    <a:lnTo>
                      <a:pt x="960" y="1864"/>
                    </a:lnTo>
                    <a:lnTo>
                      <a:pt x="960" y="1870"/>
                    </a:lnTo>
                    <a:lnTo>
                      <a:pt x="960" y="1876"/>
                    </a:lnTo>
                    <a:lnTo>
                      <a:pt x="960" y="1883"/>
                    </a:lnTo>
                    <a:lnTo>
                      <a:pt x="958" y="1889"/>
                    </a:lnTo>
                    <a:lnTo>
                      <a:pt x="956" y="1895"/>
                    </a:lnTo>
                    <a:lnTo>
                      <a:pt x="953" y="1901"/>
                    </a:lnTo>
                    <a:lnTo>
                      <a:pt x="950" y="1906"/>
                    </a:lnTo>
                    <a:lnTo>
                      <a:pt x="946" y="1909"/>
                    </a:lnTo>
                    <a:lnTo>
                      <a:pt x="941" y="1913"/>
                    </a:lnTo>
                    <a:lnTo>
                      <a:pt x="938" y="1915"/>
                    </a:lnTo>
                    <a:lnTo>
                      <a:pt x="928" y="1920"/>
                    </a:lnTo>
                    <a:lnTo>
                      <a:pt x="918" y="1926"/>
                    </a:lnTo>
                    <a:lnTo>
                      <a:pt x="908" y="1934"/>
                    </a:lnTo>
                    <a:lnTo>
                      <a:pt x="900" y="1942"/>
                    </a:lnTo>
                    <a:lnTo>
                      <a:pt x="895" y="1947"/>
                    </a:lnTo>
                    <a:lnTo>
                      <a:pt x="891" y="1951"/>
                    </a:lnTo>
                    <a:lnTo>
                      <a:pt x="888" y="1953"/>
                    </a:lnTo>
                    <a:lnTo>
                      <a:pt x="883" y="1954"/>
                    </a:lnTo>
                    <a:lnTo>
                      <a:pt x="880" y="1956"/>
                    </a:lnTo>
                    <a:lnTo>
                      <a:pt x="876" y="1954"/>
                    </a:lnTo>
                    <a:lnTo>
                      <a:pt x="874" y="1953"/>
                    </a:lnTo>
                    <a:lnTo>
                      <a:pt x="870" y="1951"/>
                    </a:lnTo>
                    <a:lnTo>
                      <a:pt x="864" y="1945"/>
                    </a:lnTo>
                    <a:lnTo>
                      <a:pt x="857" y="1935"/>
                    </a:lnTo>
                    <a:lnTo>
                      <a:pt x="853" y="1932"/>
                    </a:lnTo>
                    <a:lnTo>
                      <a:pt x="849" y="1929"/>
                    </a:lnTo>
                    <a:lnTo>
                      <a:pt x="843" y="1927"/>
                    </a:lnTo>
                    <a:lnTo>
                      <a:pt x="838" y="1927"/>
                    </a:lnTo>
                    <a:lnTo>
                      <a:pt x="826" y="1928"/>
                    </a:lnTo>
                    <a:lnTo>
                      <a:pt x="814" y="1931"/>
                    </a:lnTo>
                    <a:lnTo>
                      <a:pt x="808" y="1932"/>
                    </a:lnTo>
                    <a:lnTo>
                      <a:pt x="802" y="1932"/>
                    </a:lnTo>
                    <a:lnTo>
                      <a:pt x="798" y="1931"/>
                    </a:lnTo>
                    <a:lnTo>
                      <a:pt x="793" y="1929"/>
                    </a:lnTo>
                    <a:lnTo>
                      <a:pt x="789" y="1926"/>
                    </a:lnTo>
                    <a:lnTo>
                      <a:pt x="786" y="1922"/>
                    </a:lnTo>
                    <a:lnTo>
                      <a:pt x="783" y="1918"/>
                    </a:lnTo>
                    <a:lnTo>
                      <a:pt x="782" y="1913"/>
                    </a:lnTo>
                    <a:lnTo>
                      <a:pt x="780" y="1908"/>
                    </a:lnTo>
                    <a:lnTo>
                      <a:pt x="778" y="1904"/>
                    </a:lnTo>
                    <a:lnTo>
                      <a:pt x="775" y="1903"/>
                    </a:lnTo>
                    <a:lnTo>
                      <a:pt x="773" y="1902"/>
                    </a:lnTo>
                    <a:lnTo>
                      <a:pt x="764" y="1901"/>
                    </a:lnTo>
                    <a:lnTo>
                      <a:pt x="756" y="1900"/>
                    </a:lnTo>
                    <a:lnTo>
                      <a:pt x="746" y="1899"/>
                    </a:lnTo>
                    <a:lnTo>
                      <a:pt x="737" y="1895"/>
                    </a:lnTo>
                    <a:lnTo>
                      <a:pt x="729" y="1891"/>
                    </a:lnTo>
                    <a:lnTo>
                      <a:pt x="721" y="1888"/>
                    </a:lnTo>
                    <a:lnTo>
                      <a:pt x="714" y="1884"/>
                    </a:lnTo>
                    <a:lnTo>
                      <a:pt x="707" y="1882"/>
                    </a:lnTo>
                    <a:lnTo>
                      <a:pt x="699" y="1881"/>
                    </a:lnTo>
                    <a:lnTo>
                      <a:pt x="691" y="1879"/>
                    </a:lnTo>
                    <a:lnTo>
                      <a:pt x="687" y="1879"/>
                    </a:lnTo>
                    <a:lnTo>
                      <a:pt x="683" y="1878"/>
                    </a:lnTo>
                    <a:lnTo>
                      <a:pt x="681" y="1876"/>
                    </a:lnTo>
                    <a:lnTo>
                      <a:pt x="677" y="1872"/>
                    </a:lnTo>
                    <a:lnTo>
                      <a:pt x="673" y="1866"/>
                    </a:lnTo>
                    <a:lnTo>
                      <a:pt x="668" y="1858"/>
                    </a:lnTo>
                    <a:lnTo>
                      <a:pt x="664" y="1847"/>
                    </a:lnTo>
                    <a:lnTo>
                      <a:pt x="661" y="1838"/>
                    </a:lnTo>
                    <a:lnTo>
                      <a:pt x="658" y="1833"/>
                    </a:lnTo>
                    <a:lnTo>
                      <a:pt x="656" y="1828"/>
                    </a:lnTo>
                    <a:lnTo>
                      <a:pt x="654" y="1826"/>
                    </a:lnTo>
                    <a:lnTo>
                      <a:pt x="651" y="1824"/>
                    </a:lnTo>
                    <a:lnTo>
                      <a:pt x="642" y="1821"/>
                    </a:lnTo>
                    <a:lnTo>
                      <a:pt x="629" y="1821"/>
                    </a:lnTo>
                    <a:lnTo>
                      <a:pt x="613" y="1821"/>
                    </a:lnTo>
                    <a:lnTo>
                      <a:pt x="599" y="1821"/>
                    </a:lnTo>
                    <a:lnTo>
                      <a:pt x="594" y="1820"/>
                    </a:lnTo>
                    <a:lnTo>
                      <a:pt x="589" y="1819"/>
                    </a:lnTo>
                    <a:lnTo>
                      <a:pt x="586" y="1815"/>
                    </a:lnTo>
                    <a:lnTo>
                      <a:pt x="584" y="1812"/>
                    </a:lnTo>
                    <a:lnTo>
                      <a:pt x="579" y="1805"/>
                    </a:lnTo>
                    <a:lnTo>
                      <a:pt x="574" y="1795"/>
                    </a:lnTo>
                    <a:lnTo>
                      <a:pt x="572" y="1792"/>
                    </a:lnTo>
                    <a:lnTo>
                      <a:pt x="568" y="1789"/>
                    </a:lnTo>
                    <a:lnTo>
                      <a:pt x="565" y="1789"/>
                    </a:lnTo>
                    <a:lnTo>
                      <a:pt x="562" y="1789"/>
                    </a:lnTo>
                    <a:lnTo>
                      <a:pt x="559" y="1790"/>
                    </a:lnTo>
                    <a:lnTo>
                      <a:pt x="555" y="1792"/>
                    </a:lnTo>
                    <a:lnTo>
                      <a:pt x="550" y="1795"/>
                    </a:lnTo>
                    <a:lnTo>
                      <a:pt x="548" y="1800"/>
                    </a:lnTo>
                    <a:lnTo>
                      <a:pt x="540" y="1808"/>
                    </a:lnTo>
                    <a:lnTo>
                      <a:pt x="532" y="1815"/>
                    </a:lnTo>
                    <a:lnTo>
                      <a:pt x="524" y="1820"/>
                    </a:lnTo>
                    <a:lnTo>
                      <a:pt x="517" y="1822"/>
                    </a:lnTo>
                    <a:lnTo>
                      <a:pt x="513" y="1825"/>
                    </a:lnTo>
                    <a:lnTo>
                      <a:pt x="510" y="1828"/>
                    </a:lnTo>
                    <a:lnTo>
                      <a:pt x="507" y="1833"/>
                    </a:lnTo>
                    <a:lnTo>
                      <a:pt x="505" y="1839"/>
                    </a:lnTo>
                    <a:lnTo>
                      <a:pt x="500" y="1852"/>
                    </a:lnTo>
                    <a:lnTo>
                      <a:pt x="494" y="1865"/>
                    </a:lnTo>
                    <a:lnTo>
                      <a:pt x="490" y="1871"/>
                    </a:lnTo>
                    <a:lnTo>
                      <a:pt x="486" y="1876"/>
                    </a:lnTo>
                    <a:lnTo>
                      <a:pt x="481" y="1879"/>
                    </a:lnTo>
                    <a:lnTo>
                      <a:pt x="477" y="1882"/>
                    </a:lnTo>
                    <a:lnTo>
                      <a:pt x="467" y="1884"/>
                    </a:lnTo>
                    <a:lnTo>
                      <a:pt x="456" y="1885"/>
                    </a:lnTo>
                    <a:lnTo>
                      <a:pt x="452" y="1887"/>
                    </a:lnTo>
                    <a:lnTo>
                      <a:pt x="447" y="1889"/>
                    </a:lnTo>
                    <a:lnTo>
                      <a:pt x="443" y="1891"/>
                    </a:lnTo>
                    <a:lnTo>
                      <a:pt x="439" y="1895"/>
                    </a:lnTo>
                    <a:lnTo>
                      <a:pt x="431" y="1904"/>
                    </a:lnTo>
                    <a:lnTo>
                      <a:pt x="425" y="1913"/>
                    </a:lnTo>
                    <a:lnTo>
                      <a:pt x="419" y="1920"/>
                    </a:lnTo>
                    <a:lnTo>
                      <a:pt x="414" y="1923"/>
                    </a:lnTo>
                    <a:lnTo>
                      <a:pt x="408" y="1926"/>
                    </a:lnTo>
                    <a:lnTo>
                      <a:pt x="402" y="1927"/>
                    </a:lnTo>
                    <a:lnTo>
                      <a:pt x="396" y="1929"/>
                    </a:lnTo>
                    <a:lnTo>
                      <a:pt x="392" y="1932"/>
                    </a:lnTo>
                    <a:lnTo>
                      <a:pt x="389" y="1937"/>
                    </a:lnTo>
                    <a:lnTo>
                      <a:pt x="385" y="1944"/>
                    </a:lnTo>
                    <a:lnTo>
                      <a:pt x="383" y="1946"/>
                    </a:lnTo>
                    <a:lnTo>
                      <a:pt x="379" y="1948"/>
                    </a:lnTo>
                    <a:lnTo>
                      <a:pt x="377" y="1950"/>
                    </a:lnTo>
                    <a:lnTo>
                      <a:pt x="374" y="1948"/>
                    </a:lnTo>
                    <a:lnTo>
                      <a:pt x="368" y="1946"/>
                    </a:lnTo>
                    <a:lnTo>
                      <a:pt x="365" y="1941"/>
                    </a:lnTo>
                    <a:lnTo>
                      <a:pt x="361" y="1935"/>
                    </a:lnTo>
                    <a:lnTo>
                      <a:pt x="356" y="1929"/>
                    </a:lnTo>
                    <a:lnTo>
                      <a:pt x="352" y="1926"/>
                    </a:lnTo>
                    <a:lnTo>
                      <a:pt x="347" y="1922"/>
                    </a:lnTo>
                    <a:lnTo>
                      <a:pt x="342" y="1920"/>
                    </a:lnTo>
                    <a:lnTo>
                      <a:pt x="337" y="1918"/>
                    </a:lnTo>
                    <a:lnTo>
                      <a:pt x="333" y="1913"/>
                    </a:lnTo>
                    <a:lnTo>
                      <a:pt x="327" y="1907"/>
                    </a:lnTo>
                    <a:lnTo>
                      <a:pt x="323" y="1902"/>
                    </a:lnTo>
                    <a:lnTo>
                      <a:pt x="320" y="1900"/>
                    </a:lnTo>
                    <a:lnTo>
                      <a:pt x="315" y="1897"/>
                    </a:lnTo>
                    <a:lnTo>
                      <a:pt x="310" y="1896"/>
                    </a:lnTo>
                    <a:lnTo>
                      <a:pt x="307" y="1895"/>
                    </a:lnTo>
                    <a:lnTo>
                      <a:pt x="304" y="1894"/>
                    </a:lnTo>
                    <a:lnTo>
                      <a:pt x="302" y="1893"/>
                    </a:lnTo>
                    <a:lnTo>
                      <a:pt x="301" y="1888"/>
                    </a:lnTo>
                    <a:lnTo>
                      <a:pt x="299" y="1882"/>
                    </a:lnTo>
                    <a:lnTo>
                      <a:pt x="298" y="1876"/>
                    </a:lnTo>
                    <a:lnTo>
                      <a:pt x="299" y="1870"/>
                    </a:lnTo>
                    <a:lnTo>
                      <a:pt x="299" y="1865"/>
                    </a:lnTo>
                    <a:lnTo>
                      <a:pt x="303" y="1856"/>
                    </a:lnTo>
                    <a:lnTo>
                      <a:pt x="307" y="1846"/>
                    </a:lnTo>
                    <a:lnTo>
                      <a:pt x="310" y="1837"/>
                    </a:lnTo>
                    <a:lnTo>
                      <a:pt x="316" y="1828"/>
                    </a:lnTo>
                    <a:lnTo>
                      <a:pt x="326" y="1815"/>
                    </a:lnTo>
                    <a:lnTo>
                      <a:pt x="337" y="1801"/>
                    </a:lnTo>
                    <a:lnTo>
                      <a:pt x="349" y="1788"/>
                    </a:lnTo>
                    <a:lnTo>
                      <a:pt x="359" y="1776"/>
                    </a:lnTo>
                    <a:lnTo>
                      <a:pt x="360" y="1773"/>
                    </a:lnTo>
                    <a:lnTo>
                      <a:pt x="362" y="1767"/>
                    </a:lnTo>
                    <a:lnTo>
                      <a:pt x="362" y="1762"/>
                    </a:lnTo>
                    <a:lnTo>
                      <a:pt x="362" y="1761"/>
                    </a:lnTo>
                    <a:lnTo>
                      <a:pt x="361" y="1759"/>
                    </a:lnTo>
                    <a:lnTo>
                      <a:pt x="360" y="1759"/>
                    </a:lnTo>
                    <a:lnTo>
                      <a:pt x="351" y="1757"/>
                    </a:lnTo>
                    <a:lnTo>
                      <a:pt x="341" y="1751"/>
                    </a:lnTo>
                    <a:lnTo>
                      <a:pt x="339" y="1748"/>
                    </a:lnTo>
                    <a:lnTo>
                      <a:pt x="336" y="1743"/>
                    </a:lnTo>
                    <a:lnTo>
                      <a:pt x="337" y="1738"/>
                    </a:lnTo>
                    <a:lnTo>
                      <a:pt x="340" y="1732"/>
                    </a:lnTo>
                    <a:lnTo>
                      <a:pt x="341" y="1730"/>
                    </a:lnTo>
                    <a:lnTo>
                      <a:pt x="343" y="1729"/>
                    </a:lnTo>
                    <a:lnTo>
                      <a:pt x="347" y="1729"/>
                    </a:lnTo>
                    <a:lnTo>
                      <a:pt x="351" y="1729"/>
                    </a:lnTo>
                    <a:lnTo>
                      <a:pt x="361" y="1729"/>
                    </a:lnTo>
                    <a:lnTo>
                      <a:pt x="373" y="1727"/>
                    </a:lnTo>
                    <a:lnTo>
                      <a:pt x="376" y="1725"/>
                    </a:lnTo>
                    <a:lnTo>
                      <a:pt x="378" y="1721"/>
                    </a:lnTo>
                    <a:lnTo>
                      <a:pt x="379" y="1717"/>
                    </a:lnTo>
                    <a:lnTo>
                      <a:pt x="380" y="1712"/>
                    </a:lnTo>
                    <a:lnTo>
                      <a:pt x="381" y="1701"/>
                    </a:lnTo>
                    <a:lnTo>
                      <a:pt x="383" y="1696"/>
                    </a:lnTo>
                    <a:lnTo>
                      <a:pt x="385" y="1694"/>
                    </a:lnTo>
                    <a:lnTo>
                      <a:pt x="389" y="1694"/>
                    </a:lnTo>
                    <a:lnTo>
                      <a:pt x="392" y="1694"/>
                    </a:lnTo>
                    <a:lnTo>
                      <a:pt x="396" y="1696"/>
                    </a:lnTo>
                    <a:lnTo>
                      <a:pt x="403" y="1700"/>
                    </a:lnTo>
                    <a:lnTo>
                      <a:pt x="408" y="1704"/>
                    </a:lnTo>
                    <a:lnTo>
                      <a:pt x="410" y="1705"/>
                    </a:lnTo>
                    <a:lnTo>
                      <a:pt x="412" y="1705"/>
                    </a:lnTo>
                    <a:lnTo>
                      <a:pt x="414" y="1704"/>
                    </a:lnTo>
                    <a:lnTo>
                      <a:pt x="415" y="1702"/>
                    </a:lnTo>
                    <a:lnTo>
                      <a:pt x="417" y="1696"/>
                    </a:lnTo>
                    <a:lnTo>
                      <a:pt x="417" y="1689"/>
                    </a:lnTo>
                    <a:lnTo>
                      <a:pt x="418" y="1681"/>
                    </a:lnTo>
                    <a:lnTo>
                      <a:pt x="419" y="1674"/>
                    </a:lnTo>
                    <a:lnTo>
                      <a:pt x="419" y="1670"/>
                    </a:lnTo>
                    <a:lnTo>
                      <a:pt x="419" y="1667"/>
                    </a:lnTo>
                    <a:lnTo>
                      <a:pt x="418" y="1663"/>
                    </a:lnTo>
                    <a:lnTo>
                      <a:pt x="417" y="1661"/>
                    </a:lnTo>
                    <a:lnTo>
                      <a:pt x="414" y="1658"/>
                    </a:lnTo>
                    <a:lnTo>
                      <a:pt x="408" y="1657"/>
                    </a:lnTo>
                    <a:lnTo>
                      <a:pt x="402" y="1656"/>
                    </a:lnTo>
                    <a:lnTo>
                      <a:pt x="395" y="1655"/>
                    </a:lnTo>
                    <a:lnTo>
                      <a:pt x="380" y="1656"/>
                    </a:lnTo>
                    <a:lnTo>
                      <a:pt x="366" y="1657"/>
                    </a:lnTo>
                    <a:lnTo>
                      <a:pt x="360" y="1658"/>
                    </a:lnTo>
                    <a:lnTo>
                      <a:pt x="356" y="1658"/>
                    </a:lnTo>
                    <a:lnTo>
                      <a:pt x="353" y="1658"/>
                    </a:lnTo>
                    <a:lnTo>
                      <a:pt x="352" y="1657"/>
                    </a:lnTo>
                    <a:lnTo>
                      <a:pt x="349" y="1651"/>
                    </a:lnTo>
                    <a:lnTo>
                      <a:pt x="348" y="1642"/>
                    </a:lnTo>
                    <a:lnTo>
                      <a:pt x="347" y="1632"/>
                    </a:lnTo>
                    <a:lnTo>
                      <a:pt x="345" y="1626"/>
                    </a:lnTo>
                    <a:lnTo>
                      <a:pt x="340" y="1620"/>
                    </a:lnTo>
                    <a:lnTo>
                      <a:pt x="334" y="1616"/>
                    </a:lnTo>
                    <a:lnTo>
                      <a:pt x="329" y="1611"/>
                    </a:lnTo>
                    <a:lnTo>
                      <a:pt x="326" y="1604"/>
                    </a:lnTo>
                    <a:lnTo>
                      <a:pt x="323" y="1595"/>
                    </a:lnTo>
                    <a:lnTo>
                      <a:pt x="322" y="1585"/>
                    </a:lnTo>
                    <a:lnTo>
                      <a:pt x="322" y="1576"/>
                    </a:lnTo>
                    <a:lnTo>
                      <a:pt x="323" y="1567"/>
                    </a:lnTo>
                    <a:lnTo>
                      <a:pt x="323" y="1565"/>
                    </a:lnTo>
                    <a:lnTo>
                      <a:pt x="324" y="1561"/>
                    </a:lnTo>
                    <a:lnTo>
                      <a:pt x="326" y="1557"/>
                    </a:lnTo>
                    <a:lnTo>
                      <a:pt x="324" y="1553"/>
                    </a:lnTo>
                    <a:lnTo>
                      <a:pt x="322" y="1548"/>
                    </a:lnTo>
                    <a:lnTo>
                      <a:pt x="317" y="1544"/>
                    </a:lnTo>
                    <a:lnTo>
                      <a:pt x="314" y="1543"/>
                    </a:lnTo>
                    <a:lnTo>
                      <a:pt x="310" y="1542"/>
                    </a:lnTo>
                    <a:lnTo>
                      <a:pt x="307" y="1544"/>
                    </a:lnTo>
                    <a:lnTo>
                      <a:pt x="301" y="1551"/>
                    </a:lnTo>
                    <a:lnTo>
                      <a:pt x="295" y="1556"/>
                    </a:lnTo>
                    <a:lnTo>
                      <a:pt x="285" y="1561"/>
                    </a:lnTo>
                    <a:lnTo>
                      <a:pt x="279" y="1565"/>
                    </a:lnTo>
                    <a:lnTo>
                      <a:pt x="276" y="1565"/>
                    </a:lnTo>
                    <a:lnTo>
                      <a:pt x="273" y="1563"/>
                    </a:lnTo>
                    <a:lnTo>
                      <a:pt x="272" y="1562"/>
                    </a:lnTo>
                    <a:lnTo>
                      <a:pt x="272" y="1560"/>
                    </a:lnTo>
                    <a:lnTo>
                      <a:pt x="272" y="1556"/>
                    </a:lnTo>
                    <a:lnTo>
                      <a:pt x="272" y="1549"/>
                    </a:lnTo>
                    <a:lnTo>
                      <a:pt x="273" y="1540"/>
                    </a:lnTo>
                    <a:lnTo>
                      <a:pt x="272" y="1536"/>
                    </a:lnTo>
                    <a:lnTo>
                      <a:pt x="272" y="1534"/>
                    </a:lnTo>
                    <a:lnTo>
                      <a:pt x="270" y="1530"/>
                    </a:lnTo>
                    <a:lnTo>
                      <a:pt x="269" y="1528"/>
                    </a:lnTo>
                    <a:lnTo>
                      <a:pt x="263" y="1523"/>
                    </a:lnTo>
                    <a:lnTo>
                      <a:pt x="257" y="1518"/>
                    </a:lnTo>
                    <a:lnTo>
                      <a:pt x="244" y="1511"/>
                    </a:lnTo>
                    <a:lnTo>
                      <a:pt x="236" y="1504"/>
                    </a:lnTo>
                    <a:lnTo>
                      <a:pt x="234" y="1500"/>
                    </a:lnTo>
                    <a:lnTo>
                      <a:pt x="233" y="1496"/>
                    </a:lnTo>
                    <a:lnTo>
                      <a:pt x="233" y="1491"/>
                    </a:lnTo>
                    <a:lnTo>
                      <a:pt x="233" y="1485"/>
                    </a:lnTo>
                    <a:lnTo>
                      <a:pt x="234" y="1480"/>
                    </a:lnTo>
                    <a:lnTo>
                      <a:pt x="235" y="1475"/>
                    </a:lnTo>
                    <a:lnTo>
                      <a:pt x="238" y="1471"/>
                    </a:lnTo>
                    <a:lnTo>
                      <a:pt x="240" y="1467"/>
                    </a:lnTo>
                    <a:lnTo>
                      <a:pt x="248" y="1459"/>
                    </a:lnTo>
                    <a:lnTo>
                      <a:pt x="260" y="1447"/>
                    </a:lnTo>
                    <a:lnTo>
                      <a:pt x="265" y="1440"/>
                    </a:lnTo>
                    <a:lnTo>
                      <a:pt x="270" y="1433"/>
                    </a:lnTo>
                    <a:lnTo>
                      <a:pt x="273" y="1427"/>
                    </a:lnTo>
                    <a:lnTo>
                      <a:pt x="276" y="1421"/>
                    </a:lnTo>
                    <a:lnTo>
                      <a:pt x="276" y="1410"/>
                    </a:lnTo>
                    <a:lnTo>
                      <a:pt x="277" y="1397"/>
                    </a:lnTo>
                    <a:lnTo>
                      <a:pt x="279" y="1385"/>
                    </a:lnTo>
                    <a:lnTo>
                      <a:pt x="283" y="1376"/>
                    </a:lnTo>
                    <a:lnTo>
                      <a:pt x="288" y="1365"/>
                    </a:lnTo>
                    <a:lnTo>
                      <a:pt x="292" y="1354"/>
                    </a:lnTo>
                    <a:lnTo>
                      <a:pt x="296" y="1341"/>
                    </a:lnTo>
                    <a:lnTo>
                      <a:pt x="298" y="1329"/>
                    </a:lnTo>
                    <a:lnTo>
                      <a:pt x="298" y="1323"/>
                    </a:lnTo>
                    <a:lnTo>
                      <a:pt x="301" y="1320"/>
                    </a:lnTo>
                    <a:lnTo>
                      <a:pt x="302" y="1317"/>
                    </a:lnTo>
                    <a:lnTo>
                      <a:pt x="305" y="1316"/>
                    </a:lnTo>
                    <a:lnTo>
                      <a:pt x="311" y="1314"/>
                    </a:lnTo>
                    <a:lnTo>
                      <a:pt x="316" y="1311"/>
                    </a:lnTo>
                    <a:lnTo>
                      <a:pt x="318" y="1309"/>
                    </a:lnTo>
                    <a:lnTo>
                      <a:pt x="321" y="1305"/>
                    </a:lnTo>
                    <a:lnTo>
                      <a:pt x="322" y="1301"/>
                    </a:lnTo>
                    <a:lnTo>
                      <a:pt x="324" y="1295"/>
                    </a:lnTo>
                    <a:lnTo>
                      <a:pt x="327" y="1284"/>
                    </a:lnTo>
                    <a:lnTo>
                      <a:pt x="329" y="1273"/>
                    </a:lnTo>
                    <a:lnTo>
                      <a:pt x="332" y="1259"/>
                    </a:lnTo>
                    <a:lnTo>
                      <a:pt x="335" y="1242"/>
                    </a:lnTo>
                    <a:lnTo>
                      <a:pt x="337" y="1235"/>
                    </a:lnTo>
                    <a:lnTo>
                      <a:pt x="342" y="1229"/>
                    </a:lnTo>
                    <a:lnTo>
                      <a:pt x="348" y="1225"/>
                    </a:lnTo>
                    <a:lnTo>
                      <a:pt x="354" y="1219"/>
                    </a:lnTo>
                    <a:lnTo>
                      <a:pt x="361" y="1211"/>
                    </a:lnTo>
                    <a:lnTo>
                      <a:pt x="371" y="1206"/>
                    </a:lnTo>
                    <a:lnTo>
                      <a:pt x="378" y="1200"/>
                    </a:lnTo>
                    <a:lnTo>
                      <a:pt x="385" y="1196"/>
                    </a:lnTo>
                    <a:lnTo>
                      <a:pt x="393" y="1192"/>
                    </a:lnTo>
                    <a:lnTo>
                      <a:pt x="397" y="1189"/>
                    </a:lnTo>
                    <a:lnTo>
                      <a:pt x="397" y="1184"/>
                    </a:lnTo>
                    <a:lnTo>
                      <a:pt x="397" y="1177"/>
                    </a:lnTo>
                    <a:lnTo>
                      <a:pt x="395" y="1166"/>
                    </a:lnTo>
                    <a:lnTo>
                      <a:pt x="392" y="1157"/>
                    </a:lnTo>
                    <a:lnTo>
                      <a:pt x="387" y="1146"/>
                    </a:lnTo>
                    <a:lnTo>
                      <a:pt x="381" y="1134"/>
                    </a:lnTo>
                    <a:lnTo>
                      <a:pt x="376" y="1121"/>
                    </a:lnTo>
                    <a:lnTo>
                      <a:pt x="368" y="1109"/>
                    </a:lnTo>
                    <a:lnTo>
                      <a:pt x="361" y="1099"/>
                    </a:lnTo>
                    <a:lnTo>
                      <a:pt x="353" y="1090"/>
                    </a:lnTo>
                    <a:lnTo>
                      <a:pt x="343" y="1083"/>
                    </a:lnTo>
                    <a:lnTo>
                      <a:pt x="334" y="1076"/>
                    </a:lnTo>
                    <a:lnTo>
                      <a:pt x="326" y="1069"/>
                    </a:lnTo>
                    <a:lnTo>
                      <a:pt x="321" y="1063"/>
                    </a:lnTo>
                    <a:lnTo>
                      <a:pt x="317" y="1055"/>
                    </a:lnTo>
                    <a:lnTo>
                      <a:pt x="313" y="1046"/>
                    </a:lnTo>
                    <a:lnTo>
                      <a:pt x="310" y="1040"/>
                    </a:lnTo>
                    <a:lnTo>
                      <a:pt x="307" y="1037"/>
                    </a:lnTo>
                    <a:lnTo>
                      <a:pt x="302" y="1034"/>
                    </a:lnTo>
                    <a:lnTo>
                      <a:pt x="298" y="1032"/>
                    </a:lnTo>
                    <a:lnTo>
                      <a:pt x="295" y="1031"/>
                    </a:lnTo>
                    <a:lnTo>
                      <a:pt x="291" y="1031"/>
                    </a:lnTo>
                    <a:lnTo>
                      <a:pt x="289" y="1031"/>
                    </a:lnTo>
                    <a:lnTo>
                      <a:pt x="286" y="1032"/>
                    </a:lnTo>
                    <a:lnTo>
                      <a:pt x="272" y="1047"/>
                    </a:lnTo>
                    <a:lnTo>
                      <a:pt x="257" y="1063"/>
                    </a:lnTo>
                    <a:lnTo>
                      <a:pt x="253" y="1065"/>
                    </a:lnTo>
                    <a:lnTo>
                      <a:pt x="248" y="1066"/>
                    </a:lnTo>
                    <a:lnTo>
                      <a:pt x="244" y="1068"/>
                    </a:lnTo>
                    <a:lnTo>
                      <a:pt x="238" y="1068"/>
                    </a:lnTo>
                    <a:lnTo>
                      <a:pt x="228" y="1066"/>
                    </a:lnTo>
                    <a:lnTo>
                      <a:pt x="219" y="1064"/>
                    </a:lnTo>
                    <a:lnTo>
                      <a:pt x="210" y="1061"/>
                    </a:lnTo>
                    <a:lnTo>
                      <a:pt x="202" y="1059"/>
                    </a:lnTo>
                    <a:lnTo>
                      <a:pt x="194" y="1061"/>
                    </a:lnTo>
                    <a:lnTo>
                      <a:pt x="185" y="1063"/>
                    </a:lnTo>
                    <a:lnTo>
                      <a:pt x="181" y="1065"/>
                    </a:lnTo>
                    <a:lnTo>
                      <a:pt x="177" y="1070"/>
                    </a:lnTo>
                    <a:lnTo>
                      <a:pt x="173" y="1075"/>
                    </a:lnTo>
                    <a:lnTo>
                      <a:pt x="170" y="1080"/>
                    </a:lnTo>
                    <a:lnTo>
                      <a:pt x="166" y="1087"/>
                    </a:lnTo>
                    <a:lnTo>
                      <a:pt x="164" y="1090"/>
                    </a:lnTo>
                    <a:lnTo>
                      <a:pt x="160" y="1094"/>
                    </a:lnTo>
                    <a:lnTo>
                      <a:pt x="158" y="1096"/>
                    </a:lnTo>
                    <a:lnTo>
                      <a:pt x="150" y="1099"/>
                    </a:lnTo>
                    <a:lnTo>
                      <a:pt x="137" y="1100"/>
                    </a:lnTo>
                    <a:lnTo>
                      <a:pt x="122" y="1101"/>
                    </a:lnTo>
                    <a:lnTo>
                      <a:pt x="108" y="1101"/>
                    </a:lnTo>
                    <a:lnTo>
                      <a:pt x="95" y="1099"/>
                    </a:lnTo>
                    <a:lnTo>
                      <a:pt x="85" y="1096"/>
                    </a:lnTo>
                    <a:lnTo>
                      <a:pt x="77" y="1091"/>
                    </a:lnTo>
                    <a:lnTo>
                      <a:pt x="66" y="1084"/>
                    </a:lnTo>
                    <a:lnTo>
                      <a:pt x="55" y="1077"/>
                    </a:lnTo>
                    <a:lnTo>
                      <a:pt x="44" y="1069"/>
                    </a:lnTo>
                    <a:lnTo>
                      <a:pt x="43" y="1065"/>
                    </a:lnTo>
                    <a:lnTo>
                      <a:pt x="43" y="1062"/>
                    </a:lnTo>
                    <a:lnTo>
                      <a:pt x="43" y="1058"/>
                    </a:lnTo>
                    <a:lnTo>
                      <a:pt x="44" y="1056"/>
                    </a:lnTo>
                    <a:lnTo>
                      <a:pt x="47" y="1045"/>
                    </a:lnTo>
                    <a:lnTo>
                      <a:pt x="49" y="1032"/>
                    </a:lnTo>
                    <a:lnTo>
                      <a:pt x="49" y="1026"/>
                    </a:lnTo>
                    <a:lnTo>
                      <a:pt x="47" y="1019"/>
                    </a:lnTo>
                    <a:lnTo>
                      <a:pt x="45" y="1012"/>
                    </a:lnTo>
                    <a:lnTo>
                      <a:pt x="43" y="1005"/>
                    </a:lnTo>
                    <a:lnTo>
                      <a:pt x="38" y="990"/>
                    </a:lnTo>
                    <a:lnTo>
                      <a:pt x="34" y="980"/>
                    </a:lnTo>
                    <a:lnTo>
                      <a:pt x="33" y="974"/>
                    </a:lnTo>
                    <a:lnTo>
                      <a:pt x="33" y="969"/>
                    </a:lnTo>
                    <a:lnTo>
                      <a:pt x="34" y="963"/>
                    </a:lnTo>
                    <a:lnTo>
                      <a:pt x="36" y="958"/>
                    </a:lnTo>
                    <a:lnTo>
                      <a:pt x="39" y="950"/>
                    </a:lnTo>
                    <a:lnTo>
                      <a:pt x="45" y="943"/>
                    </a:lnTo>
                    <a:lnTo>
                      <a:pt x="50" y="938"/>
                    </a:lnTo>
                    <a:lnTo>
                      <a:pt x="55" y="933"/>
                    </a:lnTo>
                    <a:lnTo>
                      <a:pt x="56" y="930"/>
                    </a:lnTo>
                    <a:lnTo>
                      <a:pt x="57" y="926"/>
                    </a:lnTo>
                    <a:lnTo>
                      <a:pt x="57" y="921"/>
                    </a:lnTo>
                    <a:lnTo>
                      <a:pt x="56" y="916"/>
                    </a:lnTo>
                    <a:lnTo>
                      <a:pt x="53" y="904"/>
                    </a:lnTo>
                    <a:lnTo>
                      <a:pt x="50" y="892"/>
                    </a:lnTo>
                    <a:lnTo>
                      <a:pt x="45" y="882"/>
                    </a:lnTo>
                    <a:lnTo>
                      <a:pt x="39" y="875"/>
                    </a:lnTo>
                    <a:lnTo>
                      <a:pt x="34" y="870"/>
                    </a:lnTo>
                    <a:lnTo>
                      <a:pt x="30" y="867"/>
                    </a:lnTo>
                    <a:lnTo>
                      <a:pt x="26" y="866"/>
                    </a:lnTo>
                    <a:lnTo>
                      <a:pt x="21" y="867"/>
                    </a:lnTo>
                    <a:lnTo>
                      <a:pt x="17" y="868"/>
                    </a:lnTo>
                    <a:lnTo>
                      <a:pt x="12" y="873"/>
                    </a:lnTo>
                    <a:lnTo>
                      <a:pt x="8" y="878"/>
                    </a:lnTo>
                    <a:lnTo>
                      <a:pt x="6" y="879"/>
                    </a:lnTo>
                    <a:lnTo>
                      <a:pt x="3" y="878"/>
                    </a:lnTo>
                    <a:lnTo>
                      <a:pt x="1" y="873"/>
                    </a:lnTo>
                    <a:lnTo>
                      <a:pt x="0" y="870"/>
                    </a:lnTo>
                    <a:lnTo>
                      <a:pt x="0" y="867"/>
                    </a:lnTo>
                    <a:lnTo>
                      <a:pt x="1" y="864"/>
                    </a:lnTo>
                    <a:lnTo>
                      <a:pt x="2" y="864"/>
                    </a:lnTo>
                    <a:lnTo>
                      <a:pt x="9" y="863"/>
                    </a:lnTo>
                    <a:lnTo>
                      <a:pt x="15" y="861"/>
                    </a:lnTo>
                    <a:lnTo>
                      <a:pt x="17" y="860"/>
                    </a:lnTo>
                    <a:lnTo>
                      <a:pt x="18" y="857"/>
                    </a:lnTo>
                    <a:lnTo>
                      <a:pt x="17" y="854"/>
                    </a:lnTo>
                    <a:lnTo>
                      <a:pt x="13" y="849"/>
                    </a:lnTo>
                    <a:lnTo>
                      <a:pt x="11" y="847"/>
                    </a:lnTo>
                    <a:lnTo>
                      <a:pt x="9" y="844"/>
                    </a:lnTo>
                    <a:lnTo>
                      <a:pt x="9" y="843"/>
                    </a:lnTo>
                    <a:lnTo>
                      <a:pt x="9" y="841"/>
                    </a:lnTo>
                    <a:lnTo>
                      <a:pt x="12" y="837"/>
                    </a:lnTo>
                    <a:lnTo>
                      <a:pt x="17" y="835"/>
                    </a:lnTo>
                    <a:lnTo>
                      <a:pt x="28" y="828"/>
                    </a:lnTo>
                    <a:lnTo>
                      <a:pt x="40" y="819"/>
                    </a:lnTo>
                    <a:lnTo>
                      <a:pt x="53" y="805"/>
                    </a:lnTo>
                    <a:lnTo>
                      <a:pt x="68" y="791"/>
                    </a:lnTo>
                    <a:lnTo>
                      <a:pt x="83" y="774"/>
                    </a:lnTo>
                    <a:lnTo>
                      <a:pt x="96" y="760"/>
                    </a:lnTo>
                    <a:lnTo>
                      <a:pt x="107" y="747"/>
                    </a:lnTo>
                    <a:lnTo>
                      <a:pt x="114" y="735"/>
                    </a:lnTo>
                    <a:lnTo>
                      <a:pt x="119" y="724"/>
                    </a:lnTo>
                    <a:lnTo>
                      <a:pt x="121" y="713"/>
                    </a:lnTo>
                    <a:lnTo>
                      <a:pt x="122" y="709"/>
                    </a:lnTo>
                    <a:lnTo>
                      <a:pt x="125" y="704"/>
                    </a:lnTo>
                    <a:lnTo>
                      <a:pt x="127" y="702"/>
                    </a:lnTo>
                    <a:lnTo>
                      <a:pt x="129" y="699"/>
                    </a:lnTo>
                    <a:lnTo>
                      <a:pt x="132" y="699"/>
                    </a:lnTo>
                    <a:lnTo>
                      <a:pt x="134" y="699"/>
                    </a:lnTo>
                    <a:lnTo>
                      <a:pt x="138" y="699"/>
                    </a:lnTo>
                    <a:lnTo>
                      <a:pt x="141" y="700"/>
                    </a:lnTo>
                    <a:lnTo>
                      <a:pt x="150" y="705"/>
                    </a:lnTo>
                    <a:lnTo>
                      <a:pt x="159" y="710"/>
                    </a:lnTo>
                    <a:lnTo>
                      <a:pt x="164" y="712"/>
                    </a:lnTo>
                    <a:lnTo>
                      <a:pt x="167" y="716"/>
                    </a:lnTo>
                    <a:lnTo>
                      <a:pt x="171" y="718"/>
                    </a:lnTo>
                    <a:lnTo>
                      <a:pt x="172" y="721"/>
                    </a:lnTo>
                    <a:lnTo>
                      <a:pt x="173" y="728"/>
                    </a:lnTo>
                    <a:lnTo>
                      <a:pt x="177" y="734"/>
                    </a:lnTo>
                    <a:lnTo>
                      <a:pt x="181" y="740"/>
                    </a:lnTo>
                    <a:lnTo>
                      <a:pt x="184" y="743"/>
                    </a:lnTo>
                    <a:lnTo>
                      <a:pt x="196" y="752"/>
                    </a:lnTo>
                    <a:lnTo>
                      <a:pt x="207" y="762"/>
                    </a:lnTo>
                    <a:lnTo>
                      <a:pt x="213" y="772"/>
                    </a:lnTo>
                    <a:lnTo>
                      <a:pt x="219" y="781"/>
                    </a:lnTo>
                    <a:lnTo>
                      <a:pt x="222" y="785"/>
                    </a:lnTo>
                    <a:lnTo>
                      <a:pt x="227" y="787"/>
                    </a:lnTo>
                    <a:lnTo>
                      <a:pt x="230" y="787"/>
                    </a:lnTo>
                    <a:lnTo>
                      <a:pt x="234" y="786"/>
                    </a:lnTo>
                    <a:lnTo>
                      <a:pt x="240" y="780"/>
                    </a:lnTo>
                    <a:lnTo>
                      <a:pt x="246" y="774"/>
                    </a:lnTo>
                    <a:lnTo>
                      <a:pt x="258" y="760"/>
                    </a:lnTo>
                    <a:lnTo>
                      <a:pt x="270" y="746"/>
                    </a:lnTo>
                    <a:lnTo>
                      <a:pt x="279" y="732"/>
                    </a:lnTo>
                    <a:lnTo>
                      <a:pt x="288" y="722"/>
                    </a:lnTo>
                    <a:lnTo>
                      <a:pt x="291" y="717"/>
                    </a:lnTo>
                    <a:lnTo>
                      <a:pt x="296" y="713"/>
                    </a:lnTo>
                    <a:lnTo>
                      <a:pt x="299" y="711"/>
                    </a:lnTo>
                    <a:lnTo>
                      <a:pt x="304" y="709"/>
                    </a:lnTo>
                    <a:lnTo>
                      <a:pt x="308" y="708"/>
                    </a:lnTo>
                    <a:lnTo>
                      <a:pt x="313" y="708"/>
                    </a:lnTo>
                    <a:lnTo>
                      <a:pt x="317" y="710"/>
                    </a:lnTo>
                    <a:lnTo>
                      <a:pt x="322" y="712"/>
                    </a:lnTo>
                    <a:lnTo>
                      <a:pt x="333" y="719"/>
                    </a:lnTo>
                    <a:lnTo>
                      <a:pt x="343" y="730"/>
                    </a:lnTo>
                    <a:lnTo>
                      <a:pt x="348" y="737"/>
                    </a:lnTo>
                    <a:lnTo>
                      <a:pt x="352" y="743"/>
                    </a:lnTo>
                    <a:lnTo>
                      <a:pt x="355" y="750"/>
                    </a:lnTo>
                    <a:lnTo>
                      <a:pt x="356" y="757"/>
                    </a:lnTo>
                    <a:lnTo>
                      <a:pt x="359" y="769"/>
                    </a:lnTo>
                    <a:lnTo>
                      <a:pt x="361" y="776"/>
                    </a:lnTo>
                    <a:lnTo>
                      <a:pt x="364" y="779"/>
                    </a:lnTo>
                    <a:lnTo>
                      <a:pt x="366" y="780"/>
                    </a:lnTo>
                    <a:lnTo>
                      <a:pt x="368" y="781"/>
                    </a:lnTo>
                    <a:lnTo>
                      <a:pt x="372" y="781"/>
                    </a:lnTo>
                    <a:lnTo>
                      <a:pt x="381" y="782"/>
                    </a:lnTo>
                    <a:lnTo>
                      <a:pt x="397" y="782"/>
                    </a:lnTo>
                    <a:lnTo>
                      <a:pt x="416" y="781"/>
                    </a:lnTo>
                    <a:lnTo>
                      <a:pt x="435" y="780"/>
                    </a:lnTo>
                    <a:lnTo>
                      <a:pt x="449" y="779"/>
                    </a:lnTo>
                    <a:lnTo>
                      <a:pt x="455" y="778"/>
                    </a:lnTo>
                    <a:lnTo>
                      <a:pt x="460" y="775"/>
                    </a:lnTo>
                    <a:lnTo>
                      <a:pt x="468" y="774"/>
                    </a:lnTo>
                    <a:lnTo>
                      <a:pt x="471" y="774"/>
                    </a:lnTo>
                    <a:lnTo>
                      <a:pt x="473" y="774"/>
                    </a:lnTo>
                    <a:lnTo>
                      <a:pt x="474" y="775"/>
                    </a:lnTo>
                    <a:lnTo>
                      <a:pt x="477" y="776"/>
                    </a:lnTo>
                    <a:lnTo>
                      <a:pt x="478" y="780"/>
                    </a:lnTo>
                    <a:lnTo>
                      <a:pt x="479" y="785"/>
                    </a:lnTo>
                    <a:lnTo>
                      <a:pt x="480" y="790"/>
                    </a:lnTo>
                    <a:lnTo>
                      <a:pt x="481" y="793"/>
                    </a:lnTo>
                    <a:lnTo>
                      <a:pt x="482" y="794"/>
                    </a:lnTo>
                    <a:lnTo>
                      <a:pt x="484" y="795"/>
                    </a:lnTo>
                    <a:lnTo>
                      <a:pt x="486" y="795"/>
                    </a:lnTo>
                    <a:lnTo>
                      <a:pt x="488" y="795"/>
                    </a:lnTo>
                    <a:lnTo>
                      <a:pt x="496" y="794"/>
                    </a:lnTo>
                    <a:lnTo>
                      <a:pt x="502" y="791"/>
                    </a:lnTo>
                    <a:lnTo>
                      <a:pt x="509" y="785"/>
                    </a:lnTo>
                    <a:lnTo>
                      <a:pt x="518" y="775"/>
                    </a:lnTo>
                    <a:lnTo>
                      <a:pt x="530" y="766"/>
                    </a:lnTo>
                    <a:lnTo>
                      <a:pt x="542" y="756"/>
                    </a:lnTo>
                    <a:lnTo>
                      <a:pt x="555" y="749"/>
                    </a:lnTo>
                    <a:lnTo>
                      <a:pt x="567" y="744"/>
                    </a:lnTo>
                    <a:lnTo>
                      <a:pt x="573" y="743"/>
                    </a:lnTo>
                    <a:lnTo>
                      <a:pt x="579" y="744"/>
                    </a:lnTo>
                    <a:lnTo>
                      <a:pt x="585" y="746"/>
                    </a:lnTo>
                    <a:lnTo>
                      <a:pt x="589" y="748"/>
                    </a:lnTo>
                    <a:lnTo>
                      <a:pt x="600" y="755"/>
                    </a:lnTo>
                    <a:lnTo>
                      <a:pt x="609" y="762"/>
                    </a:lnTo>
                    <a:lnTo>
                      <a:pt x="612" y="765"/>
                    </a:lnTo>
                    <a:lnTo>
                      <a:pt x="614" y="766"/>
                    </a:lnTo>
                    <a:lnTo>
                      <a:pt x="617" y="767"/>
                    </a:lnTo>
                    <a:lnTo>
                      <a:pt x="619" y="766"/>
                    </a:lnTo>
                    <a:lnTo>
                      <a:pt x="622" y="760"/>
                    </a:lnTo>
                    <a:lnTo>
                      <a:pt x="625" y="747"/>
                    </a:lnTo>
                    <a:lnTo>
                      <a:pt x="629" y="732"/>
                    </a:lnTo>
                    <a:lnTo>
                      <a:pt x="632" y="718"/>
                    </a:lnTo>
                    <a:lnTo>
                      <a:pt x="635" y="704"/>
                    </a:lnTo>
                    <a:lnTo>
                      <a:pt x="637" y="689"/>
                    </a:lnTo>
                    <a:lnTo>
                      <a:pt x="638" y="681"/>
                    </a:lnTo>
                    <a:lnTo>
                      <a:pt x="641" y="675"/>
                    </a:lnTo>
                    <a:lnTo>
                      <a:pt x="644" y="671"/>
                    </a:lnTo>
                    <a:lnTo>
                      <a:pt x="649" y="666"/>
                    </a:lnTo>
                    <a:lnTo>
                      <a:pt x="657" y="658"/>
                    </a:lnTo>
                    <a:lnTo>
                      <a:pt x="663" y="649"/>
                    </a:lnTo>
                    <a:lnTo>
                      <a:pt x="666" y="645"/>
                    </a:lnTo>
                    <a:lnTo>
                      <a:pt x="666" y="640"/>
                    </a:lnTo>
                    <a:lnTo>
                      <a:pt x="667" y="635"/>
                    </a:lnTo>
                    <a:lnTo>
                      <a:pt x="666" y="631"/>
                    </a:lnTo>
                    <a:lnTo>
                      <a:pt x="664" y="627"/>
                    </a:lnTo>
                    <a:lnTo>
                      <a:pt x="663" y="623"/>
                    </a:lnTo>
                    <a:lnTo>
                      <a:pt x="661" y="620"/>
                    </a:lnTo>
                    <a:lnTo>
                      <a:pt x="658" y="617"/>
                    </a:lnTo>
                    <a:lnTo>
                      <a:pt x="656" y="615"/>
                    </a:lnTo>
                    <a:lnTo>
                      <a:pt x="656" y="614"/>
                    </a:lnTo>
                    <a:lnTo>
                      <a:pt x="657" y="612"/>
                    </a:lnTo>
                    <a:lnTo>
                      <a:pt x="660" y="612"/>
                    </a:lnTo>
                    <a:lnTo>
                      <a:pt x="666" y="614"/>
                    </a:lnTo>
                    <a:lnTo>
                      <a:pt x="673" y="611"/>
                    </a:lnTo>
                    <a:lnTo>
                      <a:pt x="685" y="607"/>
                    </a:lnTo>
                    <a:lnTo>
                      <a:pt x="699" y="601"/>
                    </a:lnTo>
                    <a:lnTo>
                      <a:pt x="712" y="596"/>
                    </a:lnTo>
                    <a:lnTo>
                      <a:pt x="724" y="592"/>
                    </a:lnTo>
                    <a:lnTo>
                      <a:pt x="729" y="592"/>
                    </a:lnTo>
                    <a:lnTo>
                      <a:pt x="732" y="592"/>
                    </a:lnTo>
                    <a:lnTo>
                      <a:pt x="737" y="592"/>
                    </a:lnTo>
                    <a:lnTo>
                      <a:pt x="740" y="595"/>
                    </a:lnTo>
                    <a:lnTo>
                      <a:pt x="748" y="598"/>
                    </a:lnTo>
                    <a:lnTo>
                      <a:pt x="756" y="605"/>
                    </a:lnTo>
                    <a:lnTo>
                      <a:pt x="773" y="620"/>
                    </a:lnTo>
                    <a:lnTo>
                      <a:pt x="786" y="633"/>
                    </a:lnTo>
                    <a:lnTo>
                      <a:pt x="789" y="635"/>
                    </a:lnTo>
                    <a:lnTo>
                      <a:pt x="793" y="637"/>
                    </a:lnTo>
                    <a:lnTo>
                      <a:pt x="795" y="639"/>
                    </a:lnTo>
                    <a:lnTo>
                      <a:pt x="799" y="639"/>
                    </a:lnTo>
                    <a:lnTo>
                      <a:pt x="802" y="639"/>
                    </a:lnTo>
                    <a:lnTo>
                      <a:pt x="806" y="639"/>
                    </a:lnTo>
                    <a:lnTo>
                      <a:pt x="809" y="637"/>
                    </a:lnTo>
                    <a:lnTo>
                      <a:pt x="814" y="635"/>
                    </a:lnTo>
                    <a:lnTo>
                      <a:pt x="822" y="630"/>
                    </a:lnTo>
                    <a:lnTo>
                      <a:pt x="830" y="628"/>
                    </a:lnTo>
                    <a:lnTo>
                      <a:pt x="839" y="626"/>
                    </a:lnTo>
                    <a:lnTo>
                      <a:pt x="850" y="624"/>
                    </a:lnTo>
                    <a:lnTo>
                      <a:pt x="862" y="624"/>
                    </a:lnTo>
                    <a:lnTo>
                      <a:pt x="871" y="622"/>
                    </a:lnTo>
                    <a:lnTo>
                      <a:pt x="881" y="620"/>
                    </a:lnTo>
                    <a:lnTo>
                      <a:pt x="889" y="617"/>
                    </a:lnTo>
                    <a:lnTo>
                      <a:pt x="896" y="616"/>
                    </a:lnTo>
                    <a:lnTo>
                      <a:pt x="903" y="615"/>
                    </a:lnTo>
                    <a:lnTo>
                      <a:pt x="910" y="614"/>
                    </a:lnTo>
                    <a:lnTo>
                      <a:pt x="920" y="614"/>
                    </a:lnTo>
                    <a:lnTo>
                      <a:pt x="931" y="614"/>
                    </a:lnTo>
                    <a:lnTo>
                      <a:pt x="941" y="612"/>
                    </a:lnTo>
                    <a:lnTo>
                      <a:pt x="952" y="610"/>
                    </a:lnTo>
                    <a:lnTo>
                      <a:pt x="963" y="605"/>
                    </a:lnTo>
                    <a:lnTo>
                      <a:pt x="972" y="599"/>
                    </a:lnTo>
                    <a:lnTo>
                      <a:pt x="979" y="597"/>
                    </a:lnTo>
                    <a:lnTo>
                      <a:pt x="983" y="596"/>
                    </a:lnTo>
                    <a:lnTo>
                      <a:pt x="985" y="597"/>
                    </a:lnTo>
                    <a:lnTo>
                      <a:pt x="990" y="598"/>
                    </a:lnTo>
                    <a:lnTo>
                      <a:pt x="994" y="601"/>
                    </a:lnTo>
                    <a:lnTo>
                      <a:pt x="1002" y="605"/>
                    </a:lnTo>
                    <a:lnTo>
                      <a:pt x="1010" y="609"/>
                    </a:lnTo>
                    <a:lnTo>
                      <a:pt x="1015" y="610"/>
                    </a:lnTo>
                    <a:lnTo>
                      <a:pt x="1020" y="610"/>
                    </a:lnTo>
                    <a:lnTo>
                      <a:pt x="1025" y="610"/>
                    </a:lnTo>
                    <a:lnTo>
                      <a:pt x="1031" y="609"/>
                    </a:lnTo>
                    <a:lnTo>
                      <a:pt x="1039" y="605"/>
                    </a:lnTo>
                    <a:lnTo>
                      <a:pt x="1048" y="601"/>
                    </a:lnTo>
                    <a:lnTo>
                      <a:pt x="1052" y="598"/>
                    </a:lnTo>
                    <a:lnTo>
                      <a:pt x="1054" y="596"/>
                    </a:lnTo>
                    <a:lnTo>
                      <a:pt x="1057" y="593"/>
                    </a:lnTo>
                    <a:lnTo>
                      <a:pt x="1058" y="591"/>
                    </a:lnTo>
                    <a:lnTo>
                      <a:pt x="1058" y="586"/>
                    </a:lnTo>
                    <a:lnTo>
                      <a:pt x="1058" y="579"/>
                    </a:lnTo>
                    <a:lnTo>
                      <a:pt x="1058" y="563"/>
                    </a:lnTo>
                    <a:lnTo>
                      <a:pt x="1059" y="545"/>
                    </a:lnTo>
                    <a:lnTo>
                      <a:pt x="1058" y="530"/>
                    </a:lnTo>
                    <a:lnTo>
                      <a:pt x="1055" y="521"/>
                    </a:lnTo>
                    <a:lnTo>
                      <a:pt x="1053" y="516"/>
                    </a:lnTo>
                    <a:lnTo>
                      <a:pt x="1051" y="514"/>
                    </a:lnTo>
                    <a:lnTo>
                      <a:pt x="1048" y="511"/>
                    </a:lnTo>
                    <a:lnTo>
                      <a:pt x="1045" y="510"/>
                    </a:lnTo>
                    <a:lnTo>
                      <a:pt x="1041" y="509"/>
                    </a:lnTo>
                    <a:lnTo>
                      <a:pt x="1038" y="507"/>
                    </a:lnTo>
                    <a:lnTo>
                      <a:pt x="1035" y="505"/>
                    </a:lnTo>
                    <a:lnTo>
                      <a:pt x="1034" y="502"/>
                    </a:lnTo>
                    <a:lnTo>
                      <a:pt x="1033" y="498"/>
                    </a:lnTo>
                    <a:lnTo>
                      <a:pt x="1032" y="494"/>
                    </a:lnTo>
                    <a:lnTo>
                      <a:pt x="1033" y="489"/>
                    </a:lnTo>
                    <a:lnTo>
                      <a:pt x="1034" y="482"/>
                    </a:lnTo>
                    <a:lnTo>
                      <a:pt x="1035" y="476"/>
                    </a:lnTo>
                    <a:lnTo>
                      <a:pt x="1035" y="472"/>
                    </a:lnTo>
                    <a:lnTo>
                      <a:pt x="1034" y="470"/>
                    </a:lnTo>
                    <a:lnTo>
                      <a:pt x="1031" y="466"/>
                    </a:lnTo>
                    <a:lnTo>
                      <a:pt x="1023" y="459"/>
                    </a:lnTo>
                    <a:lnTo>
                      <a:pt x="1019" y="452"/>
                    </a:lnTo>
                    <a:lnTo>
                      <a:pt x="1015" y="447"/>
                    </a:lnTo>
                    <a:lnTo>
                      <a:pt x="1009" y="442"/>
                    </a:lnTo>
                    <a:lnTo>
                      <a:pt x="1006" y="440"/>
                    </a:lnTo>
                    <a:lnTo>
                      <a:pt x="1001" y="439"/>
                    </a:lnTo>
                    <a:lnTo>
                      <a:pt x="996" y="439"/>
                    </a:lnTo>
                    <a:lnTo>
                      <a:pt x="990" y="439"/>
                    </a:lnTo>
                    <a:lnTo>
                      <a:pt x="976" y="442"/>
                    </a:lnTo>
                    <a:lnTo>
                      <a:pt x="963" y="446"/>
                    </a:lnTo>
                    <a:lnTo>
                      <a:pt x="950" y="450"/>
                    </a:lnTo>
                    <a:lnTo>
                      <a:pt x="938" y="452"/>
                    </a:lnTo>
                    <a:lnTo>
                      <a:pt x="929" y="453"/>
                    </a:lnTo>
                    <a:lnTo>
                      <a:pt x="921" y="452"/>
                    </a:lnTo>
                    <a:lnTo>
                      <a:pt x="913" y="451"/>
                    </a:lnTo>
                    <a:lnTo>
                      <a:pt x="904" y="450"/>
                    </a:lnTo>
                    <a:lnTo>
                      <a:pt x="897" y="447"/>
                    </a:lnTo>
                    <a:lnTo>
                      <a:pt x="890" y="445"/>
                    </a:lnTo>
                    <a:lnTo>
                      <a:pt x="885" y="441"/>
                    </a:lnTo>
                    <a:lnTo>
                      <a:pt x="882" y="438"/>
                    </a:lnTo>
                    <a:lnTo>
                      <a:pt x="881" y="433"/>
                    </a:lnTo>
                    <a:lnTo>
                      <a:pt x="882" y="428"/>
                    </a:lnTo>
                    <a:lnTo>
                      <a:pt x="882" y="422"/>
                    </a:lnTo>
                    <a:lnTo>
                      <a:pt x="883" y="416"/>
                    </a:lnTo>
                    <a:lnTo>
                      <a:pt x="884" y="410"/>
                    </a:lnTo>
                    <a:lnTo>
                      <a:pt x="884" y="404"/>
                    </a:lnTo>
                    <a:lnTo>
                      <a:pt x="884" y="399"/>
                    </a:lnTo>
                    <a:lnTo>
                      <a:pt x="882" y="391"/>
                    </a:lnTo>
                    <a:lnTo>
                      <a:pt x="874" y="379"/>
                    </a:lnTo>
                    <a:lnTo>
                      <a:pt x="864" y="368"/>
                    </a:lnTo>
                    <a:lnTo>
                      <a:pt x="856" y="359"/>
                    </a:lnTo>
                    <a:lnTo>
                      <a:pt x="850" y="356"/>
                    </a:lnTo>
                    <a:lnTo>
                      <a:pt x="845" y="355"/>
                    </a:lnTo>
                    <a:lnTo>
                      <a:pt x="841" y="356"/>
                    </a:lnTo>
                    <a:lnTo>
                      <a:pt x="838" y="359"/>
                    </a:lnTo>
                    <a:lnTo>
                      <a:pt x="834" y="365"/>
                    </a:lnTo>
                    <a:lnTo>
                      <a:pt x="833" y="369"/>
                    </a:lnTo>
                    <a:lnTo>
                      <a:pt x="831" y="371"/>
                    </a:lnTo>
                    <a:lnTo>
                      <a:pt x="827" y="372"/>
                    </a:lnTo>
                    <a:lnTo>
                      <a:pt x="824" y="374"/>
                    </a:lnTo>
                    <a:lnTo>
                      <a:pt x="819" y="374"/>
                    </a:lnTo>
                    <a:lnTo>
                      <a:pt x="815" y="372"/>
                    </a:lnTo>
                    <a:lnTo>
                      <a:pt x="811" y="370"/>
                    </a:lnTo>
                    <a:lnTo>
                      <a:pt x="807" y="366"/>
                    </a:lnTo>
                    <a:lnTo>
                      <a:pt x="803" y="362"/>
                    </a:lnTo>
                    <a:lnTo>
                      <a:pt x="801" y="356"/>
                    </a:lnTo>
                    <a:lnTo>
                      <a:pt x="799" y="349"/>
                    </a:lnTo>
                    <a:lnTo>
                      <a:pt x="796" y="341"/>
                    </a:lnTo>
                    <a:lnTo>
                      <a:pt x="794" y="325"/>
                    </a:lnTo>
                    <a:lnTo>
                      <a:pt x="793" y="307"/>
                    </a:lnTo>
                    <a:lnTo>
                      <a:pt x="792" y="299"/>
                    </a:lnTo>
                    <a:lnTo>
                      <a:pt x="793" y="293"/>
                    </a:lnTo>
                    <a:lnTo>
                      <a:pt x="793" y="286"/>
                    </a:lnTo>
                    <a:lnTo>
                      <a:pt x="794" y="281"/>
                    </a:lnTo>
                    <a:lnTo>
                      <a:pt x="796" y="276"/>
                    </a:lnTo>
                    <a:lnTo>
                      <a:pt x="799" y="273"/>
                    </a:lnTo>
                    <a:lnTo>
                      <a:pt x="802" y="269"/>
                    </a:lnTo>
                    <a:lnTo>
                      <a:pt x="806" y="267"/>
                    </a:lnTo>
                    <a:lnTo>
                      <a:pt x="817" y="251"/>
                    </a:lnTo>
                    <a:lnTo>
                      <a:pt x="828" y="232"/>
                    </a:lnTo>
                    <a:lnTo>
                      <a:pt x="832" y="229"/>
                    </a:lnTo>
                    <a:lnTo>
                      <a:pt x="837" y="226"/>
                    </a:lnTo>
                    <a:lnTo>
                      <a:pt x="841" y="226"/>
                    </a:lnTo>
                    <a:lnTo>
                      <a:pt x="845" y="226"/>
                    </a:lnTo>
                    <a:lnTo>
                      <a:pt x="853" y="230"/>
                    </a:lnTo>
                    <a:lnTo>
                      <a:pt x="861" y="234"/>
                    </a:lnTo>
                    <a:lnTo>
                      <a:pt x="864" y="236"/>
                    </a:lnTo>
                    <a:lnTo>
                      <a:pt x="870" y="237"/>
                    </a:lnTo>
                    <a:lnTo>
                      <a:pt x="876" y="238"/>
                    </a:lnTo>
                    <a:lnTo>
                      <a:pt x="883" y="238"/>
                    </a:lnTo>
                    <a:lnTo>
                      <a:pt x="889" y="236"/>
                    </a:lnTo>
                    <a:lnTo>
                      <a:pt x="895" y="232"/>
                    </a:lnTo>
                    <a:lnTo>
                      <a:pt x="897" y="230"/>
                    </a:lnTo>
                    <a:lnTo>
                      <a:pt x="900" y="227"/>
                    </a:lnTo>
                    <a:lnTo>
                      <a:pt x="901" y="224"/>
                    </a:lnTo>
                    <a:lnTo>
                      <a:pt x="902" y="220"/>
                    </a:lnTo>
                    <a:lnTo>
                      <a:pt x="904" y="212"/>
                    </a:lnTo>
                    <a:lnTo>
                      <a:pt x="907" y="204"/>
                    </a:lnTo>
                    <a:lnTo>
                      <a:pt x="910" y="196"/>
                    </a:lnTo>
                    <a:lnTo>
                      <a:pt x="913" y="189"/>
                    </a:lnTo>
                    <a:lnTo>
                      <a:pt x="918" y="183"/>
                    </a:lnTo>
                    <a:lnTo>
                      <a:pt x="921" y="177"/>
                    </a:lnTo>
                    <a:lnTo>
                      <a:pt x="925" y="173"/>
                    </a:lnTo>
                    <a:lnTo>
                      <a:pt x="929" y="170"/>
                    </a:lnTo>
                    <a:lnTo>
                      <a:pt x="933" y="168"/>
                    </a:lnTo>
                    <a:lnTo>
                      <a:pt x="938" y="168"/>
                    </a:lnTo>
                    <a:lnTo>
                      <a:pt x="943" y="168"/>
                    </a:lnTo>
                    <a:lnTo>
                      <a:pt x="946" y="170"/>
                    </a:lnTo>
                    <a:lnTo>
                      <a:pt x="951" y="174"/>
                    </a:lnTo>
                    <a:lnTo>
                      <a:pt x="956" y="177"/>
                    </a:lnTo>
                    <a:lnTo>
                      <a:pt x="959" y="182"/>
                    </a:lnTo>
                    <a:lnTo>
                      <a:pt x="962" y="188"/>
                    </a:lnTo>
                    <a:lnTo>
                      <a:pt x="969" y="200"/>
                    </a:lnTo>
                    <a:lnTo>
                      <a:pt x="976" y="211"/>
                    </a:lnTo>
                    <a:lnTo>
                      <a:pt x="979" y="215"/>
                    </a:lnTo>
                    <a:lnTo>
                      <a:pt x="983" y="219"/>
                    </a:lnTo>
                    <a:lnTo>
                      <a:pt x="988" y="223"/>
                    </a:lnTo>
                    <a:lnTo>
                      <a:pt x="992" y="225"/>
                    </a:lnTo>
                    <a:lnTo>
                      <a:pt x="1001" y="230"/>
                    </a:lnTo>
                    <a:lnTo>
                      <a:pt x="1007" y="236"/>
                    </a:lnTo>
                    <a:lnTo>
                      <a:pt x="1013" y="243"/>
                    </a:lnTo>
                    <a:lnTo>
                      <a:pt x="1017" y="250"/>
                    </a:lnTo>
                    <a:lnTo>
                      <a:pt x="1023" y="257"/>
                    </a:lnTo>
                    <a:lnTo>
                      <a:pt x="1031" y="262"/>
                    </a:lnTo>
                    <a:lnTo>
                      <a:pt x="1039" y="268"/>
                    </a:lnTo>
                    <a:lnTo>
                      <a:pt x="1048" y="273"/>
                    </a:lnTo>
                    <a:lnTo>
                      <a:pt x="1058" y="278"/>
                    </a:lnTo>
                    <a:lnTo>
                      <a:pt x="1063" y="284"/>
                    </a:lnTo>
                    <a:lnTo>
                      <a:pt x="1067" y="292"/>
                    </a:lnTo>
                    <a:lnTo>
                      <a:pt x="1071" y="297"/>
                    </a:lnTo>
                    <a:lnTo>
                      <a:pt x="1073" y="300"/>
                    </a:lnTo>
                    <a:lnTo>
                      <a:pt x="1077" y="302"/>
                    </a:lnTo>
                    <a:lnTo>
                      <a:pt x="1080" y="302"/>
                    </a:lnTo>
                    <a:lnTo>
                      <a:pt x="1084" y="302"/>
                    </a:lnTo>
                    <a:lnTo>
                      <a:pt x="1086" y="301"/>
                    </a:lnTo>
                    <a:lnTo>
                      <a:pt x="1089" y="299"/>
                    </a:lnTo>
                    <a:lnTo>
                      <a:pt x="1090" y="295"/>
                    </a:lnTo>
                    <a:lnTo>
                      <a:pt x="1091" y="290"/>
                    </a:lnTo>
                    <a:lnTo>
                      <a:pt x="1090" y="280"/>
                    </a:lnTo>
                    <a:lnTo>
                      <a:pt x="1088" y="269"/>
                    </a:lnTo>
                    <a:lnTo>
                      <a:pt x="1086" y="262"/>
                    </a:lnTo>
                    <a:lnTo>
                      <a:pt x="1085" y="256"/>
                    </a:lnTo>
                    <a:lnTo>
                      <a:pt x="1084" y="252"/>
                    </a:lnTo>
                    <a:lnTo>
                      <a:pt x="1084" y="251"/>
                    </a:lnTo>
                    <a:lnTo>
                      <a:pt x="1085" y="252"/>
                    </a:lnTo>
                    <a:lnTo>
                      <a:pt x="1091" y="253"/>
                    </a:lnTo>
                    <a:lnTo>
                      <a:pt x="1096" y="256"/>
                    </a:lnTo>
                    <a:lnTo>
                      <a:pt x="1102" y="259"/>
                    </a:lnTo>
                    <a:lnTo>
                      <a:pt x="1114" y="267"/>
                    </a:lnTo>
                    <a:lnTo>
                      <a:pt x="1124" y="274"/>
                    </a:lnTo>
                    <a:lnTo>
                      <a:pt x="1126" y="274"/>
                    </a:lnTo>
                    <a:lnTo>
                      <a:pt x="1128" y="274"/>
                    </a:lnTo>
                    <a:lnTo>
                      <a:pt x="1129" y="273"/>
                    </a:lnTo>
                    <a:lnTo>
                      <a:pt x="1130" y="270"/>
                    </a:lnTo>
                    <a:lnTo>
                      <a:pt x="1132" y="264"/>
                    </a:lnTo>
                    <a:lnTo>
                      <a:pt x="1132" y="255"/>
                    </a:lnTo>
                    <a:lnTo>
                      <a:pt x="1132" y="245"/>
                    </a:lnTo>
                    <a:lnTo>
                      <a:pt x="1133" y="237"/>
                    </a:lnTo>
                    <a:lnTo>
                      <a:pt x="1135" y="230"/>
                    </a:lnTo>
                    <a:lnTo>
                      <a:pt x="1139" y="224"/>
                    </a:lnTo>
                    <a:lnTo>
                      <a:pt x="1141" y="220"/>
                    </a:lnTo>
                    <a:lnTo>
                      <a:pt x="1142" y="217"/>
                    </a:lnTo>
                    <a:lnTo>
                      <a:pt x="1143" y="212"/>
                    </a:lnTo>
                    <a:lnTo>
                      <a:pt x="1143" y="207"/>
                    </a:lnTo>
                    <a:lnTo>
                      <a:pt x="1142" y="202"/>
                    </a:lnTo>
                    <a:lnTo>
                      <a:pt x="1141" y="196"/>
                    </a:lnTo>
                    <a:lnTo>
                      <a:pt x="1139" y="192"/>
                    </a:lnTo>
                    <a:lnTo>
                      <a:pt x="1136" y="186"/>
                    </a:lnTo>
                    <a:lnTo>
                      <a:pt x="1129" y="174"/>
                    </a:lnTo>
                    <a:lnTo>
                      <a:pt x="1122" y="163"/>
                    </a:lnTo>
                    <a:lnTo>
                      <a:pt x="1116" y="154"/>
                    </a:lnTo>
                    <a:lnTo>
                      <a:pt x="1113" y="144"/>
                    </a:lnTo>
                    <a:lnTo>
                      <a:pt x="1113" y="141"/>
                    </a:lnTo>
                    <a:lnTo>
                      <a:pt x="1114" y="138"/>
                    </a:lnTo>
                    <a:lnTo>
                      <a:pt x="1115" y="136"/>
                    </a:lnTo>
                    <a:lnTo>
                      <a:pt x="1117" y="133"/>
                    </a:lnTo>
                    <a:lnTo>
                      <a:pt x="1120" y="133"/>
                    </a:lnTo>
                    <a:lnTo>
                      <a:pt x="1123" y="135"/>
                    </a:lnTo>
                    <a:lnTo>
                      <a:pt x="1128" y="137"/>
                    </a:lnTo>
                    <a:lnTo>
                      <a:pt x="1133" y="141"/>
                    </a:lnTo>
                    <a:lnTo>
                      <a:pt x="1141" y="149"/>
                    </a:lnTo>
                    <a:lnTo>
                      <a:pt x="1147" y="157"/>
                    </a:lnTo>
                    <a:lnTo>
                      <a:pt x="1149" y="162"/>
                    </a:lnTo>
                    <a:lnTo>
                      <a:pt x="1151" y="167"/>
                    </a:lnTo>
                    <a:lnTo>
                      <a:pt x="1152" y="171"/>
                    </a:lnTo>
                    <a:lnTo>
                      <a:pt x="1153" y="176"/>
                    </a:lnTo>
                    <a:lnTo>
                      <a:pt x="1153" y="186"/>
                    </a:lnTo>
                    <a:lnTo>
                      <a:pt x="1154" y="192"/>
                    </a:lnTo>
                    <a:lnTo>
                      <a:pt x="1155" y="194"/>
                    </a:lnTo>
                    <a:lnTo>
                      <a:pt x="1158" y="196"/>
                    </a:lnTo>
                    <a:lnTo>
                      <a:pt x="1160" y="198"/>
                    </a:lnTo>
                    <a:lnTo>
                      <a:pt x="1164" y="199"/>
                    </a:lnTo>
                    <a:lnTo>
                      <a:pt x="1173" y="202"/>
                    </a:lnTo>
                    <a:lnTo>
                      <a:pt x="1183" y="207"/>
                    </a:lnTo>
                    <a:lnTo>
                      <a:pt x="1186" y="211"/>
                    </a:lnTo>
                    <a:lnTo>
                      <a:pt x="1189" y="215"/>
                    </a:lnTo>
                    <a:lnTo>
                      <a:pt x="1190" y="223"/>
                    </a:lnTo>
                    <a:lnTo>
                      <a:pt x="1187" y="230"/>
                    </a:lnTo>
                    <a:lnTo>
                      <a:pt x="1181" y="246"/>
                    </a:lnTo>
                    <a:lnTo>
                      <a:pt x="1176" y="261"/>
                    </a:lnTo>
                    <a:lnTo>
                      <a:pt x="1171" y="271"/>
                    </a:lnTo>
                    <a:lnTo>
                      <a:pt x="1170" y="280"/>
                    </a:lnTo>
                    <a:lnTo>
                      <a:pt x="1170" y="283"/>
                    </a:lnTo>
                    <a:lnTo>
                      <a:pt x="1170" y="286"/>
                    </a:lnTo>
                    <a:lnTo>
                      <a:pt x="1171" y="288"/>
                    </a:lnTo>
                    <a:lnTo>
                      <a:pt x="1172" y="289"/>
                    </a:lnTo>
                    <a:lnTo>
                      <a:pt x="1177" y="290"/>
                    </a:lnTo>
                    <a:lnTo>
                      <a:pt x="1183" y="292"/>
                    </a:lnTo>
                    <a:lnTo>
                      <a:pt x="1190" y="293"/>
                    </a:lnTo>
                    <a:lnTo>
                      <a:pt x="1196" y="294"/>
                    </a:lnTo>
                    <a:lnTo>
                      <a:pt x="1202" y="296"/>
                    </a:lnTo>
                    <a:lnTo>
                      <a:pt x="1208" y="301"/>
                    </a:lnTo>
                    <a:lnTo>
                      <a:pt x="1210" y="303"/>
                    </a:lnTo>
                    <a:lnTo>
                      <a:pt x="1211" y="305"/>
                    </a:lnTo>
                    <a:lnTo>
                      <a:pt x="1214" y="305"/>
                    </a:lnTo>
                    <a:lnTo>
                      <a:pt x="1216" y="303"/>
                    </a:lnTo>
                    <a:lnTo>
                      <a:pt x="1222" y="299"/>
                    </a:lnTo>
                    <a:lnTo>
                      <a:pt x="1228" y="293"/>
                    </a:lnTo>
                    <a:lnTo>
                      <a:pt x="1234" y="284"/>
                    </a:lnTo>
                    <a:lnTo>
                      <a:pt x="1237" y="276"/>
                    </a:lnTo>
                    <a:lnTo>
                      <a:pt x="1239" y="271"/>
                    </a:lnTo>
                    <a:lnTo>
                      <a:pt x="1239" y="267"/>
                    </a:lnTo>
                    <a:lnTo>
                      <a:pt x="1239" y="263"/>
                    </a:lnTo>
                    <a:lnTo>
                      <a:pt x="1237" y="258"/>
                    </a:lnTo>
                    <a:lnTo>
                      <a:pt x="1235" y="253"/>
                    </a:lnTo>
                    <a:lnTo>
                      <a:pt x="1234" y="248"/>
                    </a:lnTo>
                    <a:lnTo>
                      <a:pt x="1233" y="242"/>
                    </a:lnTo>
                    <a:lnTo>
                      <a:pt x="1233" y="236"/>
                    </a:lnTo>
                    <a:lnTo>
                      <a:pt x="1234" y="230"/>
                    </a:lnTo>
                    <a:lnTo>
                      <a:pt x="1236" y="223"/>
                    </a:lnTo>
                    <a:lnTo>
                      <a:pt x="1239" y="217"/>
                    </a:lnTo>
                    <a:lnTo>
                      <a:pt x="1242" y="210"/>
                    </a:lnTo>
                    <a:lnTo>
                      <a:pt x="1253" y="195"/>
                    </a:lnTo>
                    <a:lnTo>
                      <a:pt x="1262" y="182"/>
                    </a:lnTo>
                    <a:lnTo>
                      <a:pt x="1271" y="171"/>
                    </a:lnTo>
                    <a:lnTo>
                      <a:pt x="1278" y="167"/>
                    </a:lnTo>
                    <a:lnTo>
                      <a:pt x="1283" y="164"/>
                    </a:lnTo>
                    <a:lnTo>
                      <a:pt x="1287" y="163"/>
                    </a:lnTo>
                    <a:lnTo>
                      <a:pt x="1290" y="163"/>
                    </a:lnTo>
                    <a:lnTo>
                      <a:pt x="1292" y="166"/>
                    </a:lnTo>
                    <a:lnTo>
                      <a:pt x="1296" y="167"/>
                    </a:lnTo>
                    <a:lnTo>
                      <a:pt x="1298" y="170"/>
                    </a:lnTo>
                    <a:lnTo>
                      <a:pt x="1302" y="174"/>
                    </a:lnTo>
                    <a:lnTo>
                      <a:pt x="1304" y="176"/>
                    </a:lnTo>
                    <a:lnTo>
                      <a:pt x="1307" y="179"/>
                    </a:lnTo>
                    <a:lnTo>
                      <a:pt x="1310" y="179"/>
                    </a:lnTo>
                    <a:lnTo>
                      <a:pt x="1312" y="177"/>
                    </a:lnTo>
                    <a:lnTo>
                      <a:pt x="1315" y="175"/>
                    </a:lnTo>
                    <a:lnTo>
                      <a:pt x="1315" y="170"/>
                    </a:lnTo>
                    <a:lnTo>
                      <a:pt x="1315" y="163"/>
                    </a:lnTo>
                    <a:lnTo>
                      <a:pt x="1313" y="151"/>
                    </a:lnTo>
                    <a:lnTo>
                      <a:pt x="1315" y="143"/>
                    </a:lnTo>
                    <a:lnTo>
                      <a:pt x="1316" y="141"/>
                    </a:lnTo>
                    <a:lnTo>
                      <a:pt x="1318" y="137"/>
                    </a:lnTo>
                    <a:lnTo>
                      <a:pt x="1322" y="136"/>
                    </a:lnTo>
                    <a:lnTo>
                      <a:pt x="1325" y="135"/>
                    </a:lnTo>
                    <a:lnTo>
                      <a:pt x="1331" y="133"/>
                    </a:lnTo>
                    <a:lnTo>
                      <a:pt x="1338" y="135"/>
                    </a:lnTo>
                    <a:lnTo>
                      <a:pt x="1354" y="136"/>
                    </a:lnTo>
                    <a:lnTo>
                      <a:pt x="1369" y="139"/>
                    </a:lnTo>
                    <a:lnTo>
                      <a:pt x="1382" y="143"/>
                    </a:lnTo>
                    <a:lnTo>
                      <a:pt x="1392" y="148"/>
                    </a:lnTo>
                    <a:lnTo>
                      <a:pt x="1399" y="152"/>
                    </a:lnTo>
                    <a:lnTo>
                      <a:pt x="1403" y="158"/>
                    </a:lnTo>
                    <a:lnTo>
                      <a:pt x="1405" y="163"/>
                    </a:lnTo>
                    <a:lnTo>
                      <a:pt x="1407" y="170"/>
                    </a:lnTo>
                    <a:lnTo>
                      <a:pt x="1409" y="173"/>
                    </a:lnTo>
                    <a:lnTo>
                      <a:pt x="1411" y="176"/>
                    </a:lnTo>
                    <a:lnTo>
                      <a:pt x="1413" y="177"/>
                    </a:lnTo>
                    <a:lnTo>
                      <a:pt x="1416" y="179"/>
                    </a:lnTo>
                    <a:lnTo>
                      <a:pt x="1417" y="180"/>
                    </a:lnTo>
                    <a:lnTo>
                      <a:pt x="1418" y="180"/>
                    </a:lnTo>
                    <a:lnTo>
                      <a:pt x="1419" y="179"/>
                    </a:lnTo>
                    <a:lnTo>
                      <a:pt x="1422" y="179"/>
                    </a:lnTo>
                    <a:lnTo>
                      <a:pt x="1423" y="179"/>
                    </a:lnTo>
                    <a:lnTo>
                      <a:pt x="1425" y="177"/>
                    </a:lnTo>
                    <a:lnTo>
                      <a:pt x="1426" y="177"/>
                    </a:lnTo>
                    <a:lnTo>
                      <a:pt x="1428" y="176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1" name="组合 50"/>
              <p:cNvGrpSpPr/>
              <p:nvPr/>
            </p:nvGrpSpPr>
            <p:grpSpPr>
              <a:xfrm>
                <a:off x="5507484" y="5618739"/>
                <a:ext cx="78932" cy="65777"/>
                <a:chOff x="5507484" y="5627366"/>
                <a:chExt cx="78932" cy="65777"/>
              </a:xfrm>
              <a:solidFill>
                <a:srgbClr val="0070BC"/>
              </a:solidFill>
            </p:grpSpPr>
            <p:sp>
              <p:nvSpPr>
                <p:cNvPr id="98" name="Freeform 75"/>
                <p:cNvSpPr>
                  <a:spLocks noEditPoints="1"/>
                </p:cNvSpPr>
                <p:nvPr>
                  <p:custDataLst>
                    <p:tags r:id="rId90"/>
                  </p:custDataLst>
                </p:nvPr>
              </p:nvSpPr>
              <p:spPr bwMode="auto">
                <a:xfrm>
                  <a:off x="5507484" y="5627366"/>
                  <a:ext cx="78932" cy="65777"/>
                </a:xfrm>
                <a:custGeom>
                  <a:avLst/>
                  <a:gdLst>
                    <a:gd name="T0" fmla="*/ 154 w 213"/>
                    <a:gd name="T1" fmla="*/ 3 h 153"/>
                    <a:gd name="T2" fmla="*/ 166 w 213"/>
                    <a:gd name="T3" fmla="*/ 5 h 153"/>
                    <a:gd name="T4" fmla="*/ 175 w 213"/>
                    <a:gd name="T5" fmla="*/ 13 h 153"/>
                    <a:gd name="T6" fmla="*/ 182 w 213"/>
                    <a:gd name="T7" fmla="*/ 17 h 153"/>
                    <a:gd name="T8" fmla="*/ 162 w 213"/>
                    <a:gd name="T9" fmla="*/ 26 h 153"/>
                    <a:gd name="T10" fmla="*/ 132 w 213"/>
                    <a:gd name="T11" fmla="*/ 33 h 153"/>
                    <a:gd name="T12" fmla="*/ 135 w 213"/>
                    <a:gd name="T13" fmla="*/ 43 h 153"/>
                    <a:gd name="T14" fmla="*/ 141 w 213"/>
                    <a:gd name="T15" fmla="*/ 55 h 153"/>
                    <a:gd name="T16" fmla="*/ 151 w 213"/>
                    <a:gd name="T17" fmla="*/ 46 h 153"/>
                    <a:gd name="T18" fmla="*/ 169 w 213"/>
                    <a:gd name="T19" fmla="*/ 40 h 153"/>
                    <a:gd name="T20" fmla="*/ 180 w 213"/>
                    <a:gd name="T21" fmla="*/ 29 h 153"/>
                    <a:gd name="T22" fmla="*/ 189 w 213"/>
                    <a:gd name="T23" fmla="*/ 28 h 153"/>
                    <a:gd name="T24" fmla="*/ 195 w 213"/>
                    <a:gd name="T25" fmla="*/ 38 h 153"/>
                    <a:gd name="T26" fmla="*/ 200 w 213"/>
                    <a:gd name="T27" fmla="*/ 41 h 153"/>
                    <a:gd name="T28" fmla="*/ 209 w 213"/>
                    <a:gd name="T29" fmla="*/ 34 h 153"/>
                    <a:gd name="T30" fmla="*/ 212 w 213"/>
                    <a:gd name="T31" fmla="*/ 46 h 153"/>
                    <a:gd name="T32" fmla="*/ 204 w 213"/>
                    <a:gd name="T33" fmla="*/ 63 h 153"/>
                    <a:gd name="T34" fmla="*/ 188 w 213"/>
                    <a:gd name="T35" fmla="*/ 60 h 153"/>
                    <a:gd name="T36" fmla="*/ 168 w 213"/>
                    <a:gd name="T37" fmla="*/ 60 h 153"/>
                    <a:gd name="T38" fmla="*/ 167 w 213"/>
                    <a:gd name="T39" fmla="*/ 78 h 153"/>
                    <a:gd name="T40" fmla="*/ 177 w 213"/>
                    <a:gd name="T41" fmla="*/ 89 h 153"/>
                    <a:gd name="T42" fmla="*/ 183 w 213"/>
                    <a:gd name="T43" fmla="*/ 117 h 153"/>
                    <a:gd name="T44" fmla="*/ 179 w 213"/>
                    <a:gd name="T45" fmla="*/ 118 h 153"/>
                    <a:gd name="T46" fmla="*/ 170 w 213"/>
                    <a:gd name="T47" fmla="*/ 102 h 153"/>
                    <a:gd name="T48" fmla="*/ 158 w 213"/>
                    <a:gd name="T49" fmla="*/ 105 h 153"/>
                    <a:gd name="T50" fmla="*/ 162 w 213"/>
                    <a:gd name="T51" fmla="*/ 133 h 153"/>
                    <a:gd name="T52" fmla="*/ 149 w 213"/>
                    <a:gd name="T53" fmla="*/ 146 h 153"/>
                    <a:gd name="T54" fmla="*/ 126 w 213"/>
                    <a:gd name="T55" fmla="*/ 141 h 153"/>
                    <a:gd name="T56" fmla="*/ 120 w 213"/>
                    <a:gd name="T57" fmla="*/ 146 h 153"/>
                    <a:gd name="T58" fmla="*/ 113 w 213"/>
                    <a:gd name="T59" fmla="*/ 152 h 153"/>
                    <a:gd name="T60" fmla="*/ 108 w 213"/>
                    <a:gd name="T61" fmla="*/ 146 h 153"/>
                    <a:gd name="T62" fmla="*/ 112 w 213"/>
                    <a:gd name="T63" fmla="*/ 121 h 153"/>
                    <a:gd name="T64" fmla="*/ 111 w 213"/>
                    <a:gd name="T65" fmla="*/ 108 h 153"/>
                    <a:gd name="T66" fmla="*/ 123 w 213"/>
                    <a:gd name="T67" fmla="*/ 108 h 153"/>
                    <a:gd name="T68" fmla="*/ 133 w 213"/>
                    <a:gd name="T69" fmla="*/ 105 h 153"/>
                    <a:gd name="T70" fmla="*/ 131 w 213"/>
                    <a:gd name="T71" fmla="*/ 99 h 153"/>
                    <a:gd name="T72" fmla="*/ 122 w 213"/>
                    <a:gd name="T73" fmla="*/ 95 h 153"/>
                    <a:gd name="T74" fmla="*/ 112 w 213"/>
                    <a:gd name="T75" fmla="*/ 73 h 153"/>
                    <a:gd name="T76" fmla="*/ 91 w 213"/>
                    <a:gd name="T77" fmla="*/ 70 h 153"/>
                    <a:gd name="T78" fmla="*/ 48 w 213"/>
                    <a:gd name="T79" fmla="*/ 76 h 153"/>
                    <a:gd name="T80" fmla="*/ 19 w 213"/>
                    <a:gd name="T81" fmla="*/ 73 h 153"/>
                    <a:gd name="T82" fmla="*/ 20 w 213"/>
                    <a:gd name="T83" fmla="*/ 60 h 153"/>
                    <a:gd name="T84" fmla="*/ 56 w 213"/>
                    <a:gd name="T85" fmla="*/ 34 h 153"/>
                    <a:gd name="T86" fmla="*/ 75 w 213"/>
                    <a:gd name="T87" fmla="*/ 27 h 153"/>
                    <a:gd name="T88" fmla="*/ 81 w 213"/>
                    <a:gd name="T89" fmla="*/ 14 h 153"/>
                    <a:gd name="T90" fmla="*/ 116 w 213"/>
                    <a:gd name="T91" fmla="*/ 3 h 153"/>
                    <a:gd name="T92" fmla="*/ 3 w 213"/>
                    <a:gd name="T93" fmla="*/ 128 h 153"/>
                    <a:gd name="T94" fmla="*/ 26 w 213"/>
                    <a:gd name="T95" fmla="*/ 112 h 153"/>
                    <a:gd name="T96" fmla="*/ 54 w 213"/>
                    <a:gd name="T97" fmla="*/ 99 h 153"/>
                    <a:gd name="T98" fmla="*/ 74 w 213"/>
                    <a:gd name="T99" fmla="*/ 83 h 153"/>
                    <a:gd name="T100" fmla="*/ 79 w 213"/>
                    <a:gd name="T101" fmla="*/ 86 h 153"/>
                    <a:gd name="T102" fmla="*/ 72 w 213"/>
                    <a:gd name="T103" fmla="*/ 102 h 153"/>
                    <a:gd name="T104" fmla="*/ 70 w 213"/>
                    <a:gd name="T105" fmla="*/ 117 h 153"/>
                    <a:gd name="T106" fmla="*/ 63 w 213"/>
                    <a:gd name="T107" fmla="*/ 123 h 153"/>
                    <a:gd name="T108" fmla="*/ 66 w 213"/>
                    <a:gd name="T109" fmla="*/ 137 h 153"/>
                    <a:gd name="T110" fmla="*/ 57 w 213"/>
                    <a:gd name="T111" fmla="*/ 142 h 153"/>
                    <a:gd name="T112" fmla="*/ 45 w 213"/>
                    <a:gd name="T113" fmla="*/ 134 h 153"/>
                    <a:gd name="T114" fmla="*/ 35 w 213"/>
                    <a:gd name="T115" fmla="*/ 139 h 153"/>
                    <a:gd name="T116" fmla="*/ 10 w 213"/>
                    <a:gd name="T117" fmla="*/ 149 h 153"/>
                    <a:gd name="T118" fmla="*/ 0 w 213"/>
                    <a:gd name="T119" fmla="*/ 14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13" h="153">
                      <a:moveTo>
                        <a:pt x="149" y="0"/>
                      </a:moveTo>
                      <a:lnTo>
                        <a:pt x="150" y="2"/>
                      </a:lnTo>
                      <a:lnTo>
                        <a:pt x="151" y="3"/>
                      </a:lnTo>
                      <a:lnTo>
                        <a:pt x="154" y="3"/>
                      </a:lnTo>
                      <a:lnTo>
                        <a:pt x="155" y="3"/>
                      </a:lnTo>
                      <a:lnTo>
                        <a:pt x="160" y="3"/>
                      </a:lnTo>
                      <a:lnTo>
                        <a:pt x="163" y="4"/>
                      </a:lnTo>
                      <a:lnTo>
                        <a:pt x="166" y="5"/>
                      </a:lnTo>
                      <a:lnTo>
                        <a:pt x="167" y="9"/>
                      </a:lnTo>
                      <a:lnTo>
                        <a:pt x="168" y="10"/>
                      </a:lnTo>
                      <a:lnTo>
                        <a:pt x="171" y="13"/>
                      </a:lnTo>
                      <a:lnTo>
                        <a:pt x="175" y="13"/>
                      </a:lnTo>
                      <a:lnTo>
                        <a:pt x="179" y="13"/>
                      </a:lnTo>
                      <a:lnTo>
                        <a:pt x="182" y="14"/>
                      </a:lnTo>
                      <a:lnTo>
                        <a:pt x="183" y="15"/>
                      </a:lnTo>
                      <a:lnTo>
                        <a:pt x="182" y="17"/>
                      </a:lnTo>
                      <a:lnTo>
                        <a:pt x="177" y="20"/>
                      </a:lnTo>
                      <a:lnTo>
                        <a:pt x="173" y="22"/>
                      </a:lnTo>
                      <a:lnTo>
                        <a:pt x="168" y="24"/>
                      </a:lnTo>
                      <a:lnTo>
                        <a:pt x="162" y="26"/>
                      </a:lnTo>
                      <a:lnTo>
                        <a:pt x="152" y="27"/>
                      </a:lnTo>
                      <a:lnTo>
                        <a:pt x="142" y="28"/>
                      </a:lnTo>
                      <a:lnTo>
                        <a:pt x="135" y="32"/>
                      </a:lnTo>
                      <a:lnTo>
                        <a:pt x="132" y="33"/>
                      </a:lnTo>
                      <a:lnTo>
                        <a:pt x="130" y="34"/>
                      </a:lnTo>
                      <a:lnTo>
                        <a:pt x="130" y="36"/>
                      </a:lnTo>
                      <a:lnTo>
                        <a:pt x="131" y="38"/>
                      </a:lnTo>
                      <a:lnTo>
                        <a:pt x="135" y="43"/>
                      </a:lnTo>
                      <a:lnTo>
                        <a:pt x="137" y="52"/>
                      </a:lnTo>
                      <a:lnTo>
                        <a:pt x="138" y="54"/>
                      </a:lnTo>
                      <a:lnTo>
                        <a:pt x="139" y="55"/>
                      </a:lnTo>
                      <a:lnTo>
                        <a:pt x="141" y="55"/>
                      </a:lnTo>
                      <a:lnTo>
                        <a:pt x="142" y="55"/>
                      </a:lnTo>
                      <a:lnTo>
                        <a:pt x="145" y="54"/>
                      </a:lnTo>
                      <a:lnTo>
                        <a:pt x="148" y="51"/>
                      </a:lnTo>
                      <a:lnTo>
                        <a:pt x="151" y="46"/>
                      </a:lnTo>
                      <a:lnTo>
                        <a:pt x="156" y="42"/>
                      </a:lnTo>
                      <a:lnTo>
                        <a:pt x="161" y="41"/>
                      </a:lnTo>
                      <a:lnTo>
                        <a:pt x="164" y="40"/>
                      </a:lnTo>
                      <a:lnTo>
                        <a:pt x="169" y="40"/>
                      </a:lnTo>
                      <a:lnTo>
                        <a:pt x="173" y="39"/>
                      </a:lnTo>
                      <a:lnTo>
                        <a:pt x="175" y="36"/>
                      </a:lnTo>
                      <a:lnTo>
                        <a:pt x="179" y="32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7"/>
                      </a:lnTo>
                      <a:lnTo>
                        <a:pt x="187" y="27"/>
                      </a:lnTo>
                      <a:lnTo>
                        <a:pt x="189" y="28"/>
                      </a:lnTo>
                      <a:lnTo>
                        <a:pt x="192" y="29"/>
                      </a:lnTo>
                      <a:lnTo>
                        <a:pt x="194" y="30"/>
                      </a:lnTo>
                      <a:lnTo>
                        <a:pt x="194" y="33"/>
                      </a:lnTo>
                      <a:lnTo>
                        <a:pt x="195" y="38"/>
                      </a:lnTo>
                      <a:lnTo>
                        <a:pt x="196" y="40"/>
                      </a:lnTo>
                      <a:lnTo>
                        <a:pt x="198" y="41"/>
                      </a:lnTo>
                      <a:lnTo>
                        <a:pt x="199" y="41"/>
                      </a:lnTo>
                      <a:lnTo>
                        <a:pt x="200" y="41"/>
                      </a:lnTo>
                      <a:lnTo>
                        <a:pt x="201" y="39"/>
                      </a:lnTo>
                      <a:lnTo>
                        <a:pt x="204" y="36"/>
                      </a:lnTo>
                      <a:lnTo>
                        <a:pt x="207" y="34"/>
                      </a:lnTo>
                      <a:lnTo>
                        <a:pt x="209" y="34"/>
                      </a:lnTo>
                      <a:lnTo>
                        <a:pt x="212" y="35"/>
                      </a:lnTo>
                      <a:lnTo>
                        <a:pt x="213" y="38"/>
                      </a:lnTo>
                      <a:lnTo>
                        <a:pt x="213" y="41"/>
                      </a:lnTo>
                      <a:lnTo>
                        <a:pt x="212" y="46"/>
                      </a:lnTo>
                      <a:lnTo>
                        <a:pt x="209" y="51"/>
                      </a:lnTo>
                      <a:lnTo>
                        <a:pt x="208" y="55"/>
                      </a:lnTo>
                      <a:lnTo>
                        <a:pt x="206" y="61"/>
                      </a:lnTo>
                      <a:lnTo>
                        <a:pt x="204" y="63"/>
                      </a:lnTo>
                      <a:lnTo>
                        <a:pt x="201" y="64"/>
                      </a:lnTo>
                      <a:lnTo>
                        <a:pt x="199" y="65"/>
                      </a:lnTo>
                      <a:lnTo>
                        <a:pt x="196" y="64"/>
                      </a:lnTo>
                      <a:lnTo>
                        <a:pt x="188" y="60"/>
                      </a:lnTo>
                      <a:lnTo>
                        <a:pt x="180" y="59"/>
                      </a:lnTo>
                      <a:lnTo>
                        <a:pt x="175" y="59"/>
                      </a:lnTo>
                      <a:lnTo>
                        <a:pt x="171" y="59"/>
                      </a:lnTo>
                      <a:lnTo>
                        <a:pt x="168" y="60"/>
                      </a:lnTo>
                      <a:lnTo>
                        <a:pt x="167" y="63"/>
                      </a:lnTo>
                      <a:lnTo>
                        <a:pt x="166" y="67"/>
                      </a:lnTo>
                      <a:lnTo>
                        <a:pt x="166" y="74"/>
                      </a:lnTo>
                      <a:lnTo>
                        <a:pt x="167" y="78"/>
                      </a:lnTo>
                      <a:lnTo>
                        <a:pt x="168" y="80"/>
                      </a:lnTo>
                      <a:lnTo>
                        <a:pt x="170" y="83"/>
                      </a:lnTo>
                      <a:lnTo>
                        <a:pt x="173" y="85"/>
                      </a:lnTo>
                      <a:lnTo>
                        <a:pt x="177" y="89"/>
                      </a:lnTo>
                      <a:lnTo>
                        <a:pt x="181" y="95"/>
                      </a:lnTo>
                      <a:lnTo>
                        <a:pt x="183" y="101"/>
                      </a:lnTo>
                      <a:lnTo>
                        <a:pt x="183" y="110"/>
                      </a:lnTo>
                      <a:lnTo>
                        <a:pt x="183" y="117"/>
                      </a:lnTo>
                      <a:lnTo>
                        <a:pt x="181" y="121"/>
                      </a:lnTo>
                      <a:lnTo>
                        <a:pt x="180" y="121"/>
                      </a:lnTo>
                      <a:lnTo>
                        <a:pt x="179" y="120"/>
                      </a:lnTo>
                      <a:lnTo>
                        <a:pt x="179" y="118"/>
                      </a:lnTo>
                      <a:lnTo>
                        <a:pt x="177" y="117"/>
                      </a:lnTo>
                      <a:lnTo>
                        <a:pt x="176" y="112"/>
                      </a:lnTo>
                      <a:lnTo>
                        <a:pt x="174" y="106"/>
                      </a:lnTo>
                      <a:lnTo>
                        <a:pt x="170" y="102"/>
                      </a:lnTo>
                      <a:lnTo>
                        <a:pt x="166" y="99"/>
                      </a:lnTo>
                      <a:lnTo>
                        <a:pt x="162" y="101"/>
                      </a:lnTo>
                      <a:lnTo>
                        <a:pt x="160" y="102"/>
                      </a:lnTo>
                      <a:lnTo>
                        <a:pt x="158" y="105"/>
                      </a:lnTo>
                      <a:lnTo>
                        <a:pt x="160" y="111"/>
                      </a:lnTo>
                      <a:lnTo>
                        <a:pt x="162" y="118"/>
                      </a:lnTo>
                      <a:lnTo>
                        <a:pt x="162" y="128"/>
                      </a:lnTo>
                      <a:lnTo>
                        <a:pt x="162" y="133"/>
                      </a:lnTo>
                      <a:lnTo>
                        <a:pt x="161" y="137"/>
                      </a:lnTo>
                      <a:lnTo>
                        <a:pt x="158" y="141"/>
                      </a:lnTo>
                      <a:lnTo>
                        <a:pt x="156" y="143"/>
                      </a:lnTo>
                      <a:lnTo>
                        <a:pt x="149" y="146"/>
                      </a:lnTo>
                      <a:lnTo>
                        <a:pt x="142" y="146"/>
                      </a:lnTo>
                      <a:lnTo>
                        <a:pt x="135" y="145"/>
                      </a:lnTo>
                      <a:lnTo>
                        <a:pt x="129" y="142"/>
                      </a:lnTo>
                      <a:lnTo>
                        <a:pt x="126" y="141"/>
                      </a:lnTo>
                      <a:lnTo>
                        <a:pt x="125" y="141"/>
                      </a:lnTo>
                      <a:lnTo>
                        <a:pt x="124" y="141"/>
                      </a:lnTo>
                      <a:lnTo>
                        <a:pt x="123" y="142"/>
                      </a:lnTo>
                      <a:lnTo>
                        <a:pt x="120" y="146"/>
                      </a:lnTo>
                      <a:lnTo>
                        <a:pt x="118" y="150"/>
                      </a:lnTo>
                      <a:lnTo>
                        <a:pt x="117" y="152"/>
                      </a:lnTo>
                      <a:lnTo>
                        <a:pt x="116" y="153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1" y="150"/>
                      </a:lnTo>
                      <a:lnTo>
                        <a:pt x="108" y="148"/>
                      </a:lnTo>
                      <a:lnTo>
                        <a:pt x="108" y="146"/>
                      </a:lnTo>
                      <a:lnTo>
                        <a:pt x="108" y="143"/>
                      </a:lnTo>
                      <a:lnTo>
                        <a:pt x="111" y="135"/>
                      </a:lnTo>
                      <a:lnTo>
                        <a:pt x="113" y="126"/>
                      </a:lnTo>
                      <a:lnTo>
                        <a:pt x="112" y="121"/>
                      </a:lnTo>
                      <a:lnTo>
                        <a:pt x="110" y="116"/>
                      </a:lnTo>
                      <a:lnTo>
                        <a:pt x="108" y="112"/>
                      </a:lnTo>
                      <a:lnTo>
                        <a:pt x="110" y="109"/>
                      </a:lnTo>
                      <a:lnTo>
                        <a:pt x="111" y="108"/>
                      </a:lnTo>
                      <a:lnTo>
                        <a:pt x="113" y="106"/>
                      </a:lnTo>
                      <a:lnTo>
                        <a:pt x="114" y="106"/>
                      </a:lnTo>
                      <a:lnTo>
                        <a:pt x="118" y="106"/>
                      </a:lnTo>
                      <a:lnTo>
                        <a:pt x="123" y="108"/>
                      </a:lnTo>
                      <a:lnTo>
                        <a:pt x="127" y="109"/>
                      </a:lnTo>
                      <a:lnTo>
                        <a:pt x="130" y="108"/>
                      </a:lnTo>
                      <a:lnTo>
                        <a:pt x="132" y="108"/>
                      </a:lnTo>
                      <a:lnTo>
                        <a:pt x="133" y="105"/>
                      </a:lnTo>
                      <a:lnTo>
                        <a:pt x="133" y="104"/>
                      </a:lnTo>
                      <a:lnTo>
                        <a:pt x="133" y="103"/>
                      </a:lnTo>
                      <a:lnTo>
                        <a:pt x="133" y="101"/>
                      </a:lnTo>
                      <a:lnTo>
                        <a:pt x="131" y="99"/>
                      </a:lnTo>
                      <a:lnTo>
                        <a:pt x="129" y="99"/>
                      </a:lnTo>
                      <a:lnTo>
                        <a:pt x="126" y="98"/>
                      </a:lnTo>
                      <a:lnTo>
                        <a:pt x="124" y="97"/>
                      </a:lnTo>
                      <a:lnTo>
                        <a:pt x="122" y="95"/>
                      </a:lnTo>
                      <a:lnTo>
                        <a:pt x="119" y="92"/>
                      </a:lnTo>
                      <a:lnTo>
                        <a:pt x="114" y="85"/>
                      </a:lnTo>
                      <a:lnTo>
                        <a:pt x="113" y="77"/>
                      </a:lnTo>
                      <a:lnTo>
                        <a:pt x="112" y="73"/>
                      </a:lnTo>
                      <a:lnTo>
                        <a:pt x="110" y="71"/>
                      </a:lnTo>
                      <a:lnTo>
                        <a:pt x="106" y="70"/>
                      </a:lnTo>
                      <a:lnTo>
                        <a:pt x="101" y="68"/>
                      </a:lnTo>
                      <a:lnTo>
                        <a:pt x="91" y="70"/>
                      </a:lnTo>
                      <a:lnTo>
                        <a:pt x="79" y="72"/>
                      </a:lnTo>
                      <a:lnTo>
                        <a:pt x="68" y="76"/>
                      </a:lnTo>
                      <a:lnTo>
                        <a:pt x="57" y="76"/>
                      </a:lnTo>
                      <a:lnTo>
                        <a:pt x="48" y="76"/>
                      </a:lnTo>
                      <a:lnTo>
                        <a:pt x="37" y="76"/>
                      </a:lnTo>
                      <a:lnTo>
                        <a:pt x="29" y="76"/>
                      </a:lnTo>
                      <a:lnTo>
                        <a:pt x="22" y="74"/>
                      </a:lnTo>
                      <a:lnTo>
                        <a:pt x="19" y="73"/>
                      </a:lnTo>
                      <a:lnTo>
                        <a:pt x="18" y="72"/>
                      </a:lnTo>
                      <a:lnTo>
                        <a:pt x="17" y="70"/>
                      </a:lnTo>
                      <a:lnTo>
                        <a:pt x="17" y="67"/>
                      </a:lnTo>
                      <a:lnTo>
                        <a:pt x="20" y="60"/>
                      </a:lnTo>
                      <a:lnTo>
                        <a:pt x="28" y="52"/>
                      </a:lnTo>
                      <a:lnTo>
                        <a:pt x="35" y="45"/>
                      </a:lnTo>
                      <a:lnTo>
                        <a:pt x="43" y="40"/>
                      </a:lnTo>
                      <a:lnTo>
                        <a:pt x="56" y="34"/>
                      </a:lnTo>
                      <a:lnTo>
                        <a:pt x="66" y="32"/>
                      </a:lnTo>
                      <a:lnTo>
                        <a:pt x="69" y="30"/>
                      </a:lnTo>
                      <a:lnTo>
                        <a:pt x="73" y="29"/>
                      </a:lnTo>
                      <a:lnTo>
                        <a:pt x="75" y="27"/>
                      </a:lnTo>
                      <a:lnTo>
                        <a:pt x="78" y="23"/>
                      </a:lnTo>
                      <a:lnTo>
                        <a:pt x="80" y="19"/>
                      </a:lnTo>
                      <a:lnTo>
                        <a:pt x="80" y="16"/>
                      </a:lnTo>
                      <a:lnTo>
                        <a:pt x="81" y="14"/>
                      </a:lnTo>
                      <a:lnTo>
                        <a:pt x="88" y="10"/>
                      </a:lnTo>
                      <a:lnTo>
                        <a:pt x="97" y="7"/>
                      </a:lnTo>
                      <a:lnTo>
                        <a:pt x="105" y="4"/>
                      </a:lnTo>
                      <a:lnTo>
                        <a:pt x="116" y="3"/>
                      </a:lnTo>
                      <a:lnTo>
                        <a:pt x="131" y="2"/>
                      </a:lnTo>
                      <a:lnTo>
                        <a:pt x="144" y="1"/>
                      </a:lnTo>
                      <a:lnTo>
                        <a:pt x="149" y="0"/>
                      </a:lnTo>
                      <a:close/>
                      <a:moveTo>
                        <a:pt x="3" y="128"/>
                      </a:moveTo>
                      <a:lnTo>
                        <a:pt x="6" y="123"/>
                      </a:lnTo>
                      <a:lnTo>
                        <a:pt x="11" y="118"/>
                      </a:lnTo>
                      <a:lnTo>
                        <a:pt x="18" y="115"/>
                      </a:lnTo>
                      <a:lnTo>
                        <a:pt x="26" y="112"/>
                      </a:lnTo>
                      <a:lnTo>
                        <a:pt x="35" y="110"/>
                      </a:lnTo>
                      <a:lnTo>
                        <a:pt x="42" y="108"/>
                      </a:lnTo>
                      <a:lnTo>
                        <a:pt x="49" y="103"/>
                      </a:lnTo>
                      <a:lnTo>
                        <a:pt x="54" y="99"/>
                      </a:lnTo>
                      <a:lnTo>
                        <a:pt x="59" y="93"/>
                      </a:lnTo>
                      <a:lnTo>
                        <a:pt x="64" y="89"/>
                      </a:lnTo>
                      <a:lnTo>
                        <a:pt x="69" y="85"/>
                      </a:lnTo>
                      <a:lnTo>
                        <a:pt x="74" y="83"/>
                      </a:lnTo>
                      <a:lnTo>
                        <a:pt x="76" y="83"/>
                      </a:lnTo>
                      <a:lnTo>
                        <a:pt x="78" y="84"/>
                      </a:lnTo>
                      <a:lnTo>
                        <a:pt x="79" y="85"/>
                      </a:lnTo>
                      <a:lnTo>
                        <a:pt x="79" y="86"/>
                      </a:lnTo>
                      <a:lnTo>
                        <a:pt x="78" y="91"/>
                      </a:lnTo>
                      <a:lnTo>
                        <a:pt x="75" y="95"/>
                      </a:lnTo>
                      <a:lnTo>
                        <a:pt x="73" y="98"/>
                      </a:lnTo>
                      <a:lnTo>
                        <a:pt x="72" y="102"/>
                      </a:lnTo>
                      <a:lnTo>
                        <a:pt x="72" y="105"/>
                      </a:lnTo>
                      <a:lnTo>
                        <a:pt x="72" y="110"/>
                      </a:lnTo>
                      <a:lnTo>
                        <a:pt x="72" y="115"/>
                      </a:lnTo>
                      <a:lnTo>
                        <a:pt x="70" y="117"/>
                      </a:lnTo>
                      <a:lnTo>
                        <a:pt x="69" y="120"/>
                      </a:lnTo>
                      <a:lnTo>
                        <a:pt x="66" y="120"/>
                      </a:lnTo>
                      <a:lnTo>
                        <a:pt x="64" y="121"/>
                      </a:lnTo>
                      <a:lnTo>
                        <a:pt x="63" y="123"/>
                      </a:lnTo>
                      <a:lnTo>
                        <a:pt x="63" y="127"/>
                      </a:lnTo>
                      <a:lnTo>
                        <a:pt x="63" y="131"/>
                      </a:lnTo>
                      <a:lnTo>
                        <a:pt x="64" y="135"/>
                      </a:lnTo>
                      <a:lnTo>
                        <a:pt x="66" y="137"/>
                      </a:lnTo>
                      <a:lnTo>
                        <a:pt x="64" y="140"/>
                      </a:lnTo>
                      <a:lnTo>
                        <a:pt x="63" y="142"/>
                      </a:lnTo>
                      <a:lnTo>
                        <a:pt x="60" y="143"/>
                      </a:lnTo>
                      <a:lnTo>
                        <a:pt x="57" y="142"/>
                      </a:lnTo>
                      <a:lnTo>
                        <a:pt x="55" y="141"/>
                      </a:lnTo>
                      <a:lnTo>
                        <a:pt x="53" y="139"/>
                      </a:lnTo>
                      <a:lnTo>
                        <a:pt x="49" y="136"/>
                      </a:lnTo>
                      <a:lnTo>
                        <a:pt x="45" y="134"/>
                      </a:lnTo>
                      <a:lnTo>
                        <a:pt x="43" y="134"/>
                      </a:lnTo>
                      <a:lnTo>
                        <a:pt x="39" y="135"/>
                      </a:lnTo>
                      <a:lnTo>
                        <a:pt x="37" y="136"/>
                      </a:lnTo>
                      <a:lnTo>
                        <a:pt x="35" y="139"/>
                      </a:lnTo>
                      <a:lnTo>
                        <a:pt x="29" y="145"/>
                      </a:lnTo>
                      <a:lnTo>
                        <a:pt x="25" y="148"/>
                      </a:lnTo>
                      <a:lnTo>
                        <a:pt x="19" y="149"/>
                      </a:lnTo>
                      <a:lnTo>
                        <a:pt x="10" y="149"/>
                      </a:lnTo>
                      <a:lnTo>
                        <a:pt x="5" y="148"/>
                      </a:lnTo>
                      <a:lnTo>
                        <a:pt x="1" y="146"/>
                      </a:lnTo>
                      <a:lnTo>
                        <a:pt x="0" y="143"/>
                      </a:lnTo>
                      <a:lnTo>
                        <a:pt x="0" y="141"/>
                      </a:lnTo>
                      <a:lnTo>
                        <a:pt x="1" y="134"/>
                      </a:lnTo>
                      <a:lnTo>
                        <a:pt x="3" y="128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  <a:effectLst/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648000" rIns="91440" bIns="45720" numCol="1" anchor="t" anchorCtr="0" compatLnSpc="1"/>
                <a:lstStyle/>
                <a:p>
                  <a:pPr algn="ctr" fontAlgn="base"/>
                  <a:endParaRPr lang="zh-CN" altLang="en-US" sz="4000" b="1" strike="noStrike" noProof="1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99" name="Freeform 105"/>
                <p:cNvSpPr/>
                <p:nvPr>
                  <p:custDataLst>
                    <p:tags r:id="rId91"/>
                  </p:custDataLst>
                </p:nvPr>
              </p:nvSpPr>
              <p:spPr bwMode="auto">
                <a:xfrm>
                  <a:off x="5507484" y="5653677"/>
                  <a:ext cx="26311" cy="26311"/>
                </a:xfrm>
                <a:custGeom>
                  <a:avLst/>
                  <a:gdLst>
                    <a:gd name="T0" fmla="*/ 2 w 78"/>
                    <a:gd name="T1" fmla="*/ 44 h 64"/>
                    <a:gd name="T2" fmla="*/ 5 w 78"/>
                    <a:gd name="T3" fmla="*/ 38 h 64"/>
                    <a:gd name="T4" fmla="*/ 10 w 78"/>
                    <a:gd name="T5" fmla="*/ 34 h 64"/>
                    <a:gd name="T6" fmla="*/ 17 w 78"/>
                    <a:gd name="T7" fmla="*/ 29 h 64"/>
                    <a:gd name="T8" fmla="*/ 26 w 78"/>
                    <a:gd name="T9" fmla="*/ 27 h 64"/>
                    <a:gd name="T10" fmla="*/ 34 w 78"/>
                    <a:gd name="T11" fmla="*/ 26 h 64"/>
                    <a:gd name="T12" fmla="*/ 41 w 78"/>
                    <a:gd name="T13" fmla="*/ 22 h 64"/>
                    <a:gd name="T14" fmla="*/ 48 w 78"/>
                    <a:gd name="T15" fmla="*/ 19 h 64"/>
                    <a:gd name="T16" fmla="*/ 53 w 78"/>
                    <a:gd name="T17" fmla="*/ 14 h 64"/>
                    <a:gd name="T18" fmla="*/ 60 w 78"/>
                    <a:gd name="T19" fmla="*/ 7 h 64"/>
                    <a:gd name="T20" fmla="*/ 70 w 78"/>
                    <a:gd name="T21" fmla="*/ 1 h 64"/>
                    <a:gd name="T22" fmla="*/ 73 w 78"/>
                    <a:gd name="T23" fmla="*/ 0 h 64"/>
                    <a:gd name="T24" fmla="*/ 77 w 78"/>
                    <a:gd name="T25" fmla="*/ 1 h 64"/>
                    <a:gd name="T26" fmla="*/ 78 w 78"/>
                    <a:gd name="T27" fmla="*/ 4 h 64"/>
                    <a:gd name="T28" fmla="*/ 78 w 78"/>
                    <a:gd name="T29" fmla="*/ 13 h 64"/>
                    <a:gd name="T30" fmla="*/ 76 w 78"/>
                    <a:gd name="T31" fmla="*/ 21 h 64"/>
                    <a:gd name="T32" fmla="*/ 73 w 78"/>
                    <a:gd name="T33" fmla="*/ 31 h 64"/>
                    <a:gd name="T34" fmla="*/ 70 w 78"/>
                    <a:gd name="T35" fmla="*/ 40 h 64"/>
                    <a:gd name="T36" fmla="*/ 67 w 78"/>
                    <a:gd name="T37" fmla="*/ 48 h 64"/>
                    <a:gd name="T38" fmla="*/ 64 w 78"/>
                    <a:gd name="T39" fmla="*/ 54 h 64"/>
                    <a:gd name="T40" fmla="*/ 60 w 78"/>
                    <a:gd name="T41" fmla="*/ 57 h 64"/>
                    <a:gd name="T42" fmla="*/ 58 w 78"/>
                    <a:gd name="T43" fmla="*/ 58 h 64"/>
                    <a:gd name="T44" fmla="*/ 54 w 78"/>
                    <a:gd name="T45" fmla="*/ 57 h 64"/>
                    <a:gd name="T46" fmla="*/ 51 w 78"/>
                    <a:gd name="T47" fmla="*/ 54 h 64"/>
                    <a:gd name="T48" fmla="*/ 46 w 78"/>
                    <a:gd name="T49" fmla="*/ 53 h 64"/>
                    <a:gd name="T50" fmla="*/ 41 w 78"/>
                    <a:gd name="T51" fmla="*/ 52 h 64"/>
                    <a:gd name="T52" fmla="*/ 35 w 78"/>
                    <a:gd name="T53" fmla="*/ 53 h 64"/>
                    <a:gd name="T54" fmla="*/ 21 w 78"/>
                    <a:gd name="T55" fmla="*/ 59 h 64"/>
                    <a:gd name="T56" fmla="*/ 7 w 78"/>
                    <a:gd name="T57" fmla="*/ 64 h 64"/>
                    <a:gd name="T58" fmla="*/ 4 w 78"/>
                    <a:gd name="T59" fmla="*/ 64 h 64"/>
                    <a:gd name="T60" fmla="*/ 2 w 78"/>
                    <a:gd name="T61" fmla="*/ 64 h 64"/>
                    <a:gd name="T62" fmla="*/ 1 w 78"/>
                    <a:gd name="T63" fmla="*/ 63 h 64"/>
                    <a:gd name="T64" fmla="*/ 0 w 78"/>
                    <a:gd name="T65" fmla="*/ 60 h 64"/>
                    <a:gd name="T66" fmla="*/ 0 w 78"/>
                    <a:gd name="T67" fmla="*/ 58 h 64"/>
                    <a:gd name="T68" fmla="*/ 0 w 78"/>
                    <a:gd name="T69" fmla="*/ 54 h 64"/>
                    <a:gd name="T70" fmla="*/ 1 w 78"/>
                    <a:gd name="T71" fmla="*/ 50 h 64"/>
                    <a:gd name="T72" fmla="*/ 2 w 78"/>
                    <a:gd name="T73" fmla="*/ 4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8" h="64">
                      <a:moveTo>
                        <a:pt x="2" y="44"/>
                      </a:moveTo>
                      <a:lnTo>
                        <a:pt x="5" y="38"/>
                      </a:lnTo>
                      <a:lnTo>
                        <a:pt x="10" y="34"/>
                      </a:lnTo>
                      <a:lnTo>
                        <a:pt x="17" y="29"/>
                      </a:lnTo>
                      <a:lnTo>
                        <a:pt x="26" y="27"/>
                      </a:lnTo>
                      <a:lnTo>
                        <a:pt x="34" y="26"/>
                      </a:lnTo>
                      <a:lnTo>
                        <a:pt x="41" y="22"/>
                      </a:lnTo>
                      <a:lnTo>
                        <a:pt x="48" y="19"/>
                      </a:lnTo>
                      <a:lnTo>
                        <a:pt x="53" y="14"/>
                      </a:lnTo>
                      <a:lnTo>
                        <a:pt x="60" y="7"/>
                      </a:lnTo>
                      <a:lnTo>
                        <a:pt x="70" y="1"/>
                      </a:lnTo>
                      <a:lnTo>
                        <a:pt x="73" y="0"/>
                      </a:lnTo>
                      <a:lnTo>
                        <a:pt x="77" y="1"/>
                      </a:lnTo>
                      <a:lnTo>
                        <a:pt x="78" y="4"/>
                      </a:lnTo>
                      <a:lnTo>
                        <a:pt x="78" y="13"/>
                      </a:lnTo>
                      <a:lnTo>
                        <a:pt x="76" y="21"/>
                      </a:lnTo>
                      <a:lnTo>
                        <a:pt x="73" y="31"/>
                      </a:lnTo>
                      <a:lnTo>
                        <a:pt x="70" y="40"/>
                      </a:lnTo>
                      <a:lnTo>
                        <a:pt x="67" y="48"/>
                      </a:lnTo>
                      <a:lnTo>
                        <a:pt x="64" y="54"/>
                      </a:lnTo>
                      <a:lnTo>
                        <a:pt x="60" y="57"/>
                      </a:lnTo>
                      <a:lnTo>
                        <a:pt x="58" y="58"/>
                      </a:lnTo>
                      <a:lnTo>
                        <a:pt x="54" y="57"/>
                      </a:lnTo>
                      <a:lnTo>
                        <a:pt x="51" y="54"/>
                      </a:lnTo>
                      <a:lnTo>
                        <a:pt x="46" y="53"/>
                      </a:lnTo>
                      <a:lnTo>
                        <a:pt x="41" y="52"/>
                      </a:lnTo>
                      <a:lnTo>
                        <a:pt x="35" y="53"/>
                      </a:lnTo>
                      <a:lnTo>
                        <a:pt x="21" y="59"/>
                      </a:lnTo>
                      <a:lnTo>
                        <a:pt x="7" y="64"/>
                      </a:lnTo>
                      <a:lnTo>
                        <a:pt x="4" y="64"/>
                      </a:lnTo>
                      <a:lnTo>
                        <a:pt x="2" y="64"/>
                      </a:lnTo>
                      <a:lnTo>
                        <a:pt x="1" y="63"/>
                      </a:lnTo>
                      <a:lnTo>
                        <a:pt x="0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1" y="50"/>
                      </a:lnTo>
                      <a:lnTo>
                        <a:pt x="2" y="44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  <a:effectLst/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648000" rIns="91440" bIns="45720" numCol="1" anchor="t" anchorCtr="0" compatLnSpc="1"/>
                <a:lstStyle/>
                <a:p>
                  <a:pPr algn="ctr" fontAlgn="base"/>
                  <a:endParaRPr lang="zh-CN" altLang="en-US" sz="4000" b="1" strike="noStrike" noProof="1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2" name="台湾"/>
              <p:cNvSpPr/>
              <p:nvPr>
                <p:custDataLst>
                  <p:tags r:id="rId48"/>
                </p:custDataLst>
              </p:nvPr>
            </p:nvSpPr>
            <p:spPr bwMode="auto">
              <a:xfrm>
                <a:off x="6402049" y="5105680"/>
                <a:ext cx="236796" cy="539370"/>
              </a:xfrm>
              <a:custGeom>
                <a:avLst/>
                <a:gdLst>
                  <a:gd name="T0" fmla="*/ 213 w 666"/>
                  <a:gd name="T1" fmla="*/ 320 h 1493"/>
                  <a:gd name="T2" fmla="*/ 261 w 666"/>
                  <a:gd name="T3" fmla="*/ 259 h 1493"/>
                  <a:gd name="T4" fmla="*/ 280 w 666"/>
                  <a:gd name="T5" fmla="*/ 186 h 1493"/>
                  <a:gd name="T6" fmla="*/ 306 w 666"/>
                  <a:gd name="T7" fmla="*/ 132 h 1493"/>
                  <a:gd name="T8" fmla="*/ 345 w 666"/>
                  <a:gd name="T9" fmla="*/ 106 h 1493"/>
                  <a:gd name="T10" fmla="*/ 430 w 666"/>
                  <a:gd name="T11" fmla="*/ 66 h 1493"/>
                  <a:gd name="T12" fmla="*/ 446 w 666"/>
                  <a:gd name="T13" fmla="*/ 33 h 1493"/>
                  <a:gd name="T14" fmla="*/ 469 w 666"/>
                  <a:gd name="T15" fmla="*/ 7 h 1493"/>
                  <a:gd name="T16" fmla="*/ 495 w 666"/>
                  <a:gd name="T17" fmla="*/ 0 h 1493"/>
                  <a:gd name="T18" fmla="*/ 522 w 666"/>
                  <a:gd name="T19" fmla="*/ 18 h 1493"/>
                  <a:gd name="T20" fmla="*/ 564 w 666"/>
                  <a:gd name="T21" fmla="*/ 43 h 1493"/>
                  <a:gd name="T22" fmla="*/ 615 w 666"/>
                  <a:gd name="T23" fmla="*/ 45 h 1493"/>
                  <a:gd name="T24" fmla="*/ 652 w 666"/>
                  <a:gd name="T25" fmla="*/ 80 h 1493"/>
                  <a:gd name="T26" fmla="*/ 665 w 666"/>
                  <a:gd name="T27" fmla="*/ 131 h 1493"/>
                  <a:gd name="T28" fmla="*/ 634 w 666"/>
                  <a:gd name="T29" fmla="*/ 168 h 1493"/>
                  <a:gd name="T30" fmla="*/ 625 w 666"/>
                  <a:gd name="T31" fmla="*/ 225 h 1493"/>
                  <a:gd name="T32" fmla="*/ 644 w 666"/>
                  <a:gd name="T33" fmla="*/ 283 h 1493"/>
                  <a:gd name="T34" fmla="*/ 644 w 666"/>
                  <a:gd name="T35" fmla="*/ 366 h 1493"/>
                  <a:gd name="T36" fmla="*/ 606 w 666"/>
                  <a:gd name="T37" fmla="*/ 451 h 1493"/>
                  <a:gd name="T38" fmla="*/ 573 w 666"/>
                  <a:gd name="T39" fmla="*/ 540 h 1493"/>
                  <a:gd name="T40" fmla="*/ 570 w 666"/>
                  <a:gd name="T41" fmla="*/ 674 h 1493"/>
                  <a:gd name="T42" fmla="*/ 553 w 666"/>
                  <a:gd name="T43" fmla="*/ 830 h 1493"/>
                  <a:gd name="T44" fmla="*/ 537 w 666"/>
                  <a:gd name="T45" fmla="*/ 925 h 1493"/>
                  <a:gd name="T46" fmla="*/ 519 w 666"/>
                  <a:gd name="T47" fmla="*/ 995 h 1493"/>
                  <a:gd name="T48" fmla="*/ 433 w 666"/>
                  <a:gd name="T49" fmla="*/ 1135 h 1493"/>
                  <a:gd name="T50" fmla="*/ 388 w 666"/>
                  <a:gd name="T51" fmla="*/ 1214 h 1493"/>
                  <a:gd name="T52" fmla="*/ 370 w 666"/>
                  <a:gd name="T53" fmla="*/ 1310 h 1493"/>
                  <a:gd name="T54" fmla="*/ 384 w 666"/>
                  <a:gd name="T55" fmla="*/ 1374 h 1493"/>
                  <a:gd name="T56" fmla="*/ 386 w 666"/>
                  <a:gd name="T57" fmla="*/ 1426 h 1493"/>
                  <a:gd name="T58" fmla="*/ 373 w 666"/>
                  <a:gd name="T59" fmla="*/ 1455 h 1493"/>
                  <a:gd name="T60" fmla="*/ 387 w 666"/>
                  <a:gd name="T61" fmla="*/ 1486 h 1493"/>
                  <a:gd name="T62" fmla="*/ 374 w 666"/>
                  <a:gd name="T63" fmla="*/ 1492 h 1493"/>
                  <a:gd name="T64" fmla="*/ 343 w 666"/>
                  <a:gd name="T65" fmla="*/ 1463 h 1493"/>
                  <a:gd name="T66" fmla="*/ 310 w 666"/>
                  <a:gd name="T67" fmla="*/ 1455 h 1493"/>
                  <a:gd name="T68" fmla="*/ 299 w 666"/>
                  <a:gd name="T69" fmla="*/ 1413 h 1493"/>
                  <a:gd name="T70" fmla="*/ 270 w 666"/>
                  <a:gd name="T71" fmla="*/ 1331 h 1493"/>
                  <a:gd name="T72" fmla="*/ 228 w 666"/>
                  <a:gd name="T73" fmla="*/ 1287 h 1493"/>
                  <a:gd name="T74" fmla="*/ 132 w 666"/>
                  <a:gd name="T75" fmla="*/ 1240 h 1493"/>
                  <a:gd name="T76" fmla="*/ 119 w 666"/>
                  <a:gd name="T77" fmla="*/ 1215 h 1493"/>
                  <a:gd name="T78" fmla="*/ 88 w 666"/>
                  <a:gd name="T79" fmla="*/ 1158 h 1493"/>
                  <a:gd name="T80" fmla="*/ 41 w 666"/>
                  <a:gd name="T81" fmla="*/ 1058 h 1493"/>
                  <a:gd name="T82" fmla="*/ 14 w 666"/>
                  <a:gd name="T83" fmla="*/ 1044 h 1493"/>
                  <a:gd name="T84" fmla="*/ 2 w 666"/>
                  <a:gd name="T85" fmla="*/ 1009 h 1493"/>
                  <a:gd name="T86" fmla="*/ 12 w 666"/>
                  <a:gd name="T87" fmla="*/ 918 h 1493"/>
                  <a:gd name="T88" fmla="*/ 25 w 666"/>
                  <a:gd name="T89" fmla="*/ 874 h 1493"/>
                  <a:gd name="T90" fmla="*/ 19 w 666"/>
                  <a:gd name="T91" fmla="*/ 813 h 1493"/>
                  <a:gd name="T92" fmla="*/ 9 w 666"/>
                  <a:gd name="T93" fmla="*/ 770 h 1493"/>
                  <a:gd name="T94" fmla="*/ 29 w 666"/>
                  <a:gd name="T95" fmla="*/ 720 h 1493"/>
                  <a:gd name="T96" fmla="*/ 60 w 666"/>
                  <a:gd name="T97" fmla="*/ 691 h 1493"/>
                  <a:gd name="T98" fmla="*/ 52 w 666"/>
                  <a:gd name="T99" fmla="*/ 672 h 1493"/>
                  <a:gd name="T100" fmla="*/ 59 w 666"/>
                  <a:gd name="T101" fmla="*/ 647 h 1493"/>
                  <a:gd name="T102" fmla="*/ 132 w 666"/>
                  <a:gd name="T103" fmla="*/ 501 h 1493"/>
                  <a:gd name="T104" fmla="*/ 151 w 666"/>
                  <a:gd name="T105" fmla="*/ 443 h 1493"/>
                  <a:gd name="T106" fmla="*/ 181 w 666"/>
                  <a:gd name="T107" fmla="*/ 383 h 1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66" h="1493">
                    <a:moveTo>
                      <a:pt x="187" y="371"/>
                    </a:moveTo>
                    <a:lnTo>
                      <a:pt x="195" y="353"/>
                    </a:lnTo>
                    <a:lnTo>
                      <a:pt x="204" y="335"/>
                    </a:lnTo>
                    <a:lnTo>
                      <a:pt x="207" y="327"/>
                    </a:lnTo>
                    <a:lnTo>
                      <a:pt x="213" y="320"/>
                    </a:lnTo>
                    <a:lnTo>
                      <a:pt x="219" y="312"/>
                    </a:lnTo>
                    <a:lnTo>
                      <a:pt x="228" y="303"/>
                    </a:lnTo>
                    <a:lnTo>
                      <a:pt x="241" y="288"/>
                    </a:lnTo>
                    <a:lnTo>
                      <a:pt x="254" y="270"/>
                    </a:lnTo>
                    <a:lnTo>
                      <a:pt x="261" y="259"/>
                    </a:lnTo>
                    <a:lnTo>
                      <a:pt x="266" y="249"/>
                    </a:lnTo>
                    <a:lnTo>
                      <a:pt x="269" y="237"/>
                    </a:lnTo>
                    <a:lnTo>
                      <a:pt x="273" y="224"/>
                    </a:lnTo>
                    <a:lnTo>
                      <a:pt x="276" y="203"/>
                    </a:lnTo>
                    <a:lnTo>
                      <a:pt x="280" y="186"/>
                    </a:lnTo>
                    <a:lnTo>
                      <a:pt x="285" y="168"/>
                    </a:lnTo>
                    <a:lnTo>
                      <a:pt x="292" y="152"/>
                    </a:lnTo>
                    <a:lnTo>
                      <a:pt x="295" y="145"/>
                    </a:lnTo>
                    <a:lnTo>
                      <a:pt x="300" y="138"/>
                    </a:lnTo>
                    <a:lnTo>
                      <a:pt x="306" y="132"/>
                    </a:lnTo>
                    <a:lnTo>
                      <a:pt x="312" y="126"/>
                    </a:lnTo>
                    <a:lnTo>
                      <a:pt x="319" y="120"/>
                    </a:lnTo>
                    <a:lnTo>
                      <a:pt x="326" y="114"/>
                    </a:lnTo>
                    <a:lnTo>
                      <a:pt x="336" y="109"/>
                    </a:lnTo>
                    <a:lnTo>
                      <a:pt x="345" y="106"/>
                    </a:lnTo>
                    <a:lnTo>
                      <a:pt x="381" y="93"/>
                    </a:lnTo>
                    <a:lnTo>
                      <a:pt x="407" y="82"/>
                    </a:lnTo>
                    <a:lnTo>
                      <a:pt x="418" y="77"/>
                    </a:lnTo>
                    <a:lnTo>
                      <a:pt x="426" y="70"/>
                    </a:lnTo>
                    <a:lnTo>
                      <a:pt x="430" y="66"/>
                    </a:lnTo>
                    <a:lnTo>
                      <a:pt x="433" y="60"/>
                    </a:lnTo>
                    <a:lnTo>
                      <a:pt x="437" y="54"/>
                    </a:lnTo>
                    <a:lnTo>
                      <a:pt x="439" y="46"/>
                    </a:lnTo>
                    <a:lnTo>
                      <a:pt x="443" y="39"/>
                    </a:lnTo>
                    <a:lnTo>
                      <a:pt x="446" y="33"/>
                    </a:lnTo>
                    <a:lnTo>
                      <a:pt x="450" y="26"/>
                    </a:lnTo>
                    <a:lnTo>
                      <a:pt x="455" y="22"/>
                    </a:lnTo>
                    <a:lnTo>
                      <a:pt x="458" y="16"/>
                    </a:lnTo>
                    <a:lnTo>
                      <a:pt x="464" y="12"/>
                    </a:lnTo>
                    <a:lnTo>
                      <a:pt x="469" y="7"/>
                    </a:lnTo>
                    <a:lnTo>
                      <a:pt x="474" y="5"/>
                    </a:lnTo>
                    <a:lnTo>
                      <a:pt x="480" y="3"/>
                    </a:lnTo>
                    <a:lnTo>
                      <a:pt x="484" y="0"/>
                    </a:lnTo>
                    <a:lnTo>
                      <a:pt x="490" y="0"/>
                    </a:lnTo>
                    <a:lnTo>
                      <a:pt x="495" y="0"/>
                    </a:lnTo>
                    <a:lnTo>
                      <a:pt x="500" y="1"/>
                    </a:lnTo>
                    <a:lnTo>
                      <a:pt x="505" y="3"/>
                    </a:lnTo>
                    <a:lnTo>
                      <a:pt x="509" y="6"/>
                    </a:lnTo>
                    <a:lnTo>
                      <a:pt x="514" y="10"/>
                    </a:lnTo>
                    <a:lnTo>
                      <a:pt x="522" y="18"/>
                    </a:lnTo>
                    <a:lnTo>
                      <a:pt x="529" y="25"/>
                    </a:lnTo>
                    <a:lnTo>
                      <a:pt x="538" y="31"/>
                    </a:lnTo>
                    <a:lnTo>
                      <a:pt x="546" y="37"/>
                    </a:lnTo>
                    <a:lnTo>
                      <a:pt x="554" y="41"/>
                    </a:lnTo>
                    <a:lnTo>
                      <a:pt x="564" y="43"/>
                    </a:lnTo>
                    <a:lnTo>
                      <a:pt x="573" y="45"/>
                    </a:lnTo>
                    <a:lnTo>
                      <a:pt x="584" y="44"/>
                    </a:lnTo>
                    <a:lnTo>
                      <a:pt x="596" y="44"/>
                    </a:lnTo>
                    <a:lnTo>
                      <a:pt x="606" y="44"/>
                    </a:lnTo>
                    <a:lnTo>
                      <a:pt x="615" y="45"/>
                    </a:lnTo>
                    <a:lnTo>
                      <a:pt x="623" y="49"/>
                    </a:lnTo>
                    <a:lnTo>
                      <a:pt x="631" y="54"/>
                    </a:lnTo>
                    <a:lnTo>
                      <a:pt x="638" y="61"/>
                    </a:lnTo>
                    <a:lnTo>
                      <a:pt x="645" y="69"/>
                    </a:lnTo>
                    <a:lnTo>
                      <a:pt x="652" y="80"/>
                    </a:lnTo>
                    <a:lnTo>
                      <a:pt x="658" y="90"/>
                    </a:lnTo>
                    <a:lnTo>
                      <a:pt x="663" y="101"/>
                    </a:lnTo>
                    <a:lnTo>
                      <a:pt x="665" y="112"/>
                    </a:lnTo>
                    <a:lnTo>
                      <a:pt x="666" y="121"/>
                    </a:lnTo>
                    <a:lnTo>
                      <a:pt x="665" y="131"/>
                    </a:lnTo>
                    <a:lnTo>
                      <a:pt x="661" y="139"/>
                    </a:lnTo>
                    <a:lnTo>
                      <a:pt x="655" y="146"/>
                    </a:lnTo>
                    <a:lnTo>
                      <a:pt x="648" y="152"/>
                    </a:lnTo>
                    <a:lnTo>
                      <a:pt x="641" y="159"/>
                    </a:lnTo>
                    <a:lnTo>
                      <a:pt x="634" y="168"/>
                    </a:lnTo>
                    <a:lnTo>
                      <a:pt x="628" y="178"/>
                    </a:lnTo>
                    <a:lnTo>
                      <a:pt x="625" y="190"/>
                    </a:lnTo>
                    <a:lnTo>
                      <a:pt x="623" y="203"/>
                    </a:lnTo>
                    <a:lnTo>
                      <a:pt x="623" y="216"/>
                    </a:lnTo>
                    <a:lnTo>
                      <a:pt x="625" y="225"/>
                    </a:lnTo>
                    <a:lnTo>
                      <a:pt x="627" y="232"/>
                    </a:lnTo>
                    <a:lnTo>
                      <a:pt x="629" y="240"/>
                    </a:lnTo>
                    <a:lnTo>
                      <a:pt x="633" y="249"/>
                    </a:lnTo>
                    <a:lnTo>
                      <a:pt x="639" y="265"/>
                    </a:lnTo>
                    <a:lnTo>
                      <a:pt x="644" y="283"/>
                    </a:lnTo>
                    <a:lnTo>
                      <a:pt x="647" y="300"/>
                    </a:lnTo>
                    <a:lnTo>
                      <a:pt x="648" y="316"/>
                    </a:lnTo>
                    <a:lnTo>
                      <a:pt x="648" y="333"/>
                    </a:lnTo>
                    <a:lnTo>
                      <a:pt x="647" y="350"/>
                    </a:lnTo>
                    <a:lnTo>
                      <a:pt x="644" y="366"/>
                    </a:lnTo>
                    <a:lnTo>
                      <a:pt x="639" y="383"/>
                    </a:lnTo>
                    <a:lnTo>
                      <a:pt x="632" y="400"/>
                    </a:lnTo>
                    <a:lnTo>
                      <a:pt x="623" y="416"/>
                    </a:lnTo>
                    <a:lnTo>
                      <a:pt x="615" y="433"/>
                    </a:lnTo>
                    <a:lnTo>
                      <a:pt x="606" y="451"/>
                    </a:lnTo>
                    <a:lnTo>
                      <a:pt x="596" y="468"/>
                    </a:lnTo>
                    <a:lnTo>
                      <a:pt x="588" y="485"/>
                    </a:lnTo>
                    <a:lnTo>
                      <a:pt x="582" y="503"/>
                    </a:lnTo>
                    <a:lnTo>
                      <a:pt x="577" y="520"/>
                    </a:lnTo>
                    <a:lnTo>
                      <a:pt x="573" y="540"/>
                    </a:lnTo>
                    <a:lnTo>
                      <a:pt x="572" y="564"/>
                    </a:lnTo>
                    <a:lnTo>
                      <a:pt x="571" y="590"/>
                    </a:lnTo>
                    <a:lnTo>
                      <a:pt x="571" y="618"/>
                    </a:lnTo>
                    <a:lnTo>
                      <a:pt x="570" y="647"/>
                    </a:lnTo>
                    <a:lnTo>
                      <a:pt x="570" y="674"/>
                    </a:lnTo>
                    <a:lnTo>
                      <a:pt x="570" y="698"/>
                    </a:lnTo>
                    <a:lnTo>
                      <a:pt x="568" y="718"/>
                    </a:lnTo>
                    <a:lnTo>
                      <a:pt x="563" y="760"/>
                    </a:lnTo>
                    <a:lnTo>
                      <a:pt x="557" y="807"/>
                    </a:lnTo>
                    <a:lnTo>
                      <a:pt x="553" y="830"/>
                    </a:lnTo>
                    <a:lnTo>
                      <a:pt x="551" y="850"/>
                    </a:lnTo>
                    <a:lnTo>
                      <a:pt x="547" y="867"/>
                    </a:lnTo>
                    <a:lnTo>
                      <a:pt x="544" y="880"/>
                    </a:lnTo>
                    <a:lnTo>
                      <a:pt x="539" y="901"/>
                    </a:lnTo>
                    <a:lnTo>
                      <a:pt x="537" y="925"/>
                    </a:lnTo>
                    <a:lnTo>
                      <a:pt x="534" y="939"/>
                    </a:lnTo>
                    <a:lnTo>
                      <a:pt x="532" y="952"/>
                    </a:lnTo>
                    <a:lnTo>
                      <a:pt x="529" y="965"/>
                    </a:lnTo>
                    <a:lnTo>
                      <a:pt x="525" y="980"/>
                    </a:lnTo>
                    <a:lnTo>
                      <a:pt x="519" y="995"/>
                    </a:lnTo>
                    <a:lnTo>
                      <a:pt x="509" y="1013"/>
                    </a:lnTo>
                    <a:lnTo>
                      <a:pt x="499" y="1034"/>
                    </a:lnTo>
                    <a:lnTo>
                      <a:pt x="485" y="1056"/>
                    </a:lnTo>
                    <a:lnTo>
                      <a:pt x="459" y="1097"/>
                    </a:lnTo>
                    <a:lnTo>
                      <a:pt x="433" y="1135"/>
                    </a:lnTo>
                    <a:lnTo>
                      <a:pt x="414" y="1159"/>
                    </a:lnTo>
                    <a:lnTo>
                      <a:pt x="402" y="1176"/>
                    </a:lnTo>
                    <a:lnTo>
                      <a:pt x="398" y="1185"/>
                    </a:lnTo>
                    <a:lnTo>
                      <a:pt x="393" y="1197"/>
                    </a:lnTo>
                    <a:lnTo>
                      <a:pt x="388" y="1214"/>
                    </a:lnTo>
                    <a:lnTo>
                      <a:pt x="382" y="1237"/>
                    </a:lnTo>
                    <a:lnTo>
                      <a:pt x="376" y="1261"/>
                    </a:lnTo>
                    <a:lnTo>
                      <a:pt x="373" y="1281"/>
                    </a:lnTo>
                    <a:lnTo>
                      <a:pt x="370" y="1297"/>
                    </a:lnTo>
                    <a:lnTo>
                      <a:pt x="370" y="1310"/>
                    </a:lnTo>
                    <a:lnTo>
                      <a:pt x="371" y="1321"/>
                    </a:lnTo>
                    <a:lnTo>
                      <a:pt x="373" y="1330"/>
                    </a:lnTo>
                    <a:lnTo>
                      <a:pt x="375" y="1341"/>
                    </a:lnTo>
                    <a:lnTo>
                      <a:pt x="378" y="1350"/>
                    </a:lnTo>
                    <a:lnTo>
                      <a:pt x="384" y="1374"/>
                    </a:lnTo>
                    <a:lnTo>
                      <a:pt x="388" y="1397"/>
                    </a:lnTo>
                    <a:lnTo>
                      <a:pt x="389" y="1407"/>
                    </a:lnTo>
                    <a:lnTo>
                      <a:pt x="389" y="1416"/>
                    </a:lnTo>
                    <a:lnTo>
                      <a:pt x="388" y="1423"/>
                    </a:lnTo>
                    <a:lnTo>
                      <a:pt x="386" y="1426"/>
                    </a:lnTo>
                    <a:lnTo>
                      <a:pt x="380" y="1434"/>
                    </a:lnTo>
                    <a:lnTo>
                      <a:pt x="374" y="1441"/>
                    </a:lnTo>
                    <a:lnTo>
                      <a:pt x="373" y="1445"/>
                    </a:lnTo>
                    <a:lnTo>
                      <a:pt x="373" y="1450"/>
                    </a:lnTo>
                    <a:lnTo>
                      <a:pt x="373" y="1455"/>
                    </a:lnTo>
                    <a:lnTo>
                      <a:pt x="375" y="1461"/>
                    </a:lnTo>
                    <a:lnTo>
                      <a:pt x="381" y="1472"/>
                    </a:lnTo>
                    <a:lnTo>
                      <a:pt x="386" y="1479"/>
                    </a:lnTo>
                    <a:lnTo>
                      <a:pt x="387" y="1482"/>
                    </a:lnTo>
                    <a:lnTo>
                      <a:pt x="387" y="1486"/>
                    </a:lnTo>
                    <a:lnTo>
                      <a:pt x="386" y="1488"/>
                    </a:lnTo>
                    <a:lnTo>
                      <a:pt x="383" y="1491"/>
                    </a:lnTo>
                    <a:lnTo>
                      <a:pt x="380" y="1493"/>
                    </a:lnTo>
                    <a:lnTo>
                      <a:pt x="376" y="1493"/>
                    </a:lnTo>
                    <a:lnTo>
                      <a:pt x="374" y="1492"/>
                    </a:lnTo>
                    <a:lnTo>
                      <a:pt x="370" y="1489"/>
                    </a:lnTo>
                    <a:lnTo>
                      <a:pt x="363" y="1483"/>
                    </a:lnTo>
                    <a:lnTo>
                      <a:pt x="356" y="1475"/>
                    </a:lnTo>
                    <a:lnTo>
                      <a:pt x="349" y="1468"/>
                    </a:lnTo>
                    <a:lnTo>
                      <a:pt x="343" y="1463"/>
                    </a:lnTo>
                    <a:lnTo>
                      <a:pt x="336" y="1461"/>
                    </a:lnTo>
                    <a:lnTo>
                      <a:pt x="326" y="1460"/>
                    </a:lnTo>
                    <a:lnTo>
                      <a:pt x="320" y="1460"/>
                    </a:lnTo>
                    <a:lnTo>
                      <a:pt x="314" y="1457"/>
                    </a:lnTo>
                    <a:lnTo>
                      <a:pt x="310" y="1455"/>
                    </a:lnTo>
                    <a:lnTo>
                      <a:pt x="306" y="1450"/>
                    </a:lnTo>
                    <a:lnTo>
                      <a:pt x="304" y="1444"/>
                    </a:lnTo>
                    <a:lnTo>
                      <a:pt x="301" y="1436"/>
                    </a:lnTo>
                    <a:lnTo>
                      <a:pt x="300" y="1426"/>
                    </a:lnTo>
                    <a:lnTo>
                      <a:pt x="299" y="1413"/>
                    </a:lnTo>
                    <a:lnTo>
                      <a:pt x="298" y="1399"/>
                    </a:lnTo>
                    <a:lnTo>
                      <a:pt x="294" y="1384"/>
                    </a:lnTo>
                    <a:lnTo>
                      <a:pt x="289" y="1366"/>
                    </a:lnTo>
                    <a:lnTo>
                      <a:pt x="281" y="1348"/>
                    </a:lnTo>
                    <a:lnTo>
                      <a:pt x="270" y="1331"/>
                    </a:lnTo>
                    <a:lnTo>
                      <a:pt x="258" y="1315"/>
                    </a:lnTo>
                    <a:lnTo>
                      <a:pt x="251" y="1308"/>
                    </a:lnTo>
                    <a:lnTo>
                      <a:pt x="244" y="1300"/>
                    </a:lnTo>
                    <a:lnTo>
                      <a:pt x="236" y="1293"/>
                    </a:lnTo>
                    <a:lnTo>
                      <a:pt x="228" y="1287"/>
                    </a:lnTo>
                    <a:lnTo>
                      <a:pt x="192" y="1270"/>
                    </a:lnTo>
                    <a:lnTo>
                      <a:pt x="160" y="1255"/>
                    </a:lnTo>
                    <a:lnTo>
                      <a:pt x="147" y="1249"/>
                    </a:lnTo>
                    <a:lnTo>
                      <a:pt x="136" y="1243"/>
                    </a:lnTo>
                    <a:lnTo>
                      <a:pt x="132" y="1240"/>
                    </a:lnTo>
                    <a:lnTo>
                      <a:pt x="129" y="1236"/>
                    </a:lnTo>
                    <a:lnTo>
                      <a:pt x="126" y="1234"/>
                    </a:lnTo>
                    <a:lnTo>
                      <a:pt x="125" y="1230"/>
                    </a:lnTo>
                    <a:lnTo>
                      <a:pt x="123" y="1223"/>
                    </a:lnTo>
                    <a:lnTo>
                      <a:pt x="119" y="1215"/>
                    </a:lnTo>
                    <a:lnTo>
                      <a:pt x="115" y="1205"/>
                    </a:lnTo>
                    <a:lnTo>
                      <a:pt x="109" y="1196"/>
                    </a:lnTo>
                    <a:lnTo>
                      <a:pt x="103" y="1184"/>
                    </a:lnTo>
                    <a:lnTo>
                      <a:pt x="96" y="1172"/>
                    </a:lnTo>
                    <a:lnTo>
                      <a:pt x="88" y="1158"/>
                    </a:lnTo>
                    <a:lnTo>
                      <a:pt x="82" y="1142"/>
                    </a:lnTo>
                    <a:lnTo>
                      <a:pt x="69" y="1109"/>
                    </a:lnTo>
                    <a:lnTo>
                      <a:pt x="56" y="1079"/>
                    </a:lnTo>
                    <a:lnTo>
                      <a:pt x="48" y="1067"/>
                    </a:lnTo>
                    <a:lnTo>
                      <a:pt x="41" y="1058"/>
                    </a:lnTo>
                    <a:lnTo>
                      <a:pt x="36" y="1053"/>
                    </a:lnTo>
                    <a:lnTo>
                      <a:pt x="33" y="1051"/>
                    </a:lnTo>
                    <a:lnTo>
                      <a:pt x="28" y="1047"/>
                    </a:lnTo>
                    <a:lnTo>
                      <a:pt x="23" y="1046"/>
                    </a:lnTo>
                    <a:lnTo>
                      <a:pt x="14" y="1044"/>
                    </a:lnTo>
                    <a:lnTo>
                      <a:pt x="8" y="1039"/>
                    </a:lnTo>
                    <a:lnTo>
                      <a:pt x="4" y="1033"/>
                    </a:lnTo>
                    <a:lnTo>
                      <a:pt x="2" y="1027"/>
                    </a:lnTo>
                    <a:lnTo>
                      <a:pt x="0" y="1019"/>
                    </a:lnTo>
                    <a:lnTo>
                      <a:pt x="2" y="1009"/>
                    </a:lnTo>
                    <a:lnTo>
                      <a:pt x="2" y="1000"/>
                    </a:lnTo>
                    <a:lnTo>
                      <a:pt x="3" y="988"/>
                    </a:lnTo>
                    <a:lnTo>
                      <a:pt x="6" y="962"/>
                    </a:lnTo>
                    <a:lnTo>
                      <a:pt x="10" y="932"/>
                    </a:lnTo>
                    <a:lnTo>
                      <a:pt x="12" y="918"/>
                    </a:lnTo>
                    <a:lnTo>
                      <a:pt x="15" y="906"/>
                    </a:lnTo>
                    <a:lnTo>
                      <a:pt x="18" y="896"/>
                    </a:lnTo>
                    <a:lnTo>
                      <a:pt x="21" y="890"/>
                    </a:lnTo>
                    <a:lnTo>
                      <a:pt x="24" y="883"/>
                    </a:lnTo>
                    <a:lnTo>
                      <a:pt x="25" y="874"/>
                    </a:lnTo>
                    <a:lnTo>
                      <a:pt x="27" y="862"/>
                    </a:lnTo>
                    <a:lnTo>
                      <a:pt x="25" y="849"/>
                    </a:lnTo>
                    <a:lnTo>
                      <a:pt x="24" y="837"/>
                    </a:lnTo>
                    <a:lnTo>
                      <a:pt x="22" y="824"/>
                    </a:lnTo>
                    <a:lnTo>
                      <a:pt x="19" y="813"/>
                    </a:lnTo>
                    <a:lnTo>
                      <a:pt x="16" y="805"/>
                    </a:lnTo>
                    <a:lnTo>
                      <a:pt x="12" y="798"/>
                    </a:lnTo>
                    <a:lnTo>
                      <a:pt x="10" y="789"/>
                    </a:lnTo>
                    <a:lnTo>
                      <a:pt x="9" y="780"/>
                    </a:lnTo>
                    <a:lnTo>
                      <a:pt x="9" y="770"/>
                    </a:lnTo>
                    <a:lnTo>
                      <a:pt x="10" y="760"/>
                    </a:lnTo>
                    <a:lnTo>
                      <a:pt x="12" y="750"/>
                    </a:lnTo>
                    <a:lnTo>
                      <a:pt x="16" y="739"/>
                    </a:lnTo>
                    <a:lnTo>
                      <a:pt x="23" y="729"/>
                    </a:lnTo>
                    <a:lnTo>
                      <a:pt x="29" y="720"/>
                    </a:lnTo>
                    <a:lnTo>
                      <a:pt x="36" y="713"/>
                    </a:lnTo>
                    <a:lnTo>
                      <a:pt x="41" y="709"/>
                    </a:lnTo>
                    <a:lnTo>
                      <a:pt x="47" y="704"/>
                    </a:lnTo>
                    <a:lnTo>
                      <a:pt x="54" y="698"/>
                    </a:lnTo>
                    <a:lnTo>
                      <a:pt x="60" y="691"/>
                    </a:lnTo>
                    <a:lnTo>
                      <a:pt x="61" y="687"/>
                    </a:lnTo>
                    <a:lnTo>
                      <a:pt x="60" y="685"/>
                    </a:lnTo>
                    <a:lnTo>
                      <a:pt x="58" y="681"/>
                    </a:lnTo>
                    <a:lnTo>
                      <a:pt x="54" y="678"/>
                    </a:lnTo>
                    <a:lnTo>
                      <a:pt x="52" y="672"/>
                    </a:lnTo>
                    <a:lnTo>
                      <a:pt x="52" y="666"/>
                    </a:lnTo>
                    <a:lnTo>
                      <a:pt x="52" y="661"/>
                    </a:lnTo>
                    <a:lnTo>
                      <a:pt x="54" y="657"/>
                    </a:lnTo>
                    <a:lnTo>
                      <a:pt x="56" y="651"/>
                    </a:lnTo>
                    <a:lnTo>
                      <a:pt x="59" y="647"/>
                    </a:lnTo>
                    <a:lnTo>
                      <a:pt x="79" y="615"/>
                    </a:lnTo>
                    <a:lnTo>
                      <a:pt x="97" y="583"/>
                    </a:lnTo>
                    <a:lnTo>
                      <a:pt x="113" y="550"/>
                    </a:lnTo>
                    <a:lnTo>
                      <a:pt x="128" y="517"/>
                    </a:lnTo>
                    <a:lnTo>
                      <a:pt x="132" y="501"/>
                    </a:lnTo>
                    <a:lnTo>
                      <a:pt x="136" y="484"/>
                    </a:lnTo>
                    <a:lnTo>
                      <a:pt x="138" y="478"/>
                    </a:lnTo>
                    <a:lnTo>
                      <a:pt x="141" y="472"/>
                    </a:lnTo>
                    <a:lnTo>
                      <a:pt x="145" y="458"/>
                    </a:lnTo>
                    <a:lnTo>
                      <a:pt x="151" y="443"/>
                    </a:lnTo>
                    <a:lnTo>
                      <a:pt x="156" y="430"/>
                    </a:lnTo>
                    <a:lnTo>
                      <a:pt x="162" y="416"/>
                    </a:lnTo>
                    <a:lnTo>
                      <a:pt x="168" y="404"/>
                    </a:lnTo>
                    <a:lnTo>
                      <a:pt x="174" y="394"/>
                    </a:lnTo>
                    <a:lnTo>
                      <a:pt x="181" y="383"/>
                    </a:lnTo>
                    <a:lnTo>
                      <a:pt x="187" y="371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3" name="海南"/>
              <p:cNvSpPr/>
              <p:nvPr>
                <p:custDataLst>
                  <p:tags r:id="rId49"/>
                </p:custDataLst>
              </p:nvPr>
            </p:nvSpPr>
            <p:spPr bwMode="auto">
              <a:xfrm>
                <a:off x="4718163" y="6013400"/>
                <a:ext cx="368350" cy="302573"/>
              </a:xfrm>
              <a:custGeom>
                <a:avLst/>
                <a:gdLst>
                  <a:gd name="T0" fmla="*/ 10 w 1013"/>
                  <a:gd name="T1" fmla="*/ 523 h 846"/>
                  <a:gd name="T2" fmla="*/ 0 w 1013"/>
                  <a:gd name="T3" fmla="*/ 448 h 846"/>
                  <a:gd name="T4" fmla="*/ 18 w 1013"/>
                  <a:gd name="T5" fmla="*/ 400 h 846"/>
                  <a:gd name="T6" fmla="*/ 8 w 1013"/>
                  <a:gd name="T7" fmla="*/ 342 h 846"/>
                  <a:gd name="T8" fmla="*/ 66 w 1013"/>
                  <a:gd name="T9" fmla="*/ 318 h 846"/>
                  <a:gd name="T10" fmla="*/ 196 w 1013"/>
                  <a:gd name="T11" fmla="*/ 227 h 846"/>
                  <a:gd name="T12" fmla="*/ 284 w 1013"/>
                  <a:gd name="T13" fmla="*/ 170 h 846"/>
                  <a:gd name="T14" fmla="*/ 260 w 1013"/>
                  <a:gd name="T15" fmla="*/ 167 h 846"/>
                  <a:gd name="T16" fmla="*/ 229 w 1013"/>
                  <a:gd name="T17" fmla="*/ 165 h 846"/>
                  <a:gd name="T18" fmla="*/ 260 w 1013"/>
                  <a:gd name="T19" fmla="*/ 120 h 846"/>
                  <a:gd name="T20" fmla="*/ 333 w 1013"/>
                  <a:gd name="T21" fmla="*/ 114 h 846"/>
                  <a:gd name="T22" fmla="*/ 383 w 1013"/>
                  <a:gd name="T23" fmla="*/ 132 h 846"/>
                  <a:gd name="T24" fmla="*/ 383 w 1013"/>
                  <a:gd name="T25" fmla="*/ 104 h 846"/>
                  <a:gd name="T26" fmla="*/ 418 w 1013"/>
                  <a:gd name="T27" fmla="*/ 64 h 846"/>
                  <a:gd name="T28" fmla="*/ 495 w 1013"/>
                  <a:gd name="T29" fmla="*/ 88 h 846"/>
                  <a:gd name="T30" fmla="*/ 535 w 1013"/>
                  <a:gd name="T31" fmla="*/ 75 h 846"/>
                  <a:gd name="T32" fmla="*/ 561 w 1013"/>
                  <a:gd name="T33" fmla="*/ 102 h 846"/>
                  <a:gd name="T34" fmla="*/ 592 w 1013"/>
                  <a:gd name="T35" fmla="*/ 77 h 846"/>
                  <a:gd name="T36" fmla="*/ 636 w 1013"/>
                  <a:gd name="T37" fmla="*/ 77 h 846"/>
                  <a:gd name="T38" fmla="*/ 654 w 1013"/>
                  <a:gd name="T39" fmla="*/ 46 h 846"/>
                  <a:gd name="T40" fmla="*/ 711 w 1013"/>
                  <a:gd name="T41" fmla="*/ 37 h 846"/>
                  <a:gd name="T42" fmla="*/ 765 w 1013"/>
                  <a:gd name="T43" fmla="*/ 43 h 846"/>
                  <a:gd name="T44" fmla="*/ 815 w 1013"/>
                  <a:gd name="T45" fmla="*/ 69 h 846"/>
                  <a:gd name="T46" fmla="*/ 827 w 1013"/>
                  <a:gd name="T47" fmla="*/ 12 h 846"/>
                  <a:gd name="T48" fmla="*/ 868 w 1013"/>
                  <a:gd name="T49" fmla="*/ 14 h 846"/>
                  <a:gd name="T50" fmla="*/ 942 w 1013"/>
                  <a:gd name="T51" fmla="*/ 60 h 846"/>
                  <a:gd name="T52" fmla="*/ 1009 w 1013"/>
                  <a:gd name="T53" fmla="*/ 185 h 846"/>
                  <a:gd name="T54" fmla="*/ 977 w 1013"/>
                  <a:gd name="T55" fmla="*/ 243 h 846"/>
                  <a:gd name="T56" fmla="*/ 946 w 1013"/>
                  <a:gd name="T57" fmla="*/ 234 h 846"/>
                  <a:gd name="T58" fmla="*/ 912 w 1013"/>
                  <a:gd name="T59" fmla="*/ 223 h 846"/>
                  <a:gd name="T60" fmla="*/ 928 w 1013"/>
                  <a:gd name="T61" fmla="*/ 252 h 846"/>
                  <a:gd name="T62" fmla="*/ 913 w 1013"/>
                  <a:gd name="T63" fmla="*/ 289 h 846"/>
                  <a:gd name="T64" fmla="*/ 819 w 1013"/>
                  <a:gd name="T65" fmla="*/ 441 h 846"/>
                  <a:gd name="T66" fmla="*/ 776 w 1013"/>
                  <a:gd name="T67" fmla="*/ 533 h 846"/>
                  <a:gd name="T68" fmla="*/ 775 w 1013"/>
                  <a:gd name="T69" fmla="*/ 562 h 846"/>
                  <a:gd name="T70" fmla="*/ 806 w 1013"/>
                  <a:gd name="T71" fmla="*/ 545 h 846"/>
                  <a:gd name="T72" fmla="*/ 810 w 1013"/>
                  <a:gd name="T73" fmla="*/ 582 h 846"/>
                  <a:gd name="T74" fmla="*/ 732 w 1013"/>
                  <a:gd name="T75" fmla="*/ 628 h 846"/>
                  <a:gd name="T76" fmla="*/ 651 w 1013"/>
                  <a:gd name="T77" fmla="*/ 664 h 846"/>
                  <a:gd name="T78" fmla="*/ 625 w 1013"/>
                  <a:gd name="T79" fmla="*/ 730 h 846"/>
                  <a:gd name="T80" fmla="*/ 579 w 1013"/>
                  <a:gd name="T81" fmla="*/ 750 h 846"/>
                  <a:gd name="T82" fmla="*/ 575 w 1013"/>
                  <a:gd name="T83" fmla="*/ 731 h 846"/>
                  <a:gd name="T84" fmla="*/ 574 w 1013"/>
                  <a:gd name="T85" fmla="*/ 706 h 846"/>
                  <a:gd name="T86" fmla="*/ 532 w 1013"/>
                  <a:gd name="T87" fmla="*/ 745 h 846"/>
                  <a:gd name="T88" fmla="*/ 490 w 1013"/>
                  <a:gd name="T89" fmla="*/ 744 h 846"/>
                  <a:gd name="T90" fmla="*/ 461 w 1013"/>
                  <a:gd name="T91" fmla="*/ 777 h 846"/>
                  <a:gd name="T92" fmla="*/ 476 w 1013"/>
                  <a:gd name="T93" fmla="*/ 809 h 846"/>
                  <a:gd name="T94" fmla="*/ 457 w 1013"/>
                  <a:gd name="T95" fmla="*/ 825 h 846"/>
                  <a:gd name="T96" fmla="*/ 417 w 1013"/>
                  <a:gd name="T97" fmla="*/ 814 h 846"/>
                  <a:gd name="T98" fmla="*/ 406 w 1013"/>
                  <a:gd name="T99" fmla="*/ 846 h 846"/>
                  <a:gd name="T100" fmla="*/ 367 w 1013"/>
                  <a:gd name="T101" fmla="*/ 826 h 846"/>
                  <a:gd name="T102" fmla="*/ 349 w 1013"/>
                  <a:gd name="T103" fmla="*/ 808 h 846"/>
                  <a:gd name="T104" fmla="*/ 292 w 1013"/>
                  <a:gd name="T105" fmla="*/ 783 h 846"/>
                  <a:gd name="T106" fmla="*/ 213 w 1013"/>
                  <a:gd name="T107" fmla="*/ 766 h 846"/>
                  <a:gd name="T108" fmla="*/ 153 w 1013"/>
                  <a:gd name="T109" fmla="*/ 756 h 846"/>
                  <a:gd name="T110" fmla="*/ 115 w 1013"/>
                  <a:gd name="T111" fmla="*/ 730 h 846"/>
                  <a:gd name="T112" fmla="*/ 85 w 1013"/>
                  <a:gd name="T113" fmla="*/ 706 h 846"/>
                  <a:gd name="T114" fmla="*/ 63 w 1013"/>
                  <a:gd name="T115" fmla="*/ 699 h 846"/>
                  <a:gd name="T116" fmla="*/ 25 w 1013"/>
                  <a:gd name="T117" fmla="*/ 689 h 846"/>
                  <a:gd name="T118" fmla="*/ 35 w 1013"/>
                  <a:gd name="T119" fmla="*/ 623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13" h="846">
                    <a:moveTo>
                      <a:pt x="18" y="587"/>
                    </a:moveTo>
                    <a:lnTo>
                      <a:pt x="14" y="582"/>
                    </a:lnTo>
                    <a:lnTo>
                      <a:pt x="10" y="575"/>
                    </a:lnTo>
                    <a:lnTo>
                      <a:pt x="9" y="569"/>
                    </a:lnTo>
                    <a:lnTo>
                      <a:pt x="8" y="563"/>
                    </a:lnTo>
                    <a:lnTo>
                      <a:pt x="8" y="556"/>
                    </a:lnTo>
                    <a:lnTo>
                      <a:pt x="8" y="549"/>
                    </a:lnTo>
                    <a:lnTo>
                      <a:pt x="10" y="523"/>
                    </a:lnTo>
                    <a:lnTo>
                      <a:pt x="12" y="501"/>
                    </a:lnTo>
                    <a:lnTo>
                      <a:pt x="10" y="492"/>
                    </a:lnTo>
                    <a:lnTo>
                      <a:pt x="9" y="483"/>
                    </a:lnTo>
                    <a:lnTo>
                      <a:pt x="7" y="475"/>
                    </a:lnTo>
                    <a:lnTo>
                      <a:pt x="5" y="467"/>
                    </a:lnTo>
                    <a:lnTo>
                      <a:pt x="2" y="460"/>
                    </a:lnTo>
                    <a:lnTo>
                      <a:pt x="1" y="454"/>
                    </a:lnTo>
                    <a:lnTo>
                      <a:pt x="0" y="448"/>
                    </a:lnTo>
                    <a:lnTo>
                      <a:pt x="0" y="442"/>
                    </a:lnTo>
                    <a:lnTo>
                      <a:pt x="0" y="437"/>
                    </a:lnTo>
                    <a:lnTo>
                      <a:pt x="2" y="432"/>
                    </a:lnTo>
                    <a:lnTo>
                      <a:pt x="3" y="428"/>
                    </a:lnTo>
                    <a:lnTo>
                      <a:pt x="6" y="424"/>
                    </a:lnTo>
                    <a:lnTo>
                      <a:pt x="12" y="416"/>
                    </a:lnTo>
                    <a:lnTo>
                      <a:pt x="16" y="406"/>
                    </a:lnTo>
                    <a:lnTo>
                      <a:pt x="18" y="400"/>
                    </a:lnTo>
                    <a:lnTo>
                      <a:pt x="18" y="394"/>
                    </a:lnTo>
                    <a:lnTo>
                      <a:pt x="18" y="388"/>
                    </a:lnTo>
                    <a:lnTo>
                      <a:pt x="15" y="381"/>
                    </a:lnTo>
                    <a:lnTo>
                      <a:pt x="12" y="374"/>
                    </a:lnTo>
                    <a:lnTo>
                      <a:pt x="9" y="366"/>
                    </a:lnTo>
                    <a:lnTo>
                      <a:pt x="7" y="357"/>
                    </a:lnTo>
                    <a:lnTo>
                      <a:pt x="7" y="349"/>
                    </a:lnTo>
                    <a:lnTo>
                      <a:pt x="8" y="342"/>
                    </a:lnTo>
                    <a:lnTo>
                      <a:pt x="10" y="335"/>
                    </a:lnTo>
                    <a:lnTo>
                      <a:pt x="13" y="333"/>
                    </a:lnTo>
                    <a:lnTo>
                      <a:pt x="16" y="330"/>
                    </a:lnTo>
                    <a:lnTo>
                      <a:pt x="20" y="329"/>
                    </a:lnTo>
                    <a:lnTo>
                      <a:pt x="24" y="328"/>
                    </a:lnTo>
                    <a:lnTo>
                      <a:pt x="43" y="325"/>
                    </a:lnTo>
                    <a:lnTo>
                      <a:pt x="58" y="322"/>
                    </a:lnTo>
                    <a:lnTo>
                      <a:pt x="66" y="318"/>
                    </a:lnTo>
                    <a:lnTo>
                      <a:pt x="76" y="314"/>
                    </a:lnTo>
                    <a:lnTo>
                      <a:pt x="85" y="306"/>
                    </a:lnTo>
                    <a:lnTo>
                      <a:pt x="97" y="297"/>
                    </a:lnTo>
                    <a:lnTo>
                      <a:pt x="122" y="275"/>
                    </a:lnTo>
                    <a:lnTo>
                      <a:pt x="151" y="254"/>
                    </a:lnTo>
                    <a:lnTo>
                      <a:pt x="165" y="245"/>
                    </a:lnTo>
                    <a:lnTo>
                      <a:pt x="180" y="235"/>
                    </a:lnTo>
                    <a:lnTo>
                      <a:pt x="196" y="227"/>
                    </a:lnTo>
                    <a:lnTo>
                      <a:pt x="211" y="218"/>
                    </a:lnTo>
                    <a:lnTo>
                      <a:pt x="240" y="205"/>
                    </a:lnTo>
                    <a:lnTo>
                      <a:pt x="261" y="195"/>
                    </a:lnTo>
                    <a:lnTo>
                      <a:pt x="270" y="190"/>
                    </a:lnTo>
                    <a:lnTo>
                      <a:pt x="277" y="184"/>
                    </a:lnTo>
                    <a:lnTo>
                      <a:pt x="280" y="179"/>
                    </a:lnTo>
                    <a:lnTo>
                      <a:pt x="283" y="174"/>
                    </a:lnTo>
                    <a:lnTo>
                      <a:pt x="284" y="170"/>
                    </a:lnTo>
                    <a:lnTo>
                      <a:pt x="284" y="165"/>
                    </a:lnTo>
                    <a:lnTo>
                      <a:pt x="284" y="163"/>
                    </a:lnTo>
                    <a:lnTo>
                      <a:pt x="283" y="160"/>
                    </a:lnTo>
                    <a:lnTo>
                      <a:pt x="280" y="159"/>
                    </a:lnTo>
                    <a:lnTo>
                      <a:pt x="278" y="158"/>
                    </a:lnTo>
                    <a:lnTo>
                      <a:pt x="274" y="159"/>
                    </a:lnTo>
                    <a:lnTo>
                      <a:pt x="271" y="161"/>
                    </a:lnTo>
                    <a:lnTo>
                      <a:pt x="260" y="167"/>
                    </a:lnTo>
                    <a:lnTo>
                      <a:pt x="248" y="173"/>
                    </a:lnTo>
                    <a:lnTo>
                      <a:pt x="243" y="176"/>
                    </a:lnTo>
                    <a:lnTo>
                      <a:pt x="239" y="176"/>
                    </a:lnTo>
                    <a:lnTo>
                      <a:pt x="236" y="176"/>
                    </a:lnTo>
                    <a:lnTo>
                      <a:pt x="234" y="174"/>
                    </a:lnTo>
                    <a:lnTo>
                      <a:pt x="233" y="172"/>
                    </a:lnTo>
                    <a:lnTo>
                      <a:pt x="232" y="170"/>
                    </a:lnTo>
                    <a:lnTo>
                      <a:pt x="229" y="165"/>
                    </a:lnTo>
                    <a:lnTo>
                      <a:pt x="229" y="160"/>
                    </a:lnTo>
                    <a:lnTo>
                      <a:pt x="229" y="155"/>
                    </a:lnTo>
                    <a:lnTo>
                      <a:pt x="230" y="149"/>
                    </a:lnTo>
                    <a:lnTo>
                      <a:pt x="233" y="145"/>
                    </a:lnTo>
                    <a:lnTo>
                      <a:pt x="238" y="139"/>
                    </a:lnTo>
                    <a:lnTo>
                      <a:pt x="243" y="133"/>
                    </a:lnTo>
                    <a:lnTo>
                      <a:pt x="252" y="126"/>
                    </a:lnTo>
                    <a:lnTo>
                      <a:pt x="260" y="120"/>
                    </a:lnTo>
                    <a:lnTo>
                      <a:pt x="268" y="115"/>
                    </a:lnTo>
                    <a:lnTo>
                      <a:pt x="276" y="110"/>
                    </a:lnTo>
                    <a:lnTo>
                      <a:pt x="283" y="108"/>
                    </a:lnTo>
                    <a:lnTo>
                      <a:pt x="290" y="106"/>
                    </a:lnTo>
                    <a:lnTo>
                      <a:pt x="297" y="106"/>
                    </a:lnTo>
                    <a:lnTo>
                      <a:pt x="305" y="107"/>
                    </a:lnTo>
                    <a:lnTo>
                      <a:pt x="315" y="109"/>
                    </a:lnTo>
                    <a:lnTo>
                      <a:pt x="333" y="114"/>
                    </a:lnTo>
                    <a:lnTo>
                      <a:pt x="343" y="119"/>
                    </a:lnTo>
                    <a:lnTo>
                      <a:pt x="350" y="123"/>
                    </a:lnTo>
                    <a:lnTo>
                      <a:pt x="355" y="128"/>
                    </a:lnTo>
                    <a:lnTo>
                      <a:pt x="359" y="130"/>
                    </a:lnTo>
                    <a:lnTo>
                      <a:pt x="365" y="133"/>
                    </a:lnTo>
                    <a:lnTo>
                      <a:pt x="371" y="133"/>
                    </a:lnTo>
                    <a:lnTo>
                      <a:pt x="378" y="133"/>
                    </a:lnTo>
                    <a:lnTo>
                      <a:pt x="383" y="132"/>
                    </a:lnTo>
                    <a:lnTo>
                      <a:pt x="387" y="128"/>
                    </a:lnTo>
                    <a:lnTo>
                      <a:pt x="388" y="126"/>
                    </a:lnTo>
                    <a:lnTo>
                      <a:pt x="388" y="123"/>
                    </a:lnTo>
                    <a:lnTo>
                      <a:pt x="387" y="121"/>
                    </a:lnTo>
                    <a:lnTo>
                      <a:pt x="386" y="116"/>
                    </a:lnTo>
                    <a:lnTo>
                      <a:pt x="384" y="113"/>
                    </a:lnTo>
                    <a:lnTo>
                      <a:pt x="384" y="109"/>
                    </a:lnTo>
                    <a:lnTo>
                      <a:pt x="383" y="104"/>
                    </a:lnTo>
                    <a:lnTo>
                      <a:pt x="384" y="100"/>
                    </a:lnTo>
                    <a:lnTo>
                      <a:pt x="386" y="91"/>
                    </a:lnTo>
                    <a:lnTo>
                      <a:pt x="391" y="83"/>
                    </a:lnTo>
                    <a:lnTo>
                      <a:pt x="397" y="76"/>
                    </a:lnTo>
                    <a:lnTo>
                      <a:pt x="405" y="70"/>
                    </a:lnTo>
                    <a:lnTo>
                      <a:pt x="410" y="67"/>
                    </a:lnTo>
                    <a:lnTo>
                      <a:pt x="413" y="65"/>
                    </a:lnTo>
                    <a:lnTo>
                      <a:pt x="418" y="64"/>
                    </a:lnTo>
                    <a:lnTo>
                      <a:pt x="423" y="64"/>
                    </a:lnTo>
                    <a:lnTo>
                      <a:pt x="441" y="64"/>
                    </a:lnTo>
                    <a:lnTo>
                      <a:pt x="455" y="65"/>
                    </a:lnTo>
                    <a:lnTo>
                      <a:pt x="462" y="66"/>
                    </a:lnTo>
                    <a:lnTo>
                      <a:pt x="468" y="70"/>
                    </a:lnTo>
                    <a:lnTo>
                      <a:pt x="475" y="73"/>
                    </a:lnTo>
                    <a:lnTo>
                      <a:pt x="482" y="78"/>
                    </a:lnTo>
                    <a:lnTo>
                      <a:pt x="495" y="88"/>
                    </a:lnTo>
                    <a:lnTo>
                      <a:pt x="504" y="94"/>
                    </a:lnTo>
                    <a:lnTo>
                      <a:pt x="507" y="95"/>
                    </a:lnTo>
                    <a:lnTo>
                      <a:pt x="511" y="94"/>
                    </a:lnTo>
                    <a:lnTo>
                      <a:pt x="514" y="91"/>
                    </a:lnTo>
                    <a:lnTo>
                      <a:pt x="519" y="86"/>
                    </a:lnTo>
                    <a:lnTo>
                      <a:pt x="524" y="82"/>
                    </a:lnTo>
                    <a:lnTo>
                      <a:pt x="529" y="77"/>
                    </a:lnTo>
                    <a:lnTo>
                      <a:pt x="535" y="75"/>
                    </a:lnTo>
                    <a:lnTo>
                      <a:pt x="539" y="73"/>
                    </a:lnTo>
                    <a:lnTo>
                      <a:pt x="543" y="73"/>
                    </a:lnTo>
                    <a:lnTo>
                      <a:pt x="548" y="76"/>
                    </a:lnTo>
                    <a:lnTo>
                      <a:pt x="550" y="81"/>
                    </a:lnTo>
                    <a:lnTo>
                      <a:pt x="553" y="86"/>
                    </a:lnTo>
                    <a:lnTo>
                      <a:pt x="554" y="94"/>
                    </a:lnTo>
                    <a:lnTo>
                      <a:pt x="557" y="98"/>
                    </a:lnTo>
                    <a:lnTo>
                      <a:pt x="561" y="102"/>
                    </a:lnTo>
                    <a:lnTo>
                      <a:pt x="566" y="103"/>
                    </a:lnTo>
                    <a:lnTo>
                      <a:pt x="569" y="103"/>
                    </a:lnTo>
                    <a:lnTo>
                      <a:pt x="574" y="101"/>
                    </a:lnTo>
                    <a:lnTo>
                      <a:pt x="577" y="96"/>
                    </a:lnTo>
                    <a:lnTo>
                      <a:pt x="581" y="90"/>
                    </a:lnTo>
                    <a:lnTo>
                      <a:pt x="583" y="84"/>
                    </a:lnTo>
                    <a:lnTo>
                      <a:pt x="587" y="79"/>
                    </a:lnTo>
                    <a:lnTo>
                      <a:pt x="592" y="77"/>
                    </a:lnTo>
                    <a:lnTo>
                      <a:pt x="595" y="76"/>
                    </a:lnTo>
                    <a:lnTo>
                      <a:pt x="606" y="77"/>
                    </a:lnTo>
                    <a:lnTo>
                      <a:pt x="616" y="79"/>
                    </a:lnTo>
                    <a:lnTo>
                      <a:pt x="620" y="82"/>
                    </a:lnTo>
                    <a:lnTo>
                      <a:pt x="625" y="82"/>
                    </a:lnTo>
                    <a:lnTo>
                      <a:pt x="630" y="81"/>
                    </a:lnTo>
                    <a:lnTo>
                      <a:pt x="633" y="79"/>
                    </a:lnTo>
                    <a:lnTo>
                      <a:pt x="636" y="77"/>
                    </a:lnTo>
                    <a:lnTo>
                      <a:pt x="638" y="73"/>
                    </a:lnTo>
                    <a:lnTo>
                      <a:pt x="641" y="70"/>
                    </a:lnTo>
                    <a:lnTo>
                      <a:pt x="641" y="66"/>
                    </a:lnTo>
                    <a:lnTo>
                      <a:pt x="642" y="62"/>
                    </a:lnTo>
                    <a:lnTo>
                      <a:pt x="643" y="58"/>
                    </a:lnTo>
                    <a:lnTo>
                      <a:pt x="645" y="53"/>
                    </a:lnTo>
                    <a:lnTo>
                      <a:pt x="649" y="48"/>
                    </a:lnTo>
                    <a:lnTo>
                      <a:pt x="654" y="46"/>
                    </a:lnTo>
                    <a:lnTo>
                      <a:pt x="658" y="43"/>
                    </a:lnTo>
                    <a:lnTo>
                      <a:pt x="665" y="43"/>
                    </a:lnTo>
                    <a:lnTo>
                      <a:pt x="674" y="43"/>
                    </a:lnTo>
                    <a:lnTo>
                      <a:pt x="681" y="44"/>
                    </a:lnTo>
                    <a:lnTo>
                      <a:pt x="689" y="44"/>
                    </a:lnTo>
                    <a:lnTo>
                      <a:pt x="695" y="44"/>
                    </a:lnTo>
                    <a:lnTo>
                      <a:pt x="701" y="41"/>
                    </a:lnTo>
                    <a:lnTo>
                      <a:pt x="711" y="37"/>
                    </a:lnTo>
                    <a:lnTo>
                      <a:pt x="721" y="29"/>
                    </a:lnTo>
                    <a:lnTo>
                      <a:pt x="726" y="27"/>
                    </a:lnTo>
                    <a:lnTo>
                      <a:pt x="731" y="25"/>
                    </a:lnTo>
                    <a:lnTo>
                      <a:pt x="737" y="26"/>
                    </a:lnTo>
                    <a:lnTo>
                      <a:pt x="743" y="27"/>
                    </a:lnTo>
                    <a:lnTo>
                      <a:pt x="750" y="31"/>
                    </a:lnTo>
                    <a:lnTo>
                      <a:pt x="757" y="37"/>
                    </a:lnTo>
                    <a:lnTo>
                      <a:pt x="765" y="43"/>
                    </a:lnTo>
                    <a:lnTo>
                      <a:pt x="775" y="51"/>
                    </a:lnTo>
                    <a:lnTo>
                      <a:pt x="784" y="58"/>
                    </a:lnTo>
                    <a:lnTo>
                      <a:pt x="794" y="64"/>
                    </a:lnTo>
                    <a:lnTo>
                      <a:pt x="801" y="69"/>
                    </a:lnTo>
                    <a:lnTo>
                      <a:pt x="808" y="71"/>
                    </a:lnTo>
                    <a:lnTo>
                      <a:pt x="810" y="71"/>
                    </a:lnTo>
                    <a:lnTo>
                      <a:pt x="813" y="70"/>
                    </a:lnTo>
                    <a:lnTo>
                      <a:pt x="815" y="69"/>
                    </a:lnTo>
                    <a:lnTo>
                      <a:pt x="818" y="67"/>
                    </a:lnTo>
                    <a:lnTo>
                      <a:pt x="820" y="60"/>
                    </a:lnTo>
                    <a:lnTo>
                      <a:pt x="820" y="51"/>
                    </a:lnTo>
                    <a:lnTo>
                      <a:pt x="819" y="33"/>
                    </a:lnTo>
                    <a:lnTo>
                      <a:pt x="818" y="22"/>
                    </a:lnTo>
                    <a:lnTo>
                      <a:pt x="819" y="19"/>
                    </a:lnTo>
                    <a:lnTo>
                      <a:pt x="821" y="15"/>
                    </a:lnTo>
                    <a:lnTo>
                      <a:pt x="827" y="12"/>
                    </a:lnTo>
                    <a:lnTo>
                      <a:pt x="834" y="7"/>
                    </a:lnTo>
                    <a:lnTo>
                      <a:pt x="843" y="3"/>
                    </a:lnTo>
                    <a:lnTo>
                      <a:pt x="849" y="1"/>
                    </a:lnTo>
                    <a:lnTo>
                      <a:pt x="854" y="0"/>
                    </a:lnTo>
                    <a:lnTo>
                      <a:pt x="858" y="1"/>
                    </a:lnTo>
                    <a:lnTo>
                      <a:pt x="862" y="3"/>
                    </a:lnTo>
                    <a:lnTo>
                      <a:pt x="865" y="8"/>
                    </a:lnTo>
                    <a:lnTo>
                      <a:pt x="868" y="14"/>
                    </a:lnTo>
                    <a:lnTo>
                      <a:pt x="870" y="21"/>
                    </a:lnTo>
                    <a:lnTo>
                      <a:pt x="873" y="28"/>
                    </a:lnTo>
                    <a:lnTo>
                      <a:pt x="878" y="35"/>
                    </a:lnTo>
                    <a:lnTo>
                      <a:pt x="884" y="40"/>
                    </a:lnTo>
                    <a:lnTo>
                      <a:pt x="890" y="44"/>
                    </a:lnTo>
                    <a:lnTo>
                      <a:pt x="907" y="50"/>
                    </a:lnTo>
                    <a:lnTo>
                      <a:pt x="925" y="56"/>
                    </a:lnTo>
                    <a:lnTo>
                      <a:pt x="942" y="60"/>
                    </a:lnTo>
                    <a:lnTo>
                      <a:pt x="958" y="66"/>
                    </a:lnTo>
                    <a:lnTo>
                      <a:pt x="965" y="71"/>
                    </a:lnTo>
                    <a:lnTo>
                      <a:pt x="971" y="78"/>
                    </a:lnTo>
                    <a:lnTo>
                      <a:pt x="977" y="86"/>
                    </a:lnTo>
                    <a:lnTo>
                      <a:pt x="982" y="98"/>
                    </a:lnTo>
                    <a:lnTo>
                      <a:pt x="994" y="130"/>
                    </a:lnTo>
                    <a:lnTo>
                      <a:pt x="1005" y="169"/>
                    </a:lnTo>
                    <a:lnTo>
                      <a:pt x="1009" y="185"/>
                    </a:lnTo>
                    <a:lnTo>
                      <a:pt x="1011" y="201"/>
                    </a:lnTo>
                    <a:lnTo>
                      <a:pt x="1013" y="207"/>
                    </a:lnTo>
                    <a:lnTo>
                      <a:pt x="1013" y="211"/>
                    </a:lnTo>
                    <a:lnTo>
                      <a:pt x="1011" y="215"/>
                    </a:lnTo>
                    <a:lnTo>
                      <a:pt x="1009" y="217"/>
                    </a:lnTo>
                    <a:lnTo>
                      <a:pt x="998" y="226"/>
                    </a:lnTo>
                    <a:lnTo>
                      <a:pt x="984" y="237"/>
                    </a:lnTo>
                    <a:lnTo>
                      <a:pt x="977" y="243"/>
                    </a:lnTo>
                    <a:lnTo>
                      <a:pt x="970" y="248"/>
                    </a:lnTo>
                    <a:lnTo>
                      <a:pt x="963" y="252"/>
                    </a:lnTo>
                    <a:lnTo>
                      <a:pt x="957" y="253"/>
                    </a:lnTo>
                    <a:lnTo>
                      <a:pt x="953" y="252"/>
                    </a:lnTo>
                    <a:lnTo>
                      <a:pt x="950" y="249"/>
                    </a:lnTo>
                    <a:lnTo>
                      <a:pt x="948" y="247"/>
                    </a:lnTo>
                    <a:lnTo>
                      <a:pt x="947" y="242"/>
                    </a:lnTo>
                    <a:lnTo>
                      <a:pt x="946" y="234"/>
                    </a:lnTo>
                    <a:lnTo>
                      <a:pt x="944" y="224"/>
                    </a:lnTo>
                    <a:lnTo>
                      <a:pt x="941" y="221"/>
                    </a:lnTo>
                    <a:lnTo>
                      <a:pt x="939" y="218"/>
                    </a:lnTo>
                    <a:lnTo>
                      <a:pt x="935" y="217"/>
                    </a:lnTo>
                    <a:lnTo>
                      <a:pt x="931" y="216"/>
                    </a:lnTo>
                    <a:lnTo>
                      <a:pt x="922" y="218"/>
                    </a:lnTo>
                    <a:lnTo>
                      <a:pt x="914" y="222"/>
                    </a:lnTo>
                    <a:lnTo>
                      <a:pt x="912" y="223"/>
                    </a:lnTo>
                    <a:lnTo>
                      <a:pt x="909" y="226"/>
                    </a:lnTo>
                    <a:lnTo>
                      <a:pt x="909" y="227"/>
                    </a:lnTo>
                    <a:lnTo>
                      <a:pt x="909" y="229"/>
                    </a:lnTo>
                    <a:lnTo>
                      <a:pt x="913" y="233"/>
                    </a:lnTo>
                    <a:lnTo>
                      <a:pt x="919" y="239"/>
                    </a:lnTo>
                    <a:lnTo>
                      <a:pt x="922" y="241"/>
                    </a:lnTo>
                    <a:lnTo>
                      <a:pt x="926" y="246"/>
                    </a:lnTo>
                    <a:lnTo>
                      <a:pt x="928" y="252"/>
                    </a:lnTo>
                    <a:lnTo>
                      <a:pt x="931" y="258"/>
                    </a:lnTo>
                    <a:lnTo>
                      <a:pt x="931" y="265"/>
                    </a:lnTo>
                    <a:lnTo>
                      <a:pt x="931" y="271"/>
                    </a:lnTo>
                    <a:lnTo>
                      <a:pt x="928" y="274"/>
                    </a:lnTo>
                    <a:lnTo>
                      <a:pt x="927" y="277"/>
                    </a:lnTo>
                    <a:lnTo>
                      <a:pt x="925" y="280"/>
                    </a:lnTo>
                    <a:lnTo>
                      <a:pt x="921" y="283"/>
                    </a:lnTo>
                    <a:lnTo>
                      <a:pt x="913" y="289"/>
                    </a:lnTo>
                    <a:lnTo>
                      <a:pt x="902" y="298"/>
                    </a:lnTo>
                    <a:lnTo>
                      <a:pt x="890" y="311"/>
                    </a:lnTo>
                    <a:lnTo>
                      <a:pt x="877" y="327"/>
                    </a:lnTo>
                    <a:lnTo>
                      <a:pt x="864" y="343"/>
                    </a:lnTo>
                    <a:lnTo>
                      <a:pt x="852" y="362"/>
                    </a:lnTo>
                    <a:lnTo>
                      <a:pt x="840" y="382"/>
                    </a:lnTo>
                    <a:lnTo>
                      <a:pt x="832" y="403"/>
                    </a:lnTo>
                    <a:lnTo>
                      <a:pt x="819" y="441"/>
                    </a:lnTo>
                    <a:lnTo>
                      <a:pt x="812" y="473"/>
                    </a:lnTo>
                    <a:lnTo>
                      <a:pt x="808" y="486"/>
                    </a:lnTo>
                    <a:lnTo>
                      <a:pt x="802" y="499"/>
                    </a:lnTo>
                    <a:lnTo>
                      <a:pt x="800" y="505"/>
                    </a:lnTo>
                    <a:lnTo>
                      <a:pt x="795" y="511"/>
                    </a:lnTo>
                    <a:lnTo>
                      <a:pt x="791" y="517"/>
                    </a:lnTo>
                    <a:lnTo>
                      <a:pt x="786" y="523"/>
                    </a:lnTo>
                    <a:lnTo>
                      <a:pt x="776" y="533"/>
                    </a:lnTo>
                    <a:lnTo>
                      <a:pt x="771" y="543"/>
                    </a:lnTo>
                    <a:lnTo>
                      <a:pt x="769" y="546"/>
                    </a:lnTo>
                    <a:lnTo>
                      <a:pt x="769" y="551"/>
                    </a:lnTo>
                    <a:lnTo>
                      <a:pt x="769" y="554"/>
                    </a:lnTo>
                    <a:lnTo>
                      <a:pt x="769" y="557"/>
                    </a:lnTo>
                    <a:lnTo>
                      <a:pt x="770" y="558"/>
                    </a:lnTo>
                    <a:lnTo>
                      <a:pt x="772" y="561"/>
                    </a:lnTo>
                    <a:lnTo>
                      <a:pt x="775" y="562"/>
                    </a:lnTo>
                    <a:lnTo>
                      <a:pt x="777" y="562"/>
                    </a:lnTo>
                    <a:lnTo>
                      <a:pt x="780" y="561"/>
                    </a:lnTo>
                    <a:lnTo>
                      <a:pt x="783" y="560"/>
                    </a:lnTo>
                    <a:lnTo>
                      <a:pt x="787" y="558"/>
                    </a:lnTo>
                    <a:lnTo>
                      <a:pt x="790" y="555"/>
                    </a:lnTo>
                    <a:lnTo>
                      <a:pt x="796" y="550"/>
                    </a:lnTo>
                    <a:lnTo>
                      <a:pt x="802" y="546"/>
                    </a:lnTo>
                    <a:lnTo>
                      <a:pt x="806" y="545"/>
                    </a:lnTo>
                    <a:lnTo>
                      <a:pt x="809" y="546"/>
                    </a:lnTo>
                    <a:lnTo>
                      <a:pt x="810" y="550"/>
                    </a:lnTo>
                    <a:lnTo>
                      <a:pt x="813" y="555"/>
                    </a:lnTo>
                    <a:lnTo>
                      <a:pt x="813" y="562"/>
                    </a:lnTo>
                    <a:lnTo>
                      <a:pt x="813" y="569"/>
                    </a:lnTo>
                    <a:lnTo>
                      <a:pt x="813" y="574"/>
                    </a:lnTo>
                    <a:lnTo>
                      <a:pt x="812" y="579"/>
                    </a:lnTo>
                    <a:lnTo>
                      <a:pt x="810" y="582"/>
                    </a:lnTo>
                    <a:lnTo>
                      <a:pt x="808" y="587"/>
                    </a:lnTo>
                    <a:lnTo>
                      <a:pt x="801" y="594"/>
                    </a:lnTo>
                    <a:lnTo>
                      <a:pt x="794" y="601"/>
                    </a:lnTo>
                    <a:lnTo>
                      <a:pt x="775" y="614"/>
                    </a:lnTo>
                    <a:lnTo>
                      <a:pt x="756" y="625"/>
                    </a:lnTo>
                    <a:lnTo>
                      <a:pt x="747" y="628"/>
                    </a:lnTo>
                    <a:lnTo>
                      <a:pt x="739" y="628"/>
                    </a:lnTo>
                    <a:lnTo>
                      <a:pt x="732" y="628"/>
                    </a:lnTo>
                    <a:lnTo>
                      <a:pt x="724" y="627"/>
                    </a:lnTo>
                    <a:lnTo>
                      <a:pt x="715" y="627"/>
                    </a:lnTo>
                    <a:lnTo>
                      <a:pt x="706" y="628"/>
                    </a:lnTo>
                    <a:lnTo>
                      <a:pt x="694" y="632"/>
                    </a:lnTo>
                    <a:lnTo>
                      <a:pt x="682" y="639"/>
                    </a:lnTo>
                    <a:lnTo>
                      <a:pt x="670" y="649"/>
                    </a:lnTo>
                    <a:lnTo>
                      <a:pt x="660" y="656"/>
                    </a:lnTo>
                    <a:lnTo>
                      <a:pt x="651" y="664"/>
                    </a:lnTo>
                    <a:lnTo>
                      <a:pt x="644" y="671"/>
                    </a:lnTo>
                    <a:lnTo>
                      <a:pt x="638" y="678"/>
                    </a:lnTo>
                    <a:lnTo>
                      <a:pt x="635" y="686"/>
                    </a:lnTo>
                    <a:lnTo>
                      <a:pt x="632" y="693"/>
                    </a:lnTo>
                    <a:lnTo>
                      <a:pt x="630" y="700"/>
                    </a:lnTo>
                    <a:lnTo>
                      <a:pt x="629" y="714"/>
                    </a:lnTo>
                    <a:lnTo>
                      <a:pt x="626" y="725"/>
                    </a:lnTo>
                    <a:lnTo>
                      <a:pt x="625" y="730"/>
                    </a:lnTo>
                    <a:lnTo>
                      <a:pt x="623" y="734"/>
                    </a:lnTo>
                    <a:lnTo>
                      <a:pt x="619" y="738"/>
                    </a:lnTo>
                    <a:lnTo>
                      <a:pt x="614" y="741"/>
                    </a:lnTo>
                    <a:lnTo>
                      <a:pt x="608" y="745"/>
                    </a:lnTo>
                    <a:lnTo>
                      <a:pt x="601" y="747"/>
                    </a:lnTo>
                    <a:lnTo>
                      <a:pt x="593" y="750"/>
                    </a:lnTo>
                    <a:lnTo>
                      <a:pt x="586" y="750"/>
                    </a:lnTo>
                    <a:lnTo>
                      <a:pt x="579" y="750"/>
                    </a:lnTo>
                    <a:lnTo>
                      <a:pt x="573" y="749"/>
                    </a:lnTo>
                    <a:lnTo>
                      <a:pt x="570" y="747"/>
                    </a:lnTo>
                    <a:lnTo>
                      <a:pt x="568" y="746"/>
                    </a:lnTo>
                    <a:lnTo>
                      <a:pt x="568" y="744"/>
                    </a:lnTo>
                    <a:lnTo>
                      <a:pt x="567" y="741"/>
                    </a:lnTo>
                    <a:lnTo>
                      <a:pt x="568" y="738"/>
                    </a:lnTo>
                    <a:lnTo>
                      <a:pt x="572" y="734"/>
                    </a:lnTo>
                    <a:lnTo>
                      <a:pt x="575" y="731"/>
                    </a:lnTo>
                    <a:lnTo>
                      <a:pt x="579" y="728"/>
                    </a:lnTo>
                    <a:lnTo>
                      <a:pt x="582" y="725"/>
                    </a:lnTo>
                    <a:lnTo>
                      <a:pt x="585" y="722"/>
                    </a:lnTo>
                    <a:lnTo>
                      <a:pt x="585" y="719"/>
                    </a:lnTo>
                    <a:lnTo>
                      <a:pt x="583" y="715"/>
                    </a:lnTo>
                    <a:lnTo>
                      <a:pt x="581" y="711"/>
                    </a:lnTo>
                    <a:lnTo>
                      <a:pt x="577" y="708"/>
                    </a:lnTo>
                    <a:lnTo>
                      <a:pt x="574" y="706"/>
                    </a:lnTo>
                    <a:lnTo>
                      <a:pt x="570" y="706"/>
                    </a:lnTo>
                    <a:lnTo>
                      <a:pt x="566" y="707"/>
                    </a:lnTo>
                    <a:lnTo>
                      <a:pt x="561" y="711"/>
                    </a:lnTo>
                    <a:lnTo>
                      <a:pt x="555" y="716"/>
                    </a:lnTo>
                    <a:lnTo>
                      <a:pt x="550" y="725"/>
                    </a:lnTo>
                    <a:lnTo>
                      <a:pt x="544" y="733"/>
                    </a:lnTo>
                    <a:lnTo>
                      <a:pt x="538" y="740"/>
                    </a:lnTo>
                    <a:lnTo>
                      <a:pt x="532" y="745"/>
                    </a:lnTo>
                    <a:lnTo>
                      <a:pt x="526" y="747"/>
                    </a:lnTo>
                    <a:lnTo>
                      <a:pt x="520" y="750"/>
                    </a:lnTo>
                    <a:lnTo>
                      <a:pt x="514" y="750"/>
                    </a:lnTo>
                    <a:lnTo>
                      <a:pt x="510" y="749"/>
                    </a:lnTo>
                    <a:lnTo>
                      <a:pt x="505" y="747"/>
                    </a:lnTo>
                    <a:lnTo>
                      <a:pt x="500" y="745"/>
                    </a:lnTo>
                    <a:lnTo>
                      <a:pt x="494" y="744"/>
                    </a:lnTo>
                    <a:lnTo>
                      <a:pt x="490" y="744"/>
                    </a:lnTo>
                    <a:lnTo>
                      <a:pt x="485" y="744"/>
                    </a:lnTo>
                    <a:lnTo>
                      <a:pt x="480" y="746"/>
                    </a:lnTo>
                    <a:lnTo>
                      <a:pt x="475" y="749"/>
                    </a:lnTo>
                    <a:lnTo>
                      <a:pt x="472" y="752"/>
                    </a:lnTo>
                    <a:lnTo>
                      <a:pt x="468" y="758"/>
                    </a:lnTo>
                    <a:lnTo>
                      <a:pt x="465" y="764"/>
                    </a:lnTo>
                    <a:lnTo>
                      <a:pt x="462" y="771"/>
                    </a:lnTo>
                    <a:lnTo>
                      <a:pt x="461" y="777"/>
                    </a:lnTo>
                    <a:lnTo>
                      <a:pt x="460" y="783"/>
                    </a:lnTo>
                    <a:lnTo>
                      <a:pt x="461" y="788"/>
                    </a:lnTo>
                    <a:lnTo>
                      <a:pt x="462" y="793"/>
                    </a:lnTo>
                    <a:lnTo>
                      <a:pt x="465" y="797"/>
                    </a:lnTo>
                    <a:lnTo>
                      <a:pt x="468" y="800"/>
                    </a:lnTo>
                    <a:lnTo>
                      <a:pt x="472" y="803"/>
                    </a:lnTo>
                    <a:lnTo>
                      <a:pt x="474" y="807"/>
                    </a:lnTo>
                    <a:lnTo>
                      <a:pt x="476" y="809"/>
                    </a:lnTo>
                    <a:lnTo>
                      <a:pt x="476" y="813"/>
                    </a:lnTo>
                    <a:lnTo>
                      <a:pt x="476" y="816"/>
                    </a:lnTo>
                    <a:lnTo>
                      <a:pt x="475" y="819"/>
                    </a:lnTo>
                    <a:lnTo>
                      <a:pt x="472" y="821"/>
                    </a:lnTo>
                    <a:lnTo>
                      <a:pt x="469" y="823"/>
                    </a:lnTo>
                    <a:lnTo>
                      <a:pt x="465" y="825"/>
                    </a:lnTo>
                    <a:lnTo>
                      <a:pt x="461" y="825"/>
                    </a:lnTo>
                    <a:lnTo>
                      <a:pt x="457" y="825"/>
                    </a:lnTo>
                    <a:lnTo>
                      <a:pt x="453" y="825"/>
                    </a:lnTo>
                    <a:lnTo>
                      <a:pt x="444" y="821"/>
                    </a:lnTo>
                    <a:lnTo>
                      <a:pt x="434" y="816"/>
                    </a:lnTo>
                    <a:lnTo>
                      <a:pt x="429" y="814"/>
                    </a:lnTo>
                    <a:lnTo>
                      <a:pt x="425" y="813"/>
                    </a:lnTo>
                    <a:lnTo>
                      <a:pt x="422" y="813"/>
                    </a:lnTo>
                    <a:lnTo>
                      <a:pt x="419" y="813"/>
                    </a:lnTo>
                    <a:lnTo>
                      <a:pt x="417" y="814"/>
                    </a:lnTo>
                    <a:lnTo>
                      <a:pt x="416" y="816"/>
                    </a:lnTo>
                    <a:lnTo>
                      <a:pt x="416" y="819"/>
                    </a:lnTo>
                    <a:lnTo>
                      <a:pt x="416" y="823"/>
                    </a:lnTo>
                    <a:lnTo>
                      <a:pt x="415" y="832"/>
                    </a:lnTo>
                    <a:lnTo>
                      <a:pt x="413" y="840"/>
                    </a:lnTo>
                    <a:lnTo>
                      <a:pt x="412" y="842"/>
                    </a:lnTo>
                    <a:lnTo>
                      <a:pt x="410" y="845"/>
                    </a:lnTo>
                    <a:lnTo>
                      <a:pt x="406" y="846"/>
                    </a:lnTo>
                    <a:lnTo>
                      <a:pt x="404" y="846"/>
                    </a:lnTo>
                    <a:lnTo>
                      <a:pt x="397" y="831"/>
                    </a:lnTo>
                    <a:lnTo>
                      <a:pt x="388" y="814"/>
                    </a:lnTo>
                    <a:lnTo>
                      <a:pt x="384" y="814"/>
                    </a:lnTo>
                    <a:lnTo>
                      <a:pt x="379" y="816"/>
                    </a:lnTo>
                    <a:lnTo>
                      <a:pt x="374" y="820"/>
                    </a:lnTo>
                    <a:lnTo>
                      <a:pt x="369" y="823"/>
                    </a:lnTo>
                    <a:lnTo>
                      <a:pt x="367" y="826"/>
                    </a:lnTo>
                    <a:lnTo>
                      <a:pt x="365" y="826"/>
                    </a:lnTo>
                    <a:lnTo>
                      <a:pt x="362" y="827"/>
                    </a:lnTo>
                    <a:lnTo>
                      <a:pt x="360" y="826"/>
                    </a:lnTo>
                    <a:lnTo>
                      <a:pt x="358" y="825"/>
                    </a:lnTo>
                    <a:lnTo>
                      <a:pt x="355" y="822"/>
                    </a:lnTo>
                    <a:lnTo>
                      <a:pt x="353" y="819"/>
                    </a:lnTo>
                    <a:lnTo>
                      <a:pt x="352" y="813"/>
                    </a:lnTo>
                    <a:lnTo>
                      <a:pt x="349" y="808"/>
                    </a:lnTo>
                    <a:lnTo>
                      <a:pt x="346" y="803"/>
                    </a:lnTo>
                    <a:lnTo>
                      <a:pt x="343" y="798"/>
                    </a:lnTo>
                    <a:lnTo>
                      <a:pt x="340" y="795"/>
                    </a:lnTo>
                    <a:lnTo>
                      <a:pt x="331" y="790"/>
                    </a:lnTo>
                    <a:lnTo>
                      <a:pt x="323" y="787"/>
                    </a:lnTo>
                    <a:lnTo>
                      <a:pt x="314" y="784"/>
                    </a:lnTo>
                    <a:lnTo>
                      <a:pt x="303" y="783"/>
                    </a:lnTo>
                    <a:lnTo>
                      <a:pt x="292" y="783"/>
                    </a:lnTo>
                    <a:lnTo>
                      <a:pt x="281" y="784"/>
                    </a:lnTo>
                    <a:lnTo>
                      <a:pt x="262" y="787"/>
                    </a:lnTo>
                    <a:lnTo>
                      <a:pt x="247" y="789"/>
                    </a:lnTo>
                    <a:lnTo>
                      <a:pt x="240" y="789"/>
                    </a:lnTo>
                    <a:lnTo>
                      <a:pt x="234" y="788"/>
                    </a:lnTo>
                    <a:lnTo>
                      <a:pt x="228" y="784"/>
                    </a:lnTo>
                    <a:lnTo>
                      <a:pt x="222" y="778"/>
                    </a:lnTo>
                    <a:lnTo>
                      <a:pt x="213" y="766"/>
                    </a:lnTo>
                    <a:lnTo>
                      <a:pt x="204" y="759"/>
                    </a:lnTo>
                    <a:lnTo>
                      <a:pt x="201" y="757"/>
                    </a:lnTo>
                    <a:lnTo>
                      <a:pt x="195" y="756"/>
                    </a:lnTo>
                    <a:lnTo>
                      <a:pt x="188" y="756"/>
                    </a:lnTo>
                    <a:lnTo>
                      <a:pt x="177" y="757"/>
                    </a:lnTo>
                    <a:lnTo>
                      <a:pt x="167" y="758"/>
                    </a:lnTo>
                    <a:lnTo>
                      <a:pt x="159" y="757"/>
                    </a:lnTo>
                    <a:lnTo>
                      <a:pt x="153" y="756"/>
                    </a:lnTo>
                    <a:lnTo>
                      <a:pt x="148" y="753"/>
                    </a:lnTo>
                    <a:lnTo>
                      <a:pt x="141" y="746"/>
                    </a:lnTo>
                    <a:lnTo>
                      <a:pt x="136" y="739"/>
                    </a:lnTo>
                    <a:lnTo>
                      <a:pt x="134" y="737"/>
                    </a:lnTo>
                    <a:lnTo>
                      <a:pt x="132" y="734"/>
                    </a:lnTo>
                    <a:lnTo>
                      <a:pt x="128" y="732"/>
                    </a:lnTo>
                    <a:lnTo>
                      <a:pt x="125" y="731"/>
                    </a:lnTo>
                    <a:lnTo>
                      <a:pt x="115" y="730"/>
                    </a:lnTo>
                    <a:lnTo>
                      <a:pt x="107" y="728"/>
                    </a:lnTo>
                    <a:lnTo>
                      <a:pt x="102" y="727"/>
                    </a:lnTo>
                    <a:lnTo>
                      <a:pt x="97" y="725"/>
                    </a:lnTo>
                    <a:lnTo>
                      <a:pt x="94" y="721"/>
                    </a:lnTo>
                    <a:lnTo>
                      <a:pt x="91" y="718"/>
                    </a:lnTo>
                    <a:lnTo>
                      <a:pt x="88" y="714"/>
                    </a:lnTo>
                    <a:lnTo>
                      <a:pt x="87" y="711"/>
                    </a:lnTo>
                    <a:lnTo>
                      <a:pt x="85" y="706"/>
                    </a:lnTo>
                    <a:lnTo>
                      <a:pt x="84" y="702"/>
                    </a:lnTo>
                    <a:lnTo>
                      <a:pt x="84" y="696"/>
                    </a:lnTo>
                    <a:lnTo>
                      <a:pt x="81" y="690"/>
                    </a:lnTo>
                    <a:lnTo>
                      <a:pt x="78" y="688"/>
                    </a:lnTo>
                    <a:lnTo>
                      <a:pt x="76" y="688"/>
                    </a:lnTo>
                    <a:lnTo>
                      <a:pt x="72" y="690"/>
                    </a:lnTo>
                    <a:lnTo>
                      <a:pt x="68" y="694"/>
                    </a:lnTo>
                    <a:lnTo>
                      <a:pt x="63" y="699"/>
                    </a:lnTo>
                    <a:lnTo>
                      <a:pt x="56" y="701"/>
                    </a:lnTo>
                    <a:lnTo>
                      <a:pt x="47" y="702"/>
                    </a:lnTo>
                    <a:lnTo>
                      <a:pt x="40" y="701"/>
                    </a:lnTo>
                    <a:lnTo>
                      <a:pt x="35" y="700"/>
                    </a:lnTo>
                    <a:lnTo>
                      <a:pt x="32" y="699"/>
                    </a:lnTo>
                    <a:lnTo>
                      <a:pt x="29" y="696"/>
                    </a:lnTo>
                    <a:lnTo>
                      <a:pt x="27" y="693"/>
                    </a:lnTo>
                    <a:lnTo>
                      <a:pt x="25" y="689"/>
                    </a:lnTo>
                    <a:lnTo>
                      <a:pt x="22" y="684"/>
                    </a:lnTo>
                    <a:lnTo>
                      <a:pt x="22" y="680"/>
                    </a:lnTo>
                    <a:lnTo>
                      <a:pt x="22" y="675"/>
                    </a:lnTo>
                    <a:lnTo>
                      <a:pt x="25" y="661"/>
                    </a:lnTo>
                    <a:lnTo>
                      <a:pt x="27" y="649"/>
                    </a:lnTo>
                    <a:lnTo>
                      <a:pt x="31" y="639"/>
                    </a:lnTo>
                    <a:lnTo>
                      <a:pt x="33" y="630"/>
                    </a:lnTo>
                    <a:lnTo>
                      <a:pt x="35" y="623"/>
                    </a:lnTo>
                    <a:lnTo>
                      <a:pt x="35" y="617"/>
                    </a:lnTo>
                    <a:lnTo>
                      <a:pt x="35" y="611"/>
                    </a:lnTo>
                    <a:lnTo>
                      <a:pt x="33" y="606"/>
                    </a:lnTo>
                    <a:lnTo>
                      <a:pt x="31" y="601"/>
                    </a:lnTo>
                    <a:lnTo>
                      <a:pt x="27" y="596"/>
                    </a:lnTo>
                    <a:lnTo>
                      <a:pt x="24" y="592"/>
                    </a:lnTo>
                    <a:lnTo>
                      <a:pt x="18" y="587"/>
                    </a:lnTo>
                    <a:close/>
                  </a:path>
                </a:pathLst>
              </a:custGeom>
              <a:solidFill>
                <a:srgbClr val="0070BC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 fontAlgn="base"/>
                <a:endParaRPr lang="zh-CN" altLang="en-US" sz="4000" b="1" strike="noStrike" noProof="1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4" name="组合 53"/>
              <p:cNvGrpSpPr/>
              <p:nvPr/>
            </p:nvGrpSpPr>
            <p:grpSpPr>
              <a:xfrm>
                <a:off x="6388893" y="4066407"/>
                <a:ext cx="131554" cy="184175"/>
                <a:chOff x="6388893" y="4075034"/>
                <a:chExt cx="131554" cy="184175"/>
              </a:xfrm>
              <a:solidFill>
                <a:srgbClr val="0070BC"/>
              </a:solidFill>
            </p:grpSpPr>
            <p:grpSp>
              <p:nvGrpSpPr>
                <p:cNvPr id="93" name="组合 92"/>
                <p:cNvGrpSpPr/>
                <p:nvPr/>
              </p:nvGrpSpPr>
              <p:grpSpPr>
                <a:xfrm>
                  <a:off x="6388893" y="4075034"/>
                  <a:ext cx="131554" cy="184175"/>
                  <a:chOff x="6388893" y="4075034"/>
                  <a:chExt cx="131554" cy="184175"/>
                </a:xfrm>
                <a:grpFill/>
              </p:grpSpPr>
              <p:sp>
                <p:nvSpPr>
                  <p:cNvPr id="95" name="上海"/>
                  <p:cNvSpPr>
                    <a:spLocks noEditPoints="1"/>
                  </p:cNvSpPr>
                  <p:nvPr>
                    <p:custDataLst>
                      <p:tags r:id="rId87"/>
                    </p:custDataLst>
                  </p:nvPr>
                </p:nvSpPr>
                <p:spPr bwMode="auto">
                  <a:xfrm>
                    <a:off x="6388893" y="4075034"/>
                    <a:ext cx="131554" cy="184175"/>
                  </a:xfrm>
                  <a:custGeom>
                    <a:avLst/>
                    <a:gdLst>
                      <a:gd name="T0" fmla="*/ 121 w 357"/>
                      <a:gd name="T1" fmla="*/ 465 h 494"/>
                      <a:gd name="T2" fmla="*/ 98 w 357"/>
                      <a:gd name="T3" fmla="*/ 454 h 494"/>
                      <a:gd name="T4" fmla="*/ 48 w 357"/>
                      <a:gd name="T5" fmla="*/ 449 h 494"/>
                      <a:gd name="T6" fmla="*/ 30 w 357"/>
                      <a:gd name="T7" fmla="*/ 439 h 494"/>
                      <a:gd name="T8" fmla="*/ 25 w 357"/>
                      <a:gd name="T9" fmla="*/ 416 h 494"/>
                      <a:gd name="T10" fmla="*/ 22 w 357"/>
                      <a:gd name="T11" fmla="*/ 373 h 494"/>
                      <a:gd name="T12" fmla="*/ 11 w 357"/>
                      <a:gd name="T13" fmla="*/ 365 h 494"/>
                      <a:gd name="T14" fmla="*/ 0 w 357"/>
                      <a:gd name="T15" fmla="*/ 366 h 494"/>
                      <a:gd name="T16" fmla="*/ 5 w 357"/>
                      <a:gd name="T17" fmla="*/ 342 h 494"/>
                      <a:gd name="T18" fmla="*/ 32 w 357"/>
                      <a:gd name="T19" fmla="*/ 302 h 494"/>
                      <a:gd name="T20" fmla="*/ 46 w 357"/>
                      <a:gd name="T21" fmla="*/ 247 h 494"/>
                      <a:gd name="T22" fmla="*/ 50 w 357"/>
                      <a:gd name="T23" fmla="*/ 184 h 494"/>
                      <a:gd name="T24" fmla="*/ 80 w 357"/>
                      <a:gd name="T25" fmla="*/ 157 h 494"/>
                      <a:gd name="T26" fmla="*/ 113 w 357"/>
                      <a:gd name="T27" fmla="*/ 146 h 494"/>
                      <a:gd name="T28" fmla="*/ 163 w 357"/>
                      <a:gd name="T29" fmla="*/ 164 h 494"/>
                      <a:gd name="T30" fmla="*/ 199 w 357"/>
                      <a:gd name="T31" fmla="*/ 184 h 494"/>
                      <a:gd name="T32" fmla="*/ 233 w 357"/>
                      <a:gd name="T33" fmla="*/ 200 h 494"/>
                      <a:gd name="T34" fmla="*/ 287 w 357"/>
                      <a:gd name="T35" fmla="*/ 241 h 494"/>
                      <a:gd name="T36" fmla="*/ 325 w 357"/>
                      <a:gd name="T37" fmla="*/ 298 h 494"/>
                      <a:gd name="T38" fmla="*/ 350 w 357"/>
                      <a:gd name="T39" fmla="*/ 340 h 494"/>
                      <a:gd name="T40" fmla="*/ 357 w 357"/>
                      <a:gd name="T41" fmla="*/ 372 h 494"/>
                      <a:gd name="T42" fmla="*/ 348 w 357"/>
                      <a:gd name="T43" fmla="*/ 402 h 494"/>
                      <a:gd name="T44" fmla="*/ 323 w 357"/>
                      <a:gd name="T45" fmla="*/ 411 h 494"/>
                      <a:gd name="T46" fmla="*/ 265 w 357"/>
                      <a:gd name="T47" fmla="*/ 409 h 494"/>
                      <a:gd name="T48" fmla="*/ 215 w 357"/>
                      <a:gd name="T49" fmla="*/ 421 h 494"/>
                      <a:gd name="T50" fmla="*/ 192 w 357"/>
                      <a:gd name="T51" fmla="*/ 448 h 494"/>
                      <a:gd name="T52" fmla="*/ 171 w 357"/>
                      <a:gd name="T53" fmla="*/ 472 h 494"/>
                      <a:gd name="T54" fmla="*/ 71 w 357"/>
                      <a:gd name="T55" fmla="*/ 6 h 494"/>
                      <a:gd name="T56" fmla="*/ 99 w 357"/>
                      <a:gd name="T57" fmla="*/ 0 h 494"/>
                      <a:gd name="T58" fmla="*/ 144 w 357"/>
                      <a:gd name="T59" fmla="*/ 25 h 494"/>
                      <a:gd name="T60" fmla="*/ 190 w 357"/>
                      <a:gd name="T61" fmla="*/ 45 h 494"/>
                      <a:gd name="T62" fmla="*/ 213 w 357"/>
                      <a:gd name="T63" fmla="*/ 62 h 494"/>
                      <a:gd name="T64" fmla="*/ 266 w 357"/>
                      <a:gd name="T65" fmla="*/ 84 h 494"/>
                      <a:gd name="T66" fmla="*/ 304 w 357"/>
                      <a:gd name="T67" fmla="*/ 92 h 494"/>
                      <a:gd name="T68" fmla="*/ 313 w 357"/>
                      <a:gd name="T69" fmla="*/ 99 h 494"/>
                      <a:gd name="T70" fmla="*/ 314 w 357"/>
                      <a:gd name="T71" fmla="*/ 112 h 494"/>
                      <a:gd name="T72" fmla="*/ 284 w 357"/>
                      <a:gd name="T73" fmla="*/ 137 h 494"/>
                      <a:gd name="T74" fmla="*/ 260 w 357"/>
                      <a:gd name="T75" fmla="*/ 135 h 494"/>
                      <a:gd name="T76" fmla="*/ 188 w 357"/>
                      <a:gd name="T77" fmla="*/ 106 h 494"/>
                      <a:gd name="T78" fmla="*/ 125 w 357"/>
                      <a:gd name="T79" fmla="*/ 84 h 494"/>
                      <a:gd name="T80" fmla="*/ 98 w 357"/>
                      <a:gd name="T81" fmla="*/ 71 h 494"/>
                      <a:gd name="T82" fmla="*/ 51 w 357"/>
                      <a:gd name="T83" fmla="*/ 42 h 494"/>
                      <a:gd name="T84" fmla="*/ 43 w 357"/>
                      <a:gd name="T85" fmla="*/ 31 h 494"/>
                      <a:gd name="T86" fmla="*/ 46 w 357"/>
                      <a:gd name="T87" fmla="*/ 20 h 494"/>
                      <a:gd name="T88" fmla="*/ 71 w 357"/>
                      <a:gd name="T89" fmla="*/ 6 h 494"/>
                      <a:gd name="T90" fmla="*/ 215 w 357"/>
                      <a:gd name="T91" fmla="*/ 162 h 494"/>
                      <a:gd name="T92" fmla="*/ 222 w 357"/>
                      <a:gd name="T93" fmla="*/ 157 h 494"/>
                      <a:gd name="T94" fmla="*/ 260 w 357"/>
                      <a:gd name="T95" fmla="*/ 166 h 494"/>
                      <a:gd name="T96" fmla="*/ 282 w 357"/>
                      <a:gd name="T97" fmla="*/ 183 h 494"/>
                      <a:gd name="T98" fmla="*/ 278 w 357"/>
                      <a:gd name="T99" fmla="*/ 193 h 494"/>
                      <a:gd name="T100" fmla="*/ 253 w 357"/>
                      <a:gd name="T101" fmla="*/ 183 h 494"/>
                      <a:gd name="T102" fmla="*/ 289 w 357"/>
                      <a:gd name="T103" fmla="*/ 175 h 494"/>
                      <a:gd name="T104" fmla="*/ 293 w 357"/>
                      <a:gd name="T105" fmla="*/ 171 h 494"/>
                      <a:gd name="T106" fmla="*/ 319 w 357"/>
                      <a:gd name="T107" fmla="*/ 189 h 494"/>
                      <a:gd name="T108" fmla="*/ 315 w 357"/>
                      <a:gd name="T109" fmla="*/ 194 h 494"/>
                      <a:gd name="T110" fmla="*/ 295 w 357"/>
                      <a:gd name="T111" fmla="*/ 187 h 494"/>
                      <a:gd name="T112" fmla="*/ 289 w 357"/>
                      <a:gd name="T113" fmla="*/ 175 h 4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57" h="494">
                        <a:moveTo>
                          <a:pt x="132" y="494"/>
                        </a:moveTo>
                        <a:lnTo>
                          <a:pt x="129" y="485"/>
                        </a:lnTo>
                        <a:lnTo>
                          <a:pt x="125" y="473"/>
                        </a:lnTo>
                        <a:lnTo>
                          <a:pt x="121" y="465"/>
                        </a:lnTo>
                        <a:lnTo>
                          <a:pt x="117" y="460"/>
                        </a:lnTo>
                        <a:lnTo>
                          <a:pt x="112" y="456"/>
                        </a:lnTo>
                        <a:lnTo>
                          <a:pt x="107" y="455"/>
                        </a:lnTo>
                        <a:lnTo>
                          <a:pt x="98" y="454"/>
                        </a:lnTo>
                        <a:lnTo>
                          <a:pt x="80" y="454"/>
                        </a:lnTo>
                        <a:lnTo>
                          <a:pt x="68" y="453"/>
                        </a:lnTo>
                        <a:lnTo>
                          <a:pt x="55" y="450"/>
                        </a:lnTo>
                        <a:lnTo>
                          <a:pt x="48" y="449"/>
                        </a:lnTo>
                        <a:lnTo>
                          <a:pt x="42" y="447"/>
                        </a:lnTo>
                        <a:lnTo>
                          <a:pt x="37" y="445"/>
                        </a:lnTo>
                        <a:lnTo>
                          <a:pt x="32" y="442"/>
                        </a:lnTo>
                        <a:lnTo>
                          <a:pt x="30" y="439"/>
                        </a:lnTo>
                        <a:lnTo>
                          <a:pt x="27" y="435"/>
                        </a:lnTo>
                        <a:lnTo>
                          <a:pt x="26" y="431"/>
                        </a:lnTo>
                        <a:lnTo>
                          <a:pt x="26" y="427"/>
                        </a:lnTo>
                        <a:lnTo>
                          <a:pt x="25" y="416"/>
                        </a:lnTo>
                        <a:lnTo>
                          <a:pt x="25" y="403"/>
                        </a:lnTo>
                        <a:lnTo>
                          <a:pt x="24" y="390"/>
                        </a:lnTo>
                        <a:lnTo>
                          <a:pt x="23" y="380"/>
                        </a:lnTo>
                        <a:lnTo>
                          <a:pt x="22" y="373"/>
                        </a:lnTo>
                        <a:lnTo>
                          <a:pt x="18" y="367"/>
                        </a:lnTo>
                        <a:lnTo>
                          <a:pt x="17" y="365"/>
                        </a:lnTo>
                        <a:lnTo>
                          <a:pt x="13" y="365"/>
                        </a:lnTo>
                        <a:lnTo>
                          <a:pt x="11" y="365"/>
                        </a:lnTo>
                        <a:lnTo>
                          <a:pt x="7" y="366"/>
                        </a:lnTo>
                        <a:lnTo>
                          <a:pt x="5" y="367"/>
                        </a:lnTo>
                        <a:lnTo>
                          <a:pt x="3" y="367"/>
                        </a:lnTo>
                        <a:lnTo>
                          <a:pt x="0" y="366"/>
                        </a:lnTo>
                        <a:lnTo>
                          <a:pt x="0" y="361"/>
                        </a:lnTo>
                        <a:lnTo>
                          <a:pt x="0" y="355"/>
                        </a:lnTo>
                        <a:lnTo>
                          <a:pt x="3" y="349"/>
                        </a:lnTo>
                        <a:lnTo>
                          <a:pt x="5" y="342"/>
                        </a:lnTo>
                        <a:lnTo>
                          <a:pt x="8" y="335"/>
                        </a:lnTo>
                        <a:lnTo>
                          <a:pt x="18" y="321"/>
                        </a:lnTo>
                        <a:lnTo>
                          <a:pt x="29" y="309"/>
                        </a:lnTo>
                        <a:lnTo>
                          <a:pt x="32" y="302"/>
                        </a:lnTo>
                        <a:lnTo>
                          <a:pt x="37" y="292"/>
                        </a:lnTo>
                        <a:lnTo>
                          <a:pt x="39" y="283"/>
                        </a:lnTo>
                        <a:lnTo>
                          <a:pt x="42" y="271"/>
                        </a:lnTo>
                        <a:lnTo>
                          <a:pt x="46" y="247"/>
                        </a:lnTo>
                        <a:lnTo>
                          <a:pt x="50" y="223"/>
                        </a:lnTo>
                        <a:lnTo>
                          <a:pt x="50" y="204"/>
                        </a:lnTo>
                        <a:lnTo>
                          <a:pt x="50" y="190"/>
                        </a:lnTo>
                        <a:lnTo>
                          <a:pt x="50" y="184"/>
                        </a:lnTo>
                        <a:lnTo>
                          <a:pt x="52" y="178"/>
                        </a:lnTo>
                        <a:lnTo>
                          <a:pt x="56" y="172"/>
                        </a:lnTo>
                        <a:lnTo>
                          <a:pt x="62" y="168"/>
                        </a:lnTo>
                        <a:lnTo>
                          <a:pt x="80" y="157"/>
                        </a:lnTo>
                        <a:lnTo>
                          <a:pt x="96" y="146"/>
                        </a:lnTo>
                        <a:lnTo>
                          <a:pt x="100" y="144"/>
                        </a:lnTo>
                        <a:lnTo>
                          <a:pt x="104" y="141"/>
                        </a:lnTo>
                        <a:lnTo>
                          <a:pt x="113" y="146"/>
                        </a:lnTo>
                        <a:lnTo>
                          <a:pt x="125" y="150"/>
                        </a:lnTo>
                        <a:lnTo>
                          <a:pt x="136" y="155"/>
                        </a:lnTo>
                        <a:lnTo>
                          <a:pt x="150" y="159"/>
                        </a:lnTo>
                        <a:lnTo>
                          <a:pt x="163" y="164"/>
                        </a:lnTo>
                        <a:lnTo>
                          <a:pt x="174" y="171"/>
                        </a:lnTo>
                        <a:lnTo>
                          <a:pt x="182" y="177"/>
                        </a:lnTo>
                        <a:lnTo>
                          <a:pt x="190" y="181"/>
                        </a:lnTo>
                        <a:lnTo>
                          <a:pt x="199" y="184"/>
                        </a:lnTo>
                        <a:lnTo>
                          <a:pt x="209" y="188"/>
                        </a:lnTo>
                        <a:lnTo>
                          <a:pt x="216" y="190"/>
                        </a:lnTo>
                        <a:lnTo>
                          <a:pt x="225" y="194"/>
                        </a:lnTo>
                        <a:lnTo>
                          <a:pt x="233" y="200"/>
                        </a:lnTo>
                        <a:lnTo>
                          <a:pt x="243" y="206"/>
                        </a:lnTo>
                        <a:lnTo>
                          <a:pt x="262" y="220"/>
                        </a:lnTo>
                        <a:lnTo>
                          <a:pt x="278" y="234"/>
                        </a:lnTo>
                        <a:lnTo>
                          <a:pt x="287" y="241"/>
                        </a:lnTo>
                        <a:lnTo>
                          <a:pt x="294" y="251"/>
                        </a:lnTo>
                        <a:lnTo>
                          <a:pt x="302" y="261"/>
                        </a:lnTo>
                        <a:lnTo>
                          <a:pt x="310" y="275"/>
                        </a:lnTo>
                        <a:lnTo>
                          <a:pt x="325" y="298"/>
                        </a:lnTo>
                        <a:lnTo>
                          <a:pt x="338" y="317"/>
                        </a:lnTo>
                        <a:lnTo>
                          <a:pt x="342" y="326"/>
                        </a:lnTo>
                        <a:lnTo>
                          <a:pt x="346" y="333"/>
                        </a:lnTo>
                        <a:lnTo>
                          <a:pt x="350" y="340"/>
                        </a:lnTo>
                        <a:lnTo>
                          <a:pt x="352" y="348"/>
                        </a:lnTo>
                        <a:lnTo>
                          <a:pt x="354" y="355"/>
                        </a:lnTo>
                        <a:lnTo>
                          <a:pt x="356" y="364"/>
                        </a:lnTo>
                        <a:lnTo>
                          <a:pt x="357" y="372"/>
                        </a:lnTo>
                        <a:lnTo>
                          <a:pt x="357" y="382"/>
                        </a:lnTo>
                        <a:lnTo>
                          <a:pt x="356" y="390"/>
                        </a:lnTo>
                        <a:lnTo>
                          <a:pt x="352" y="397"/>
                        </a:lnTo>
                        <a:lnTo>
                          <a:pt x="348" y="402"/>
                        </a:lnTo>
                        <a:lnTo>
                          <a:pt x="342" y="405"/>
                        </a:lnTo>
                        <a:lnTo>
                          <a:pt x="337" y="408"/>
                        </a:lnTo>
                        <a:lnTo>
                          <a:pt x="331" y="410"/>
                        </a:lnTo>
                        <a:lnTo>
                          <a:pt x="323" y="411"/>
                        </a:lnTo>
                        <a:lnTo>
                          <a:pt x="316" y="411"/>
                        </a:lnTo>
                        <a:lnTo>
                          <a:pt x="302" y="411"/>
                        </a:lnTo>
                        <a:lnTo>
                          <a:pt x="284" y="410"/>
                        </a:lnTo>
                        <a:lnTo>
                          <a:pt x="265" y="409"/>
                        </a:lnTo>
                        <a:lnTo>
                          <a:pt x="244" y="410"/>
                        </a:lnTo>
                        <a:lnTo>
                          <a:pt x="233" y="411"/>
                        </a:lnTo>
                        <a:lnTo>
                          <a:pt x="224" y="415"/>
                        </a:lnTo>
                        <a:lnTo>
                          <a:pt x="215" y="421"/>
                        </a:lnTo>
                        <a:lnTo>
                          <a:pt x="208" y="427"/>
                        </a:lnTo>
                        <a:lnTo>
                          <a:pt x="201" y="434"/>
                        </a:lnTo>
                        <a:lnTo>
                          <a:pt x="196" y="441"/>
                        </a:lnTo>
                        <a:lnTo>
                          <a:pt x="192" y="448"/>
                        </a:lnTo>
                        <a:lnTo>
                          <a:pt x="188" y="454"/>
                        </a:lnTo>
                        <a:lnTo>
                          <a:pt x="184" y="460"/>
                        </a:lnTo>
                        <a:lnTo>
                          <a:pt x="178" y="466"/>
                        </a:lnTo>
                        <a:lnTo>
                          <a:pt x="171" y="472"/>
                        </a:lnTo>
                        <a:lnTo>
                          <a:pt x="163" y="478"/>
                        </a:lnTo>
                        <a:lnTo>
                          <a:pt x="146" y="487"/>
                        </a:lnTo>
                        <a:lnTo>
                          <a:pt x="132" y="494"/>
                        </a:lnTo>
                        <a:close/>
                        <a:moveTo>
                          <a:pt x="71" y="6"/>
                        </a:moveTo>
                        <a:lnTo>
                          <a:pt x="79" y="5"/>
                        </a:lnTo>
                        <a:lnTo>
                          <a:pt x="88" y="1"/>
                        </a:lnTo>
                        <a:lnTo>
                          <a:pt x="93" y="1"/>
                        </a:lnTo>
                        <a:lnTo>
                          <a:pt x="99" y="0"/>
                        </a:lnTo>
                        <a:lnTo>
                          <a:pt x="105" y="0"/>
                        </a:lnTo>
                        <a:lnTo>
                          <a:pt x="111" y="1"/>
                        </a:lnTo>
                        <a:lnTo>
                          <a:pt x="127" y="12"/>
                        </a:lnTo>
                        <a:lnTo>
                          <a:pt x="144" y="25"/>
                        </a:lnTo>
                        <a:lnTo>
                          <a:pt x="159" y="32"/>
                        </a:lnTo>
                        <a:lnTo>
                          <a:pt x="174" y="37"/>
                        </a:lnTo>
                        <a:lnTo>
                          <a:pt x="184" y="42"/>
                        </a:lnTo>
                        <a:lnTo>
                          <a:pt x="190" y="45"/>
                        </a:lnTo>
                        <a:lnTo>
                          <a:pt x="195" y="50"/>
                        </a:lnTo>
                        <a:lnTo>
                          <a:pt x="200" y="55"/>
                        </a:lnTo>
                        <a:lnTo>
                          <a:pt x="207" y="58"/>
                        </a:lnTo>
                        <a:lnTo>
                          <a:pt x="213" y="62"/>
                        </a:lnTo>
                        <a:lnTo>
                          <a:pt x="224" y="67"/>
                        </a:lnTo>
                        <a:lnTo>
                          <a:pt x="238" y="72"/>
                        </a:lnTo>
                        <a:lnTo>
                          <a:pt x="253" y="80"/>
                        </a:lnTo>
                        <a:lnTo>
                          <a:pt x="266" y="84"/>
                        </a:lnTo>
                        <a:lnTo>
                          <a:pt x="276" y="87"/>
                        </a:lnTo>
                        <a:lnTo>
                          <a:pt x="288" y="89"/>
                        </a:lnTo>
                        <a:lnTo>
                          <a:pt x="299" y="90"/>
                        </a:lnTo>
                        <a:lnTo>
                          <a:pt x="304" y="92"/>
                        </a:lnTo>
                        <a:lnTo>
                          <a:pt x="307" y="92"/>
                        </a:lnTo>
                        <a:lnTo>
                          <a:pt x="309" y="93"/>
                        </a:lnTo>
                        <a:lnTo>
                          <a:pt x="312" y="95"/>
                        </a:lnTo>
                        <a:lnTo>
                          <a:pt x="313" y="99"/>
                        </a:lnTo>
                        <a:lnTo>
                          <a:pt x="314" y="101"/>
                        </a:lnTo>
                        <a:lnTo>
                          <a:pt x="315" y="105"/>
                        </a:lnTo>
                        <a:lnTo>
                          <a:pt x="315" y="108"/>
                        </a:lnTo>
                        <a:lnTo>
                          <a:pt x="314" y="112"/>
                        </a:lnTo>
                        <a:lnTo>
                          <a:pt x="309" y="120"/>
                        </a:lnTo>
                        <a:lnTo>
                          <a:pt x="302" y="127"/>
                        </a:lnTo>
                        <a:lnTo>
                          <a:pt x="294" y="133"/>
                        </a:lnTo>
                        <a:lnTo>
                          <a:pt x="284" y="137"/>
                        </a:lnTo>
                        <a:lnTo>
                          <a:pt x="278" y="137"/>
                        </a:lnTo>
                        <a:lnTo>
                          <a:pt x="274" y="137"/>
                        </a:lnTo>
                        <a:lnTo>
                          <a:pt x="268" y="137"/>
                        </a:lnTo>
                        <a:lnTo>
                          <a:pt x="260" y="135"/>
                        </a:lnTo>
                        <a:lnTo>
                          <a:pt x="246" y="130"/>
                        </a:lnTo>
                        <a:lnTo>
                          <a:pt x="228" y="122"/>
                        </a:lnTo>
                        <a:lnTo>
                          <a:pt x="208" y="114"/>
                        </a:lnTo>
                        <a:lnTo>
                          <a:pt x="188" y="106"/>
                        </a:lnTo>
                        <a:lnTo>
                          <a:pt x="170" y="99"/>
                        </a:lnTo>
                        <a:lnTo>
                          <a:pt x="155" y="94"/>
                        </a:lnTo>
                        <a:lnTo>
                          <a:pt x="140" y="89"/>
                        </a:lnTo>
                        <a:lnTo>
                          <a:pt x="125" y="84"/>
                        </a:lnTo>
                        <a:lnTo>
                          <a:pt x="118" y="82"/>
                        </a:lnTo>
                        <a:lnTo>
                          <a:pt x="109" y="80"/>
                        </a:lnTo>
                        <a:lnTo>
                          <a:pt x="104" y="76"/>
                        </a:lnTo>
                        <a:lnTo>
                          <a:pt x="98" y="71"/>
                        </a:lnTo>
                        <a:lnTo>
                          <a:pt x="79" y="56"/>
                        </a:lnTo>
                        <a:lnTo>
                          <a:pt x="68" y="49"/>
                        </a:lnTo>
                        <a:lnTo>
                          <a:pt x="60" y="45"/>
                        </a:lnTo>
                        <a:lnTo>
                          <a:pt x="51" y="42"/>
                        </a:lnTo>
                        <a:lnTo>
                          <a:pt x="48" y="39"/>
                        </a:lnTo>
                        <a:lnTo>
                          <a:pt x="45" y="36"/>
                        </a:lnTo>
                        <a:lnTo>
                          <a:pt x="44" y="33"/>
                        </a:lnTo>
                        <a:lnTo>
                          <a:pt x="43" y="31"/>
                        </a:lnTo>
                        <a:lnTo>
                          <a:pt x="43" y="27"/>
                        </a:lnTo>
                        <a:lnTo>
                          <a:pt x="44" y="25"/>
                        </a:lnTo>
                        <a:lnTo>
                          <a:pt x="45" y="23"/>
                        </a:lnTo>
                        <a:lnTo>
                          <a:pt x="46" y="20"/>
                        </a:lnTo>
                        <a:lnTo>
                          <a:pt x="52" y="15"/>
                        </a:lnTo>
                        <a:lnTo>
                          <a:pt x="58" y="12"/>
                        </a:lnTo>
                        <a:lnTo>
                          <a:pt x="66" y="8"/>
                        </a:lnTo>
                        <a:lnTo>
                          <a:pt x="71" y="6"/>
                        </a:lnTo>
                        <a:close/>
                        <a:moveTo>
                          <a:pt x="220" y="166"/>
                        </a:moveTo>
                        <a:lnTo>
                          <a:pt x="216" y="165"/>
                        </a:lnTo>
                        <a:lnTo>
                          <a:pt x="215" y="163"/>
                        </a:lnTo>
                        <a:lnTo>
                          <a:pt x="215" y="162"/>
                        </a:lnTo>
                        <a:lnTo>
                          <a:pt x="215" y="159"/>
                        </a:lnTo>
                        <a:lnTo>
                          <a:pt x="216" y="158"/>
                        </a:lnTo>
                        <a:lnTo>
                          <a:pt x="219" y="157"/>
                        </a:lnTo>
                        <a:lnTo>
                          <a:pt x="222" y="157"/>
                        </a:lnTo>
                        <a:lnTo>
                          <a:pt x="227" y="158"/>
                        </a:lnTo>
                        <a:lnTo>
                          <a:pt x="238" y="160"/>
                        </a:lnTo>
                        <a:lnTo>
                          <a:pt x="250" y="163"/>
                        </a:lnTo>
                        <a:lnTo>
                          <a:pt x="260" y="166"/>
                        </a:lnTo>
                        <a:lnTo>
                          <a:pt x="270" y="171"/>
                        </a:lnTo>
                        <a:lnTo>
                          <a:pt x="276" y="175"/>
                        </a:lnTo>
                        <a:lnTo>
                          <a:pt x="279" y="179"/>
                        </a:lnTo>
                        <a:lnTo>
                          <a:pt x="282" y="183"/>
                        </a:lnTo>
                        <a:lnTo>
                          <a:pt x="283" y="188"/>
                        </a:lnTo>
                        <a:lnTo>
                          <a:pt x="282" y="190"/>
                        </a:lnTo>
                        <a:lnTo>
                          <a:pt x="281" y="191"/>
                        </a:lnTo>
                        <a:lnTo>
                          <a:pt x="278" y="193"/>
                        </a:lnTo>
                        <a:lnTo>
                          <a:pt x="275" y="194"/>
                        </a:lnTo>
                        <a:lnTo>
                          <a:pt x="269" y="193"/>
                        </a:lnTo>
                        <a:lnTo>
                          <a:pt x="263" y="190"/>
                        </a:lnTo>
                        <a:lnTo>
                          <a:pt x="253" y="183"/>
                        </a:lnTo>
                        <a:lnTo>
                          <a:pt x="241" y="178"/>
                        </a:lnTo>
                        <a:lnTo>
                          <a:pt x="231" y="172"/>
                        </a:lnTo>
                        <a:lnTo>
                          <a:pt x="220" y="166"/>
                        </a:lnTo>
                        <a:close/>
                        <a:moveTo>
                          <a:pt x="289" y="175"/>
                        </a:moveTo>
                        <a:lnTo>
                          <a:pt x="289" y="172"/>
                        </a:lnTo>
                        <a:lnTo>
                          <a:pt x="290" y="171"/>
                        </a:lnTo>
                        <a:lnTo>
                          <a:pt x="291" y="171"/>
                        </a:lnTo>
                        <a:lnTo>
                          <a:pt x="293" y="171"/>
                        </a:lnTo>
                        <a:lnTo>
                          <a:pt x="297" y="172"/>
                        </a:lnTo>
                        <a:lnTo>
                          <a:pt x="302" y="175"/>
                        </a:lnTo>
                        <a:lnTo>
                          <a:pt x="312" y="182"/>
                        </a:lnTo>
                        <a:lnTo>
                          <a:pt x="319" y="189"/>
                        </a:lnTo>
                        <a:lnTo>
                          <a:pt x="319" y="190"/>
                        </a:lnTo>
                        <a:lnTo>
                          <a:pt x="319" y="191"/>
                        </a:lnTo>
                        <a:lnTo>
                          <a:pt x="318" y="193"/>
                        </a:lnTo>
                        <a:lnTo>
                          <a:pt x="315" y="194"/>
                        </a:lnTo>
                        <a:lnTo>
                          <a:pt x="310" y="194"/>
                        </a:lnTo>
                        <a:lnTo>
                          <a:pt x="306" y="193"/>
                        </a:lnTo>
                        <a:lnTo>
                          <a:pt x="300" y="190"/>
                        </a:lnTo>
                        <a:lnTo>
                          <a:pt x="295" y="187"/>
                        </a:lnTo>
                        <a:lnTo>
                          <a:pt x="293" y="184"/>
                        </a:lnTo>
                        <a:lnTo>
                          <a:pt x="290" y="182"/>
                        </a:lnTo>
                        <a:lnTo>
                          <a:pt x="289" y="178"/>
                        </a:lnTo>
                        <a:lnTo>
                          <a:pt x="289" y="175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</a:ln>
                  <a:effectLst/>
                </p:spPr>
                <p:style>
                  <a:lnRef idx="3">
                    <a:schemeClr val="lt1"/>
                  </a:lnRef>
                  <a:fillRef idx="1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648000" rIns="91440" bIns="45720" numCol="1" anchor="t" anchorCtr="0" compatLnSpc="1"/>
                  <a:lstStyle/>
                  <a:p>
                    <a:pPr algn="ctr" fontAlgn="base"/>
                    <a:endParaRPr lang="zh-CN" altLang="en-US" sz="4000" b="1" strike="noStrike" noProof="1">
                      <a:ln w="12700">
                        <a:solidFill>
                          <a:schemeClr val="tx2">
                            <a:satMod val="155000"/>
                          </a:schemeClr>
                        </a:solidFill>
                        <a:prstDash val="solid"/>
                      </a:ln>
                      <a:solidFill>
                        <a:schemeClr val="bg2">
                          <a:tint val="85000"/>
                          <a:satMod val="155000"/>
                        </a:schemeClr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96" name="Freeform 108"/>
                  <p:cNvSpPr/>
                  <p:nvPr>
                    <p:custDataLst>
                      <p:tags r:id="rId88"/>
                    </p:custDataLst>
                  </p:nvPr>
                </p:nvSpPr>
                <p:spPr bwMode="auto">
                  <a:xfrm>
                    <a:off x="6402049" y="4075034"/>
                    <a:ext cx="105243" cy="52621"/>
                  </a:xfrm>
                  <a:custGeom>
                    <a:avLst/>
                    <a:gdLst>
                      <a:gd name="T0" fmla="*/ 147 w 268"/>
                      <a:gd name="T1" fmla="*/ 108 h 134"/>
                      <a:gd name="T2" fmla="*/ 129 w 268"/>
                      <a:gd name="T3" fmla="*/ 101 h 134"/>
                      <a:gd name="T4" fmla="*/ 104 w 268"/>
                      <a:gd name="T5" fmla="*/ 93 h 134"/>
                      <a:gd name="T6" fmla="*/ 79 w 268"/>
                      <a:gd name="T7" fmla="*/ 85 h 134"/>
                      <a:gd name="T8" fmla="*/ 61 w 268"/>
                      <a:gd name="T9" fmla="*/ 76 h 134"/>
                      <a:gd name="T10" fmla="*/ 50 w 268"/>
                      <a:gd name="T11" fmla="*/ 68 h 134"/>
                      <a:gd name="T12" fmla="*/ 41 w 268"/>
                      <a:gd name="T13" fmla="*/ 60 h 134"/>
                      <a:gd name="T14" fmla="*/ 34 w 268"/>
                      <a:gd name="T15" fmla="*/ 52 h 134"/>
                      <a:gd name="T16" fmla="*/ 25 w 268"/>
                      <a:gd name="T17" fmla="*/ 48 h 134"/>
                      <a:gd name="T18" fmla="*/ 17 w 268"/>
                      <a:gd name="T19" fmla="*/ 44 h 134"/>
                      <a:gd name="T20" fmla="*/ 10 w 268"/>
                      <a:gd name="T21" fmla="*/ 42 h 134"/>
                      <a:gd name="T22" fmla="*/ 4 w 268"/>
                      <a:gd name="T23" fmla="*/ 38 h 134"/>
                      <a:gd name="T24" fmla="*/ 2 w 268"/>
                      <a:gd name="T25" fmla="*/ 33 h 134"/>
                      <a:gd name="T26" fmla="*/ 0 w 268"/>
                      <a:gd name="T27" fmla="*/ 31 h 134"/>
                      <a:gd name="T28" fmla="*/ 0 w 268"/>
                      <a:gd name="T29" fmla="*/ 28 h 134"/>
                      <a:gd name="T30" fmla="*/ 2 w 268"/>
                      <a:gd name="T31" fmla="*/ 25 h 134"/>
                      <a:gd name="T32" fmla="*/ 3 w 268"/>
                      <a:gd name="T33" fmla="*/ 22 h 134"/>
                      <a:gd name="T34" fmla="*/ 9 w 268"/>
                      <a:gd name="T35" fmla="*/ 16 h 134"/>
                      <a:gd name="T36" fmla="*/ 16 w 268"/>
                      <a:gd name="T37" fmla="*/ 10 h 134"/>
                      <a:gd name="T38" fmla="*/ 22 w 268"/>
                      <a:gd name="T39" fmla="*/ 7 h 134"/>
                      <a:gd name="T40" fmla="*/ 29 w 268"/>
                      <a:gd name="T41" fmla="*/ 5 h 134"/>
                      <a:gd name="T42" fmla="*/ 37 w 268"/>
                      <a:gd name="T43" fmla="*/ 3 h 134"/>
                      <a:gd name="T44" fmla="*/ 46 w 268"/>
                      <a:gd name="T45" fmla="*/ 1 h 134"/>
                      <a:gd name="T46" fmla="*/ 54 w 268"/>
                      <a:gd name="T47" fmla="*/ 0 h 134"/>
                      <a:gd name="T48" fmla="*/ 62 w 268"/>
                      <a:gd name="T49" fmla="*/ 0 h 134"/>
                      <a:gd name="T50" fmla="*/ 69 w 268"/>
                      <a:gd name="T51" fmla="*/ 1 h 134"/>
                      <a:gd name="T52" fmla="*/ 74 w 268"/>
                      <a:gd name="T53" fmla="*/ 5 h 134"/>
                      <a:gd name="T54" fmla="*/ 83 w 268"/>
                      <a:gd name="T55" fmla="*/ 13 h 134"/>
                      <a:gd name="T56" fmla="*/ 91 w 268"/>
                      <a:gd name="T57" fmla="*/ 20 h 134"/>
                      <a:gd name="T58" fmla="*/ 100 w 268"/>
                      <a:gd name="T59" fmla="*/ 26 h 134"/>
                      <a:gd name="T60" fmla="*/ 111 w 268"/>
                      <a:gd name="T61" fmla="*/ 31 h 134"/>
                      <a:gd name="T62" fmla="*/ 123 w 268"/>
                      <a:gd name="T63" fmla="*/ 35 h 134"/>
                      <a:gd name="T64" fmla="*/ 135 w 268"/>
                      <a:gd name="T65" fmla="*/ 39 h 134"/>
                      <a:gd name="T66" fmla="*/ 140 w 268"/>
                      <a:gd name="T67" fmla="*/ 42 h 134"/>
                      <a:gd name="T68" fmla="*/ 144 w 268"/>
                      <a:gd name="T69" fmla="*/ 44 h 134"/>
                      <a:gd name="T70" fmla="*/ 148 w 268"/>
                      <a:gd name="T71" fmla="*/ 48 h 134"/>
                      <a:gd name="T72" fmla="*/ 151 w 268"/>
                      <a:gd name="T73" fmla="*/ 52 h 134"/>
                      <a:gd name="T74" fmla="*/ 156 w 268"/>
                      <a:gd name="T75" fmla="*/ 57 h 134"/>
                      <a:gd name="T76" fmla="*/ 161 w 268"/>
                      <a:gd name="T77" fmla="*/ 61 h 134"/>
                      <a:gd name="T78" fmla="*/ 168 w 268"/>
                      <a:gd name="T79" fmla="*/ 66 h 134"/>
                      <a:gd name="T80" fmla="*/ 176 w 268"/>
                      <a:gd name="T81" fmla="*/ 69 h 134"/>
                      <a:gd name="T82" fmla="*/ 192 w 268"/>
                      <a:gd name="T83" fmla="*/ 75 h 134"/>
                      <a:gd name="T84" fmla="*/ 209 w 268"/>
                      <a:gd name="T85" fmla="*/ 80 h 134"/>
                      <a:gd name="T86" fmla="*/ 224 w 268"/>
                      <a:gd name="T87" fmla="*/ 83 h 134"/>
                      <a:gd name="T88" fmla="*/ 242 w 268"/>
                      <a:gd name="T89" fmla="*/ 87 h 134"/>
                      <a:gd name="T90" fmla="*/ 250 w 268"/>
                      <a:gd name="T91" fmla="*/ 88 h 134"/>
                      <a:gd name="T92" fmla="*/ 257 w 268"/>
                      <a:gd name="T93" fmla="*/ 91 h 134"/>
                      <a:gd name="T94" fmla="*/ 262 w 268"/>
                      <a:gd name="T95" fmla="*/ 94 h 134"/>
                      <a:gd name="T96" fmla="*/ 267 w 268"/>
                      <a:gd name="T97" fmla="*/ 99 h 134"/>
                      <a:gd name="T98" fmla="*/ 268 w 268"/>
                      <a:gd name="T99" fmla="*/ 104 h 134"/>
                      <a:gd name="T100" fmla="*/ 268 w 268"/>
                      <a:gd name="T101" fmla="*/ 110 h 134"/>
                      <a:gd name="T102" fmla="*/ 267 w 268"/>
                      <a:gd name="T103" fmla="*/ 114 h 134"/>
                      <a:gd name="T104" fmla="*/ 263 w 268"/>
                      <a:gd name="T105" fmla="*/ 119 h 134"/>
                      <a:gd name="T106" fmla="*/ 255 w 268"/>
                      <a:gd name="T107" fmla="*/ 127 h 134"/>
                      <a:gd name="T108" fmla="*/ 245 w 268"/>
                      <a:gd name="T109" fmla="*/ 133 h 134"/>
                      <a:gd name="T110" fmla="*/ 239 w 268"/>
                      <a:gd name="T111" fmla="*/ 134 h 134"/>
                      <a:gd name="T112" fmla="*/ 229 w 268"/>
                      <a:gd name="T113" fmla="*/ 133 h 134"/>
                      <a:gd name="T114" fmla="*/ 216 w 268"/>
                      <a:gd name="T115" fmla="*/ 131 h 134"/>
                      <a:gd name="T116" fmla="*/ 200 w 268"/>
                      <a:gd name="T117" fmla="*/ 126 h 134"/>
                      <a:gd name="T118" fmla="*/ 169 w 268"/>
                      <a:gd name="T119" fmla="*/ 117 h 134"/>
                      <a:gd name="T120" fmla="*/ 147 w 268"/>
                      <a:gd name="T121" fmla="*/ 108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68" h="134">
                        <a:moveTo>
                          <a:pt x="147" y="108"/>
                        </a:moveTo>
                        <a:lnTo>
                          <a:pt x="129" y="101"/>
                        </a:lnTo>
                        <a:lnTo>
                          <a:pt x="104" y="93"/>
                        </a:lnTo>
                        <a:lnTo>
                          <a:pt x="79" y="85"/>
                        </a:lnTo>
                        <a:lnTo>
                          <a:pt x="61" y="76"/>
                        </a:lnTo>
                        <a:lnTo>
                          <a:pt x="50" y="68"/>
                        </a:lnTo>
                        <a:lnTo>
                          <a:pt x="41" y="60"/>
                        </a:lnTo>
                        <a:lnTo>
                          <a:pt x="34" y="52"/>
                        </a:lnTo>
                        <a:lnTo>
                          <a:pt x="25" y="48"/>
                        </a:lnTo>
                        <a:lnTo>
                          <a:pt x="17" y="44"/>
                        </a:lnTo>
                        <a:lnTo>
                          <a:pt x="10" y="42"/>
                        </a:lnTo>
                        <a:lnTo>
                          <a:pt x="4" y="38"/>
                        </a:lnTo>
                        <a:lnTo>
                          <a:pt x="2" y="33"/>
                        </a:lnTo>
                        <a:lnTo>
                          <a:pt x="0" y="31"/>
                        </a:lnTo>
                        <a:lnTo>
                          <a:pt x="0" y="28"/>
                        </a:lnTo>
                        <a:lnTo>
                          <a:pt x="2" y="25"/>
                        </a:lnTo>
                        <a:lnTo>
                          <a:pt x="3" y="22"/>
                        </a:lnTo>
                        <a:lnTo>
                          <a:pt x="9" y="16"/>
                        </a:lnTo>
                        <a:lnTo>
                          <a:pt x="16" y="10"/>
                        </a:lnTo>
                        <a:lnTo>
                          <a:pt x="22" y="7"/>
                        </a:lnTo>
                        <a:lnTo>
                          <a:pt x="29" y="5"/>
                        </a:lnTo>
                        <a:lnTo>
                          <a:pt x="37" y="3"/>
                        </a:lnTo>
                        <a:lnTo>
                          <a:pt x="46" y="1"/>
                        </a:lnTo>
                        <a:lnTo>
                          <a:pt x="54" y="0"/>
                        </a:lnTo>
                        <a:lnTo>
                          <a:pt x="62" y="0"/>
                        </a:lnTo>
                        <a:lnTo>
                          <a:pt x="69" y="1"/>
                        </a:lnTo>
                        <a:lnTo>
                          <a:pt x="74" y="5"/>
                        </a:lnTo>
                        <a:lnTo>
                          <a:pt x="83" y="13"/>
                        </a:lnTo>
                        <a:lnTo>
                          <a:pt x="91" y="20"/>
                        </a:lnTo>
                        <a:lnTo>
                          <a:pt x="100" y="26"/>
                        </a:lnTo>
                        <a:lnTo>
                          <a:pt x="111" y="31"/>
                        </a:lnTo>
                        <a:lnTo>
                          <a:pt x="123" y="35"/>
                        </a:lnTo>
                        <a:lnTo>
                          <a:pt x="135" y="39"/>
                        </a:lnTo>
                        <a:lnTo>
                          <a:pt x="140" y="42"/>
                        </a:lnTo>
                        <a:lnTo>
                          <a:pt x="144" y="44"/>
                        </a:lnTo>
                        <a:lnTo>
                          <a:pt x="148" y="48"/>
                        </a:lnTo>
                        <a:lnTo>
                          <a:pt x="151" y="52"/>
                        </a:lnTo>
                        <a:lnTo>
                          <a:pt x="156" y="57"/>
                        </a:lnTo>
                        <a:lnTo>
                          <a:pt x="161" y="61"/>
                        </a:lnTo>
                        <a:lnTo>
                          <a:pt x="168" y="66"/>
                        </a:lnTo>
                        <a:lnTo>
                          <a:pt x="176" y="69"/>
                        </a:lnTo>
                        <a:lnTo>
                          <a:pt x="192" y="75"/>
                        </a:lnTo>
                        <a:lnTo>
                          <a:pt x="209" y="80"/>
                        </a:lnTo>
                        <a:lnTo>
                          <a:pt x="224" y="83"/>
                        </a:lnTo>
                        <a:lnTo>
                          <a:pt x="242" y="87"/>
                        </a:lnTo>
                        <a:lnTo>
                          <a:pt x="250" y="88"/>
                        </a:lnTo>
                        <a:lnTo>
                          <a:pt x="257" y="91"/>
                        </a:lnTo>
                        <a:lnTo>
                          <a:pt x="262" y="94"/>
                        </a:lnTo>
                        <a:lnTo>
                          <a:pt x="267" y="99"/>
                        </a:lnTo>
                        <a:lnTo>
                          <a:pt x="268" y="104"/>
                        </a:lnTo>
                        <a:lnTo>
                          <a:pt x="268" y="110"/>
                        </a:lnTo>
                        <a:lnTo>
                          <a:pt x="267" y="114"/>
                        </a:lnTo>
                        <a:lnTo>
                          <a:pt x="263" y="119"/>
                        </a:lnTo>
                        <a:lnTo>
                          <a:pt x="255" y="127"/>
                        </a:lnTo>
                        <a:lnTo>
                          <a:pt x="245" y="133"/>
                        </a:lnTo>
                        <a:lnTo>
                          <a:pt x="239" y="134"/>
                        </a:lnTo>
                        <a:lnTo>
                          <a:pt x="229" y="133"/>
                        </a:lnTo>
                        <a:lnTo>
                          <a:pt x="216" y="131"/>
                        </a:lnTo>
                        <a:lnTo>
                          <a:pt x="200" y="126"/>
                        </a:lnTo>
                        <a:lnTo>
                          <a:pt x="169" y="117"/>
                        </a:lnTo>
                        <a:lnTo>
                          <a:pt x="147" y="108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</a:ln>
                  <a:effectLst/>
                </p:spPr>
                <p:style>
                  <a:lnRef idx="3">
                    <a:schemeClr val="lt1"/>
                  </a:lnRef>
                  <a:fillRef idx="1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648000" rIns="91440" bIns="45720" numCol="1" anchor="t" anchorCtr="0" compatLnSpc="1"/>
                  <a:lstStyle/>
                  <a:p>
                    <a:pPr algn="ctr" fontAlgn="base"/>
                    <a:endParaRPr lang="zh-CN" altLang="en-US" sz="4000" b="1" strike="noStrike" noProof="1">
                      <a:ln w="12700">
                        <a:solidFill>
                          <a:schemeClr val="tx2">
                            <a:satMod val="155000"/>
                          </a:schemeClr>
                        </a:solidFill>
                        <a:prstDash val="solid"/>
                      </a:ln>
                      <a:solidFill>
                        <a:schemeClr val="bg2">
                          <a:tint val="85000"/>
                          <a:satMod val="155000"/>
                        </a:schemeClr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97" name="Freeform 109"/>
                  <p:cNvSpPr/>
                  <p:nvPr>
                    <p:custDataLst>
                      <p:tags r:id="rId89"/>
                    </p:custDataLst>
                  </p:nvPr>
                </p:nvSpPr>
                <p:spPr bwMode="auto">
                  <a:xfrm>
                    <a:off x="6467825" y="4140811"/>
                    <a:ext cx="26311" cy="13155"/>
                  </a:xfrm>
                  <a:custGeom>
                    <a:avLst/>
                    <a:gdLst>
                      <a:gd name="T0" fmla="*/ 27 w 68"/>
                      <a:gd name="T1" fmla="*/ 22 h 35"/>
                      <a:gd name="T2" fmla="*/ 15 w 68"/>
                      <a:gd name="T3" fmla="*/ 16 h 35"/>
                      <a:gd name="T4" fmla="*/ 2 w 68"/>
                      <a:gd name="T5" fmla="*/ 9 h 35"/>
                      <a:gd name="T6" fmla="*/ 1 w 68"/>
                      <a:gd name="T7" fmla="*/ 8 h 35"/>
                      <a:gd name="T8" fmla="*/ 0 w 68"/>
                      <a:gd name="T9" fmla="*/ 6 h 35"/>
                      <a:gd name="T10" fmla="*/ 0 w 68"/>
                      <a:gd name="T11" fmla="*/ 3 h 35"/>
                      <a:gd name="T12" fmla="*/ 1 w 68"/>
                      <a:gd name="T13" fmla="*/ 2 h 35"/>
                      <a:gd name="T14" fmla="*/ 6 w 68"/>
                      <a:gd name="T15" fmla="*/ 0 h 35"/>
                      <a:gd name="T16" fmla="*/ 13 w 68"/>
                      <a:gd name="T17" fmla="*/ 0 h 35"/>
                      <a:gd name="T18" fmla="*/ 23 w 68"/>
                      <a:gd name="T19" fmla="*/ 2 h 35"/>
                      <a:gd name="T20" fmla="*/ 34 w 68"/>
                      <a:gd name="T21" fmla="*/ 7 h 35"/>
                      <a:gd name="T22" fmla="*/ 45 w 68"/>
                      <a:gd name="T23" fmla="*/ 10 h 35"/>
                      <a:gd name="T24" fmla="*/ 53 w 68"/>
                      <a:gd name="T25" fmla="*/ 14 h 35"/>
                      <a:gd name="T26" fmla="*/ 59 w 68"/>
                      <a:gd name="T27" fmla="*/ 18 h 35"/>
                      <a:gd name="T28" fmla="*/ 64 w 68"/>
                      <a:gd name="T29" fmla="*/ 23 h 35"/>
                      <a:gd name="T30" fmla="*/ 65 w 68"/>
                      <a:gd name="T31" fmla="*/ 26 h 35"/>
                      <a:gd name="T32" fmla="*/ 66 w 68"/>
                      <a:gd name="T33" fmla="*/ 28 h 35"/>
                      <a:gd name="T34" fmla="*/ 68 w 68"/>
                      <a:gd name="T35" fmla="*/ 32 h 35"/>
                      <a:gd name="T36" fmla="*/ 66 w 68"/>
                      <a:gd name="T37" fmla="*/ 34 h 35"/>
                      <a:gd name="T38" fmla="*/ 65 w 68"/>
                      <a:gd name="T39" fmla="*/ 35 h 35"/>
                      <a:gd name="T40" fmla="*/ 61 w 68"/>
                      <a:gd name="T41" fmla="*/ 35 h 35"/>
                      <a:gd name="T42" fmla="*/ 56 w 68"/>
                      <a:gd name="T43" fmla="*/ 34 h 35"/>
                      <a:gd name="T44" fmla="*/ 50 w 68"/>
                      <a:gd name="T45" fmla="*/ 33 h 35"/>
                      <a:gd name="T46" fmla="*/ 37 w 68"/>
                      <a:gd name="T47" fmla="*/ 28 h 35"/>
                      <a:gd name="T48" fmla="*/ 27 w 68"/>
                      <a:gd name="T49" fmla="*/ 22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68" h="35">
                        <a:moveTo>
                          <a:pt x="27" y="22"/>
                        </a:moveTo>
                        <a:lnTo>
                          <a:pt x="15" y="16"/>
                        </a:lnTo>
                        <a:lnTo>
                          <a:pt x="2" y="9"/>
                        </a:lnTo>
                        <a:lnTo>
                          <a:pt x="1" y="8"/>
                        </a:lnTo>
                        <a:lnTo>
                          <a:pt x="0" y="6"/>
                        </a:lnTo>
                        <a:lnTo>
                          <a:pt x="0" y="3"/>
                        </a:lnTo>
                        <a:lnTo>
                          <a:pt x="1" y="2"/>
                        </a:lnTo>
                        <a:lnTo>
                          <a:pt x="6" y="0"/>
                        </a:lnTo>
                        <a:lnTo>
                          <a:pt x="13" y="0"/>
                        </a:lnTo>
                        <a:lnTo>
                          <a:pt x="23" y="2"/>
                        </a:lnTo>
                        <a:lnTo>
                          <a:pt x="34" y="7"/>
                        </a:lnTo>
                        <a:lnTo>
                          <a:pt x="45" y="10"/>
                        </a:lnTo>
                        <a:lnTo>
                          <a:pt x="53" y="14"/>
                        </a:lnTo>
                        <a:lnTo>
                          <a:pt x="59" y="18"/>
                        </a:lnTo>
                        <a:lnTo>
                          <a:pt x="64" y="23"/>
                        </a:lnTo>
                        <a:lnTo>
                          <a:pt x="65" y="26"/>
                        </a:lnTo>
                        <a:lnTo>
                          <a:pt x="66" y="28"/>
                        </a:lnTo>
                        <a:lnTo>
                          <a:pt x="68" y="32"/>
                        </a:lnTo>
                        <a:lnTo>
                          <a:pt x="66" y="34"/>
                        </a:lnTo>
                        <a:lnTo>
                          <a:pt x="65" y="35"/>
                        </a:lnTo>
                        <a:lnTo>
                          <a:pt x="61" y="35"/>
                        </a:lnTo>
                        <a:lnTo>
                          <a:pt x="56" y="34"/>
                        </a:lnTo>
                        <a:lnTo>
                          <a:pt x="50" y="33"/>
                        </a:lnTo>
                        <a:lnTo>
                          <a:pt x="37" y="28"/>
                        </a:lnTo>
                        <a:lnTo>
                          <a:pt x="27" y="22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</a:ln>
                  <a:effectLst/>
                </p:spPr>
                <p:style>
                  <a:lnRef idx="3">
                    <a:schemeClr val="lt1"/>
                  </a:lnRef>
                  <a:fillRef idx="1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648000" rIns="91440" bIns="45720" numCol="1" anchor="t" anchorCtr="0" compatLnSpc="1"/>
                  <a:lstStyle/>
                  <a:p>
                    <a:pPr algn="ctr" fontAlgn="base"/>
                    <a:endParaRPr lang="zh-CN" altLang="en-US" sz="4000" b="1" strike="noStrike" noProof="1">
                      <a:ln w="12700">
                        <a:solidFill>
                          <a:schemeClr val="tx2">
                            <a:satMod val="155000"/>
                          </a:schemeClr>
                        </a:solidFill>
                        <a:prstDash val="solid"/>
                      </a:ln>
                      <a:solidFill>
                        <a:schemeClr val="bg2">
                          <a:tint val="85000"/>
                          <a:satMod val="155000"/>
                        </a:schemeClr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94" name="Freeform 110"/>
                <p:cNvSpPr/>
                <p:nvPr>
                  <p:custDataLst>
                    <p:tags r:id="rId86"/>
                  </p:custDataLst>
                </p:nvPr>
              </p:nvSpPr>
              <p:spPr bwMode="auto">
                <a:xfrm>
                  <a:off x="6494136" y="4140811"/>
                  <a:ext cx="13155" cy="13155"/>
                </a:xfrm>
                <a:custGeom>
                  <a:avLst/>
                  <a:gdLst>
                    <a:gd name="T0" fmla="*/ 19 w 25"/>
                    <a:gd name="T1" fmla="*/ 24 h 24"/>
                    <a:gd name="T2" fmla="*/ 16 w 25"/>
                    <a:gd name="T3" fmla="*/ 23 h 24"/>
                    <a:gd name="T4" fmla="*/ 12 w 25"/>
                    <a:gd name="T5" fmla="*/ 21 h 24"/>
                    <a:gd name="T6" fmla="*/ 9 w 25"/>
                    <a:gd name="T7" fmla="*/ 18 h 24"/>
                    <a:gd name="T8" fmla="*/ 5 w 25"/>
                    <a:gd name="T9" fmla="*/ 13 h 24"/>
                    <a:gd name="T10" fmla="*/ 3 w 25"/>
                    <a:gd name="T11" fmla="*/ 10 h 24"/>
                    <a:gd name="T12" fmla="*/ 0 w 25"/>
                    <a:gd name="T13" fmla="*/ 5 h 24"/>
                    <a:gd name="T14" fmla="*/ 0 w 25"/>
                    <a:gd name="T15" fmla="*/ 3 h 24"/>
                    <a:gd name="T16" fmla="*/ 0 w 25"/>
                    <a:gd name="T17" fmla="*/ 2 h 24"/>
                    <a:gd name="T18" fmla="*/ 2 w 25"/>
                    <a:gd name="T19" fmla="*/ 0 h 24"/>
                    <a:gd name="T20" fmla="*/ 3 w 25"/>
                    <a:gd name="T21" fmla="*/ 0 h 24"/>
                    <a:gd name="T22" fmla="*/ 8 w 25"/>
                    <a:gd name="T23" fmla="*/ 0 h 24"/>
                    <a:gd name="T24" fmla="*/ 13 w 25"/>
                    <a:gd name="T25" fmla="*/ 3 h 24"/>
                    <a:gd name="T26" fmla="*/ 17 w 25"/>
                    <a:gd name="T27" fmla="*/ 4 h 24"/>
                    <a:gd name="T28" fmla="*/ 19 w 25"/>
                    <a:gd name="T29" fmla="*/ 6 h 24"/>
                    <a:gd name="T30" fmla="*/ 22 w 25"/>
                    <a:gd name="T31" fmla="*/ 9 h 24"/>
                    <a:gd name="T32" fmla="*/ 24 w 25"/>
                    <a:gd name="T33" fmla="*/ 11 h 24"/>
                    <a:gd name="T34" fmla="*/ 25 w 25"/>
                    <a:gd name="T35" fmla="*/ 17 h 24"/>
                    <a:gd name="T36" fmla="*/ 24 w 25"/>
                    <a:gd name="T37" fmla="*/ 21 h 24"/>
                    <a:gd name="T38" fmla="*/ 22 w 25"/>
                    <a:gd name="T39" fmla="*/ 23 h 24"/>
                    <a:gd name="T40" fmla="*/ 19 w 25"/>
                    <a:gd name="T41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5" h="24">
                      <a:moveTo>
                        <a:pt x="19" y="24"/>
                      </a:moveTo>
                      <a:lnTo>
                        <a:pt x="16" y="23"/>
                      </a:lnTo>
                      <a:lnTo>
                        <a:pt x="12" y="21"/>
                      </a:lnTo>
                      <a:lnTo>
                        <a:pt x="9" y="18"/>
                      </a:lnTo>
                      <a:lnTo>
                        <a:pt x="5" y="13"/>
                      </a:lnTo>
                      <a:lnTo>
                        <a:pt x="3" y="10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8" y="0"/>
                      </a:lnTo>
                      <a:lnTo>
                        <a:pt x="13" y="3"/>
                      </a:lnTo>
                      <a:lnTo>
                        <a:pt x="17" y="4"/>
                      </a:lnTo>
                      <a:lnTo>
                        <a:pt x="19" y="6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5" y="17"/>
                      </a:lnTo>
                      <a:lnTo>
                        <a:pt x="24" y="21"/>
                      </a:lnTo>
                      <a:lnTo>
                        <a:pt x="22" y="23"/>
                      </a:lnTo>
                      <a:lnTo>
                        <a:pt x="19" y="2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</a:ln>
                <a:effectLst/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648000" rIns="91440" bIns="45720" numCol="1" anchor="t" anchorCtr="0" compatLnSpc="1"/>
                <a:lstStyle/>
                <a:p>
                  <a:pPr algn="ctr" fontAlgn="base"/>
                  <a:endParaRPr lang="zh-CN" altLang="en-US" sz="4000" b="1" strike="noStrike" noProof="1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4612" name="组合 54"/>
              <p:cNvGrpSpPr/>
              <p:nvPr/>
            </p:nvGrpSpPr>
            <p:grpSpPr>
              <a:xfrm>
                <a:off x="1705145" y="1405361"/>
                <a:ext cx="5503087" cy="4855045"/>
                <a:chOff x="1705145" y="1413988"/>
                <a:chExt cx="5503087" cy="4855045"/>
              </a:xfrm>
            </p:grpSpPr>
            <p:sp>
              <p:nvSpPr>
                <p:cNvPr id="24613" name="TextBox 92"/>
                <p:cNvSpPr txBox="1"/>
                <p:nvPr>
                  <p:custDataLst>
                    <p:tags r:id="rId52"/>
                  </p:custDataLst>
                </p:nvPr>
              </p:nvSpPr>
              <p:spPr>
                <a:xfrm>
                  <a:off x="1823125" y="2168377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新疆</a:t>
                  </a:r>
                </a:p>
              </p:txBody>
            </p:sp>
            <p:sp>
              <p:nvSpPr>
                <p:cNvPr id="24614" name="TextBox 93"/>
                <p:cNvSpPr txBox="1"/>
                <p:nvPr>
                  <p:custDataLst>
                    <p:tags r:id="rId53"/>
                  </p:custDataLst>
                </p:nvPr>
              </p:nvSpPr>
              <p:spPr>
                <a:xfrm>
                  <a:off x="1705145" y="3789347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西藏</a:t>
                  </a:r>
                </a:p>
              </p:txBody>
            </p:sp>
            <p:sp>
              <p:nvSpPr>
                <p:cNvPr id="24615" name="TextBox 94"/>
                <p:cNvSpPr txBox="1"/>
                <p:nvPr>
                  <p:custDataLst>
                    <p:tags r:id="rId54"/>
                  </p:custDataLst>
                </p:nvPr>
              </p:nvSpPr>
              <p:spPr>
                <a:xfrm>
                  <a:off x="2996721" y="3303995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青海</a:t>
                  </a:r>
                </a:p>
              </p:txBody>
            </p:sp>
            <p:sp>
              <p:nvSpPr>
                <p:cNvPr id="24616" name="TextBox 95"/>
                <p:cNvSpPr txBox="1"/>
                <p:nvPr>
                  <p:custDataLst>
                    <p:tags r:id="rId55"/>
                  </p:custDataLst>
                </p:nvPr>
              </p:nvSpPr>
              <p:spPr>
                <a:xfrm>
                  <a:off x="3058893" y="2598342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甘肃</a:t>
                  </a:r>
                </a:p>
              </p:txBody>
            </p:sp>
            <p:sp>
              <p:nvSpPr>
                <p:cNvPr id="24617" name="TextBox 96"/>
                <p:cNvSpPr txBox="1"/>
                <p:nvPr>
                  <p:custDataLst>
                    <p:tags r:id="rId56"/>
                  </p:custDataLst>
                </p:nvPr>
              </p:nvSpPr>
              <p:spPr>
                <a:xfrm>
                  <a:off x="4623129" y="2565899"/>
                  <a:ext cx="569387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内蒙古</a:t>
                  </a:r>
                </a:p>
              </p:txBody>
            </p:sp>
            <p:sp>
              <p:nvSpPr>
                <p:cNvPr id="24618" name="TextBox 98"/>
                <p:cNvSpPr txBox="1"/>
                <p:nvPr>
                  <p:custDataLst>
                    <p:tags r:id="rId57"/>
                  </p:custDataLst>
                </p:nvPr>
              </p:nvSpPr>
              <p:spPr>
                <a:xfrm>
                  <a:off x="4308058" y="3084995"/>
                  <a:ext cx="338554" cy="348813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vert="eaVert"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宁夏</a:t>
                  </a:r>
                </a:p>
              </p:txBody>
            </p:sp>
            <p:sp>
              <p:nvSpPr>
                <p:cNvPr id="24619" name="TextBox 99"/>
                <p:cNvSpPr txBox="1"/>
                <p:nvPr>
                  <p:custDataLst>
                    <p:tags r:id="rId58"/>
                  </p:custDataLst>
                </p:nvPr>
              </p:nvSpPr>
              <p:spPr>
                <a:xfrm>
                  <a:off x="3751244" y="4209973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四川</a:t>
                  </a:r>
                </a:p>
              </p:txBody>
            </p:sp>
            <p:sp>
              <p:nvSpPr>
                <p:cNvPr id="24620" name="TextBox 100"/>
                <p:cNvSpPr txBox="1"/>
                <p:nvPr>
                  <p:custDataLst>
                    <p:tags r:id="rId59"/>
                  </p:custDataLst>
                </p:nvPr>
              </p:nvSpPr>
              <p:spPr>
                <a:xfrm>
                  <a:off x="3472711" y="5183814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云南</a:t>
                  </a:r>
                </a:p>
              </p:txBody>
            </p:sp>
            <p:sp>
              <p:nvSpPr>
                <p:cNvPr id="24621" name="TextBox 101"/>
                <p:cNvSpPr txBox="1"/>
                <p:nvPr>
                  <p:custDataLst>
                    <p:tags r:id="rId60"/>
                  </p:custDataLst>
                </p:nvPr>
              </p:nvSpPr>
              <p:spPr>
                <a:xfrm>
                  <a:off x="4681765" y="6022812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海南</a:t>
                  </a:r>
                </a:p>
              </p:txBody>
            </p:sp>
            <p:sp>
              <p:nvSpPr>
                <p:cNvPr id="24622" name="TextBox 102"/>
                <p:cNvSpPr txBox="1"/>
                <p:nvPr>
                  <p:custDataLst>
                    <p:tags r:id="rId61"/>
                  </p:custDataLst>
                </p:nvPr>
              </p:nvSpPr>
              <p:spPr>
                <a:xfrm>
                  <a:off x="4530935" y="5339298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广西</a:t>
                  </a:r>
                </a:p>
              </p:txBody>
            </p:sp>
            <p:sp>
              <p:nvSpPr>
                <p:cNvPr id="24623" name="TextBox 103"/>
                <p:cNvSpPr txBox="1"/>
                <p:nvPr>
                  <p:custDataLst>
                    <p:tags r:id="rId62"/>
                  </p:custDataLst>
                </p:nvPr>
              </p:nvSpPr>
              <p:spPr>
                <a:xfrm>
                  <a:off x="4296543" y="4878998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贵州</a:t>
                  </a:r>
                </a:p>
              </p:txBody>
            </p:sp>
            <p:sp>
              <p:nvSpPr>
                <p:cNvPr id="24624" name="TextBox 104"/>
                <p:cNvSpPr txBox="1"/>
                <p:nvPr>
                  <p:custDataLst>
                    <p:tags r:id="rId63"/>
                  </p:custDataLst>
                </p:nvPr>
              </p:nvSpPr>
              <p:spPr>
                <a:xfrm>
                  <a:off x="4361223" y="4372895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重庆</a:t>
                  </a:r>
                </a:p>
              </p:txBody>
            </p:sp>
            <p:sp>
              <p:nvSpPr>
                <p:cNvPr id="24625" name="TextBox 105"/>
                <p:cNvSpPr txBox="1"/>
                <p:nvPr>
                  <p:custDataLst>
                    <p:tags r:id="rId64"/>
                  </p:custDataLst>
                </p:nvPr>
              </p:nvSpPr>
              <p:spPr>
                <a:xfrm>
                  <a:off x="4550211" y="3706684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陕西</a:t>
                  </a:r>
                </a:p>
              </p:txBody>
            </p:sp>
            <p:sp>
              <p:nvSpPr>
                <p:cNvPr id="24626" name="TextBox 106"/>
                <p:cNvSpPr txBox="1"/>
                <p:nvPr>
                  <p:custDataLst>
                    <p:tags r:id="rId65"/>
                  </p:custDataLst>
                </p:nvPr>
              </p:nvSpPr>
              <p:spPr>
                <a:xfrm>
                  <a:off x="4987406" y="3166761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山西</a:t>
                  </a:r>
                </a:p>
              </p:txBody>
            </p:sp>
            <p:sp>
              <p:nvSpPr>
                <p:cNvPr id="24627" name="TextBox 107"/>
                <p:cNvSpPr txBox="1"/>
                <p:nvPr>
                  <p:custDataLst>
                    <p:tags r:id="rId66"/>
                  </p:custDataLst>
                </p:nvPr>
              </p:nvSpPr>
              <p:spPr>
                <a:xfrm>
                  <a:off x="6638845" y="1413988"/>
                  <a:ext cx="569387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黑龙江</a:t>
                  </a:r>
                </a:p>
              </p:txBody>
            </p:sp>
            <p:sp>
              <p:nvSpPr>
                <p:cNvPr id="24628" name="TextBox 108"/>
                <p:cNvSpPr txBox="1"/>
                <p:nvPr>
                  <p:custDataLst>
                    <p:tags r:id="rId67"/>
                  </p:custDataLst>
                </p:nvPr>
              </p:nvSpPr>
              <p:spPr>
                <a:xfrm>
                  <a:off x="6543300" y="1981200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吉林</a:t>
                  </a:r>
                </a:p>
              </p:txBody>
            </p:sp>
            <p:sp>
              <p:nvSpPr>
                <p:cNvPr id="24629" name="TextBox 109"/>
                <p:cNvSpPr txBox="1"/>
                <p:nvPr>
                  <p:custDataLst>
                    <p:tags r:id="rId68"/>
                  </p:custDataLst>
                </p:nvPr>
              </p:nvSpPr>
              <p:spPr>
                <a:xfrm>
                  <a:off x="6286718" y="2414598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辽宁</a:t>
                  </a:r>
                </a:p>
              </p:txBody>
            </p:sp>
            <p:sp>
              <p:nvSpPr>
                <p:cNvPr id="24630" name="TextBox 110"/>
                <p:cNvSpPr txBox="1"/>
                <p:nvPr>
                  <p:custDataLst>
                    <p:tags r:id="rId69"/>
                  </p:custDataLst>
                </p:nvPr>
              </p:nvSpPr>
              <p:spPr>
                <a:xfrm>
                  <a:off x="5383757" y="2983140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河北</a:t>
                  </a:r>
                </a:p>
              </p:txBody>
            </p:sp>
            <p:sp>
              <p:nvSpPr>
                <p:cNvPr id="24631" name="TextBox 111"/>
                <p:cNvSpPr txBox="1"/>
                <p:nvPr>
                  <p:custDataLst>
                    <p:tags r:id="rId70"/>
                  </p:custDataLst>
                </p:nvPr>
              </p:nvSpPr>
              <p:spPr>
                <a:xfrm>
                  <a:off x="5737703" y="3279135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山东</a:t>
                  </a:r>
                </a:p>
              </p:txBody>
            </p:sp>
            <p:sp>
              <p:nvSpPr>
                <p:cNvPr id="24632" name="TextBox 112"/>
                <p:cNvSpPr txBox="1"/>
                <p:nvPr>
                  <p:custDataLst>
                    <p:tags r:id="rId71"/>
                  </p:custDataLst>
                </p:nvPr>
              </p:nvSpPr>
              <p:spPr>
                <a:xfrm>
                  <a:off x="5142203" y="3719840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河南</a:t>
                  </a:r>
                </a:p>
              </p:txBody>
            </p:sp>
            <p:sp>
              <p:nvSpPr>
                <p:cNvPr id="24633" name="TextBox 113"/>
                <p:cNvSpPr txBox="1"/>
                <p:nvPr>
                  <p:custDataLst>
                    <p:tags r:id="rId72"/>
                  </p:custDataLst>
                </p:nvPr>
              </p:nvSpPr>
              <p:spPr>
                <a:xfrm>
                  <a:off x="5052915" y="4184037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湖北</a:t>
                  </a:r>
                </a:p>
              </p:txBody>
            </p:sp>
            <p:sp>
              <p:nvSpPr>
                <p:cNvPr id="24634" name="TextBox 114"/>
                <p:cNvSpPr txBox="1"/>
                <p:nvPr>
                  <p:custDataLst>
                    <p:tags r:id="rId73"/>
                  </p:custDataLst>
                </p:nvPr>
              </p:nvSpPr>
              <p:spPr>
                <a:xfrm>
                  <a:off x="4954678" y="4699419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湖南</a:t>
                  </a:r>
                </a:p>
              </p:txBody>
            </p:sp>
            <p:sp>
              <p:nvSpPr>
                <p:cNvPr id="24635" name="TextBox 115"/>
                <p:cNvSpPr txBox="1"/>
                <p:nvPr>
                  <p:custDataLst>
                    <p:tags r:id="rId74"/>
                  </p:custDataLst>
                </p:nvPr>
              </p:nvSpPr>
              <p:spPr>
                <a:xfrm>
                  <a:off x="5250513" y="5326869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广东</a:t>
                  </a:r>
                </a:p>
              </p:txBody>
            </p:sp>
            <p:sp>
              <p:nvSpPr>
                <p:cNvPr id="24636" name="TextBox 116"/>
                <p:cNvSpPr txBox="1"/>
                <p:nvPr>
                  <p:custDataLst>
                    <p:tags r:id="rId75"/>
                  </p:custDataLst>
                </p:nvPr>
              </p:nvSpPr>
              <p:spPr>
                <a:xfrm>
                  <a:off x="5484737" y="4697066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江西</a:t>
                  </a:r>
                </a:p>
              </p:txBody>
            </p:sp>
            <p:sp>
              <p:nvSpPr>
                <p:cNvPr id="24637" name="TextBox 117"/>
                <p:cNvSpPr txBox="1"/>
                <p:nvPr>
                  <p:custDataLst>
                    <p:tags r:id="rId76"/>
                  </p:custDataLst>
                </p:nvPr>
              </p:nvSpPr>
              <p:spPr>
                <a:xfrm>
                  <a:off x="5856233" y="4937593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福建</a:t>
                  </a:r>
                </a:p>
              </p:txBody>
            </p:sp>
            <p:sp>
              <p:nvSpPr>
                <p:cNvPr id="24638" name="TextBox 118"/>
                <p:cNvSpPr txBox="1"/>
                <p:nvPr>
                  <p:custDataLst>
                    <p:tags r:id="rId77"/>
                  </p:custDataLst>
                </p:nvPr>
              </p:nvSpPr>
              <p:spPr>
                <a:xfrm>
                  <a:off x="5684640" y="4087610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安徽</a:t>
                  </a:r>
                </a:p>
              </p:txBody>
            </p:sp>
            <p:sp>
              <p:nvSpPr>
                <p:cNvPr id="24639" name="TextBox 119"/>
                <p:cNvSpPr txBox="1"/>
                <p:nvPr>
                  <p:custDataLst>
                    <p:tags r:id="rId78"/>
                  </p:custDataLst>
                </p:nvPr>
              </p:nvSpPr>
              <p:spPr>
                <a:xfrm>
                  <a:off x="5925883" y="3712536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江苏</a:t>
                  </a:r>
                </a:p>
              </p:txBody>
            </p:sp>
            <p:sp>
              <p:nvSpPr>
                <p:cNvPr id="24640" name="TextBox 120"/>
                <p:cNvSpPr txBox="1"/>
                <p:nvPr>
                  <p:custDataLst>
                    <p:tags r:id="rId79"/>
                  </p:custDataLst>
                </p:nvPr>
              </p:nvSpPr>
              <p:spPr>
                <a:xfrm>
                  <a:off x="6076806" y="4409396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浙江</a:t>
                  </a:r>
                </a:p>
              </p:txBody>
            </p:sp>
            <p:sp>
              <p:nvSpPr>
                <p:cNvPr id="24641" name="TextBox 121"/>
                <p:cNvSpPr txBox="1"/>
                <p:nvPr>
                  <p:custDataLst>
                    <p:tags r:id="rId80"/>
                  </p:custDataLst>
                </p:nvPr>
              </p:nvSpPr>
              <p:spPr>
                <a:xfrm>
                  <a:off x="5589484" y="5627366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rgbClr val="0070BC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香港</a:t>
                  </a:r>
                </a:p>
              </p:txBody>
            </p:sp>
            <p:sp>
              <p:nvSpPr>
                <p:cNvPr id="24642" name="TextBox 122"/>
                <p:cNvSpPr txBox="1"/>
                <p:nvPr>
                  <p:custDataLst>
                    <p:tags r:id="rId81"/>
                  </p:custDataLst>
                </p:nvPr>
              </p:nvSpPr>
              <p:spPr>
                <a:xfrm>
                  <a:off x="6367029" y="5163584"/>
                  <a:ext cx="338554" cy="348813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vert="eaVert"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chemeClr val="bg1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台湾</a:t>
                  </a:r>
                </a:p>
              </p:txBody>
            </p:sp>
            <p:sp>
              <p:nvSpPr>
                <p:cNvPr id="24643" name="TextBox 123"/>
                <p:cNvSpPr txBox="1"/>
                <p:nvPr>
                  <p:custDataLst>
                    <p:tags r:id="rId82"/>
                  </p:custDataLst>
                </p:nvPr>
              </p:nvSpPr>
              <p:spPr>
                <a:xfrm>
                  <a:off x="5234980" y="5748545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rgbClr val="0070BC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澳门</a:t>
                  </a:r>
                </a:p>
              </p:txBody>
            </p:sp>
            <p:sp>
              <p:nvSpPr>
                <p:cNvPr id="24644" name="TextBox 124"/>
                <p:cNvSpPr txBox="1"/>
                <p:nvPr>
                  <p:custDataLst>
                    <p:tags r:id="rId83"/>
                  </p:custDataLst>
                </p:nvPr>
              </p:nvSpPr>
              <p:spPr>
                <a:xfrm>
                  <a:off x="6460802" y="4024277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rgbClr val="0070BC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上海</a:t>
                  </a:r>
                </a:p>
              </p:txBody>
            </p:sp>
            <p:sp>
              <p:nvSpPr>
                <p:cNvPr id="24645" name="TextBox 125"/>
                <p:cNvSpPr txBox="1"/>
                <p:nvPr>
                  <p:custDataLst>
                    <p:tags r:id="rId84"/>
                  </p:custDataLst>
                </p:nvPr>
              </p:nvSpPr>
              <p:spPr>
                <a:xfrm>
                  <a:off x="5708037" y="2877979"/>
                  <a:ext cx="441146" cy="24622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000" dirty="0">
                      <a:solidFill>
                        <a:srgbClr val="0070BC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天津</a:t>
                  </a:r>
                </a:p>
              </p:txBody>
            </p:sp>
            <p:sp>
              <p:nvSpPr>
                <p:cNvPr id="24646" name="TextBox 97"/>
                <p:cNvSpPr txBox="1"/>
                <p:nvPr>
                  <p:custDataLst>
                    <p:tags r:id="rId85"/>
                  </p:custDataLst>
                </p:nvPr>
              </p:nvSpPr>
              <p:spPr>
                <a:xfrm>
                  <a:off x="6606111" y="4847274"/>
                  <a:ext cx="492443" cy="21544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800" dirty="0">
                      <a:solidFill>
                        <a:srgbClr val="0070BC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钓鱼岛</a:t>
                  </a:r>
                </a:p>
              </p:txBody>
            </p:sp>
          </p:grpSp>
          <p:grpSp>
            <p:nvGrpSpPr>
              <p:cNvPr id="24647" name="0"/>
              <p:cNvGrpSpPr/>
              <p:nvPr/>
            </p:nvGrpSpPr>
            <p:grpSpPr>
              <a:xfrm>
                <a:off x="5558154" y="2644090"/>
                <a:ext cx="698997" cy="307777"/>
                <a:chOff x="5558154" y="2652717"/>
                <a:chExt cx="698997" cy="307777"/>
              </a:xfrm>
            </p:grpSpPr>
            <p:sp>
              <p:nvSpPr>
                <p:cNvPr id="57" name="五角星 127"/>
                <p:cNvSpPr/>
                <p:nvPr>
                  <p:custDataLst>
                    <p:tags r:id="rId50"/>
                  </p:custDataLst>
                </p:nvPr>
              </p:nvSpPr>
              <p:spPr>
                <a:xfrm>
                  <a:off x="5558154" y="2654256"/>
                  <a:ext cx="251903" cy="251903"/>
                </a:xfrm>
                <a:prstGeom prst="star5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/>
                  <a:endParaRPr lang="zh-CN" altLang="en-US" strike="noStrike" noProof="1">
                    <a:cs typeface="+mn-ea"/>
                    <a:sym typeface="+mn-lt"/>
                  </a:endParaRPr>
                </a:p>
              </p:txBody>
            </p:sp>
            <p:sp>
              <p:nvSpPr>
                <p:cNvPr id="24649" name="TextBox 128"/>
                <p:cNvSpPr txBox="1"/>
                <p:nvPr>
                  <p:custDataLst>
                    <p:tags r:id="rId51"/>
                  </p:custDataLst>
                </p:nvPr>
              </p:nvSpPr>
              <p:spPr>
                <a:xfrm>
                  <a:off x="5713412" y="2652717"/>
                  <a:ext cx="543739" cy="307777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 wrap="none" anchor="t">
                  <a:spAutoFit/>
                </a:bodyPr>
                <a:lstStyle/>
                <a:p>
                  <a:r>
                    <a:rPr lang="zh-CN" altLang="en-US" sz="1400" b="1" dirty="0">
                      <a:solidFill>
                        <a:srgbClr val="FF0000"/>
                      </a:solidFill>
                      <a:latin typeface="Calibri" panose="020F0502020204030204" charset="0"/>
                      <a:ea typeface="宋体" panose="02010600030101010101" pitchFamily="2" charset="-122"/>
                      <a:sym typeface="Calibri" panose="020F0502020204030204" charset="0"/>
                    </a:rPr>
                    <a:t>北京</a:t>
                  </a:r>
                </a:p>
              </p:txBody>
            </p:sp>
          </p:grpSp>
        </p:grpSp>
        <p:sp>
          <p:nvSpPr>
            <p:cNvPr id="5" name="í$ḷiḋe"/>
            <p:cNvSpPr/>
            <p:nvPr>
              <p:custDataLst>
                <p:tags r:id="rId2"/>
              </p:custDataLst>
            </p:nvPr>
          </p:nvSpPr>
          <p:spPr bwMode="auto">
            <a:xfrm flipV="1">
              <a:off x="7323825" y="2695581"/>
              <a:ext cx="4233284" cy="457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 fontAlgn="base"/>
              <a:endParaRPr/>
            </a:p>
          </p:txBody>
        </p:sp>
        <p:pic>
          <p:nvPicPr>
            <p:cNvPr id="24651" name="Picture 2"/>
            <p:cNvPicPr/>
            <p:nvPr>
              <p:custDataLst>
                <p:tags r:id="rId3"/>
              </p:custDataLst>
            </p:nvPr>
          </p:nvPicPr>
          <p:blipFill>
            <a:blip r:embed="rId93"/>
            <a:stretch>
              <a:fillRect/>
            </a:stretch>
          </p:blipFill>
          <p:spPr>
            <a:xfrm>
              <a:off x="7418629" y="1222370"/>
              <a:ext cx="1639647" cy="986192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24652" name="文本框 6"/>
            <p:cNvSpPr txBox="1"/>
            <p:nvPr>
              <p:custDataLst>
                <p:tags r:id="rId4"/>
              </p:custDataLst>
            </p:nvPr>
          </p:nvSpPr>
          <p:spPr>
            <a:xfrm>
              <a:off x="7326511" y="2283302"/>
              <a:ext cx="649147" cy="36933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spcBef>
                  <a:spcPct val="30000"/>
                </a:spcBef>
                <a:buClr>
                  <a:srgbClr val="70193D"/>
                </a:buClr>
                <a:buSzPct val="95000"/>
              </a:pPr>
              <a:r>
                <a:rPr lang="zh-CN" altLang="en-US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扬州</a:t>
              </a:r>
            </a:p>
          </p:txBody>
        </p:sp>
        <p:sp>
          <p:nvSpPr>
            <p:cNvPr id="24653" name="文本框 7"/>
            <p:cNvSpPr txBox="1"/>
            <p:nvPr>
              <p:custDataLst>
                <p:tags r:id="rId5"/>
              </p:custDataLst>
            </p:nvPr>
          </p:nvSpPr>
          <p:spPr>
            <a:xfrm>
              <a:off x="8006684" y="2209740"/>
              <a:ext cx="3701897" cy="55100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ts val="2800"/>
                </a:lnSpc>
                <a:spcBef>
                  <a:spcPct val="30000"/>
                </a:spcBef>
                <a:buClr>
                  <a:srgbClr val="70193D"/>
                </a:buClr>
                <a:buSzPct val="95000"/>
              </a:pPr>
              <a:r>
                <a:rPr lang="zh-CN" altLang="en-US" sz="1400" b="1" dirty="0" smtClean="0">
                  <a:latin typeface="Arial" panose="020B0604020202020204" pitchFamily="34" charset="0"/>
                  <a:ea typeface="宋体" panose="02010600030101010101" pitchFamily="2" charset="-122"/>
                </a:rPr>
                <a:t>扬农集团管理中心</a:t>
              </a:r>
              <a:r>
                <a:rPr lang="zh-CN" altLang="en-US" sz="1400" b="1" dirty="0" smtClean="0">
                  <a:latin typeface="Arial" panose="020B0604020202020204" pitchFamily="34" charset="0"/>
                  <a:ea typeface="宋体" panose="02010600030101010101" pitchFamily="2" charset="-122"/>
                </a:rPr>
                <a:t>、营销中心</a:t>
              </a:r>
              <a:r>
                <a:rPr lang="zh-CN" altLang="en-US" sz="1400" b="1" dirty="0" smtClean="0">
                  <a:latin typeface="Arial" panose="020B0604020202020204" pitchFamily="34" charset="0"/>
                  <a:ea typeface="宋体" panose="02010600030101010101" pitchFamily="2" charset="-122"/>
                </a:rPr>
                <a:t>、研发中心</a:t>
              </a:r>
              <a:endPara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24654" name="Picture 1"/>
            <p:cNvPicPr/>
            <p:nvPr>
              <p:custDataLst>
                <p:tags r:id="rId6"/>
              </p:custDataLst>
            </p:nvPr>
          </p:nvPicPr>
          <p:blipFill>
            <a:blip r:embed="rId94"/>
            <a:stretch>
              <a:fillRect/>
            </a:stretch>
          </p:blipFill>
          <p:spPr>
            <a:xfrm>
              <a:off x="7418630" y="3137854"/>
              <a:ext cx="1639646" cy="99067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0" name="í$ḷiḋe"/>
            <p:cNvSpPr/>
            <p:nvPr>
              <p:custDataLst>
                <p:tags r:id="rId7"/>
              </p:custDataLst>
            </p:nvPr>
          </p:nvSpPr>
          <p:spPr bwMode="auto">
            <a:xfrm flipV="1">
              <a:off x="7323825" y="4711117"/>
              <a:ext cx="4233284" cy="457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 fontAlgn="base"/>
              <a:endParaRPr/>
            </a:p>
          </p:txBody>
        </p:sp>
        <p:sp>
          <p:nvSpPr>
            <p:cNvPr id="24656" name="矩形 10"/>
            <p:cNvSpPr/>
            <p:nvPr>
              <p:custDataLst>
                <p:tags r:id="rId8"/>
              </p:custDataLst>
            </p:nvPr>
          </p:nvSpPr>
          <p:spPr>
            <a:xfrm>
              <a:off x="7323826" y="4334082"/>
              <a:ext cx="651832" cy="36933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buClrTx/>
              </a:pPr>
              <a:r>
                <a:rPr lang="zh-CN" altLang="en-US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仪征</a:t>
              </a:r>
              <a:endParaRPr lang="en-US" altLang="zh-CN" b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657" name="矩形 11"/>
            <p:cNvSpPr/>
            <p:nvPr>
              <p:custDataLst>
                <p:tags r:id="rId9"/>
              </p:custDataLst>
            </p:nvPr>
          </p:nvSpPr>
          <p:spPr>
            <a:xfrm>
              <a:off x="7975658" y="4257631"/>
              <a:ext cx="3773129" cy="451406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ts val="2800"/>
                </a:lnSpc>
                <a:spcBef>
                  <a:spcPct val="30000"/>
                </a:spcBef>
                <a:buClr>
                  <a:srgbClr val="70193D"/>
                </a:buClr>
                <a:buSzPct val="95000"/>
              </a:pPr>
              <a:r>
                <a:rPr lang="zh-CN" altLang="en-US" sz="1400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主要生产环氧氯丙烷、环氧树脂等化工新材料</a:t>
              </a:r>
            </a:p>
          </p:txBody>
        </p:sp>
        <p:pic>
          <p:nvPicPr>
            <p:cNvPr id="24658" name="Picture 3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95"/>
            <a:stretch>
              <a:fillRect/>
            </a:stretch>
          </p:blipFill>
          <p:spPr>
            <a:xfrm>
              <a:off x="2428752" y="1225469"/>
              <a:ext cx="1639646" cy="98383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4" name="í$ḷiḋe"/>
            <p:cNvSpPr/>
            <p:nvPr>
              <p:custDataLst>
                <p:tags r:id="rId11"/>
              </p:custDataLst>
            </p:nvPr>
          </p:nvSpPr>
          <p:spPr bwMode="auto">
            <a:xfrm flipV="1">
              <a:off x="293300" y="2987720"/>
              <a:ext cx="2896736" cy="4786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 fontAlgn="base"/>
              <a:endParaRPr/>
            </a:p>
          </p:txBody>
        </p:sp>
        <p:sp>
          <p:nvSpPr>
            <p:cNvPr id="24660" name="矩形 14"/>
            <p:cNvSpPr/>
            <p:nvPr>
              <p:custDataLst>
                <p:tags r:id="rId12"/>
              </p:custDataLst>
            </p:nvPr>
          </p:nvSpPr>
          <p:spPr>
            <a:xfrm>
              <a:off x="441973" y="2326250"/>
              <a:ext cx="845491" cy="36933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buClrTx/>
              </a:pPr>
              <a:r>
                <a:rPr lang="zh-CN" altLang="en-US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中卫</a:t>
              </a:r>
              <a:endParaRPr lang="en-US" altLang="zh-CN" b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661" name="矩形 15"/>
            <p:cNvSpPr/>
            <p:nvPr>
              <p:custDataLst>
                <p:tags r:id="rId13"/>
              </p:custDataLst>
            </p:nvPr>
          </p:nvSpPr>
          <p:spPr>
            <a:xfrm>
              <a:off x="1119520" y="2283302"/>
              <a:ext cx="6092344" cy="451406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ts val="2800"/>
                </a:lnSpc>
                <a:spcBef>
                  <a:spcPct val="30000"/>
                </a:spcBef>
                <a:buClr>
                  <a:srgbClr val="70193D"/>
                </a:buClr>
                <a:buSzPct val="95000"/>
              </a:pPr>
              <a:r>
                <a:rPr lang="zh-CN" altLang="en-US" sz="1400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主要生产以光气资源为依托，</a:t>
              </a:r>
            </a:p>
          </p:txBody>
        </p:sp>
        <p:sp>
          <p:nvSpPr>
            <p:cNvPr id="24662" name="矩形 16"/>
            <p:cNvSpPr/>
            <p:nvPr>
              <p:custDataLst>
                <p:tags r:id="rId14"/>
              </p:custDataLst>
            </p:nvPr>
          </p:nvSpPr>
          <p:spPr>
            <a:xfrm>
              <a:off x="404327" y="2557058"/>
              <a:ext cx="2875985" cy="451406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ts val="2800"/>
                </a:lnSpc>
                <a:spcBef>
                  <a:spcPct val="30000"/>
                </a:spcBef>
                <a:buClr>
                  <a:srgbClr val="70193D"/>
                </a:buClr>
                <a:buSzPct val="95000"/>
              </a:pPr>
              <a:r>
                <a:rPr lang="zh-CN" altLang="en-US" sz="1400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向下游延伸的新农药、新材料产品</a:t>
              </a:r>
            </a:p>
          </p:txBody>
        </p:sp>
        <p:pic>
          <p:nvPicPr>
            <p:cNvPr id="24663" name="图片 17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96"/>
            <a:stretch>
              <a:fillRect/>
            </a:stretch>
          </p:blipFill>
          <p:spPr>
            <a:xfrm>
              <a:off x="2428560" y="4351347"/>
              <a:ext cx="1641281" cy="101919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9" name="í$ḷiḋe"/>
            <p:cNvSpPr/>
            <p:nvPr>
              <p:custDataLst>
                <p:tags r:id="rId16"/>
              </p:custDataLst>
            </p:nvPr>
          </p:nvSpPr>
          <p:spPr bwMode="auto">
            <a:xfrm flipV="1">
              <a:off x="441973" y="6234223"/>
              <a:ext cx="6511991" cy="457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 fontAlgn="base"/>
              <a:endParaRPr/>
            </a:p>
          </p:txBody>
        </p:sp>
        <p:sp>
          <p:nvSpPr>
            <p:cNvPr id="24665" name="矩形 19"/>
            <p:cNvSpPr/>
            <p:nvPr>
              <p:custDataLst>
                <p:tags r:id="rId17"/>
              </p:custDataLst>
            </p:nvPr>
          </p:nvSpPr>
          <p:spPr>
            <a:xfrm>
              <a:off x="404327" y="5571461"/>
              <a:ext cx="1089763" cy="36933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buClrTx/>
              </a:pPr>
              <a:r>
                <a:rPr lang="zh-CN" altLang="en-US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连云港</a:t>
              </a:r>
              <a:endParaRPr lang="en-US" altLang="zh-CN" b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666" name="矩形 20"/>
            <p:cNvSpPr/>
            <p:nvPr>
              <p:custDataLst>
                <p:tags r:id="rId18"/>
              </p:custDataLst>
            </p:nvPr>
          </p:nvSpPr>
          <p:spPr>
            <a:xfrm>
              <a:off x="1017781" y="5445783"/>
              <a:ext cx="6092344" cy="73866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indent="355600" algn="just">
                <a:lnSpc>
                  <a:spcPct val="150000"/>
                </a:lnSpc>
              </a:pPr>
              <a:r>
                <a:rPr lang="zh-CN" altLang="zh-CN" sz="1400" b="1" dirty="0">
                  <a:latin typeface="Calibri" panose="020F0502020204030204" charset="0"/>
                  <a:ea typeface="宋体" panose="02010600030101010101" pitchFamily="2" charset="-122"/>
                </a:rPr>
                <a:t>重点规划了芳烃、烯烃下游、高性能材料等三大产业，打造循环、绿色、配套的优势产业平台。</a:t>
              </a:r>
            </a:p>
          </p:txBody>
        </p:sp>
      </p:grpSp>
      <p:sp>
        <p:nvSpPr>
          <p:cNvPr id="24668" name="矩形 100"/>
          <p:cNvSpPr/>
          <p:nvPr>
            <p:custDataLst>
              <p:tags r:id="rId1"/>
            </p:custDataLst>
          </p:nvPr>
        </p:nvSpPr>
        <p:spPr>
          <a:xfrm>
            <a:off x="780415" y="236220"/>
            <a:ext cx="3893820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扬农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我们的母公司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89635" y="941705"/>
            <a:ext cx="102831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2011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年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12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月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1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日，扬农与中化国际签署战略合作协议后，中化国际为扬农提供了一个全新的国际化发展平台，扬</a:t>
            </a: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农与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化国际进行全方位融合。</a:t>
            </a:r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>
            <p:custDataLst>
              <p:tags r:id="rId2"/>
            </p:custDataLst>
          </p:nvPr>
        </p:nvSpPr>
        <p:spPr>
          <a:xfrm>
            <a:off x="441325" y="184150"/>
            <a:ext cx="10972800" cy="742950"/>
          </a:xfrm>
          <a:prstGeom prst="rect">
            <a:avLst/>
          </a:prstGeom>
          <a:noFill/>
        </p:spPr>
        <p:txBody>
          <a:bodyPr wrap="square" lIns="63500" tIns="25400" rIns="63500" bIns="25400" rtlCol="0" anchor="b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zh-CN" altLang="en-US" sz="2800" b="1" spc="24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关于我们</a:t>
            </a:r>
            <a:r>
              <a:rPr lang="en-US" altLang="zh-CN" sz="2800" b="1" spc="24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—</a:t>
            </a:r>
            <a:r>
              <a:rPr lang="zh-CN" altLang="en-US" sz="2800" b="1" spc="240" dirty="0">
                <a:solidFill>
                  <a:schemeClr val="dk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黄海之滨的璀璨明珠</a:t>
            </a:r>
          </a:p>
        </p:txBody>
      </p:sp>
      <p:sp>
        <p:nvSpPr>
          <p:cNvPr id="4" name="Title 6"/>
          <p:cNvSpPr txBox="1"/>
          <p:nvPr>
            <p:custDataLst>
              <p:tags r:id="rId3"/>
            </p:custDataLst>
          </p:nvPr>
        </p:nvSpPr>
        <p:spPr>
          <a:xfrm>
            <a:off x="372745" y="2148205"/>
            <a:ext cx="4247515" cy="40030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zh-CN" sz="2000" b="1" spc="160" dirty="0">
                <a:ln w="3175">
                  <a:noFill/>
                  <a:prstDash val="dash"/>
                </a:ln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江苏瑞恒新材料科技有限公司成立于2017年5月，现占地面积2130亩，注册资金18亿元，是中化集团化工事业部产业集聚、优化升级和高质量发展的重要平台，致力于建设国际一流装置，以数字化、信息化为标准，推进智能工厂建设。公司依托母公司扬农集团研究院自主研发创新，结合连云港国家级石化基地炼化一体化资源和港口区位优势，重点规划了芳烃、烯烃下游、高性能材料等三大产业，打造循环、绿色、配套的优势产业平台。</a:t>
            </a:r>
          </a:p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endParaRPr lang="zh-CN" altLang="zh-CN" sz="2000" b="1" u="none" strike="noStrike" spc="160" baseline="0" dirty="0">
              <a:ln w="3175">
                <a:noFill/>
                <a:prstDash val="dash"/>
              </a:ln>
              <a:solidFill>
                <a:schemeClr val="tx1"/>
              </a:solidFill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2" name="图片 1" descr="placingpictureplaceholder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>
          <a:xfrm>
            <a:off x="9249410" y="2148205"/>
            <a:ext cx="2332990" cy="1969770"/>
          </a:xfrm>
          <a:prstGeom prst="rect">
            <a:avLst/>
          </a:prstGeom>
        </p:spPr>
      </p:pic>
      <p:pic>
        <p:nvPicPr>
          <p:cNvPr id="7" name="图片 6" descr="placingpictureplaceholder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rcRect/>
          <a:stretch>
            <a:fillRect/>
          </a:stretch>
        </p:blipFill>
        <p:spPr>
          <a:xfrm>
            <a:off x="9249410" y="4192270"/>
            <a:ext cx="2332990" cy="1933575"/>
          </a:xfrm>
          <a:prstGeom prst="rect">
            <a:avLst/>
          </a:prstGeom>
        </p:spPr>
      </p:pic>
      <p:pic>
        <p:nvPicPr>
          <p:cNvPr id="24663" name="图片 1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888230" y="2148205"/>
            <a:ext cx="4271010" cy="3977005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  <p:transition spd="slow">
    <p:circl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1"/>
          <p:cNvSpPr txBox="1"/>
          <p:nvPr>
            <p:custDataLst>
              <p:tags r:id="rId2"/>
            </p:custDataLst>
          </p:nvPr>
        </p:nvSpPr>
        <p:spPr>
          <a:xfrm>
            <a:off x="8561388" y="2163763"/>
            <a:ext cx="3397250" cy="42926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二期碳三项目计划投资约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180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亿元。通过把握行业趋势与机遇，整合内外部优势资源，依托双氧水法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PO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创新工艺，构建以丙烷为源头、氢资源充分利用的一体化碳三产品树。</a:t>
            </a:r>
          </a:p>
          <a:p>
            <a:pPr marL="285750" indent="-285750">
              <a:lnSpc>
                <a:spcPct val="15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一期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B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项目和二期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C3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项目将按照“抢抓市场机遇、补强产业链条、加快效益实现”的原则进行统筹建设，目前进入临时设施建设、桩基施工阶段，计划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2021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月，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2022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9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月分别建成。项目建成投运后将为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2021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年、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2022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年分别贡献利润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 3.31 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亿元、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10.61 </a:t>
            </a:r>
            <a:r>
              <a:rPr lang="zh-CN" altLang="zh-CN" sz="1400" b="1" dirty="0">
                <a:latin typeface="微软雅黑" panose="020B0503020204020204" charset="-122"/>
                <a:ea typeface="微软雅黑" panose="020B0503020204020204" charset="-122"/>
              </a:rPr>
              <a:t>亿元。</a:t>
            </a:r>
          </a:p>
        </p:txBody>
      </p:sp>
      <p:sp>
        <p:nvSpPr>
          <p:cNvPr id="14" name="TextBox 11"/>
          <p:cNvSpPr txBox="1"/>
          <p:nvPr>
            <p:custDataLst>
              <p:tags r:id="rId3"/>
            </p:custDataLst>
          </p:nvPr>
        </p:nvSpPr>
        <p:spPr>
          <a:xfrm>
            <a:off x="414338" y="1335088"/>
            <a:ext cx="3835400" cy="3830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360045">
              <a:lnSpc>
                <a:spcPct val="15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一期芳烃产业项目计划投资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40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亿元。分为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A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、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B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两个阶段实施，瑞恒一期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A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项目为年产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8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万吨硝基氯苯、年产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2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万吨间二氯苯及三氯苯装置，及配套仓储和公用工程。一期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A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项目于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2019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年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10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月底建成调试，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2020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年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1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月达产达效，技经指标处于国际领先水平</a:t>
            </a:r>
            <a:r>
              <a:rPr lang="zh-CN" altLang="zh-CN" sz="1400" b="1" noProof="1" smtClean="0">
                <a:latin typeface="微软雅黑" panose="020B0503020204020204" charset="-122"/>
                <a:ea typeface="微软雅黑" panose="020B0503020204020204" charset="-122"/>
                <a:cs typeface="+mn-cs"/>
              </a:rPr>
              <a:t>。</a:t>
            </a:r>
            <a:endParaRPr lang="en-US" altLang="zh-CN" sz="1400" b="1" noProof="1" smtClean="0">
              <a:latin typeface="微软雅黑" panose="020B0503020204020204" charset="-122"/>
              <a:ea typeface="微软雅黑" panose="020B0503020204020204" charset="-122"/>
            </a:endParaRPr>
          </a:p>
          <a:p>
            <a:pPr marL="285750" indent="360045">
              <a:lnSpc>
                <a:spcPct val="150000"/>
              </a:lnSpc>
              <a:buClr>
                <a:srgbClr val="009944"/>
              </a:buClr>
              <a:buFont typeface="Wingdings" panose="05000000000000000000" pitchFamily="2" charset="2"/>
              <a:buChar char="Ø"/>
            </a:pP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一期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B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阶段项目以烧碱为基础，发展芳烃下游产品配套项目，依托自主创新双氧水法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ECH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工艺，与甘油法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ECH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形成互补优势，丰富发展</a:t>
            </a:r>
            <a:r>
              <a:rPr lang="en-US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ECH</a:t>
            </a:r>
            <a:r>
              <a:rPr lang="zh-CN" altLang="zh-CN" sz="1400" b="1" noProof="1">
                <a:latin typeface="微软雅黑" panose="020B0503020204020204" charset="-122"/>
                <a:ea typeface="微软雅黑" panose="020B0503020204020204" charset="-122"/>
                <a:cs typeface="+mn-cs"/>
              </a:rPr>
              <a:t>、环氧树脂产品树。</a:t>
            </a:r>
            <a:endParaRPr lang="zh-CN" altLang="zh-CN" sz="1400" b="1" noProof="1"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zh-CN" altLang="zh-CN" sz="1200" b="1" noProof="1"/>
          </a:p>
        </p:txBody>
      </p:sp>
      <p:sp>
        <p:nvSpPr>
          <p:cNvPr id="15" name="Freeform 8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5275263" y="2679700"/>
            <a:ext cx="1641475" cy="1604963"/>
          </a:xfrm>
          <a:custGeom>
            <a:avLst/>
            <a:gdLst>
              <a:gd name="T0" fmla="*/ 1647 w 2514"/>
              <a:gd name="T1" fmla="*/ 221 h 2456"/>
              <a:gd name="T2" fmla="*/ 610 w 2514"/>
              <a:gd name="T3" fmla="*/ 369 h 2456"/>
              <a:gd name="T4" fmla="*/ 685 w 2514"/>
              <a:gd name="T5" fmla="*/ 405 h 2456"/>
              <a:gd name="T6" fmla="*/ 954 w 2514"/>
              <a:gd name="T7" fmla="*/ 401 h 2456"/>
              <a:gd name="T8" fmla="*/ 1005 w 2514"/>
              <a:gd name="T9" fmla="*/ 531 h 2456"/>
              <a:gd name="T10" fmla="*/ 1023 w 2514"/>
              <a:gd name="T11" fmla="*/ 788 h 2456"/>
              <a:gd name="T12" fmla="*/ 1076 w 2514"/>
              <a:gd name="T13" fmla="*/ 972 h 2456"/>
              <a:gd name="T14" fmla="*/ 1078 w 2514"/>
              <a:gd name="T15" fmla="*/ 843 h 2456"/>
              <a:gd name="T16" fmla="*/ 1136 w 2514"/>
              <a:gd name="T17" fmla="*/ 1049 h 2456"/>
              <a:gd name="T18" fmla="*/ 1363 w 2514"/>
              <a:gd name="T19" fmla="*/ 1266 h 2456"/>
              <a:gd name="T20" fmla="*/ 1432 w 2514"/>
              <a:gd name="T21" fmla="*/ 1469 h 2456"/>
              <a:gd name="T22" fmla="*/ 1423 w 2514"/>
              <a:gd name="T23" fmla="*/ 1798 h 2456"/>
              <a:gd name="T24" fmla="*/ 1231 w 2514"/>
              <a:gd name="T25" fmla="*/ 2177 h 2456"/>
              <a:gd name="T26" fmla="*/ 1211 w 2514"/>
              <a:gd name="T27" fmla="*/ 2303 h 2456"/>
              <a:gd name="T28" fmla="*/ 1477 w 2514"/>
              <a:gd name="T29" fmla="*/ 682 h 2456"/>
              <a:gd name="T30" fmla="*/ 1271 w 2514"/>
              <a:gd name="T31" fmla="*/ 2243 h 2456"/>
              <a:gd name="T32" fmla="*/ 1542 w 2514"/>
              <a:gd name="T33" fmla="*/ 2058 h 2456"/>
              <a:gd name="T34" fmla="*/ 1955 w 2514"/>
              <a:gd name="T35" fmla="*/ 1699 h 2456"/>
              <a:gd name="T36" fmla="*/ 1703 w 2514"/>
              <a:gd name="T37" fmla="*/ 1398 h 2456"/>
              <a:gd name="T38" fmla="*/ 1421 w 2514"/>
              <a:gd name="T39" fmla="*/ 1217 h 2456"/>
              <a:gd name="T40" fmla="*/ 1410 w 2514"/>
              <a:gd name="T41" fmla="*/ 969 h 2456"/>
              <a:gd name="T42" fmla="*/ 1740 w 2514"/>
              <a:gd name="T43" fmla="*/ 826 h 2456"/>
              <a:gd name="T44" fmla="*/ 1802 w 2514"/>
              <a:gd name="T45" fmla="*/ 777 h 2456"/>
              <a:gd name="T46" fmla="*/ 1838 w 2514"/>
              <a:gd name="T47" fmla="*/ 605 h 2456"/>
              <a:gd name="T48" fmla="*/ 1654 w 2514"/>
              <a:gd name="T49" fmla="*/ 629 h 2456"/>
              <a:gd name="T50" fmla="*/ 1614 w 2514"/>
              <a:gd name="T51" fmla="*/ 413 h 2456"/>
              <a:gd name="T52" fmla="*/ 1660 w 2514"/>
              <a:gd name="T53" fmla="*/ 392 h 2456"/>
              <a:gd name="T54" fmla="*/ 1713 w 2514"/>
              <a:gd name="T55" fmla="*/ 479 h 2456"/>
              <a:gd name="T56" fmla="*/ 1861 w 2514"/>
              <a:gd name="T57" fmla="*/ 552 h 2456"/>
              <a:gd name="T58" fmla="*/ 1839 w 2514"/>
              <a:gd name="T59" fmla="*/ 465 h 2456"/>
              <a:gd name="T60" fmla="*/ 1700 w 2514"/>
              <a:gd name="T61" fmla="*/ 347 h 2456"/>
              <a:gd name="T62" fmla="*/ 1610 w 2514"/>
              <a:gd name="T63" fmla="*/ 390 h 2456"/>
              <a:gd name="T64" fmla="*/ 1511 w 2514"/>
              <a:gd name="T65" fmla="*/ 270 h 2456"/>
              <a:gd name="T66" fmla="*/ 1394 w 2514"/>
              <a:gd name="T67" fmla="*/ 314 h 2456"/>
              <a:gd name="T68" fmla="*/ 1087 w 2514"/>
              <a:gd name="T69" fmla="*/ 250 h 2456"/>
              <a:gd name="T70" fmla="*/ 1542 w 2514"/>
              <a:gd name="T71" fmla="*/ 189 h 2456"/>
              <a:gd name="T72" fmla="*/ 1609 w 2514"/>
              <a:gd name="T73" fmla="*/ 248 h 2456"/>
              <a:gd name="T74" fmla="*/ 1610 w 2514"/>
              <a:gd name="T75" fmla="*/ 284 h 2456"/>
              <a:gd name="T76" fmla="*/ 1717 w 2514"/>
              <a:gd name="T77" fmla="*/ 309 h 2456"/>
              <a:gd name="T78" fmla="*/ 1832 w 2514"/>
              <a:gd name="T79" fmla="*/ 338 h 2456"/>
              <a:gd name="T80" fmla="*/ 1983 w 2514"/>
              <a:gd name="T81" fmla="*/ 541 h 2456"/>
              <a:gd name="T82" fmla="*/ 2053 w 2514"/>
              <a:gd name="T83" fmla="*/ 718 h 2456"/>
              <a:gd name="T84" fmla="*/ 2243 w 2514"/>
              <a:gd name="T85" fmla="*/ 749 h 2456"/>
              <a:gd name="T86" fmla="*/ 2273 w 2514"/>
              <a:gd name="T87" fmla="*/ 833 h 2456"/>
              <a:gd name="T88" fmla="*/ 1559 w 2514"/>
              <a:gd name="T89" fmla="*/ 800 h 2456"/>
              <a:gd name="T90" fmla="*/ 1381 w 2514"/>
              <a:gd name="T91" fmla="*/ 181 h 2456"/>
              <a:gd name="T92" fmla="*/ 1364 w 2514"/>
              <a:gd name="T93" fmla="*/ 203 h 2456"/>
              <a:gd name="T94" fmla="*/ 1319 w 2514"/>
              <a:gd name="T95" fmla="*/ 215 h 2456"/>
              <a:gd name="T96" fmla="*/ 1262 w 2514"/>
              <a:gd name="T97" fmla="*/ 188 h 2456"/>
              <a:gd name="T98" fmla="*/ 535 w 2514"/>
              <a:gd name="T99" fmla="*/ 444 h 2456"/>
              <a:gd name="T100" fmla="*/ 1521 w 2514"/>
              <a:gd name="T101" fmla="*/ 191 h 2456"/>
              <a:gd name="T102" fmla="*/ 1450 w 2514"/>
              <a:gd name="T103" fmla="*/ 180 h 2456"/>
              <a:gd name="T104" fmla="*/ 1802 w 2514"/>
              <a:gd name="T105" fmla="*/ 579 h 2456"/>
              <a:gd name="T106" fmla="*/ 1955 w 2514"/>
              <a:gd name="T107" fmla="*/ 823 h 2456"/>
              <a:gd name="T108" fmla="*/ 1595 w 2514"/>
              <a:gd name="T109" fmla="*/ 1199 h 2456"/>
              <a:gd name="T110" fmla="*/ 1542 w 2514"/>
              <a:gd name="T111" fmla="*/ 1171 h 2456"/>
              <a:gd name="T112" fmla="*/ 1451 w 2514"/>
              <a:gd name="T113" fmla="*/ 209 h 2456"/>
              <a:gd name="T114" fmla="*/ 1552 w 2514"/>
              <a:gd name="T115" fmla="*/ 264 h 2456"/>
              <a:gd name="T116" fmla="*/ 1417 w 2514"/>
              <a:gd name="T117" fmla="*/ 241 h 2456"/>
              <a:gd name="T118" fmla="*/ 1292 w 2514"/>
              <a:gd name="T119" fmla="*/ 228 h 2456"/>
              <a:gd name="T120" fmla="*/ 1253 w 2514"/>
              <a:gd name="T121" fmla="*/ 232 h 2456"/>
              <a:gd name="T122" fmla="*/ 1446 w 2514"/>
              <a:gd name="T123" fmla="*/ 312 h 2456"/>
              <a:gd name="T124" fmla="*/ 1440 w 2514"/>
              <a:gd name="T125" fmla="*/ 320 h 2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14" h="2456">
                <a:moveTo>
                  <a:pt x="2373" y="1547"/>
                </a:moveTo>
                <a:cubicBezTo>
                  <a:pt x="2514" y="1077"/>
                  <a:pt x="2329" y="589"/>
                  <a:pt x="1949" y="314"/>
                </a:cubicBezTo>
                <a:cubicBezTo>
                  <a:pt x="1841" y="237"/>
                  <a:pt x="1719" y="176"/>
                  <a:pt x="1583" y="137"/>
                </a:cubicBezTo>
                <a:cubicBezTo>
                  <a:pt x="1102" y="0"/>
                  <a:pt x="603" y="180"/>
                  <a:pt x="322" y="552"/>
                </a:cubicBezTo>
                <a:cubicBezTo>
                  <a:pt x="242" y="656"/>
                  <a:pt x="180" y="776"/>
                  <a:pt x="141" y="909"/>
                </a:cubicBezTo>
                <a:cubicBezTo>
                  <a:pt x="0" y="1379"/>
                  <a:pt x="184" y="1866"/>
                  <a:pt x="565" y="2141"/>
                </a:cubicBezTo>
                <a:cubicBezTo>
                  <a:pt x="672" y="2219"/>
                  <a:pt x="795" y="2280"/>
                  <a:pt x="930" y="2318"/>
                </a:cubicBezTo>
                <a:cubicBezTo>
                  <a:pt x="1411" y="2456"/>
                  <a:pt x="1910" y="2276"/>
                  <a:pt x="2192" y="1904"/>
                </a:cubicBezTo>
                <a:cubicBezTo>
                  <a:pt x="2271" y="1799"/>
                  <a:pt x="2333" y="1679"/>
                  <a:pt x="2373" y="1547"/>
                </a:cubicBezTo>
                <a:close/>
                <a:moveTo>
                  <a:pt x="2209" y="708"/>
                </a:moveTo>
                <a:cubicBezTo>
                  <a:pt x="2213" y="710"/>
                  <a:pt x="2214" y="712"/>
                  <a:pt x="2218" y="715"/>
                </a:cubicBezTo>
                <a:cubicBezTo>
                  <a:pt x="2218" y="713"/>
                  <a:pt x="2217" y="712"/>
                  <a:pt x="2217" y="710"/>
                </a:cubicBezTo>
                <a:cubicBezTo>
                  <a:pt x="2220" y="714"/>
                  <a:pt x="2222" y="715"/>
                  <a:pt x="2225" y="719"/>
                </a:cubicBezTo>
                <a:cubicBezTo>
                  <a:pt x="2228" y="724"/>
                  <a:pt x="2229" y="726"/>
                  <a:pt x="2232" y="732"/>
                </a:cubicBezTo>
                <a:cubicBezTo>
                  <a:pt x="2234" y="734"/>
                  <a:pt x="2235" y="736"/>
                  <a:pt x="2237" y="738"/>
                </a:cubicBezTo>
                <a:cubicBezTo>
                  <a:pt x="2238" y="740"/>
                  <a:pt x="2239" y="742"/>
                  <a:pt x="2240" y="744"/>
                </a:cubicBezTo>
                <a:cubicBezTo>
                  <a:pt x="2238" y="741"/>
                  <a:pt x="2235" y="739"/>
                  <a:pt x="2231" y="735"/>
                </a:cubicBezTo>
                <a:cubicBezTo>
                  <a:pt x="2228" y="730"/>
                  <a:pt x="2226" y="728"/>
                  <a:pt x="2223" y="723"/>
                </a:cubicBezTo>
                <a:cubicBezTo>
                  <a:pt x="2219" y="719"/>
                  <a:pt x="2217" y="717"/>
                  <a:pt x="2212" y="713"/>
                </a:cubicBezTo>
                <a:cubicBezTo>
                  <a:pt x="2210" y="711"/>
                  <a:pt x="2209" y="710"/>
                  <a:pt x="2206" y="708"/>
                </a:cubicBezTo>
                <a:cubicBezTo>
                  <a:pt x="2207" y="708"/>
                  <a:pt x="2208" y="708"/>
                  <a:pt x="2209" y="708"/>
                </a:cubicBezTo>
                <a:close/>
                <a:moveTo>
                  <a:pt x="1647" y="221"/>
                </a:moveTo>
                <a:cubicBezTo>
                  <a:pt x="1646" y="221"/>
                  <a:pt x="1646" y="222"/>
                  <a:pt x="1646" y="222"/>
                </a:cubicBezTo>
                <a:cubicBezTo>
                  <a:pt x="1646" y="221"/>
                  <a:pt x="1646" y="221"/>
                  <a:pt x="1645" y="221"/>
                </a:cubicBezTo>
                <a:cubicBezTo>
                  <a:pt x="1646" y="221"/>
                  <a:pt x="1646" y="221"/>
                  <a:pt x="1647" y="221"/>
                </a:cubicBezTo>
                <a:close/>
                <a:moveTo>
                  <a:pt x="687" y="307"/>
                </a:moveTo>
                <a:cubicBezTo>
                  <a:pt x="687" y="308"/>
                  <a:pt x="688" y="308"/>
                  <a:pt x="689" y="309"/>
                </a:cubicBezTo>
                <a:cubicBezTo>
                  <a:pt x="689" y="309"/>
                  <a:pt x="708" y="306"/>
                  <a:pt x="702" y="314"/>
                </a:cubicBezTo>
                <a:cubicBezTo>
                  <a:pt x="697" y="315"/>
                  <a:pt x="694" y="316"/>
                  <a:pt x="689" y="317"/>
                </a:cubicBezTo>
                <a:cubicBezTo>
                  <a:pt x="686" y="318"/>
                  <a:pt x="684" y="318"/>
                  <a:pt x="681" y="319"/>
                </a:cubicBezTo>
                <a:cubicBezTo>
                  <a:pt x="682" y="317"/>
                  <a:pt x="682" y="316"/>
                  <a:pt x="683" y="314"/>
                </a:cubicBezTo>
                <a:cubicBezTo>
                  <a:pt x="679" y="314"/>
                  <a:pt x="677" y="314"/>
                  <a:pt x="674" y="315"/>
                </a:cubicBezTo>
                <a:cubicBezTo>
                  <a:pt x="678" y="312"/>
                  <a:pt x="682" y="310"/>
                  <a:pt x="687" y="307"/>
                </a:cubicBezTo>
                <a:close/>
                <a:moveTo>
                  <a:pt x="948" y="2261"/>
                </a:moveTo>
                <a:cubicBezTo>
                  <a:pt x="819" y="2224"/>
                  <a:pt x="703" y="2167"/>
                  <a:pt x="601" y="2093"/>
                </a:cubicBezTo>
                <a:cubicBezTo>
                  <a:pt x="241" y="1832"/>
                  <a:pt x="66" y="1371"/>
                  <a:pt x="200" y="926"/>
                </a:cubicBezTo>
                <a:cubicBezTo>
                  <a:pt x="237" y="800"/>
                  <a:pt x="296" y="687"/>
                  <a:pt x="371" y="587"/>
                </a:cubicBezTo>
                <a:cubicBezTo>
                  <a:pt x="445" y="490"/>
                  <a:pt x="535" y="406"/>
                  <a:pt x="635" y="339"/>
                </a:cubicBezTo>
                <a:cubicBezTo>
                  <a:pt x="636" y="339"/>
                  <a:pt x="637" y="339"/>
                  <a:pt x="639" y="339"/>
                </a:cubicBezTo>
                <a:cubicBezTo>
                  <a:pt x="644" y="338"/>
                  <a:pt x="665" y="333"/>
                  <a:pt x="670" y="334"/>
                </a:cubicBezTo>
                <a:cubicBezTo>
                  <a:pt x="676" y="335"/>
                  <a:pt x="693" y="327"/>
                  <a:pt x="694" y="331"/>
                </a:cubicBezTo>
                <a:cubicBezTo>
                  <a:pt x="694" y="334"/>
                  <a:pt x="688" y="338"/>
                  <a:pt x="688" y="338"/>
                </a:cubicBezTo>
                <a:cubicBezTo>
                  <a:pt x="681" y="339"/>
                  <a:pt x="677" y="340"/>
                  <a:pt x="670" y="342"/>
                </a:cubicBezTo>
                <a:cubicBezTo>
                  <a:pt x="664" y="343"/>
                  <a:pt x="662" y="343"/>
                  <a:pt x="656" y="344"/>
                </a:cubicBezTo>
                <a:cubicBezTo>
                  <a:pt x="653" y="343"/>
                  <a:pt x="651" y="343"/>
                  <a:pt x="648" y="342"/>
                </a:cubicBezTo>
                <a:cubicBezTo>
                  <a:pt x="645" y="344"/>
                  <a:pt x="644" y="345"/>
                  <a:pt x="641" y="347"/>
                </a:cubicBezTo>
                <a:cubicBezTo>
                  <a:pt x="636" y="350"/>
                  <a:pt x="634" y="351"/>
                  <a:pt x="630" y="353"/>
                </a:cubicBezTo>
                <a:cubicBezTo>
                  <a:pt x="625" y="355"/>
                  <a:pt x="623" y="357"/>
                  <a:pt x="618" y="358"/>
                </a:cubicBezTo>
                <a:cubicBezTo>
                  <a:pt x="619" y="360"/>
                  <a:pt x="619" y="361"/>
                  <a:pt x="620" y="362"/>
                </a:cubicBezTo>
                <a:cubicBezTo>
                  <a:pt x="616" y="365"/>
                  <a:pt x="614" y="366"/>
                  <a:pt x="610" y="369"/>
                </a:cubicBezTo>
                <a:cubicBezTo>
                  <a:pt x="610" y="369"/>
                  <a:pt x="618" y="371"/>
                  <a:pt x="614" y="376"/>
                </a:cubicBezTo>
                <a:cubicBezTo>
                  <a:pt x="610" y="380"/>
                  <a:pt x="618" y="380"/>
                  <a:pt x="618" y="380"/>
                </a:cubicBezTo>
                <a:cubicBezTo>
                  <a:pt x="618" y="380"/>
                  <a:pt x="619" y="387"/>
                  <a:pt x="628" y="383"/>
                </a:cubicBezTo>
                <a:cubicBezTo>
                  <a:pt x="638" y="379"/>
                  <a:pt x="637" y="388"/>
                  <a:pt x="637" y="390"/>
                </a:cubicBezTo>
                <a:cubicBezTo>
                  <a:pt x="636" y="392"/>
                  <a:pt x="646" y="395"/>
                  <a:pt x="659" y="384"/>
                </a:cubicBezTo>
                <a:cubicBezTo>
                  <a:pt x="660" y="386"/>
                  <a:pt x="660" y="387"/>
                  <a:pt x="660" y="389"/>
                </a:cubicBezTo>
                <a:cubicBezTo>
                  <a:pt x="663" y="390"/>
                  <a:pt x="664" y="390"/>
                  <a:pt x="666" y="391"/>
                </a:cubicBezTo>
                <a:cubicBezTo>
                  <a:pt x="672" y="390"/>
                  <a:pt x="675" y="390"/>
                  <a:pt x="681" y="389"/>
                </a:cubicBezTo>
                <a:cubicBezTo>
                  <a:pt x="681" y="389"/>
                  <a:pt x="683" y="393"/>
                  <a:pt x="673" y="400"/>
                </a:cubicBezTo>
                <a:cubicBezTo>
                  <a:pt x="663" y="407"/>
                  <a:pt x="645" y="412"/>
                  <a:pt x="645" y="412"/>
                </a:cubicBezTo>
                <a:cubicBezTo>
                  <a:pt x="645" y="412"/>
                  <a:pt x="633" y="413"/>
                  <a:pt x="629" y="418"/>
                </a:cubicBezTo>
                <a:cubicBezTo>
                  <a:pt x="624" y="418"/>
                  <a:pt x="622" y="418"/>
                  <a:pt x="617" y="418"/>
                </a:cubicBezTo>
                <a:cubicBezTo>
                  <a:pt x="613" y="420"/>
                  <a:pt x="611" y="420"/>
                  <a:pt x="607" y="421"/>
                </a:cubicBezTo>
                <a:cubicBezTo>
                  <a:pt x="607" y="421"/>
                  <a:pt x="594" y="429"/>
                  <a:pt x="587" y="430"/>
                </a:cubicBezTo>
                <a:cubicBezTo>
                  <a:pt x="580" y="430"/>
                  <a:pt x="573" y="434"/>
                  <a:pt x="573" y="434"/>
                </a:cubicBezTo>
                <a:cubicBezTo>
                  <a:pt x="573" y="434"/>
                  <a:pt x="568" y="434"/>
                  <a:pt x="566" y="438"/>
                </a:cubicBezTo>
                <a:cubicBezTo>
                  <a:pt x="565" y="441"/>
                  <a:pt x="579" y="435"/>
                  <a:pt x="579" y="435"/>
                </a:cubicBezTo>
                <a:cubicBezTo>
                  <a:pt x="579" y="435"/>
                  <a:pt x="586" y="437"/>
                  <a:pt x="589" y="434"/>
                </a:cubicBezTo>
                <a:cubicBezTo>
                  <a:pt x="593" y="431"/>
                  <a:pt x="604" y="429"/>
                  <a:pt x="604" y="429"/>
                </a:cubicBezTo>
                <a:cubicBezTo>
                  <a:pt x="609" y="427"/>
                  <a:pt x="611" y="427"/>
                  <a:pt x="615" y="425"/>
                </a:cubicBezTo>
                <a:cubicBezTo>
                  <a:pt x="615" y="425"/>
                  <a:pt x="628" y="430"/>
                  <a:pt x="635" y="430"/>
                </a:cubicBezTo>
                <a:cubicBezTo>
                  <a:pt x="632" y="427"/>
                  <a:pt x="631" y="426"/>
                  <a:pt x="629" y="423"/>
                </a:cubicBezTo>
                <a:cubicBezTo>
                  <a:pt x="632" y="422"/>
                  <a:pt x="634" y="422"/>
                  <a:pt x="638" y="421"/>
                </a:cubicBezTo>
                <a:cubicBezTo>
                  <a:pt x="638" y="421"/>
                  <a:pt x="651" y="421"/>
                  <a:pt x="660" y="415"/>
                </a:cubicBezTo>
                <a:cubicBezTo>
                  <a:pt x="669" y="408"/>
                  <a:pt x="680" y="411"/>
                  <a:pt x="685" y="405"/>
                </a:cubicBezTo>
                <a:cubicBezTo>
                  <a:pt x="690" y="399"/>
                  <a:pt x="701" y="399"/>
                  <a:pt x="708" y="397"/>
                </a:cubicBezTo>
                <a:cubicBezTo>
                  <a:pt x="716" y="394"/>
                  <a:pt x="723" y="392"/>
                  <a:pt x="723" y="392"/>
                </a:cubicBezTo>
                <a:cubicBezTo>
                  <a:pt x="723" y="392"/>
                  <a:pt x="723" y="388"/>
                  <a:pt x="732" y="388"/>
                </a:cubicBezTo>
                <a:cubicBezTo>
                  <a:pt x="741" y="387"/>
                  <a:pt x="738" y="380"/>
                  <a:pt x="733" y="380"/>
                </a:cubicBezTo>
                <a:cubicBezTo>
                  <a:pt x="733" y="380"/>
                  <a:pt x="738" y="380"/>
                  <a:pt x="743" y="375"/>
                </a:cubicBezTo>
                <a:cubicBezTo>
                  <a:pt x="748" y="370"/>
                  <a:pt x="750" y="379"/>
                  <a:pt x="761" y="367"/>
                </a:cubicBezTo>
                <a:cubicBezTo>
                  <a:pt x="772" y="354"/>
                  <a:pt x="767" y="374"/>
                  <a:pt x="757" y="379"/>
                </a:cubicBezTo>
                <a:cubicBezTo>
                  <a:pt x="763" y="379"/>
                  <a:pt x="766" y="379"/>
                  <a:pt x="772" y="379"/>
                </a:cubicBezTo>
                <a:cubicBezTo>
                  <a:pt x="772" y="379"/>
                  <a:pt x="781" y="373"/>
                  <a:pt x="788" y="372"/>
                </a:cubicBezTo>
                <a:cubicBezTo>
                  <a:pt x="795" y="371"/>
                  <a:pt x="805" y="370"/>
                  <a:pt x="805" y="370"/>
                </a:cubicBezTo>
                <a:cubicBezTo>
                  <a:pt x="808" y="367"/>
                  <a:pt x="810" y="365"/>
                  <a:pt x="813" y="361"/>
                </a:cubicBezTo>
                <a:cubicBezTo>
                  <a:pt x="819" y="359"/>
                  <a:pt x="822" y="358"/>
                  <a:pt x="828" y="356"/>
                </a:cubicBezTo>
                <a:cubicBezTo>
                  <a:pt x="828" y="356"/>
                  <a:pt x="837" y="361"/>
                  <a:pt x="836" y="365"/>
                </a:cubicBezTo>
                <a:cubicBezTo>
                  <a:pt x="836" y="365"/>
                  <a:pt x="824" y="363"/>
                  <a:pt x="819" y="368"/>
                </a:cubicBezTo>
                <a:cubicBezTo>
                  <a:pt x="819" y="368"/>
                  <a:pt x="832" y="365"/>
                  <a:pt x="846" y="371"/>
                </a:cubicBezTo>
                <a:cubicBezTo>
                  <a:pt x="860" y="377"/>
                  <a:pt x="867" y="369"/>
                  <a:pt x="867" y="369"/>
                </a:cubicBezTo>
                <a:cubicBezTo>
                  <a:pt x="871" y="370"/>
                  <a:pt x="873" y="370"/>
                  <a:pt x="876" y="370"/>
                </a:cubicBezTo>
                <a:cubicBezTo>
                  <a:pt x="881" y="372"/>
                  <a:pt x="883" y="373"/>
                  <a:pt x="887" y="375"/>
                </a:cubicBezTo>
                <a:cubicBezTo>
                  <a:pt x="887" y="375"/>
                  <a:pt x="907" y="372"/>
                  <a:pt x="909" y="383"/>
                </a:cubicBezTo>
                <a:cubicBezTo>
                  <a:pt x="912" y="395"/>
                  <a:pt x="922" y="388"/>
                  <a:pt x="922" y="388"/>
                </a:cubicBezTo>
                <a:cubicBezTo>
                  <a:pt x="922" y="388"/>
                  <a:pt x="938" y="401"/>
                  <a:pt x="936" y="407"/>
                </a:cubicBezTo>
                <a:cubicBezTo>
                  <a:pt x="934" y="412"/>
                  <a:pt x="938" y="418"/>
                  <a:pt x="938" y="418"/>
                </a:cubicBezTo>
                <a:cubicBezTo>
                  <a:pt x="941" y="420"/>
                  <a:pt x="942" y="421"/>
                  <a:pt x="945" y="424"/>
                </a:cubicBezTo>
                <a:cubicBezTo>
                  <a:pt x="948" y="420"/>
                  <a:pt x="949" y="418"/>
                  <a:pt x="951" y="414"/>
                </a:cubicBezTo>
                <a:cubicBezTo>
                  <a:pt x="951" y="414"/>
                  <a:pt x="950" y="410"/>
                  <a:pt x="954" y="401"/>
                </a:cubicBezTo>
                <a:cubicBezTo>
                  <a:pt x="958" y="393"/>
                  <a:pt x="956" y="389"/>
                  <a:pt x="956" y="389"/>
                </a:cubicBezTo>
                <a:cubicBezTo>
                  <a:pt x="956" y="389"/>
                  <a:pt x="961" y="399"/>
                  <a:pt x="957" y="405"/>
                </a:cubicBezTo>
                <a:cubicBezTo>
                  <a:pt x="954" y="411"/>
                  <a:pt x="957" y="415"/>
                  <a:pt x="961" y="412"/>
                </a:cubicBezTo>
                <a:cubicBezTo>
                  <a:pt x="965" y="410"/>
                  <a:pt x="967" y="405"/>
                  <a:pt x="967" y="405"/>
                </a:cubicBezTo>
                <a:cubicBezTo>
                  <a:pt x="968" y="408"/>
                  <a:pt x="969" y="409"/>
                  <a:pt x="970" y="413"/>
                </a:cubicBezTo>
                <a:cubicBezTo>
                  <a:pt x="970" y="413"/>
                  <a:pt x="956" y="415"/>
                  <a:pt x="955" y="417"/>
                </a:cubicBezTo>
                <a:cubicBezTo>
                  <a:pt x="954" y="420"/>
                  <a:pt x="948" y="429"/>
                  <a:pt x="956" y="425"/>
                </a:cubicBezTo>
                <a:cubicBezTo>
                  <a:pt x="956" y="425"/>
                  <a:pt x="956" y="431"/>
                  <a:pt x="952" y="437"/>
                </a:cubicBezTo>
                <a:cubicBezTo>
                  <a:pt x="949" y="444"/>
                  <a:pt x="959" y="446"/>
                  <a:pt x="959" y="446"/>
                </a:cubicBezTo>
                <a:cubicBezTo>
                  <a:pt x="962" y="446"/>
                  <a:pt x="964" y="446"/>
                  <a:pt x="968" y="447"/>
                </a:cubicBezTo>
                <a:cubicBezTo>
                  <a:pt x="968" y="447"/>
                  <a:pt x="973" y="441"/>
                  <a:pt x="971" y="435"/>
                </a:cubicBezTo>
                <a:cubicBezTo>
                  <a:pt x="971" y="435"/>
                  <a:pt x="979" y="438"/>
                  <a:pt x="976" y="445"/>
                </a:cubicBezTo>
                <a:cubicBezTo>
                  <a:pt x="973" y="452"/>
                  <a:pt x="980" y="448"/>
                  <a:pt x="980" y="448"/>
                </a:cubicBezTo>
                <a:cubicBezTo>
                  <a:pt x="980" y="454"/>
                  <a:pt x="981" y="457"/>
                  <a:pt x="981" y="463"/>
                </a:cubicBezTo>
                <a:cubicBezTo>
                  <a:pt x="981" y="467"/>
                  <a:pt x="981" y="469"/>
                  <a:pt x="981" y="473"/>
                </a:cubicBezTo>
                <a:cubicBezTo>
                  <a:pt x="985" y="473"/>
                  <a:pt x="987" y="473"/>
                  <a:pt x="992" y="473"/>
                </a:cubicBezTo>
                <a:cubicBezTo>
                  <a:pt x="991" y="477"/>
                  <a:pt x="991" y="479"/>
                  <a:pt x="990" y="482"/>
                </a:cubicBezTo>
                <a:cubicBezTo>
                  <a:pt x="992" y="483"/>
                  <a:pt x="993" y="483"/>
                  <a:pt x="994" y="483"/>
                </a:cubicBezTo>
                <a:cubicBezTo>
                  <a:pt x="994" y="483"/>
                  <a:pt x="999" y="492"/>
                  <a:pt x="998" y="496"/>
                </a:cubicBezTo>
                <a:cubicBezTo>
                  <a:pt x="998" y="496"/>
                  <a:pt x="999" y="500"/>
                  <a:pt x="1005" y="500"/>
                </a:cubicBezTo>
                <a:cubicBezTo>
                  <a:pt x="1005" y="500"/>
                  <a:pt x="1000" y="505"/>
                  <a:pt x="1007" y="512"/>
                </a:cubicBezTo>
                <a:cubicBezTo>
                  <a:pt x="1007" y="512"/>
                  <a:pt x="1004" y="514"/>
                  <a:pt x="999" y="507"/>
                </a:cubicBezTo>
                <a:cubicBezTo>
                  <a:pt x="995" y="500"/>
                  <a:pt x="989" y="507"/>
                  <a:pt x="988" y="511"/>
                </a:cubicBezTo>
                <a:cubicBezTo>
                  <a:pt x="986" y="514"/>
                  <a:pt x="998" y="524"/>
                  <a:pt x="1006" y="527"/>
                </a:cubicBezTo>
                <a:cubicBezTo>
                  <a:pt x="1005" y="529"/>
                  <a:pt x="1005" y="530"/>
                  <a:pt x="1005" y="531"/>
                </a:cubicBezTo>
                <a:cubicBezTo>
                  <a:pt x="1009" y="534"/>
                  <a:pt x="1010" y="535"/>
                  <a:pt x="1014" y="537"/>
                </a:cubicBezTo>
                <a:cubicBezTo>
                  <a:pt x="1016" y="539"/>
                  <a:pt x="1017" y="539"/>
                  <a:pt x="1019" y="541"/>
                </a:cubicBezTo>
                <a:cubicBezTo>
                  <a:pt x="1019" y="542"/>
                  <a:pt x="1019" y="543"/>
                  <a:pt x="1019" y="545"/>
                </a:cubicBezTo>
                <a:cubicBezTo>
                  <a:pt x="1022" y="546"/>
                  <a:pt x="1023" y="546"/>
                  <a:pt x="1026" y="548"/>
                </a:cubicBezTo>
                <a:cubicBezTo>
                  <a:pt x="1026" y="548"/>
                  <a:pt x="1036" y="550"/>
                  <a:pt x="1034" y="555"/>
                </a:cubicBezTo>
                <a:cubicBezTo>
                  <a:pt x="1034" y="555"/>
                  <a:pt x="1026" y="550"/>
                  <a:pt x="1020" y="553"/>
                </a:cubicBezTo>
                <a:cubicBezTo>
                  <a:pt x="1015" y="556"/>
                  <a:pt x="1024" y="559"/>
                  <a:pt x="1024" y="559"/>
                </a:cubicBezTo>
                <a:cubicBezTo>
                  <a:pt x="1024" y="559"/>
                  <a:pt x="1015" y="568"/>
                  <a:pt x="1022" y="575"/>
                </a:cubicBezTo>
                <a:cubicBezTo>
                  <a:pt x="1022" y="575"/>
                  <a:pt x="1009" y="608"/>
                  <a:pt x="1001" y="619"/>
                </a:cubicBezTo>
                <a:cubicBezTo>
                  <a:pt x="1001" y="619"/>
                  <a:pt x="992" y="627"/>
                  <a:pt x="991" y="634"/>
                </a:cubicBezTo>
                <a:cubicBezTo>
                  <a:pt x="989" y="641"/>
                  <a:pt x="992" y="645"/>
                  <a:pt x="992" y="645"/>
                </a:cubicBezTo>
                <a:cubicBezTo>
                  <a:pt x="992" y="645"/>
                  <a:pt x="989" y="654"/>
                  <a:pt x="982" y="661"/>
                </a:cubicBezTo>
                <a:cubicBezTo>
                  <a:pt x="975" y="668"/>
                  <a:pt x="972" y="675"/>
                  <a:pt x="983" y="673"/>
                </a:cubicBezTo>
                <a:cubicBezTo>
                  <a:pt x="982" y="677"/>
                  <a:pt x="981" y="679"/>
                  <a:pt x="981" y="683"/>
                </a:cubicBezTo>
                <a:cubicBezTo>
                  <a:pt x="980" y="688"/>
                  <a:pt x="980" y="691"/>
                  <a:pt x="979" y="695"/>
                </a:cubicBezTo>
                <a:cubicBezTo>
                  <a:pt x="982" y="700"/>
                  <a:pt x="983" y="703"/>
                  <a:pt x="986" y="707"/>
                </a:cubicBezTo>
                <a:cubicBezTo>
                  <a:pt x="986" y="714"/>
                  <a:pt x="985" y="717"/>
                  <a:pt x="985" y="723"/>
                </a:cubicBezTo>
                <a:cubicBezTo>
                  <a:pt x="987" y="725"/>
                  <a:pt x="988" y="726"/>
                  <a:pt x="990" y="728"/>
                </a:cubicBezTo>
                <a:cubicBezTo>
                  <a:pt x="990" y="728"/>
                  <a:pt x="991" y="734"/>
                  <a:pt x="988" y="737"/>
                </a:cubicBezTo>
                <a:cubicBezTo>
                  <a:pt x="988" y="737"/>
                  <a:pt x="995" y="741"/>
                  <a:pt x="994" y="746"/>
                </a:cubicBezTo>
                <a:cubicBezTo>
                  <a:pt x="994" y="746"/>
                  <a:pt x="1000" y="756"/>
                  <a:pt x="997" y="767"/>
                </a:cubicBezTo>
                <a:cubicBezTo>
                  <a:pt x="1002" y="769"/>
                  <a:pt x="1004" y="770"/>
                  <a:pt x="1009" y="773"/>
                </a:cubicBezTo>
                <a:cubicBezTo>
                  <a:pt x="1011" y="775"/>
                  <a:pt x="1012" y="776"/>
                  <a:pt x="1013" y="778"/>
                </a:cubicBezTo>
                <a:cubicBezTo>
                  <a:pt x="1017" y="780"/>
                  <a:pt x="1019" y="780"/>
                  <a:pt x="1024" y="782"/>
                </a:cubicBezTo>
                <a:cubicBezTo>
                  <a:pt x="1023" y="784"/>
                  <a:pt x="1023" y="786"/>
                  <a:pt x="1023" y="788"/>
                </a:cubicBezTo>
                <a:cubicBezTo>
                  <a:pt x="1025" y="788"/>
                  <a:pt x="1027" y="788"/>
                  <a:pt x="1029" y="788"/>
                </a:cubicBezTo>
                <a:cubicBezTo>
                  <a:pt x="1029" y="790"/>
                  <a:pt x="1028" y="791"/>
                  <a:pt x="1028" y="794"/>
                </a:cubicBezTo>
                <a:cubicBezTo>
                  <a:pt x="1030" y="794"/>
                  <a:pt x="1032" y="795"/>
                  <a:pt x="1034" y="796"/>
                </a:cubicBezTo>
                <a:cubicBezTo>
                  <a:pt x="1033" y="802"/>
                  <a:pt x="1033" y="806"/>
                  <a:pt x="1031" y="813"/>
                </a:cubicBezTo>
                <a:cubicBezTo>
                  <a:pt x="1033" y="814"/>
                  <a:pt x="1033" y="814"/>
                  <a:pt x="1035" y="815"/>
                </a:cubicBezTo>
                <a:cubicBezTo>
                  <a:pt x="1034" y="817"/>
                  <a:pt x="1033" y="819"/>
                  <a:pt x="1033" y="821"/>
                </a:cubicBezTo>
                <a:cubicBezTo>
                  <a:pt x="1033" y="821"/>
                  <a:pt x="1036" y="822"/>
                  <a:pt x="1035" y="828"/>
                </a:cubicBezTo>
                <a:cubicBezTo>
                  <a:pt x="1034" y="833"/>
                  <a:pt x="1037" y="840"/>
                  <a:pt x="1037" y="840"/>
                </a:cubicBezTo>
                <a:cubicBezTo>
                  <a:pt x="1038" y="844"/>
                  <a:pt x="1038" y="847"/>
                  <a:pt x="1038" y="851"/>
                </a:cubicBezTo>
                <a:cubicBezTo>
                  <a:pt x="1038" y="851"/>
                  <a:pt x="1042" y="853"/>
                  <a:pt x="1040" y="859"/>
                </a:cubicBezTo>
                <a:cubicBezTo>
                  <a:pt x="1040" y="859"/>
                  <a:pt x="1038" y="867"/>
                  <a:pt x="1044" y="868"/>
                </a:cubicBezTo>
                <a:cubicBezTo>
                  <a:pt x="1049" y="870"/>
                  <a:pt x="1051" y="876"/>
                  <a:pt x="1050" y="880"/>
                </a:cubicBezTo>
                <a:cubicBezTo>
                  <a:pt x="1049" y="884"/>
                  <a:pt x="1054" y="888"/>
                  <a:pt x="1054" y="888"/>
                </a:cubicBezTo>
                <a:cubicBezTo>
                  <a:pt x="1054" y="888"/>
                  <a:pt x="1051" y="893"/>
                  <a:pt x="1046" y="892"/>
                </a:cubicBezTo>
                <a:cubicBezTo>
                  <a:pt x="1042" y="891"/>
                  <a:pt x="1038" y="884"/>
                  <a:pt x="1039" y="882"/>
                </a:cubicBezTo>
                <a:cubicBezTo>
                  <a:pt x="1039" y="881"/>
                  <a:pt x="1034" y="891"/>
                  <a:pt x="1039" y="899"/>
                </a:cubicBezTo>
                <a:cubicBezTo>
                  <a:pt x="1044" y="907"/>
                  <a:pt x="1048" y="915"/>
                  <a:pt x="1048" y="915"/>
                </a:cubicBezTo>
                <a:cubicBezTo>
                  <a:pt x="1052" y="916"/>
                  <a:pt x="1054" y="917"/>
                  <a:pt x="1058" y="918"/>
                </a:cubicBezTo>
                <a:cubicBezTo>
                  <a:pt x="1058" y="918"/>
                  <a:pt x="1060" y="921"/>
                  <a:pt x="1060" y="925"/>
                </a:cubicBezTo>
                <a:cubicBezTo>
                  <a:pt x="1061" y="929"/>
                  <a:pt x="1067" y="931"/>
                  <a:pt x="1067" y="931"/>
                </a:cubicBezTo>
                <a:cubicBezTo>
                  <a:pt x="1067" y="931"/>
                  <a:pt x="1070" y="936"/>
                  <a:pt x="1067" y="942"/>
                </a:cubicBezTo>
                <a:cubicBezTo>
                  <a:pt x="1065" y="948"/>
                  <a:pt x="1061" y="950"/>
                  <a:pt x="1061" y="950"/>
                </a:cubicBezTo>
                <a:cubicBezTo>
                  <a:pt x="1061" y="950"/>
                  <a:pt x="1060" y="956"/>
                  <a:pt x="1064" y="956"/>
                </a:cubicBezTo>
                <a:cubicBezTo>
                  <a:pt x="1068" y="956"/>
                  <a:pt x="1062" y="964"/>
                  <a:pt x="1071" y="966"/>
                </a:cubicBezTo>
                <a:cubicBezTo>
                  <a:pt x="1073" y="969"/>
                  <a:pt x="1074" y="970"/>
                  <a:pt x="1076" y="972"/>
                </a:cubicBezTo>
                <a:cubicBezTo>
                  <a:pt x="1076" y="972"/>
                  <a:pt x="1075" y="981"/>
                  <a:pt x="1083" y="981"/>
                </a:cubicBezTo>
                <a:cubicBezTo>
                  <a:pt x="1083" y="981"/>
                  <a:pt x="1078" y="990"/>
                  <a:pt x="1079" y="992"/>
                </a:cubicBezTo>
                <a:cubicBezTo>
                  <a:pt x="1081" y="994"/>
                  <a:pt x="1087" y="1000"/>
                  <a:pt x="1089" y="994"/>
                </a:cubicBezTo>
                <a:cubicBezTo>
                  <a:pt x="1091" y="988"/>
                  <a:pt x="1093" y="995"/>
                  <a:pt x="1096" y="985"/>
                </a:cubicBezTo>
                <a:cubicBezTo>
                  <a:pt x="1099" y="974"/>
                  <a:pt x="1094" y="981"/>
                  <a:pt x="1092" y="972"/>
                </a:cubicBezTo>
                <a:cubicBezTo>
                  <a:pt x="1090" y="963"/>
                  <a:pt x="1084" y="963"/>
                  <a:pt x="1084" y="963"/>
                </a:cubicBezTo>
                <a:cubicBezTo>
                  <a:pt x="1085" y="958"/>
                  <a:pt x="1086" y="955"/>
                  <a:pt x="1087" y="950"/>
                </a:cubicBezTo>
                <a:cubicBezTo>
                  <a:pt x="1085" y="947"/>
                  <a:pt x="1084" y="946"/>
                  <a:pt x="1082" y="942"/>
                </a:cubicBezTo>
                <a:cubicBezTo>
                  <a:pt x="1083" y="939"/>
                  <a:pt x="1084" y="937"/>
                  <a:pt x="1084" y="933"/>
                </a:cubicBezTo>
                <a:cubicBezTo>
                  <a:pt x="1083" y="930"/>
                  <a:pt x="1082" y="928"/>
                  <a:pt x="1081" y="924"/>
                </a:cubicBezTo>
                <a:cubicBezTo>
                  <a:pt x="1080" y="921"/>
                  <a:pt x="1080" y="920"/>
                  <a:pt x="1079" y="917"/>
                </a:cubicBezTo>
                <a:cubicBezTo>
                  <a:pt x="1078" y="915"/>
                  <a:pt x="1078" y="915"/>
                  <a:pt x="1077" y="913"/>
                </a:cubicBezTo>
                <a:cubicBezTo>
                  <a:pt x="1076" y="911"/>
                  <a:pt x="1076" y="910"/>
                  <a:pt x="1075" y="909"/>
                </a:cubicBezTo>
                <a:cubicBezTo>
                  <a:pt x="1074" y="906"/>
                  <a:pt x="1073" y="904"/>
                  <a:pt x="1073" y="902"/>
                </a:cubicBezTo>
                <a:cubicBezTo>
                  <a:pt x="1072" y="898"/>
                  <a:pt x="1072" y="896"/>
                  <a:pt x="1072" y="892"/>
                </a:cubicBezTo>
                <a:cubicBezTo>
                  <a:pt x="1073" y="886"/>
                  <a:pt x="1074" y="882"/>
                  <a:pt x="1075" y="876"/>
                </a:cubicBezTo>
                <a:cubicBezTo>
                  <a:pt x="1072" y="873"/>
                  <a:pt x="1071" y="872"/>
                  <a:pt x="1069" y="870"/>
                </a:cubicBezTo>
                <a:cubicBezTo>
                  <a:pt x="1067" y="869"/>
                  <a:pt x="1066" y="869"/>
                  <a:pt x="1065" y="869"/>
                </a:cubicBezTo>
                <a:cubicBezTo>
                  <a:pt x="1064" y="866"/>
                  <a:pt x="1063" y="865"/>
                  <a:pt x="1062" y="862"/>
                </a:cubicBezTo>
                <a:cubicBezTo>
                  <a:pt x="1060" y="860"/>
                  <a:pt x="1060" y="860"/>
                  <a:pt x="1058" y="858"/>
                </a:cubicBezTo>
                <a:cubicBezTo>
                  <a:pt x="1059" y="854"/>
                  <a:pt x="1060" y="851"/>
                  <a:pt x="1060" y="847"/>
                </a:cubicBezTo>
                <a:cubicBezTo>
                  <a:pt x="1060" y="844"/>
                  <a:pt x="1061" y="843"/>
                  <a:pt x="1061" y="839"/>
                </a:cubicBezTo>
                <a:cubicBezTo>
                  <a:pt x="1062" y="837"/>
                  <a:pt x="1062" y="835"/>
                  <a:pt x="1063" y="833"/>
                </a:cubicBezTo>
                <a:cubicBezTo>
                  <a:pt x="1067" y="835"/>
                  <a:pt x="1068" y="836"/>
                  <a:pt x="1072" y="838"/>
                </a:cubicBezTo>
                <a:cubicBezTo>
                  <a:pt x="1074" y="840"/>
                  <a:pt x="1076" y="841"/>
                  <a:pt x="1078" y="843"/>
                </a:cubicBezTo>
                <a:cubicBezTo>
                  <a:pt x="1078" y="847"/>
                  <a:pt x="1078" y="848"/>
                  <a:pt x="1078" y="851"/>
                </a:cubicBezTo>
                <a:cubicBezTo>
                  <a:pt x="1079" y="853"/>
                  <a:pt x="1080" y="854"/>
                  <a:pt x="1081" y="856"/>
                </a:cubicBezTo>
                <a:cubicBezTo>
                  <a:pt x="1081" y="861"/>
                  <a:pt x="1081" y="863"/>
                  <a:pt x="1081" y="868"/>
                </a:cubicBezTo>
                <a:cubicBezTo>
                  <a:pt x="1082" y="872"/>
                  <a:pt x="1082" y="874"/>
                  <a:pt x="1083" y="878"/>
                </a:cubicBezTo>
                <a:cubicBezTo>
                  <a:pt x="1082" y="880"/>
                  <a:pt x="1082" y="881"/>
                  <a:pt x="1081" y="884"/>
                </a:cubicBezTo>
                <a:cubicBezTo>
                  <a:pt x="1081" y="886"/>
                  <a:pt x="1081" y="888"/>
                  <a:pt x="1080" y="890"/>
                </a:cubicBezTo>
                <a:cubicBezTo>
                  <a:pt x="1083" y="890"/>
                  <a:pt x="1084" y="890"/>
                  <a:pt x="1087" y="890"/>
                </a:cubicBezTo>
                <a:cubicBezTo>
                  <a:pt x="1087" y="894"/>
                  <a:pt x="1088" y="895"/>
                  <a:pt x="1088" y="898"/>
                </a:cubicBezTo>
                <a:cubicBezTo>
                  <a:pt x="1091" y="902"/>
                  <a:pt x="1093" y="904"/>
                  <a:pt x="1096" y="908"/>
                </a:cubicBezTo>
                <a:cubicBezTo>
                  <a:pt x="1098" y="909"/>
                  <a:pt x="1099" y="909"/>
                  <a:pt x="1100" y="910"/>
                </a:cubicBezTo>
                <a:cubicBezTo>
                  <a:pt x="1099" y="913"/>
                  <a:pt x="1099" y="914"/>
                  <a:pt x="1098" y="917"/>
                </a:cubicBezTo>
                <a:cubicBezTo>
                  <a:pt x="1100" y="919"/>
                  <a:pt x="1102" y="920"/>
                  <a:pt x="1104" y="923"/>
                </a:cubicBezTo>
                <a:cubicBezTo>
                  <a:pt x="1105" y="926"/>
                  <a:pt x="1106" y="928"/>
                  <a:pt x="1107" y="931"/>
                </a:cubicBezTo>
                <a:cubicBezTo>
                  <a:pt x="1108" y="932"/>
                  <a:pt x="1109" y="933"/>
                  <a:pt x="1111" y="934"/>
                </a:cubicBezTo>
                <a:cubicBezTo>
                  <a:pt x="1111" y="937"/>
                  <a:pt x="1111" y="938"/>
                  <a:pt x="1110" y="941"/>
                </a:cubicBezTo>
                <a:cubicBezTo>
                  <a:pt x="1108" y="942"/>
                  <a:pt x="1107" y="943"/>
                  <a:pt x="1104" y="945"/>
                </a:cubicBezTo>
                <a:cubicBezTo>
                  <a:pt x="1105" y="947"/>
                  <a:pt x="1105" y="948"/>
                  <a:pt x="1105" y="950"/>
                </a:cubicBezTo>
                <a:cubicBezTo>
                  <a:pt x="1109" y="953"/>
                  <a:pt x="1111" y="954"/>
                  <a:pt x="1116" y="957"/>
                </a:cubicBezTo>
                <a:cubicBezTo>
                  <a:pt x="1118" y="963"/>
                  <a:pt x="1119" y="966"/>
                  <a:pt x="1121" y="972"/>
                </a:cubicBezTo>
                <a:cubicBezTo>
                  <a:pt x="1125" y="977"/>
                  <a:pt x="1127" y="980"/>
                  <a:pt x="1131" y="985"/>
                </a:cubicBezTo>
                <a:cubicBezTo>
                  <a:pt x="1133" y="991"/>
                  <a:pt x="1135" y="994"/>
                  <a:pt x="1138" y="1000"/>
                </a:cubicBezTo>
                <a:cubicBezTo>
                  <a:pt x="1140" y="1009"/>
                  <a:pt x="1141" y="1014"/>
                  <a:pt x="1143" y="1023"/>
                </a:cubicBezTo>
                <a:cubicBezTo>
                  <a:pt x="1142" y="1025"/>
                  <a:pt x="1141" y="1026"/>
                  <a:pt x="1140" y="1028"/>
                </a:cubicBezTo>
                <a:cubicBezTo>
                  <a:pt x="1141" y="1032"/>
                  <a:pt x="1142" y="1035"/>
                  <a:pt x="1142" y="1039"/>
                </a:cubicBezTo>
                <a:cubicBezTo>
                  <a:pt x="1140" y="1043"/>
                  <a:pt x="1138" y="1045"/>
                  <a:pt x="1136" y="1049"/>
                </a:cubicBezTo>
                <a:cubicBezTo>
                  <a:pt x="1133" y="1051"/>
                  <a:pt x="1132" y="1051"/>
                  <a:pt x="1129" y="1053"/>
                </a:cubicBezTo>
                <a:cubicBezTo>
                  <a:pt x="1129" y="1055"/>
                  <a:pt x="1130" y="1056"/>
                  <a:pt x="1130" y="1058"/>
                </a:cubicBezTo>
                <a:cubicBezTo>
                  <a:pt x="1134" y="1065"/>
                  <a:pt x="1136" y="1069"/>
                  <a:pt x="1139" y="1076"/>
                </a:cubicBezTo>
                <a:cubicBezTo>
                  <a:pt x="1139" y="1076"/>
                  <a:pt x="1144" y="1080"/>
                  <a:pt x="1152" y="1093"/>
                </a:cubicBezTo>
                <a:cubicBezTo>
                  <a:pt x="1159" y="1107"/>
                  <a:pt x="1174" y="1106"/>
                  <a:pt x="1174" y="1106"/>
                </a:cubicBezTo>
                <a:cubicBezTo>
                  <a:pt x="1177" y="1112"/>
                  <a:pt x="1179" y="1116"/>
                  <a:pt x="1182" y="1122"/>
                </a:cubicBezTo>
                <a:cubicBezTo>
                  <a:pt x="1182" y="1122"/>
                  <a:pt x="1188" y="1130"/>
                  <a:pt x="1197" y="1132"/>
                </a:cubicBezTo>
                <a:cubicBezTo>
                  <a:pt x="1197" y="1132"/>
                  <a:pt x="1207" y="1147"/>
                  <a:pt x="1215" y="1149"/>
                </a:cubicBezTo>
                <a:cubicBezTo>
                  <a:pt x="1223" y="1151"/>
                  <a:pt x="1230" y="1166"/>
                  <a:pt x="1230" y="1166"/>
                </a:cubicBezTo>
                <a:cubicBezTo>
                  <a:pt x="1236" y="1167"/>
                  <a:pt x="1239" y="1168"/>
                  <a:pt x="1245" y="1169"/>
                </a:cubicBezTo>
                <a:cubicBezTo>
                  <a:pt x="1245" y="1169"/>
                  <a:pt x="1256" y="1175"/>
                  <a:pt x="1263" y="1167"/>
                </a:cubicBezTo>
                <a:cubicBezTo>
                  <a:pt x="1270" y="1159"/>
                  <a:pt x="1279" y="1167"/>
                  <a:pt x="1279" y="1170"/>
                </a:cubicBezTo>
                <a:cubicBezTo>
                  <a:pt x="1279" y="1173"/>
                  <a:pt x="1291" y="1182"/>
                  <a:pt x="1291" y="1182"/>
                </a:cubicBezTo>
                <a:cubicBezTo>
                  <a:pt x="1291" y="1185"/>
                  <a:pt x="1292" y="1186"/>
                  <a:pt x="1292" y="1189"/>
                </a:cubicBezTo>
                <a:cubicBezTo>
                  <a:pt x="1295" y="1195"/>
                  <a:pt x="1296" y="1198"/>
                  <a:pt x="1298" y="1204"/>
                </a:cubicBezTo>
                <a:cubicBezTo>
                  <a:pt x="1300" y="1208"/>
                  <a:pt x="1301" y="1210"/>
                  <a:pt x="1303" y="1213"/>
                </a:cubicBezTo>
                <a:cubicBezTo>
                  <a:pt x="1306" y="1217"/>
                  <a:pt x="1308" y="1218"/>
                  <a:pt x="1311" y="1221"/>
                </a:cubicBezTo>
                <a:cubicBezTo>
                  <a:pt x="1317" y="1225"/>
                  <a:pt x="1320" y="1226"/>
                  <a:pt x="1326" y="1230"/>
                </a:cubicBezTo>
                <a:cubicBezTo>
                  <a:pt x="1327" y="1232"/>
                  <a:pt x="1328" y="1233"/>
                  <a:pt x="1329" y="1236"/>
                </a:cubicBezTo>
                <a:cubicBezTo>
                  <a:pt x="1332" y="1236"/>
                  <a:pt x="1334" y="1237"/>
                  <a:pt x="1338" y="1237"/>
                </a:cubicBezTo>
                <a:cubicBezTo>
                  <a:pt x="1338" y="1239"/>
                  <a:pt x="1339" y="1240"/>
                  <a:pt x="1339" y="1242"/>
                </a:cubicBezTo>
                <a:cubicBezTo>
                  <a:pt x="1344" y="1244"/>
                  <a:pt x="1347" y="1245"/>
                  <a:pt x="1352" y="1248"/>
                </a:cubicBezTo>
                <a:cubicBezTo>
                  <a:pt x="1355" y="1248"/>
                  <a:pt x="1357" y="1248"/>
                  <a:pt x="1360" y="1248"/>
                </a:cubicBezTo>
                <a:cubicBezTo>
                  <a:pt x="1361" y="1252"/>
                  <a:pt x="1361" y="1254"/>
                  <a:pt x="1361" y="1258"/>
                </a:cubicBezTo>
                <a:cubicBezTo>
                  <a:pt x="1362" y="1261"/>
                  <a:pt x="1362" y="1262"/>
                  <a:pt x="1363" y="1266"/>
                </a:cubicBezTo>
                <a:cubicBezTo>
                  <a:pt x="1366" y="1273"/>
                  <a:pt x="1368" y="1276"/>
                  <a:pt x="1372" y="1283"/>
                </a:cubicBezTo>
                <a:cubicBezTo>
                  <a:pt x="1374" y="1284"/>
                  <a:pt x="1375" y="1285"/>
                  <a:pt x="1376" y="1286"/>
                </a:cubicBezTo>
                <a:cubicBezTo>
                  <a:pt x="1375" y="1292"/>
                  <a:pt x="1375" y="1295"/>
                  <a:pt x="1374" y="1300"/>
                </a:cubicBezTo>
                <a:cubicBezTo>
                  <a:pt x="1372" y="1305"/>
                  <a:pt x="1371" y="1307"/>
                  <a:pt x="1369" y="1311"/>
                </a:cubicBezTo>
                <a:cubicBezTo>
                  <a:pt x="1374" y="1315"/>
                  <a:pt x="1377" y="1317"/>
                  <a:pt x="1382" y="1321"/>
                </a:cubicBezTo>
                <a:cubicBezTo>
                  <a:pt x="1385" y="1321"/>
                  <a:pt x="1386" y="1321"/>
                  <a:pt x="1388" y="1320"/>
                </a:cubicBezTo>
                <a:cubicBezTo>
                  <a:pt x="1391" y="1326"/>
                  <a:pt x="1391" y="1328"/>
                  <a:pt x="1394" y="1334"/>
                </a:cubicBezTo>
                <a:cubicBezTo>
                  <a:pt x="1393" y="1338"/>
                  <a:pt x="1393" y="1339"/>
                  <a:pt x="1392" y="1343"/>
                </a:cubicBezTo>
                <a:cubicBezTo>
                  <a:pt x="1392" y="1343"/>
                  <a:pt x="1399" y="1345"/>
                  <a:pt x="1402" y="1350"/>
                </a:cubicBezTo>
                <a:cubicBezTo>
                  <a:pt x="1405" y="1354"/>
                  <a:pt x="1417" y="1356"/>
                  <a:pt x="1417" y="1356"/>
                </a:cubicBezTo>
                <a:cubicBezTo>
                  <a:pt x="1418" y="1359"/>
                  <a:pt x="1418" y="1361"/>
                  <a:pt x="1419" y="1364"/>
                </a:cubicBezTo>
                <a:cubicBezTo>
                  <a:pt x="1422" y="1365"/>
                  <a:pt x="1423" y="1366"/>
                  <a:pt x="1426" y="1367"/>
                </a:cubicBezTo>
                <a:cubicBezTo>
                  <a:pt x="1425" y="1370"/>
                  <a:pt x="1425" y="1371"/>
                  <a:pt x="1425" y="1374"/>
                </a:cubicBezTo>
                <a:cubicBezTo>
                  <a:pt x="1425" y="1374"/>
                  <a:pt x="1432" y="1382"/>
                  <a:pt x="1440" y="1375"/>
                </a:cubicBezTo>
                <a:cubicBezTo>
                  <a:pt x="1448" y="1368"/>
                  <a:pt x="1439" y="1363"/>
                  <a:pt x="1439" y="1363"/>
                </a:cubicBezTo>
                <a:cubicBezTo>
                  <a:pt x="1439" y="1363"/>
                  <a:pt x="1451" y="1360"/>
                  <a:pt x="1453" y="1355"/>
                </a:cubicBezTo>
                <a:cubicBezTo>
                  <a:pt x="1455" y="1350"/>
                  <a:pt x="1464" y="1355"/>
                  <a:pt x="1465" y="1362"/>
                </a:cubicBezTo>
                <a:cubicBezTo>
                  <a:pt x="1466" y="1369"/>
                  <a:pt x="1466" y="1379"/>
                  <a:pt x="1466" y="1379"/>
                </a:cubicBezTo>
                <a:cubicBezTo>
                  <a:pt x="1466" y="1379"/>
                  <a:pt x="1467" y="1383"/>
                  <a:pt x="1470" y="1388"/>
                </a:cubicBezTo>
                <a:cubicBezTo>
                  <a:pt x="1469" y="1390"/>
                  <a:pt x="1468" y="1391"/>
                  <a:pt x="1466" y="1393"/>
                </a:cubicBezTo>
                <a:cubicBezTo>
                  <a:pt x="1469" y="1398"/>
                  <a:pt x="1471" y="1401"/>
                  <a:pt x="1474" y="1406"/>
                </a:cubicBezTo>
                <a:cubicBezTo>
                  <a:pt x="1470" y="1411"/>
                  <a:pt x="1469" y="1413"/>
                  <a:pt x="1465" y="1417"/>
                </a:cubicBezTo>
                <a:cubicBezTo>
                  <a:pt x="1462" y="1425"/>
                  <a:pt x="1461" y="1429"/>
                  <a:pt x="1458" y="1437"/>
                </a:cubicBezTo>
                <a:cubicBezTo>
                  <a:pt x="1458" y="1437"/>
                  <a:pt x="1463" y="1452"/>
                  <a:pt x="1451" y="1457"/>
                </a:cubicBezTo>
                <a:cubicBezTo>
                  <a:pt x="1438" y="1462"/>
                  <a:pt x="1442" y="1461"/>
                  <a:pt x="1432" y="1469"/>
                </a:cubicBezTo>
                <a:cubicBezTo>
                  <a:pt x="1423" y="1476"/>
                  <a:pt x="1419" y="1480"/>
                  <a:pt x="1419" y="1480"/>
                </a:cubicBezTo>
                <a:cubicBezTo>
                  <a:pt x="1413" y="1482"/>
                  <a:pt x="1410" y="1483"/>
                  <a:pt x="1403" y="1486"/>
                </a:cubicBezTo>
                <a:cubicBezTo>
                  <a:pt x="1401" y="1490"/>
                  <a:pt x="1401" y="1491"/>
                  <a:pt x="1399" y="1495"/>
                </a:cubicBezTo>
                <a:cubicBezTo>
                  <a:pt x="1396" y="1500"/>
                  <a:pt x="1395" y="1502"/>
                  <a:pt x="1392" y="1507"/>
                </a:cubicBezTo>
                <a:cubicBezTo>
                  <a:pt x="1392" y="1507"/>
                  <a:pt x="1379" y="1507"/>
                  <a:pt x="1383" y="1518"/>
                </a:cubicBezTo>
                <a:cubicBezTo>
                  <a:pt x="1387" y="1528"/>
                  <a:pt x="1368" y="1531"/>
                  <a:pt x="1372" y="1534"/>
                </a:cubicBezTo>
                <a:cubicBezTo>
                  <a:pt x="1377" y="1537"/>
                  <a:pt x="1380" y="1545"/>
                  <a:pt x="1380" y="1545"/>
                </a:cubicBezTo>
                <a:cubicBezTo>
                  <a:pt x="1383" y="1546"/>
                  <a:pt x="1384" y="1546"/>
                  <a:pt x="1387" y="1547"/>
                </a:cubicBezTo>
                <a:cubicBezTo>
                  <a:pt x="1386" y="1549"/>
                  <a:pt x="1386" y="1550"/>
                  <a:pt x="1385" y="1553"/>
                </a:cubicBezTo>
                <a:cubicBezTo>
                  <a:pt x="1377" y="1555"/>
                  <a:pt x="1373" y="1556"/>
                  <a:pt x="1365" y="1558"/>
                </a:cubicBezTo>
                <a:cubicBezTo>
                  <a:pt x="1362" y="1562"/>
                  <a:pt x="1361" y="1565"/>
                  <a:pt x="1358" y="1569"/>
                </a:cubicBezTo>
                <a:cubicBezTo>
                  <a:pt x="1358" y="1575"/>
                  <a:pt x="1358" y="1578"/>
                  <a:pt x="1358" y="1584"/>
                </a:cubicBezTo>
                <a:cubicBezTo>
                  <a:pt x="1358" y="1584"/>
                  <a:pt x="1351" y="1584"/>
                  <a:pt x="1352" y="1591"/>
                </a:cubicBezTo>
                <a:cubicBezTo>
                  <a:pt x="1353" y="1597"/>
                  <a:pt x="1367" y="1608"/>
                  <a:pt x="1367" y="1608"/>
                </a:cubicBezTo>
                <a:cubicBezTo>
                  <a:pt x="1366" y="1616"/>
                  <a:pt x="1366" y="1619"/>
                  <a:pt x="1364" y="1627"/>
                </a:cubicBezTo>
                <a:cubicBezTo>
                  <a:pt x="1367" y="1630"/>
                  <a:pt x="1368" y="1631"/>
                  <a:pt x="1370" y="1634"/>
                </a:cubicBezTo>
                <a:cubicBezTo>
                  <a:pt x="1371" y="1648"/>
                  <a:pt x="1371" y="1655"/>
                  <a:pt x="1372" y="1670"/>
                </a:cubicBezTo>
                <a:cubicBezTo>
                  <a:pt x="1374" y="1684"/>
                  <a:pt x="1375" y="1690"/>
                  <a:pt x="1377" y="1704"/>
                </a:cubicBezTo>
                <a:cubicBezTo>
                  <a:pt x="1379" y="1712"/>
                  <a:pt x="1380" y="1715"/>
                  <a:pt x="1382" y="1723"/>
                </a:cubicBezTo>
                <a:cubicBezTo>
                  <a:pt x="1378" y="1725"/>
                  <a:pt x="1376" y="1726"/>
                  <a:pt x="1372" y="1728"/>
                </a:cubicBezTo>
                <a:cubicBezTo>
                  <a:pt x="1375" y="1732"/>
                  <a:pt x="1377" y="1735"/>
                  <a:pt x="1380" y="1740"/>
                </a:cubicBezTo>
                <a:cubicBezTo>
                  <a:pt x="1381" y="1746"/>
                  <a:pt x="1382" y="1749"/>
                  <a:pt x="1384" y="1756"/>
                </a:cubicBezTo>
                <a:cubicBezTo>
                  <a:pt x="1390" y="1762"/>
                  <a:pt x="1393" y="1765"/>
                  <a:pt x="1399" y="1771"/>
                </a:cubicBezTo>
                <a:cubicBezTo>
                  <a:pt x="1404" y="1777"/>
                  <a:pt x="1406" y="1780"/>
                  <a:pt x="1411" y="1786"/>
                </a:cubicBezTo>
                <a:cubicBezTo>
                  <a:pt x="1416" y="1791"/>
                  <a:pt x="1418" y="1793"/>
                  <a:pt x="1423" y="1798"/>
                </a:cubicBezTo>
                <a:cubicBezTo>
                  <a:pt x="1422" y="1799"/>
                  <a:pt x="1422" y="1800"/>
                  <a:pt x="1422" y="1801"/>
                </a:cubicBezTo>
                <a:cubicBezTo>
                  <a:pt x="1425" y="1807"/>
                  <a:pt x="1427" y="1810"/>
                  <a:pt x="1430" y="1816"/>
                </a:cubicBezTo>
                <a:cubicBezTo>
                  <a:pt x="1425" y="1831"/>
                  <a:pt x="1423" y="1839"/>
                  <a:pt x="1418" y="1854"/>
                </a:cubicBezTo>
                <a:cubicBezTo>
                  <a:pt x="1418" y="1854"/>
                  <a:pt x="1416" y="1871"/>
                  <a:pt x="1405" y="1881"/>
                </a:cubicBezTo>
                <a:cubicBezTo>
                  <a:pt x="1394" y="1891"/>
                  <a:pt x="1395" y="1911"/>
                  <a:pt x="1389" y="1913"/>
                </a:cubicBezTo>
                <a:cubicBezTo>
                  <a:pt x="1382" y="1916"/>
                  <a:pt x="1376" y="1934"/>
                  <a:pt x="1376" y="1934"/>
                </a:cubicBezTo>
                <a:cubicBezTo>
                  <a:pt x="1376" y="1934"/>
                  <a:pt x="1375" y="1932"/>
                  <a:pt x="1369" y="1946"/>
                </a:cubicBezTo>
                <a:cubicBezTo>
                  <a:pt x="1363" y="1960"/>
                  <a:pt x="1348" y="1961"/>
                  <a:pt x="1352" y="1966"/>
                </a:cubicBezTo>
                <a:cubicBezTo>
                  <a:pt x="1355" y="1972"/>
                  <a:pt x="1349" y="1981"/>
                  <a:pt x="1349" y="1981"/>
                </a:cubicBezTo>
                <a:cubicBezTo>
                  <a:pt x="1349" y="1981"/>
                  <a:pt x="1338" y="1988"/>
                  <a:pt x="1338" y="1998"/>
                </a:cubicBezTo>
                <a:cubicBezTo>
                  <a:pt x="1338" y="2008"/>
                  <a:pt x="1324" y="2028"/>
                  <a:pt x="1324" y="2028"/>
                </a:cubicBezTo>
                <a:cubicBezTo>
                  <a:pt x="1314" y="2028"/>
                  <a:pt x="1317" y="2042"/>
                  <a:pt x="1309" y="2046"/>
                </a:cubicBezTo>
                <a:cubicBezTo>
                  <a:pt x="1300" y="2049"/>
                  <a:pt x="1291" y="2063"/>
                  <a:pt x="1291" y="2063"/>
                </a:cubicBezTo>
                <a:cubicBezTo>
                  <a:pt x="1285" y="2067"/>
                  <a:pt x="1282" y="2069"/>
                  <a:pt x="1276" y="2073"/>
                </a:cubicBezTo>
                <a:cubicBezTo>
                  <a:pt x="1276" y="2077"/>
                  <a:pt x="1276" y="2078"/>
                  <a:pt x="1277" y="2082"/>
                </a:cubicBezTo>
                <a:cubicBezTo>
                  <a:pt x="1273" y="2087"/>
                  <a:pt x="1271" y="2090"/>
                  <a:pt x="1267" y="2095"/>
                </a:cubicBezTo>
                <a:cubicBezTo>
                  <a:pt x="1269" y="2098"/>
                  <a:pt x="1269" y="2099"/>
                  <a:pt x="1270" y="2102"/>
                </a:cubicBezTo>
                <a:cubicBezTo>
                  <a:pt x="1252" y="2116"/>
                  <a:pt x="1259" y="2127"/>
                  <a:pt x="1251" y="2129"/>
                </a:cubicBezTo>
                <a:cubicBezTo>
                  <a:pt x="1244" y="2131"/>
                  <a:pt x="1245" y="2142"/>
                  <a:pt x="1238" y="2145"/>
                </a:cubicBezTo>
                <a:cubicBezTo>
                  <a:pt x="1232" y="2148"/>
                  <a:pt x="1232" y="2153"/>
                  <a:pt x="1232" y="2153"/>
                </a:cubicBezTo>
                <a:cubicBezTo>
                  <a:pt x="1246" y="2159"/>
                  <a:pt x="1253" y="2141"/>
                  <a:pt x="1253" y="2141"/>
                </a:cubicBezTo>
                <a:cubicBezTo>
                  <a:pt x="1253" y="2141"/>
                  <a:pt x="1257" y="2132"/>
                  <a:pt x="1260" y="2134"/>
                </a:cubicBezTo>
                <a:cubicBezTo>
                  <a:pt x="1264" y="2136"/>
                  <a:pt x="1258" y="2143"/>
                  <a:pt x="1258" y="2143"/>
                </a:cubicBezTo>
                <a:cubicBezTo>
                  <a:pt x="1258" y="2143"/>
                  <a:pt x="1252" y="2151"/>
                  <a:pt x="1249" y="2158"/>
                </a:cubicBezTo>
                <a:cubicBezTo>
                  <a:pt x="1245" y="2166"/>
                  <a:pt x="1231" y="2177"/>
                  <a:pt x="1231" y="2177"/>
                </a:cubicBezTo>
                <a:cubicBezTo>
                  <a:pt x="1231" y="2177"/>
                  <a:pt x="1247" y="2163"/>
                  <a:pt x="1238" y="2162"/>
                </a:cubicBezTo>
                <a:cubicBezTo>
                  <a:pt x="1228" y="2161"/>
                  <a:pt x="1226" y="2165"/>
                  <a:pt x="1225" y="2170"/>
                </a:cubicBezTo>
                <a:cubicBezTo>
                  <a:pt x="1223" y="2175"/>
                  <a:pt x="1218" y="2180"/>
                  <a:pt x="1218" y="2180"/>
                </a:cubicBezTo>
                <a:cubicBezTo>
                  <a:pt x="1211" y="2179"/>
                  <a:pt x="1207" y="2189"/>
                  <a:pt x="1207" y="2189"/>
                </a:cubicBezTo>
                <a:cubicBezTo>
                  <a:pt x="1204" y="2191"/>
                  <a:pt x="1202" y="2191"/>
                  <a:pt x="1199" y="2193"/>
                </a:cubicBezTo>
                <a:cubicBezTo>
                  <a:pt x="1205" y="2195"/>
                  <a:pt x="1208" y="2196"/>
                  <a:pt x="1214" y="2198"/>
                </a:cubicBezTo>
                <a:cubicBezTo>
                  <a:pt x="1205" y="2198"/>
                  <a:pt x="1201" y="2210"/>
                  <a:pt x="1201" y="2210"/>
                </a:cubicBezTo>
                <a:cubicBezTo>
                  <a:pt x="1184" y="2212"/>
                  <a:pt x="1185" y="2226"/>
                  <a:pt x="1185" y="2226"/>
                </a:cubicBezTo>
                <a:cubicBezTo>
                  <a:pt x="1185" y="2226"/>
                  <a:pt x="1182" y="2235"/>
                  <a:pt x="1179" y="2242"/>
                </a:cubicBezTo>
                <a:cubicBezTo>
                  <a:pt x="1175" y="2249"/>
                  <a:pt x="1184" y="2245"/>
                  <a:pt x="1184" y="2245"/>
                </a:cubicBezTo>
                <a:cubicBezTo>
                  <a:pt x="1180" y="2249"/>
                  <a:pt x="1178" y="2251"/>
                  <a:pt x="1173" y="2254"/>
                </a:cubicBezTo>
                <a:cubicBezTo>
                  <a:pt x="1175" y="2255"/>
                  <a:pt x="1176" y="2255"/>
                  <a:pt x="1178" y="2255"/>
                </a:cubicBezTo>
                <a:cubicBezTo>
                  <a:pt x="1176" y="2258"/>
                  <a:pt x="1175" y="2259"/>
                  <a:pt x="1174" y="2262"/>
                </a:cubicBezTo>
                <a:cubicBezTo>
                  <a:pt x="1174" y="2262"/>
                  <a:pt x="1176" y="2265"/>
                  <a:pt x="1176" y="2271"/>
                </a:cubicBezTo>
                <a:cubicBezTo>
                  <a:pt x="1175" y="2278"/>
                  <a:pt x="1184" y="2276"/>
                  <a:pt x="1184" y="2276"/>
                </a:cubicBezTo>
                <a:cubicBezTo>
                  <a:pt x="1181" y="2279"/>
                  <a:pt x="1179" y="2280"/>
                  <a:pt x="1176" y="2282"/>
                </a:cubicBezTo>
                <a:cubicBezTo>
                  <a:pt x="1180" y="2283"/>
                  <a:pt x="1182" y="2283"/>
                  <a:pt x="1187" y="2283"/>
                </a:cubicBezTo>
                <a:cubicBezTo>
                  <a:pt x="1185" y="2284"/>
                  <a:pt x="1184" y="2284"/>
                  <a:pt x="1182" y="2285"/>
                </a:cubicBezTo>
                <a:cubicBezTo>
                  <a:pt x="1184" y="2286"/>
                  <a:pt x="1185" y="2287"/>
                  <a:pt x="1187" y="2289"/>
                </a:cubicBezTo>
                <a:cubicBezTo>
                  <a:pt x="1190" y="2289"/>
                  <a:pt x="1191" y="2290"/>
                  <a:pt x="1194" y="2290"/>
                </a:cubicBezTo>
                <a:cubicBezTo>
                  <a:pt x="1192" y="2292"/>
                  <a:pt x="1191" y="2293"/>
                  <a:pt x="1189" y="2294"/>
                </a:cubicBezTo>
                <a:cubicBezTo>
                  <a:pt x="1192" y="2295"/>
                  <a:pt x="1194" y="2295"/>
                  <a:pt x="1197" y="2296"/>
                </a:cubicBezTo>
                <a:cubicBezTo>
                  <a:pt x="1200" y="2298"/>
                  <a:pt x="1202" y="2299"/>
                  <a:pt x="1205" y="2301"/>
                </a:cubicBezTo>
                <a:cubicBezTo>
                  <a:pt x="1208" y="2300"/>
                  <a:pt x="1209" y="2300"/>
                  <a:pt x="1211" y="2299"/>
                </a:cubicBezTo>
                <a:cubicBezTo>
                  <a:pt x="1211" y="2301"/>
                  <a:pt x="1211" y="2301"/>
                  <a:pt x="1211" y="2303"/>
                </a:cubicBezTo>
                <a:cubicBezTo>
                  <a:pt x="1211" y="2303"/>
                  <a:pt x="1211" y="2303"/>
                  <a:pt x="1211" y="2303"/>
                </a:cubicBezTo>
                <a:cubicBezTo>
                  <a:pt x="1124" y="2300"/>
                  <a:pt x="1035" y="2286"/>
                  <a:pt x="948" y="2261"/>
                </a:cubicBezTo>
                <a:close/>
                <a:moveTo>
                  <a:pt x="1520" y="759"/>
                </a:moveTo>
                <a:cubicBezTo>
                  <a:pt x="1521" y="773"/>
                  <a:pt x="1505" y="778"/>
                  <a:pt x="1505" y="778"/>
                </a:cubicBezTo>
                <a:cubicBezTo>
                  <a:pt x="1502" y="778"/>
                  <a:pt x="1501" y="778"/>
                  <a:pt x="1498" y="778"/>
                </a:cubicBezTo>
                <a:cubicBezTo>
                  <a:pt x="1498" y="771"/>
                  <a:pt x="1498" y="767"/>
                  <a:pt x="1499" y="760"/>
                </a:cubicBezTo>
                <a:cubicBezTo>
                  <a:pt x="1501" y="754"/>
                  <a:pt x="1502" y="752"/>
                  <a:pt x="1505" y="746"/>
                </a:cubicBezTo>
                <a:cubicBezTo>
                  <a:pt x="1510" y="737"/>
                  <a:pt x="1513" y="732"/>
                  <a:pt x="1519" y="723"/>
                </a:cubicBezTo>
                <a:cubicBezTo>
                  <a:pt x="1512" y="725"/>
                  <a:pt x="1508" y="726"/>
                  <a:pt x="1501" y="728"/>
                </a:cubicBezTo>
                <a:cubicBezTo>
                  <a:pt x="1509" y="723"/>
                  <a:pt x="1512" y="721"/>
                  <a:pt x="1519" y="717"/>
                </a:cubicBezTo>
                <a:cubicBezTo>
                  <a:pt x="1523" y="718"/>
                  <a:pt x="1524" y="718"/>
                  <a:pt x="1527" y="719"/>
                </a:cubicBezTo>
                <a:cubicBezTo>
                  <a:pt x="1536" y="719"/>
                  <a:pt x="1540" y="719"/>
                  <a:pt x="1548" y="719"/>
                </a:cubicBezTo>
                <a:cubicBezTo>
                  <a:pt x="1542" y="725"/>
                  <a:pt x="1539" y="727"/>
                  <a:pt x="1534" y="733"/>
                </a:cubicBezTo>
                <a:cubicBezTo>
                  <a:pt x="1534" y="733"/>
                  <a:pt x="1520" y="745"/>
                  <a:pt x="1520" y="759"/>
                </a:cubicBezTo>
                <a:close/>
                <a:moveTo>
                  <a:pt x="1551" y="706"/>
                </a:moveTo>
                <a:cubicBezTo>
                  <a:pt x="1547" y="705"/>
                  <a:pt x="1545" y="704"/>
                  <a:pt x="1541" y="703"/>
                </a:cubicBezTo>
                <a:cubicBezTo>
                  <a:pt x="1536" y="704"/>
                  <a:pt x="1534" y="704"/>
                  <a:pt x="1530" y="705"/>
                </a:cubicBezTo>
                <a:cubicBezTo>
                  <a:pt x="1525" y="703"/>
                  <a:pt x="1523" y="702"/>
                  <a:pt x="1518" y="701"/>
                </a:cubicBezTo>
                <a:cubicBezTo>
                  <a:pt x="1518" y="698"/>
                  <a:pt x="1518" y="696"/>
                  <a:pt x="1518" y="693"/>
                </a:cubicBezTo>
                <a:cubicBezTo>
                  <a:pt x="1515" y="692"/>
                  <a:pt x="1514" y="692"/>
                  <a:pt x="1512" y="691"/>
                </a:cubicBezTo>
                <a:cubicBezTo>
                  <a:pt x="1514" y="689"/>
                  <a:pt x="1514" y="688"/>
                  <a:pt x="1515" y="686"/>
                </a:cubicBezTo>
                <a:cubicBezTo>
                  <a:pt x="1511" y="684"/>
                  <a:pt x="1509" y="684"/>
                  <a:pt x="1505" y="682"/>
                </a:cubicBezTo>
                <a:cubicBezTo>
                  <a:pt x="1499" y="684"/>
                  <a:pt x="1496" y="685"/>
                  <a:pt x="1490" y="687"/>
                </a:cubicBezTo>
                <a:cubicBezTo>
                  <a:pt x="1484" y="688"/>
                  <a:pt x="1481" y="689"/>
                  <a:pt x="1476" y="690"/>
                </a:cubicBezTo>
                <a:cubicBezTo>
                  <a:pt x="1476" y="686"/>
                  <a:pt x="1477" y="685"/>
                  <a:pt x="1477" y="682"/>
                </a:cubicBezTo>
                <a:cubicBezTo>
                  <a:pt x="1470" y="680"/>
                  <a:pt x="1467" y="680"/>
                  <a:pt x="1460" y="678"/>
                </a:cubicBezTo>
                <a:cubicBezTo>
                  <a:pt x="1467" y="675"/>
                  <a:pt x="1471" y="674"/>
                  <a:pt x="1479" y="670"/>
                </a:cubicBezTo>
                <a:cubicBezTo>
                  <a:pt x="1486" y="670"/>
                  <a:pt x="1490" y="670"/>
                  <a:pt x="1497" y="670"/>
                </a:cubicBezTo>
                <a:cubicBezTo>
                  <a:pt x="1501" y="669"/>
                  <a:pt x="1503" y="668"/>
                  <a:pt x="1507" y="667"/>
                </a:cubicBezTo>
                <a:cubicBezTo>
                  <a:pt x="1515" y="667"/>
                  <a:pt x="1519" y="666"/>
                  <a:pt x="1526" y="666"/>
                </a:cubicBezTo>
                <a:cubicBezTo>
                  <a:pt x="1532" y="669"/>
                  <a:pt x="1534" y="670"/>
                  <a:pt x="1540" y="672"/>
                </a:cubicBezTo>
                <a:cubicBezTo>
                  <a:pt x="1541" y="679"/>
                  <a:pt x="1542" y="682"/>
                  <a:pt x="1543" y="688"/>
                </a:cubicBezTo>
                <a:cubicBezTo>
                  <a:pt x="1547" y="689"/>
                  <a:pt x="1549" y="690"/>
                  <a:pt x="1554" y="691"/>
                </a:cubicBezTo>
                <a:cubicBezTo>
                  <a:pt x="1556" y="697"/>
                  <a:pt x="1558" y="700"/>
                  <a:pt x="1560" y="706"/>
                </a:cubicBezTo>
                <a:cubicBezTo>
                  <a:pt x="1558" y="710"/>
                  <a:pt x="1556" y="712"/>
                  <a:pt x="1553" y="716"/>
                </a:cubicBezTo>
                <a:cubicBezTo>
                  <a:pt x="1552" y="712"/>
                  <a:pt x="1552" y="710"/>
                  <a:pt x="1551" y="706"/>
                </a:cubicBezTo>
                <a:close/>
                <a:moveTo>
                  <a:pt x="1238" y="2304"/>
                </a:moveTo>
                <a:cubicBezTo>
                  <a:pt x="1241" y="2302"/>
                  <a:pt x="1244" y="2299"/>
                  <a:pt x="1247" y="2301"/>
                </a:cubicBezTo>
                <a:cubicBezTo>
                  <a:pt x="1252" y="2304"/>
                  <a:pt x="1266" y="2298"/>
                  <a:pt x="1266" y="2298"/>
                </a:cubicBezTo>
                <a:cubicBezTo>
                  <a:pt x="1258" y="2297"/>
                  <a:pt x="1257" y="2291"/>
                  <a:pt x="1253" y="2289"/>
                </a:cubicBezTo>
                <a:cubicBezTo>
                  <a:pt x="1249" y="2287"/>
                  <a:pt x="1246" y="2284"/>
                  <a:pt x="1246" y="2284"/>
                </a:cubicBezTo>
                <a:cubicBezTo>
                  <a:pt x="1248" y="2281"/>
                  <a:pt x="1249" y="2279"/>
                  <a:pt x="1251" y="2276"/>
                </a:cubicBezTo>
                <a:cubicBezTo>
                  <a:pt x="1249" y="2275"/>
                  <a:pt x="1249" y="2274"/>
                  <a:pt x="1247" y="2274"/>
                </a:cubicBezTo>
                <a:cubicBezTo>
                  <a:pt x="1248" y="2271"/>
                  <a:pt x="1249" y="2270"/>
                  <a:pt x="1251" y="2267"/>
                </a:cubicBezTo>
                <a:cubicBezTo>
                  <a:pt x="1248" y="2266"/>
                  <a:pt x="1246" y="2266"/>
                  <a:pt x="1243" y="2265"/>
                </a:cubicBezTo>
                <a:cubicBezTo>
                  <a:pt x="1246" y="2262"/>
                  <a:pt x="1248" y="2261"/>
                  <a:pt x="1251" y="2258"/>
                </a:cubicBezTo>
                <a:cubicBezTo>
                  <a:pt x="1249" y="2256"/>
                  <a:pt x="1248" y="2255"/>
                  <a:pt x="1247" y="2252"/>
                </a:cubicBezTo>
                <a:cubicBezTo>
                  <a:pt x="1250" y="2250"/>
                  <a:pt x="1252" y="2249"/>
                  <a:pt x="1255" y="2247"/>
                </a:cubicBezTo>
                <a:cubicBezTo>
                  <a:pt x="1258" y="2247"/>
                  <a:pt x="1259" y="2247"/>
                  <a:pt x="1261" y="2248"/>
                </a:cubicBezTo>
                <a:cubicBezTo>
                  <a:pt x="1265" y="2246"/>
                  <a:pt x="1267" y="2245"/>
                  <a:pt x="1271" y="2243"/>
                </a:cubicBezTo>
                <a:cubicBezTo>
                  <a:pt x="1274" y="2239"/>
                  <a:pt x="1275" y="2236"/>
                  <a:pt x="1278" y="2231"/>
                </a:cubicBezTo>
                <a:cubicBezTo>
                  <a:pt x="1282" y="2229"/>
                  <a:pt x="1284" y="2228"/>
                  <a:pt x="1289" y="2226"/>
                </a:cubicBezTo>
                <a:cubicBezTo>
                  <a:pt x="1292" y="2225"/>
                  <a:pt x="1293" y="2225"/>
                  <a:pt x="1296" y="2224"/>
                </a:cubicBezTo>
                <a:cubicBezTo>
                  <a:pt x="1302" y="2221"/>
                  <a:pt x="1305" y="2219"/>
                  <a:pt x="1311" y="2216"/>
                </a:cubicBezTo>
                <a:cubicBezTo>
                  <a:pt x="1312" y="2212"/>
                  <a:pt x="1312" y="2210"/>
                  <a:pt x="1313" y="2206"/>
                </a:cubicBezTo>
                <a:cubicBezTo>
                  <a:pt x="1307" y="2206"/>
                  <a:pt x="1303" y="2206"/>
                  <a:pt x="1297" y="2206"/>
                </a:cubicBezTo>
                <a:cubicBezTo>
                  <a:pt x="1298" y="2202"/>
                  <a:pt x="1298" y="2200"/>
                  <a:pt x="1299" y="2196"/>
                </a:cubicBezTo>
                <a:cubicBezTo>
                  <a:pt x="1302" y="2193"/>
                  <a:pt x="1304" y="2191"/>
                  <a:pt x="1306" y="2187"/>
                </a:cubicBezTo>
                <a:cubicBezTo>
                  <a:pt x="1313" y="2185"/>
                  <a:pt x="1316" y="2183"/>
                  <a:pt x="1323" y="2181"/>
                </a:cubicBezTo>
                <a:cubicBezTo>
                  <a:pt x="1323" y="2181"/>
                  <a:pt x="1335" y="2178"/>
                  <a:pt x="1339" y="2170"/>
                </a:cubicBezTo>
                <a:cubicBezTo>
                  <a:pt x="1343" y="2162"/>
                  <a:pt x="1362" y="2157"/>
                  <a:pt x="1362" y="2157"/>
                </a:cubicBezTo>
                <a:cubicBezTo>
                  <a:pt x="1365" y="2155"/>
                  <a:pt x="1367" y="2154"/>
                  <a:pt x="1370" y="2153"/>
                </a:cubicBezTo>
                <a:cubicBezTo>
                  <a:pt x="1369" y="2151"/>
                  <a:pt x="1369" y="2150"/>
                  <a:pt x="1368" y="2148"/>
                </a:cubicBezTo>
                <a:cubicBezTo>
                  <a:pt x="1365" y="2149"/>
                  <a:pt x="1363" y="2150"/>
                  <a:pt x="1359" y="2151"/>
                </a:cubicBezTo>
                <a:cubicBezTo>
                  <a:pt x="1357" y="2149"/>
                  <a:pt x="1356" y="2149"/>
                  <a:pt x="1355" y="2147"/>
                </a:cubicBezTo>
                <a:cubicBezTo>
                  <a:pt x="1357" y="2141"/>
                  <a:pt x="1359" y="2137"/>
                  <a:pt x="1362" y="2130"/>
                </a:cubicBezTo>
                <a:cubicBezTo>
                  <a:pt x="1362" y="2130"/>
                  <a:pt x="1379" y="2141"/>
                  <a:pt x="1393" y="2136"/>
                </a:cubicBezTo>
                <a:cubicBezTo>
                  <a:pt x="1407" y="2131"/>
                  <a:pt x="1411" y="2113"/>
                  <a:pt x="1411" y="2113"/>
                </a:cubicBezTo>
                <a:cubicBezTo>
                  <a:pt x="1414" y="2118"/>
                  <a:pt x="1426" y="2112"/>
                  <a:pt x="1426" y="2112"/>
                </a:cubicBezTo>
                <a:cubicBezTo>
                  <a:pt x="1435" y="2113"/>
                  <a:pt x="1447" y="2108"/>
                  <a:pt x="1447" y="2108"/>
                </a:cubicBezTo>
                <a:cubicBezTo>
                  <a:pt x="1447" y="2108"/>
                  <a:pt x="1461" y="2112"/>
                  <a:pt x="1469" y="2104"/>
                </a:cubicBezTo>
                <a:cubicBezTo>
                  <a:pt x="1476" y="2096"/>
                  <a:pt x="1489" y="2092"/>
                  <a:pt x="1493" y="2085"/>
                </a:cubicBezTo>
                <a:cubicBezTo>
                  <a:pt x="1497" y="2078"/>
                  <a:pt x="1495" y="2073"/>
                  <a:pt x="1495" y="2073"/>
                </a:cubicBezTo>
                <a:cubicBezTo>
                  <a:pt x="1495" y="2073"/>
                  <a:pt x="1513" y="2060"/>
                  <a:pt x="1521" y="2064"/>
                </a:cubicBezTo>
                <a:cubicBezTo>
                  <a:pt x="1529" y="2069"/>
                  <a:pt x="1536" y="2063"/>
                  <a:pt x="1542" y="2058"/>
                </a:cubicBezTo>
                <a:cubicBezTo>
                  <a:pt x="1548" y="2053"/>
                  <a:pt x="1552" y="2049"/>
                  <a:pt x="1557" y="2049"/>
                </a:cubicBezTo>
                <a:cubicBezTo>
                  <a:pt x="1563" y="2049"/>
                  <a:pt x="1575" y="2033"/>
                  <a:pt x="1575" y="2033"/>
                </a:cubicBezTo>
                <a:cubicBezTo>
                  <a:pt x="1584" y="2033"/>
                  <a:pt x="1597" y="2024"/>
                  <a:pt x="1597" y="2024"/>
                </a:cubicBezTo>
                <a:cubicBezTo>
                  <a:pt x="1597" y="2024"/>
                  <a:pt x="1607" y="2021"/>
                  <a:pt x="1616" y="2010"/>
                </a:cubicBezTo>
                <a:cubicBezTo>
                  <a:pt x="1624" y="2000"/>
                  <a:pt x="1635" y="1994"/>
                  <a:pt x="1635" y="1994"/>
                </a:cubicBezTo>
                <a:cubicBezTo>
                  <a:pt x="1635" y="1994"/>
                  <a:pt x="1659" y="1980"/>
                  <a:pt x="1659" y="1972"/>
                </a:cubicBezTo>
                <a:cubicBezTo>
                  <a:pt x="1659" y="1963"/>
                  <a:pt x="1670" y="1953"/>
                  <a:pt x="1670" y="1953"/>
                </a:cubicBezTo>
                <a:cubicBezTo>
                  <a:pt x="1670" y="1953"/>
                  <a:pt x="1680" y="1949"/>
                  <a:pt x="1689" y="1942"/>
                </a:cubicBezTo>
                <a:cubicBezTo>
                  <a:pt x="1698" y="1935"/>
                  <a:pt x="1717" y="1933"/>
                  <a:pt x="1717" y="1933"/>
                </a:cubicBezTo>
                <a:cubicBezTo>
                  <a:pt x="1728" y="1933"/>
                  <a:pt x="1735" y="1923"/>
                  <a:pt x="1735" y="1923"/>
                </a:cubicBezTo>
                <a:cubicBezTo>
                  <a:pt x="1748" y="1923"/>
                  <a:pt x="1754" y="1924"/>
                  <a:pt x="1766" y="1924"/>
                </a:cubicBezTo>
                <a:cubicBezTo>
                  <a:pt x="1766" y="1924"/>
                  <a:pt x="1766" y="1924"/>
                  <a:pt x="1774" y="1920"/>
                </a:cubicBezTo>
                <a:cubicBezTo>
                  <a:pt x="1783" y="1916"/>
                  <a:pt x="1785" y="1922"/>
                  <a:pt x="1787" y="1918"/>
                </a:cubicBezTo>
                <a:cubicBezTo>
                  <a:pt x="1790" y="1913"/>
                  <a:pt x="1797" y="1903"/>
                  <a:pt x="1802" y="1897"/>
                </a:cubicBezTo>
                <a:cubicBezTo>
                  <a:pt x="1807" y="1891"/>
                  <a:pt x="1824" y="1882"/>
                  <a:pt x="1824" y="1882"/>
                </a:cubicBezTo>
                <a:cubicBezTo>
                  <a:pt x="1824" y="1882"/>
                  <a:pt x="1830" y="1866"/>
                  <a:pt x="1841" y="1866"/>
                </a:cubicBezTo>
                <a:cubicBezTo>
                  <a:pt x="1852" y="1865"/>
                  <a:pt x="1845" y="1853"/>
                  <a:pt x="1845" y="1853"/>
                </a:cubicBezTo>
                <a:cubicBezTo>
                  <a:pt x="1845" y="1853"/>
                  <a:pt x="1857" y="1842"/>
                  <a:pt x="1859" y="1833"/>
                </a:cubicBezTo>
                <a:cubicBezTo>
                  <a:pt x="1860" y="1824"/>
                  <a:pt x="1878" y="1802"/>
                  <a:pt x="1878" y="1802"/>
                </a:cubicBezTo>
                <a:cubicBezTo>
                  <a:pt x="1892" y="1804"/>
                  <a:pt x="1914" y="1781"/>
                  <a:pt x="1914" y="1781"/>
                </a:cubicBezTo>
                <a:cubicBezTo>
                  <a:pt x="1914" y="1781"/>
                  <a:pt x="1925" y="1770"/>
                  <a:pt x="1938" y="1765"/>
                </a:cubicBezTo>
                <a:cubicBezTo>
                  <a:pt x="1952" y="1761"/>
                  <a:pt x="1956" y="1746"/>
                  <a:pt x="1956" y="1746"/>
                </a:cubicBezTo>
                <a:cubicBezTo>
                  <a:pt x="1973" y="1729"/>
                  <a:pt x="1961" y="1730"/>
                  <a:pt x="1967" y="1719"/>
                </a:cubicBezTo>
                <a:cubicBezTo>
                  <a:pt x="1973" y="1708"/>
                  <a:pt x="1973" y="1701"/>
                  <a:pt x="1973" y="1701"/>
                </a:cubicBezTo>
                <a:cubicBezTo>
                  <a:pt x="1973" y="1701"/>
                  <a:pt x="1963" y="1701"/>
                  <a:pt x="1955" y="1699"/>
                </a:cubicBezTo>
                <a:cubicBezTo>
                  <a:pt x="1946" y="1697"/>
                  <a:pt x="1938" y="1678"/>
                  <a:pt x="1938" y="1678"/>
                </a:cubicBezTo>
                <a:cubicBezTo>
                  <a:pt x="1935" y="1674"/>
                  <a:pt x="1934" y="1671"/>
                  <a:pt x="1931" y="1666"/>
                </a:cubicBezTo>
                <a:cubicBezTo>
                  <a:pt x="1929" y="1664"/>
                  <a:pt x="1928" y="1662"/>
                  <a:pt x="1926" y="1659"/>
                </a:cubicBezTo>
                <a:cubicBezTo>
                  <a:pt x="1916" y="1658"/>
                  <a:pt x="1911" y="1658"/>
                  <a:pt x="1900" y="1657"/>
                </a:cubicBezTo>
                <a:cubicBezTo>
                  <a:pt x="1900" y="1657"/>
                  <a:pt x="1894" y="1652"/>
                  <a:pt x="1887" y="1648"/>
                </a:cubicBezTo>
                <a:cubicBezTo>
                  <a:pt x="1880" y="1643"/>
                  <a:pt x="1877" y="1651"/>
                  <a:pt x="1877" y="1651"/>
                </a:cubicBezTo>
                <a:cubicBezTo>
                  <a:pt x="1877" y="1651"/>
                  <a:pt x="1875" y="1646"/>
                  <a:pt x="1872" y="1631"/>
                </a:cubicBezTo>
                <a:cubicBezTo>
                  <a:pt x="1868" y="1616"/>
                  <a:pt x="1839" y="1606"/>
                  <a:pt x="1839" y="1606"/>
                </a:cubicBezTo>
                <a:cubicBezTo>
                  <a:pt x="1831" y="1599"/>
                  <a:pt x="1835" y="1562"/>
                  <a:pt x="1835" y="1562"/>
                </a:cubicBezTo>
                <a:cubicBezTo>
                  <a:pt x="1835" y="1562"/>
                  <a:pt x="1825" y="1561"/>
                  <a:pt x="1821" y="1556"/>
                </a:cubicBezTo>
                <a:cubicBezTo>
                  <a:pt x="1817" y="1551"/>
                  <a:pt x="1823" y="1527"/>
                  <a:pt x="1823" y="1527"/>
                </a:cubicBezTo>
                <a:cubicBezTo>
                  <a:pt x="1823" y="1527"/>
                  <a:pt x="1813" y="1527"/>
                  <a:pt x="1808" y="1512"/>
                </a:cubicBezTo>
                <a:cubicBezTo>
                  <a:pt x="1803" y="1497"/>
                  <a:pt x="1794" y="1495"/>
                  <a:pt x="1794" y="1495"/>
                </a:cubicBezTo>
                <a:cubicBezTo>
                  <a:pt x="1794" y="1495"/>
                  <a:pt x="1790" y="1490"/>
                  <a:pt x="1778" y="1485"/>
                </a:cubicBezTo>
                <a:cubicBezTo>
                  <a:pt x="1765" y="1479"/>
                  <a:pt x="1761" y="1486"/>
                  <a:pt x="1761" y="1486"/>
                </a:cubicBezTo>
                <a:cubicBezTo>
                  <a:pt x="1761" y="1486"/>
                  <a:pt x="1744" y="1478"/>
                  <a:pt x="1744" y="1469"/>
                </a:cubicBezTo>
                <a:cubicBezTo>
                  <a:pt x="1744" y="1461"/>
                  <a:pt x="1739" y="1455"/>
                  <a:pt x="1739" y="1455"/>
                </a:cubicBezTo>
                <a:cubicBezTo>
                  <a:pt x="1737" y="1448"/>
                  <a:pt x="1736" y="1444"/>
                  <a:pt x="1733" y="1437"/>
                </a:cubicBezTo>
                <a:cubicBezTo>
                  <a:pt x="1728" y="1430"/>
                  <a:pt x="1726" y="1427"/>
                  <a:pt x="1721" y="1420"/>
                </a:cubicBezTo>
                <a:cubicBezTo>
                  <a:pt x="1717" y="1415"/>
                  <a:pt x="1715" y="1413"/>
                  <a:pt x="1712" y="1408"/>
                </a:cubicBezTo>
                <a:cubicBezTo>
                  <a:pt x="1716" y="1405"/>
                  <a:pt x="1718" y="1403"/>
                  <a:pt x="1723" y="1400"/>
                </a:cubicBezTo>
                <a:cubicBezTo>
                  <a:pt x="1722" y="1396"/>
                  <a:pt x="1722" y="1395"/>
                  <a:pt x="1722" y="1391"/>
                </a:cubicBezTo>
                <a:cubicBezTo>
                  <a:pt x="1718" y="1392"/>
                  <a:pt x="1716" y="1392"/>
                  <a:pt x="1712" y="1394"/>
                </a:cubicBezTo>
                <a:cubicBezTo>
                  <a:pt x="1711" y="1396"/>
                  <a:pt x="1710" y="1397"/>
                  <a:pt x="1709" y="1400"/>
                </a:cubicBezTo>
                <a:cubicBezTo>
                  <a:pt x="1707" y="1399"/>
                  <a:pt x="1705" y="1399"/>
                  <a:pt x="1703" y="1398"/>
                </a:cubicBezTo>
                <a:cubicBezTo>
                  <a:pt x="1703" y="1395"/>
                  <a:pt x="1703" y="1393"/>
                  <a:pt x="1703" y="1389"/>
                </a:cubicBezTo>
                <a:cubicBezTo>
                  <a:pt x="1696" y="1387"/>
                  <a:pt x="1693" y="1386"/>
                  <a:pt x="1686" y="1383"/>
                </a:cubicBezTo>
                <a:cubicBezTo>
                  <a:pt x="1687" y="1373"/>
                  <a:pt x="1677" y="1379"/>
                  <a:pt x="1677" y="1379"/>
                </a:cubicBezTo>
                <a:cubicBezTo>
                  <a:pt x="1677" y="1379"/>
                  <a:pt x="1673" y="1385"/>
                  <a:pt x="1661" y="1385"/>
                </a:cubicBezTo>
                <a:cubicBezTo>
                  <a:pt x="1649" y="1386"/>
                  <a:pt x="1658" y="1371"/>
                  <a:pt x="1650" y="1375"/>
                </a:cubicBezTo>
                <a:cubicBezTo>
                  <a:pt x="1642" y="1378"/>
                  <a:pt x="1623" y="1367"/>
                  <a:pt x="1623" y="1367"/>
                </a:cubicBezTo>
                <a:cubicBezTo>
                  <a:pt x="1629" y="1347"/>
                  <a:pt x="1607" y="1351"/>
                  <a:pt x="1607" y="1351"/>
                </a:cubicBezTo>
                <a:cubicBezTo>
                  <a:pt x="1606" y="1345"/>
                  <a:pt x="1605" y="1342"/>
                  <a:pt x="1603" y="1335"/>
                </a:cubicBezTo>
                <a:cubicBezTo>
                  <a:pt x="1599" y="1342"/>
                  <a:pt x="1598" y="1346"/>
                  <a:pt x="1594" y="1352"/>
                </a:cubicBezTo>
                <a:cubicBezTo>
                  <a:pt x="1587" y="1351"/>
                  <a:pt x="1584" y="1350"/>
                  <a:pt x="1577" y="1348"/>
                </a:cubicBezTo>
                <a:cubicBezTo>
                  <a:pt x="1577" y="1348"/>
                  <a:pt x="1586" y="1341"/>
                  <a:pt x="1589" y="1333"/>
                </a:cubicBezTo>
                <a:cubicBezTo>
                  <a:pt x="1591" y="1324"/>
                  <a:pt x="1579" y="1321"/>
                  <a:pt x="1564" y="1334"/>
                </a:cubicBezTo>
                <a:cubicBezTo>
                  <a:pt x="1549" y="1347"/>
                  <a:pt x="1549" y="1332"/>
                  <a:pt x="1530" y="1336"/>
                </a:cubicBezTo>
                <a:cubicBezTo>
                  <a:pt x="1512" y="1340"/>
                  <a:pt x="1511" y="1360"/>
                  <a:pt x="1511" y="1360"/>
                </a:cubicBezTo>
                <a:cubicBezTo>
                  <a:pt x="1492" y="1355"/>
                  <a:pt x="1487" y="1371"/>
                  <a:pt x="1487" y="1371"/>
                </a:cubicBezTo>
                <a:cubicBezTo>
                  <a:pt x="1487" y="1371"/>
                  <a:pt x="1475" y="1346"/>
                  <a:pt x="1460" y="1342"/>
                </a:cubicBezTo>
                <a:cubicBezTo>
                  <a:pt x="1444" y="1337"/>
                  <a:pt x="1441" y="1357"/>
                  <a:pt x="1426" y="1345"/>
                </a:cubicBezTo>
                <a:cubicBezTo>
                  <a:pt x="1411" y="1334"/>
                  <a:pt x="1408" y="1300"/>
                  <a:pt x="1408" y="1300"/>
                </a:cubicBezTo>
                <a:cubicBezTo>
                  <a:pt x="1409" y="1296"/>
                  <a:pt x="1410" y="1293"/>
                  <a:pt x="1412" y="1289"/>
                </a:cubicBezTo>
                <a:cubicBezTo>
                  <a:pt x="1414" y="1283"/>
                  <a:pt x="1416" y="1280"/>
                  <a:pt x="1418" y="1273"/>
                </a:cubicBezTo>
                <a:cubicBezTo>
                  <a:pt x="1420" y="1264"/>
                  <a:pt x="1421" y="1260"/>
                  <a:pt x="1423" y="1251"/>
                </a:cubicBezTo>
                <a:cubicBezTo>
                  <a:pt x="1426" y="1249"/>
                  <a:pt x="1427" y="1249"/>
                  <a:pt x="1429" y="1247"/>
                </a:cubicBezTo>
                <a:cubicBezTo>
                  <a:pt x="1432" y="1240"/>
                  <a:pt x="1434" y="1237"/>
                  <a:pt x="1437" y="1230"/>
                </a:cubicBezTo>
                <a:cubicBezTo>
                  <a:pt x="1432" y="1228"/>
                  <a:pt x="1429" y="1226"/>
                  <a:pt x="1425" y="1224"/>
                </a:cubicBezTo>
                <a:cubicBezTo>
                  <a:pt x="1423" y="1221"/>
                  <a:pt x="1422" y="1220"/>
                  <a:pt x="1421" y="1217"/>
                </a:cubicBezTo>
                <a:cubicBezTo>
                  <a:pt x="1412" y="1213"/>
                  <a:pt x="1407" y="1211"/>
                  <a:pt x="1398" y="1207"/>
                </a:cubicBezTo>
                <a:cubicBezTo>
                  <a:pt x="1398" y="1207"/>
                  <a:pt x="1366" y="1205"/>
                  <a:pt x="1358" y="1197"/>
                </a:cubicBezTo>
                <a:cubicBezTo>
                  <a:pt x="1358" y="1197"/>
                  <a:pt x="1360" y="1190"/>
                  <a:pt x="1368" y="1188"/>
                </a:cubicBezTo>
                <a:cubicBezTo>
                  <a:pt x="1377" y="1186"/>
                  <a:pt x="1378" y="1163"/>
                  <a:pt x="1378" y="1163"/>
                </a:cubicBezTo>
                <a:cubicBezTo>
                  <a:pt x="1384" y="1156"/>
                  <a:pt x="1387" y="1153"/>
                  <a:pt x="1392" y="1147"/>
                </a:cubicBezTo>
                <a:cubicBezTo>
                  <a:pt x="1392" y="1147"/>
                  <a:pt x="1396" y="1127"/>
                  <a:pt x="1401" y="1125"/>
                </a:cubicBezTo>
                <a:cubicBezTo>
                  <a:pt x="1406" y="1123"/>
                  <a:pt x="1412" y="1117"/>
                  <a:pt x="1412" y="1117"/>
                </a:cubicBezTo>
                <a:cubicBezTo>
                  <a:pt x="1411" y="1112"/>
                  <a:pt x="1411" y="1110"/>
                  <a:pt x="1411" y="1106"/>
                </a:cubicBezTo>
                <a:cubicBezTo>
                  <a:pt x="1401" y="1104"/>
                  <a:pt x="1396" y="1103"/>
                  <a:pt x="1385" y="1101"/>
                </a:cubicBezTo>
                <a:cubicBezTo>
                  <a:pt x="1378" y="1100"/>
                  <a:pt x="1375" y="1100"/>
                  <a:pt x="1368" y="1099"/>
                </a:cubicBezTo>
                <a:cubicBezTo>
                  <a:pt x="1366" y="1100"/>
                  <a:pt x="1365" y="1101"/>
                  <a:pt x="1363" y="1103"/>
                </a:cubicBezTo>
                <a:cubicBezTo>
                  <a:pt x="1359" y="1103"/>
                  <a:pt x="1357" y="1103"/>
                  <a:pt x="1354" y="1104"/>
                </a:cubicBezTo>
                <a:cubicBezTo>
                  <a:pt x="1351" y="1108"/>
                  <a:pt x="1349" y="1110"/>
                  <a:pt x="1345" y="1114"/>
                </a:cubicBezTo>
                <a:cubicBezTo>
                  <a:pt x="1345" y="1114"/>
                  <a:pt x="1341" y="1134"/>
                  <a:pt x="1330" y="1133"/>
                </a:cubicBezTo>
                <a:cubicBezTo>
                  <a:pt x="1318" y="1132"/>
                  <a:pt x="1311" y="1138"/>
                  <a:pt x="1311" y="1138"/>
                </a:cubicBezTo>
                <a:cubicBezTo>
                  <a:pt x="1303" y="1135"/>
                  <a:pt x="1298" y="1133"/>
                  <a:pt x="1290" y="1131"/>
                </a:cubicBezTo>
                <a:cubicBezTo>
                  <a:pt x="1290" y="1131"/>
                  <a:pt x="1278" y="1117"/>
                  <a:pt x="1268" y="1115"/>
                </a:cubicBezTo>
                <a:cubicBezTo>
                  <a:pt x="1268" y="1115"/>
                  <a:pt x="1276" y="1096"/>
                  <a:pt x="1266" y="1090"/>
                </a:cubicBezTo>
                <a:cubicBezTo>
                  <a:pt x="1256" y="1084"/>
                  <a:pt x="1262" y="1063"/>
                  <a:pt x="1262" y="1063"/>
                </a:cubicBezTo>
                <a:cubicBezTo>
                  <a:pt x="1262" y="1063"/>
                  <a:pt x="1251" y="1056"/>
                  <a:pt x="1266" y="1037"/>
                </a:cubicBezTo>
                <a:cubicBezTo>
                  <a:pt x="1280" y="1018"/>
                  <a:pt x="1267" y="1014"/>
                  <a:pt x="1280" y="1002"/>
                </a:cubicBezTo>
                <a:cubicBezTo>
                  <a:pt x="1293" y="990"/>
                  <a:pt x="1274" y="963"/>
                  <a:pt x="1300" y="960"/>
                </a:cubicBezTo>
                <a:cubicBezTo>
                  <a:pt x="1326" y="957"/>
                  <a:pt x="1341" y="946"/>
                  <a:pt x="1341" y="946"/>
                </a:cubicBezTo>
                <a:cubicBezTo>
                  <a:pt x="1341" y="946"/>
                  <a:pt x="1359" y="944"/>
                  <a:pt x="1372" y="957"/>
                </a:cubicBezTo>
                <a:cubicBezTo>
                  <a:pt x="1385" y="969"/>
                  <a:pt x="1402" y="980"/>
                  <a:pt x="1410" y="969"/>
                </a:cubicBezTo>
                <a:cubicBezTo>
                  <a:pt x="1410" y="969"/>
                  <a:pt x="1405" y="982"/>
                  <a:pt x="1415" y="982"/>
                </a:cubicBezTo>
                <a:cubicBezTo>
                  <a:pt x="1425" y="981"/>
                  <a:pt x="1426" y="958"/>
                  <a:pt x="1426" y="958"/>
                </a:cubicBezTo>
                <a:cubicBezTo>
                  <a:pt x="1426" y="958"/>
                  <a:pt x="1437" y="967"/>
                  <a:pt x="1454" y="966"/>
                </a:cubicBezTo>
                <a:cubicBezTo>
                  <a:pt x="1472" y="966"/>
                  <a:pt x="1469" y="982"/>
                  <a:pt x="1469" y="982"/>
                </a:cubicBezTo>
                <a:cubicBezTo>
                  <a:pt x="1469" y="982"/>
                  <a:pt x="1477" y="995"/>
                  <a:pt x="1489" y="985"/>
                </a:cubicBezTo>
                <a:cubicBezTo>
                  <a:pt x="1501" y="975"/>
                  <a:pt x="1503" y="998"/>
                  <a:pt x="1499" y="1011"/>
                </a:cubicBezTo>
                <a:cubicBezTo>
                  <a:pt x="1496" y="1023"/>
                  <a:pt x="1504" y="1030"/>
                  <a:pt x="1503" y="1041"/>
                </a:cubicBezTo>
                <a:cubicBezTo>
                  <a:pt x="1501" y="1052"/>
                  <a:pt x="1511" y="1057"/>
                  <a:pt x="1509" y="1072"/>
                </a:cubicBezTo>
                <a:cubicBezTo>
                  <a:pt x="1507" y="1086"/>
                  <a:pt x="1523" y="1085"/>
                  <a:pt x="1530" y="1061"/>
                </a:cubicBezTo>
                <a:cubicBezTo>
                  <a:pt x="1537" y="1037"/>
                  <a:pt x="1541" y="1039"/>
                  <a:pt x="1535" y="1028"/>
                </a:cubicBezTo>
                <a:cubicBezTo>
                  <a:pt x="1535" y="1028"/>
                  <a:pt x="1540" y="1016"/>
                  <a:pt x="1534" y="1005"/>
                </a:cubicBezTo>
                <a:cubicBezTo>
                  <a:pt x="1527" y="994"/>
                  <a:pt x="1536" y="969"/>
                  <a:pt x="1547" y="964"/>
                </a:cubicBezTo>
                <a:cubicBezTo>
                  <a:pt x="1556" y="961"/>
                  <a:pt x="1575" y="949"/>
                  <a:pt x="1580" y="947"/>
                </a:cubicBezTo>
                <a:cubicBezTo>
                  <a:pt x="1580" y="947"/>
                  <a:pt x="1585" y="938"/>
                  <a:pt x="1604" y="938"/>
                </a:cubicBezTo>
                <a:cubicBezTo>
                  <a:pt x="1624" y="939"/>
                  <a:pt x="1640" y="933"/>
                  <a:pt x="1635" y="920"/>
                </a:cubicBezTo>
                <a:cubicBezTo>
                  <a:pt x="1630" y="907"/>
                  <a:pt x="1644" y="896"/>
                  <a:pt x="1644" y="896"/>
                </a:cubicBezTo>
                <a:cubicBezTo>
                  <a:pt x="1644" y="896"/>
                  <a:pt x="1655" y="888"/>
                  <a:pt x="1655" y="878"/>
                </a:cubicBezTo>
                <a:cubicBezTo>
                  <a:pt x="1655" y="878"/>
                  <a:pt x="1671" y="876"/>
                  <a:pt x="1675" y="858"/>
                </a:cubicBezTo>
                <a:cubicBezTo>
                  <a:pt x="1675" y="858"/>
                  <a:pt x="1698" y="869"/>
                  <a:pt x="1705" y="859"/>
                </a:cubicBezTo>
                <a:cubicBezTo>
                  <a:pt x="1711" y="849"/>
                  <a:pt x="1725" y="858"/>
                  <a:pt x="1726" y="866"/>
                </a:cubicBezTo>
                <a:cubicBezTo>
                  <a:pt x="1726" y="866"/>
                  <a:pt x="1736" y="864"/>
                  <a:pt x="1734" y="852"/>
                </a:cubicBezTo>
                <a:cubicBezTo>
                  <a:pt x="1731" y="851"/>
                  <a:pt x="1729" y="851"/>
                  <a:pt x="1726" y="851"/>
                </a:cubicBezTo>
                <a:cubicBezTo>
                  <a:pt x="1724" y="848"/>
                  <a:pt x="1724" y="847"/>
                  <a:pt x="1722" y="844"/>
                </a:cubicBezTo>
                <a:cubicBezTo>
                  <a:pt x="1722" y="844"/>
                  <a:pt x="1725" y="845"/>
                  <a:pt x="1727" y="834"/>
                </a:cubicBezTo>
                <a:cubicBezTo>
                  <a:pt x="1729" y="823"/>
                  <a:pt x="1740" y="826"/>
                  <a:pt x="1740" y="826"/>
                </a:cubicBezTo>
                <a:cubicBezTo>
                  <a:pt x="1740" y="826"/>
                  <a:pt x="1754" y="830"/>
                  <a:pt x="1754" y="826"/>
                </a:cubicBezTo>
                <a:cubicBezTo>
                  <a:pt x="1754" y="826"/>
                  <a:pt x="1765" y="823"/>
                  <a:pt x="1771" y="824"/>
                </a:cubicBezTo>
                <a:cubicBezTo>
                  <a:pt x="1778" y="824"/>
                  <a:pt x="1777" y="818"/>
                  <a:pt x="1783" y="820"/>
                </a:cubicBezTo>
                <a:cubicBezTo>
                  <a:pt x="1789" y="823"/>
                  <a:pt x="1799" y="818"/>
                  <a:pt x="1808" y="826"/>
                </a:cubicBezTo>
                <a:cubicBezTo>
                  <a:pt x="1808" y="826"/>
                  <a:pt x="1798" y="827"/>
                  <a:pt x="1792" y="832"/>
                </a:cubicBezTo>
                <a:cubicBezTo>
                  <a:pt x="1785" y="837"/>
                  <a:pt x="1786" y="844"/>
                  <a:pt x="1789" y="849"/>
                </a:cubicBezTo>
                <a:cubicBezTo>
                  <a:pt x="1793" y="854"/>
                  <a:pt x="1804" y="847"/>
                  <a:pt x="1810" y="844"/>
                </a:cubicBezTo>
                <a:cubicBezTo>
                  <a:pt x="1815" y="841"/>
                  <a:pt x="1824" y="850"/>
                  <a:pt x="1829" y="844"/>
                </a:cubicBezTo>
                <a:cubicBezTo>
                  <a:pt x="1829" y="844"/>
                  <a:pt x="1842" y="852"/>
                  <a:pt x="1844" y="844"/>
                </a:cubicBezTo>
                <a:cubicBezTo>
                  <a:pt x="1844" y="844"/>
                  <a:pt x="1855" y="851"/>
                  <a:pt x="1856" y="843"/>
                </a:cubicBezTo>
                <a:cubicBezTo>
                  <a:pt x="1856" y="843"/>
                  <a:pt x="1869" y="847"/>
                  <a:pt x="1872" y="843"/>
                </a:cubicBezTo>
                <a:cubicBezTo>
                  <a:pt x="1874" y="838"/>
                  <a:pt x="1865" y="830"/>
                  <a:pt x="1865" y="830"/>
                </a:cubicBezTo>
                <a:cubicBezTo>
                  <a:pt x="1865" y="830"/>
                  <a:pt x="1868" y="823"/>
                  <a:pt x="1866" y="822"/>
                </a:cubicBezTo>
                <a:cubicBezTo>
                  <a:pt x="1863" y="821"/>
                  <a:pt x="1855" y="828"/>
                  <a:pt x="1855" y="828"/>
                </a:cubicBezTo>
                <a:cubicBezTo>
                  <a:pt x="1855" y="828"/>
                  <a:pt x="1849" y="830"/>
                  <a:pt x="1849" y="837"/>
                </a:cubicBezTo>
                <a:cubicBezTo>
                  <a:pt x="1849" y="837"/>
                  <a:pt x="1843" y="832"/>
                  <a:pt x="1838" y="830"/>
                </a:cubicBezTo>
                <a:cubicBezTo>
                  <a:pt x="1838" y="830"/>
                  <a:pt x="1844" y="832"/>
                  <a:pt x="1845" y="825"/>
                </a:cubicBezTo>
                <a:cubicBezTo>
                  <a:pt x="1846" y="818"/>
                  <a:pt x="1835" y="820"/>
                  <a:pt x="1835" y="820"/>
                </a:cubicBezTo>
                <a:cubicBezTo>
                  <a:pt x="1831" y="816"/>
                  <a:pt x="1829" y="815"/>
                  <a:pt x="1825" y="811"/>
                </a:cubicBezTo>
                <a:cubicBezTo>
                  <a:pt x="1825" y="809"/>
                  <a:pt x="1825" y="807"/>
                  <a:pt x="1824" y="805"/>
                </a:cubicBezTo>
                <a:cubicBezTo>
                  <a:pt x="1823" y="804"/>
                  <a:pt x="1822" y="804"/>
                  <a:pt x="1820" y="804"/>
                </a:cubicBezTo>
                <a:cubicBezTo>
                  <a:pt x="1819" y="807"/>
                  <a:pt x="1819" y="809"/>
                  <a:pt x="1818" y="812"/>
                </a:cubicBezTo>
                <a:cubicBezTo>
                  <a:pt x="1817" y="809"/>
                  <a:pt x="1817" y="807"/>
                  <a:pt x="1815" y="804"/>
                </a:cubicBezTo>
                <a:cubicBezTo>
                  <a:pt x="1815" y="804"/>
                  <a:pt x="1810" y="795"/>
                  <a:pt x="1819" y="790"/>
                </a:cubicBezTo>
                <a:cubicBezTo>
                  <a:pt x="1819" y="790"/>
                  <a:pt x="1806" y="788"/>
                  <a:pt x="1802" y="777"/>
                </a:cubicBezTo>
                <a:cubicBezTo>
                  <a:pt x="1802" y="777"/>
                  <a:pt x="1813" y="786"/>
                  <a:pt x="1819" y="779"/>
                </a:cubicBezTo>
                <a:cubicBezTo>
                  <a:pt x="1819" y="779"/>
                  <a:pt x="1824" y="786"/>
                  <a:pt x="1826" y="776"/>
                </a:cubicBezTo>
                <a:cubicBezTo>
                  <a:pt x="1828" y="766"/>
                  <a:pt x="1813" y="764"/>
                  <a:pt x="1813" y="764"/>
                </a:cubicBezTo>
                <a:cubicBezTo>
                  <a:pt x="1805" y="761"/>
                  <a:pt x="1802" y="760"/>
                  <a:pt x="1793" y="757"/>
                </a:cubicBezTo>
                <a:cubicBezTo>
                  <a:pt x="1793" y="757"/>
                  <a:pt x="1773" y="754"/>
                  <a:pt x="1759" y="761"/>
                </a:cubicBezTo>
                <a:cubicBezTo>
                  <a:pt x="1759" y="761"/>
                  <a:pt x="1768" y="746"/>
                  <a:pt x="1786" y="752"/>
                </a:cubicBezTo>
                <a:cubicBezTo>
                  <a:pt x="1786" y="752"/>
                  <a:pt x="1796" y="739"/>
                  <a:pt x="1806" y="745"/>
                </a:cubicBezTo>
                <a:cubicBezTo>
                  <a:pt x="1806" y="745"/>
                  <a:pt x="1840" y="754"/>
                  <a:pt x="1853" y="764"/>
                </a:cubicBezTo>
                <a:cubicBezTo>
                  <a:pt x="1866" y="773"/>
                  <a:pt x="1881" y="774"/>
                  <a:pt x="1881" y="774"/>
                </a:cubicBezTo>
                <a:cubicBezTo>
                  <a:pt x="1881" y="774"/>
                  <a:pt x="1905" y="767"/>
                  <a:pt x="1917" y="775"/>
                </a:cubicBezTo>
                <a:cubicBezTo>
                  <a:pt x="1917" y="775"/>
                  <a:pt x="1927" y="767"/>
                  <a:pt x="1933" y="770"/>
                </a:cubicBezTo>
                <a:cubicBezTo>
                  <a:pt x="1935" y="762"/>
                  <a:pt x="1935" y="758"/>
                  <a:pt x="1936" y="750"/>
                </a:cubicBezTo>
                <a:cubicBezTo>
                  <a:pt x="1930" y="746"/>
                  <a:pt x="1927" y="743"/>
                  <a:pt x="1921" y="739"/>
                </a:cubicBezTo>
                <a:cubicBezTo>
                  <a:pt x="1919" y="735"/>
                  <a:pt x="1918" y="733"/>
                  <a:pt x="1917" y="730"/>
                </a:cubicBezTo>
                <a:cubicBezTo>
                  <a:pt x="1916" y="727"/>
                  <a:pt x="1916" y="726"/>
                  <a:pt x="1916" y="723"/>
                </a:cubicBezTo>
                <a:cubicBezTo>
                  <a:pt x="1910" y="720"/>
                  <a:pt x="1908" y="719"/>
                  <a:pt x="1902" y="716"/>
                </a:cubicBezTo>
                <a:cubicBezTo>
                  <a:pt x="1902" y="713"/>
                  <a:pt x="1902" y="711"/>
                  <a:pt x="1902" y="708"/>
                </a:cubicBezTo>
                <a:cubicBezTo>
                  <a:pt x="1897" y="704"/>
                  <a:pt x="1894" y="702"/>
                  <a:pt x="1889" y="698"/>
                </a:cubicBezTo>
                <a:cubicBezTo>
                  <a:pt x="1889" y="695"/>
                  <a:pt x="1888" y="693"/>
                  <a:pt x="1888" y="690"/>
                </a:cubicBezTo>
                <a:cubicBezTo>
                  <a:pt x="1886" y="689"/>
                  <a:pt x="1885" y="688"/>
                  <a:pt x="1884" y="687"/>
                </a:cubicBezTo>
                <a:cubicBezTo>
                  <a:pt x="1884" y="687"/>
                  <a:pt x="1877" y="675"/>
                  <a:pt x="1878" y="667"/>
                </a:cubicBezTo>
                <a:cubicBezTo>
                  <a:pt x="1879" y="659"/>
                  <a:pt x="1869" y="648"/>
                  <a:pt x="1869" y="648"/>
                </a:cubicBezTo>
                <a:cubicBezTo>
                  <a:pt x="1869" y="648"/>
                  <a:pt x="1864" y="632"/>
                  <a:pt x="1858" y="625"/>
                </a:cubicBezTo>
                <a:cubicBezTo>
                  <a:pt x="1853" y="619"/>
                  <a:pt x="1848" y="592"/>
                  <a:pt x="1848" y="592"/>
                </a:cubicBezTo>
                <a:cubicBezTo>
                  <a:pt x="1848" y="592"/>
                  <a:pt x="1839" y="601"/>
                  <a:pt x="1838" y="605"/>
                </a:cubicBezTo>
                <a:cubicBezTo>
                  <a:pt x="1838" y="605"/>
                  <a:pt x="1832" y="605"/>
                  <a:pt x="1831" y="612"/>
                </a:cubicBezTo>
                <a:cubicBezTo>
                  <a:pt x="1830" y="619"/>
                  <a:pt x="1822" y="612"/>
                  <a:pt x="1815" y="615"/>
                </a:cubicBezTo>
                <a:cubicBezTo>
                  <a:pt x="1808" y="617"/>
                  <a:pt x="1804" y="607"/>
                  <a:pt x="1795" y="599"/>
                </a:cubicBezTo>
                <a:cubicBezTo>
                  <a:pt x="1795" y="599"/>
                  <a:pt x="1788" y="586"/>
                  <a:pt x="1789" y="579"/>
                </a:cubicBezTo>
                <a:cubicBezTo>
                  <a:pt x="1790" y="572"/>
                  <a:pt x="1794" y="573"/>
                  <a:pt x="1794" y="565"/>
                </a:cubicBezTo>
                <a:cubicBezTo>
                  <a:pt x="1794" y="565"/>
                  <a:pt x="1787" y="563"/>
                  <a:pt x="1785" y="566"/>
                </a:cubicBezTo>
                <a:cubicBezTo>
                  <a:pt x="1785" y="566"/>
                  <a:pt x="1785" y="560"/>
                  <a:pt x="1775" y="557"/>
                </a:cubicBezTo>
                <a:cubicBezTo>
                  <a:pt x="1766" y="554"/>
                  <a:pt x="1775" y="548"/>
                  <a:pt x="1769" y="544"/>
                </a:cubicBezTo>
                <a:cubicBezTo>
                  <a:pt x="1763" y="539"/>
                  <a:pt x="1763" y="532"/>
                  <a:pt x="1754" y="528"/>
                </a:cubicBezTo>
                <a:cubicBezTo>
                  <a:pt x="1754" y="528"/>
                  <a:pt x="1746" y="520"/>
                  <a:pt x="1741" y="519"/>
                </a:cubicBezTo>
                <a:cubicBezTo>
                  <a:pt x="1735" y="519"/>
                  <a:pt x="1735" y="521"/>
                  <a:pt x="1725" y="517"/>
                </a:cubicBezTo>
                <a:cubicBezTo>
                  <a:pt x="1716" y="513"/>
                  <a:pt x="1714" y="508"/>
                  <a:pt x="1706" y="505"/>
                </a:cubicBezTo>
                <a:cubicBezTo>
                  <a:pt x="1698" y="502"/>
                  <a:pt x="1688" y="496"/>
                  <a:pt x="1693" y="511"/>
                </a:cubicBezTo>
                <a:cubicBezTo>
                  <a:pt x="1698" y="526"/>
                  <a:pt x="1681" y="525"/>
                  <a:pt x="1681" y="525"/>
                </a:cubicBezTo>
                <a:cubicBezTo>
                  <a:pt x="1681" y="525"/>
                  <a:pt x="1692" y="529"/>
                  <a:pt x="1693" y="542"/>
                </a:cubicBezTo>
                <a:cubicBezTo>
                  <a:pt x="1691" y="543"/>
                  <a:pt x="1690" y="543"/>
                  <a:pt x="1688" y="544"/>
                </a:cubicBezTo>
                <a:cubicBezTo>
                  <a:pt x="1687" y="547"/>
                  <a:pt x="1687" y="548"/>
                  <a:pt x="1686" y="551"/>
                </a:cubicBezTo>
                <a:cubicBezTo>
                  <a:pt x="1683" y="551"/>
                  <a:pt x="1682" y="551"/>
                  <a:pt x="1679" y="552"/>
                </a:cubicBezTo>
                <a:cubicBezTo>
                  <a:pt x="1678" y="554"/>
                  <a:pt x="1677" y="556"/>
                  <a:pt x="1676" y="558"/>
                </a:cubicBezTo>
                <a:cubicBezTo>
                  <a:pt x="1681" y="563"/>
                  <a:pt x="1684" y="565"/>
                  <a:pt x="1689" y="569"/>
                </a:cubicBezTo>
                <a:cubicBezTo>
                  <a:pt x="1689" y="569"/>
                  <a:pt x="1696" y="583"/>
                  <a:pt x="1694" y="596"/>
                </a:cubicBezTo>
                <a:cubicBezTo>
                  <a:pt x="1692" y="609"/>
                  <a:pt x="1673" y="609"/>
                  <a:pt x="1673" y="609"/>
                </a:cubicBezTo>
                <a:cubicBezTo>
                  <a:pt x="1664" y="608"/>
                  <a:pt x="1660" y="608"/>
                  <a:pt x="1651" y="607"/>
                </a:cubicBezTo>
                <a:cubicBezTo>
                  <a:pt x="1651" y="611"/>
                  <a:pt x="1651" y="613"/>
                  <a:pt x="1651" y="617"/>
                </a:cubicBezTo>
                <a:cubicBezTo>
                  <a:pt x="1652" y="621"/>
                  <a:pt x="1653" y="624"/>
                  <a:pt x="1654" y="629"/>
                </a:cubicBezTo>
                <a:cubicBezTo>
                  <a:pt x="1654" y="634"/>
                  <a:pt x="1653" y="636"/>
                  <a:pt x="1653" y="641"/>
                </a:cubicBezTo>
                <a:cubicBezTo>
                  <a:pt x="1653" y="641"/>
                  <a:pt x="1656" y="653"/>
                  <a:pt x="1651" y="655"/>
                </a:cubicBezTo>
                <a:cubicBezTo>
                  <a:pt x="1646" y="657"/>
                  <a:pt x="1641" y="650"/>
                  <a:pt x="1641" y="650"/>
                </a:cubicBezTo>
                <a:cubicBezTo>
                  <a:pt x="1639" y="653"/>
                  <a:pt x="1638" y="654"/>
                  <a:pt x="1635" y="656"/>
                </a:cubicBezTo>
                <a:cubicBezTo>
                  <a:pt x="1633" y="653"/>
                  <a:pt x="1632" y="652"/>
                  <a:pt x="1629" y="648"/>
                </a:cubicBezTo>
                <a:cubicBezTo>
                  <a:pt x="1627" y="644"/>
                  <a:pt x="1626" y="643"/>
                  <a:pt x="1623" y="638"/>
                </a:cubicBezTo>
                <a:cubicBezTo>
                  <a:pt x="1627" y="638"/>
                  <a:pt x="1629" y="638"/>
                  <a:pt x="1633" y="638"/>
                </a:cubicBezTo>
                <a:cubicBezTo>
                  <a:pt x="1633" y="635"/>
                  <a:pt x="1633" y="633"/>
                  <a:pt x="1634" y="630"/>
                </a:cubicBezTo>
                <a:cubicBezTo>
                  <a:pt x="1628" y="625"/>
                  <a:pt x="1625" y="623"/>
                  <a:pt x="1619" y="618"/>
                </a:cubicBezTo>
                <a:cubicBezTo>
                  <a:pt x="1618" y="615"/>
                  <a:pt x="1618" y="613"/>
                  <a:pt x="1617" y="609"/>
                </a:cubicBezTo>
                <a:cubicBezTo>
                  <a:pt x="1617" y="609"/>
                  <a:pt x="1615" y="608"/>
                  <a:pt x="1621" y="598"/>
                </a:cubicBezTo>
                <a:cubicBezTo>
                  <a:pt x="1627" y="589"/>
                  <a:pt x="1610" y="583"/>
                  <a:pt x="1610" y="583"/>
                </a:cubicBezTo>
                <a:cubicBezTo>
                  <a:pt x="1610" y="583"/>
                  <a:pt x="1586" y="579"/>
                  <a:pt x="1579" y="570"/>
                </a:cubicBezTo>
                <a:cubicBezTo>
                  <a:pt x="1573" y="560"/>
                  <a:pt x="1561" y="562"/>
                  <a:pt x="1551" y="544"/>
                </a:cubicBezTo>
                <a:cubicBezTo>
                  <a:pt x="1540" y="525"/>
                  <a:pt x="1527" y="530"/>
                  <a:pt x="1527" y="530"/>
                </a:cubicBezTo>
                <a:cubicBezTo>
                  <a:pt x="1527" y="530"/>
                  <a:pt x="1524" y="522"/>
                  <a:pt x="1508" y="519"/>
                </a:cubicBezTo>
                <a:cubicBezTo>
                  <a:pt x="1492" y="515"/>
                  <a:pt x="1495" y="491"/>
                  <a:pt x="1495" y="491"/>
                </a:cubicBezTo>
                <a:cubicBezTo>
                  <a:pt x="1487" y="489"/>
                  <a:pt x="1484" y="487"/>
                  <a:pt x="1476" y="485"/>
                </a:cubicBezTo>
                <a:cubicBezTo>
                  <a:pt x="1476" y="485"/>
                  <a:pt x="1476" y="466"/>
                  <a:pt x="1489" y="459"/>
                </a:cubicBezTo>
                <a:cubicBezTo>
                  <a:pt x="1502" y="451"/>
                  <a:pt x="1528" y="436"/>
                  <a:pt x="1543" y="442"/>
                </a:cubicBezTo>
                <a:cubicBezTo>
                  <a:pt x="1545" y="438"/>
                  <a:pt x="1546" y="436"/>
                  <a:pt x="1548" y="433"/>
                </a:cubicBezTo>
                <a:cubicBezTo>
                  <a:pt x="1548" y="433"/>
                  <a:pt x="1551" y="436"/>
                  <a:pt x="1554" y="430"/>
                </a:cubicBezTo>
                <a:cubicBezTo>
                  <a:pt x="1554" y="430"/>
                  <a:pt x="1574" y="436"/>
                  <a:pt x="1580" y="432"/>
                </a:cubicBezTo>
                <a:cubicBezTo>
                  <a:pt x="1587" y="427"/>
                  <a:pt x="1598" y="429"/>
                  <a:pt x="1599" y="420"/>
                </a:cubicBezTo>
                <a:cubicBezTo>
                  <a:pt x="1599" y="420"/>
                  <a:pt x="1611" y="419"/>
                  <a:pt x="1614" y="413"/>
                </a:cubicBezTo>
                <a:cubicBezTo>
                  <a:pt x="1617" y="407"/>
                  <a:pt x="1606" y="409"/>
                  <a:pt x="1606" y="409"/>
                </a:cubicBezTo>
                <a:cubicBezTo>
                  <a:pt x="1606" y="409"/>
                  <a:pt x="1619" y="401"/>
                  <a:pt x="1622" y="414"/>
                </a:cubicBezTo>
                <a:cubicBezTo>
                  <a:pt x="1622" y="414"/>
                  <a:pt x="1625" y="418"/>
                  <a:pt x="1621" y="421"/>
                </a:cubicBezTo>
                <a:cubicBezTo>
                  <a:pt x="1618" y="424"/>
                  <a:pt x="1617" y="415"/>
                  <a:pt x="1610" y="421"/>
                </a:cubicBezTo>
                <a:cubicBezTo>
                  <a:pt x="1602" y="426"/>
                  <a:pt x="1601" y="435"/>
                  <a:pt x="1601" y="435"/>
                </a:cubicBezTo>
                <a:cubicBezTo>
                  <a:pt x="1601" y="435"/>
                  <a:pt x="1591" y="443"/>
                  <a:pt x="1588" y="443"/>
                </a:cubicBezTo>
                <a:cubicBezTo>
                  <a:pt x="1585" y="443"/>
                  <a:pt x="1591" y="454"/>
                  <a:pt x="1605" y="451"/>
                </a:cubicBezTo>
                <a:cubicBezTo>
                  <a:pt x="1605" y="451"/>
                  <a:pt x="1603" y="457"/>
                  <a:pt x="1607" y="461"/>
                </a:cubicBezTo>
                <a:cubicBezTo>
                  <a:pt x="1611" y="464"/>
                  <a:pt x="1626" y="458"/>
                  <a:pt x="1626" y="458"/>
                </a:cubicBezTo>
                <a:cubicBezTo>
                  <a:pt x="1626" y="458"/>
                  <a:pt x="1630" y="465"/>
                  <a:pt x="1632" y="456"/>
                </a:cubicBezTo>
                <a:cubicBezTo>
                  <a:pt x="1632" y="456"/>
                  <a:pt x="1638" y="454"/>
                  <a:pt x="1641" y="461"/>
                </a:cubicBezTo>
                <a:cubicBezTo>
                  <a:pt x="1645" y="467"/>
                  <a:pt x="1656" y="469"/>
                  <a:pt x="1656" y="469"/>
                </a:cubicBezTo>
                <a:cubicBezTo>
                  <a:pt x="1656" y="469"/>
                  <a:pt x="1657" y="479"/>
                  <a:pt x="1667" y="475"/>
                </a:cubicBezTo>
                <a:cubicBezTo>
                  <a:pt x="1672" y="473"/>
                  <a:pt x="1677" y="476"/>
                  <a:pt x="1677" y="476"/>
                </a:cubicBezTo>
                <a:cubicBezTo>
                  <a:pt x="1677" y="476"/>
                  <a:pt x="1673" y="461"/>
                  <a:pt x="1659" y="460"/>
                </a:cubicBezTo>
                <a:cubicBezTo>
                  <a:pt x="1659" y="460"/>
                  <a:pt x="1657" y="449"/>
                  <a:pt x="1651" y="447"/>
                </a:cubicBezTo>
                <a:cubicBezTo>
                  <a:pt x="1644" y="444"/>
                  <a:pt x="1641" y="438"/>
                  <a:pt x="1641" y="438"/>
                </a:cubicBezTo>
                <a:cubicBezTo>
                  <a:pt x="1641" y="438"/>
                  <a:pt x="1632" y="439"/>
                  <a:pt x="1628" y="423"/>
                </a:cubicBezTo>
                <a:cubicBezTo>
                  <a:pt x="1628" y="423"/>
                  <a:pt x="1637" y="438"/>
                  <a:pt x="1646" y="435"/>
                </a:cubicBezTo>
                <a:cubicBezTo>
                  <a:pt x="1646" y="435"/>
                  <a:pt x="1643" y="421"/>
                  <a:pt x="1637" y="417"/>
                </a:cubicBezTo>
                <a:cubicBezTo>
                  <a:pt x="1637" y="417"/>
                  <a:pt x="1645" y="420"/>
                  <a:pt x="1647" y="427"/>
                </a:cubicBezTo>
                <a:cubicBezTo>
                  <a:pt x="1648" y="425"/>
                  <a:pt x="1648" y="424"/>
                  <a:pt x="1650" y="421"/>
                </a:cubicBezTo>
                <a:cubicBezTo>
                  <a:pt x="1650" y="421"/>
                  <a:pt x="1663" y="427"/>
                  <a:pt x="1668" y="424"/>
                </a:cubicBezTo>
                <a:cubicBezTo>
                  <a:pt x="1668" y="424"/>
                  <a:pt x="1677" y="421"/>
                  <a:pt x="1670" y="411"/>
                </a:cubicBezTo>
                <a:cubicBezTo>
                  <a:pt x="1663" y="401"/>
                  <a:pt x="1660" y="392"/>
                  <a:pt x="1660" y="392"/>
                </a:cubicBezTo>
                <a:cubicBezTo>
                  <a:pt x="1660" y="392"/>
                  <a:pt x="1669" y="400"/>
                  <a:pt x="1677" y="397"/>
                </a:cubicBezTo>
                <a:cubicBezTo>
                  <a:pt x="1677" y="397"/>
                  <a:pt x="1678" y="386"/>
                  <a:pt x="1672" y="385"/>
                </a:cubicBezTo>
                <a:cubicBezTo>
                  <a:pt x="1668" y="384"/>
                  <a:pt x="1666" y="381"/>
                  <a:pt x="1665" y="379"/>
                </a:cubicBezTo>
                <a:cubicBezTo>
                  <a:pt x="1670" y="379"/>
                  <a:pt x="1673" y="380"/>
                  <a:pt x="1679" y="380"/>
                </a:cubicBezTo>
                <a:cubicBezTo>
                  <a:pt x="1682" y="383"/>
                  <a:pt x="1684" y="385"/>
                  <a:pt x="1687" y="388"/>
                </a:cubicBezTo>
                <a:cubicBezTo>
                  <a:pt x="1689" y="389"/>
                  <a:pt x="1690" y="390"/>
                  <a:pt x="1692" y="392"/>
                </a:cubicBezTo>
                <a:cubicBezTo>
                  <a:pt x="1698" y="391"/>
                  <a:pt x="1701" y="390"/>
                  <a:pt x="1707" y="390"/>
                </a:cubicBezTo>
                <a:cubicBezTo>
                  <a:pt x="1708" y="388"/>
                  <a:pt x="1709" y="387"/>
                  <a:pt x="1710" y="385"/>
                </a:cubicBezTo>
                <a:cubicBezTo>
                  <a:pt x="1714" y="388"/>
                  <a:pt x="1716" y="389"/>
                  <a:pt x="1720" y="392"/>
                </a:cubicBezTo>
                <a:cubicBezTo>
                  <a:pt x="1723" y="399"/>
                  <a:pt x="1725" y="402"/>
                  <a:pt x="1729" y="409"/>
                </a:cubicBezTo>
                <a:cubicBezTo>
                  <a:pt x="1734" y="412"/>
                  <a:pt x="1736" y="413"/>
                  <a:pt x="1742" y="416"/>
                </a:cubicBezTo>
                <a:cubicBezTo>
                  <a:pt x="1744" y="421"/>
                  <a:pt x="1745" y="423"/>
                  <a:pt x="1747" y="428"/>
                </a:cubicBezTo>
                <a:cubicBezTo>
                  <a:pt x="1750" y="430"/>
                  <a:pt x="1751" y="430"/>
                  <a:pt x="1753" y="432"/>
                </a:cubicBezTo>
                <a:cubicBezTo>
                  <a:pt x="1754" y="438"/>
                  <a:pt x="1754" y="441"/>
                  <a:pt x="1755" y="447"/>
                </a:cubicBezTo>
                <a:cubicBezTo>
                  <a:pt x="1760" y="446"/>
                  <a:pt x="1763" y="445"/>
                  <a:pt x="1767" y="444"/>
                </a:cubicBezTo>
                <a:cubicBezTo>
                  <a:pt x="1770" y="448"/>
                  <a:pt x="1771" y="449"/>
                  <a:pt x="1774" y="453"/>
                </a:cubicBezTo>
                <a:cubicBezTo>
                  <a:pt x="1774" y="457"/>
                  <a:pt x="1773" y="458"/>
                  <a:pt x="1773" y="462"/>
                </a:cubicBezTo>
                <a:cubicBezTo>
                  <a:pt x="1766" y="462"/>
                  <a:pt x="1762" y="462"/>
                  <a:pt x="1754" y="462"/>
                </a:cubicBezTo>
                <a:cubicBezTo>
                  <a:pt x="1752" y="465"/>
                  <a:pt x="1750" y="467"/>
                  <a:pt x="1747" y="471"/>
                </a:cubicBezTo>
                <a:cubicBezTo>
                  <a:pt x="1748" y="474"/>
                  <a:pt x="1749" y="476"/>
                  <a:pt x="1750" y="479"/>
                </a:cubicBezTo>
                <a:cubicBezTo>
                  <a:pt x="1741" y="474"/>
                  <a:pt x="1736" y="472"/>
                  <a:pt x="1727" y="467"/>
                </a:cubicBezTo>
                <a:cubicBezTo>
                  <a:pt x="1720" y="465"/>
                  <a:pt x="1716" y="464"/>
                  <a:pt x="1710" y="462"/>
                </a:cubicBezTo>
                <a:cubicBezTo>
                  <a:pt x="1706" y="463"/>
                  <a:pt x="1705" y="464"/>
                  <a:pt x="1701" y="465"/>
                </a:cubicBezTo>
                <a:cubicBezTo>
                  <a:pt x="1701" y="468"/>
                  <a:pt x="1701" y="469"/>
                  <a:pt x="1701" y="472"/>
                </a:cubicBezTo>
                <a:cubicBezTo>
                  <a:pt x="1705" y="475"/>
                  <a:pt x="1708" y="476"/>
                  <a:pt x="1713" y="479"/>
                </a:cubicBezTo>
                <a:cubicBezTo>
                  <a:pt x="1715" y="483"/>
                  <a:pt x="1715" y="484"/>
                  <a:pt x="1717" y="488"/>
                </a:cubicBezTo>
                <a:cubicBezTo>
                  <a:pt x="1722" y="488"/>
                  <a:pt x="1725" y="488"/>
                  <a:pt x="1730" y="489"/>
                </a:cubicBezTo>
                <a:cubicBezTo>
                  <a:pt x="1736" y="490"/>
                  <a:pt x="1739" y="491"/>
                  <a:pt x="1746" y="492"/>
                </a:cubicBezTo>
                <a:cubicBezTo>
                  <a:pt x="1750" y="497"/>
                  <a:pt x="1753" y="500"/>
                  <a:pt x="1758" y="505"/>
                </a:cubicBezTo>
                <a:cubicBezTo>
                  <a:pt x="1763" y="511"/>
                  <a:pt x="1765" y="513"/>
                  <a:pt x="1770" y="519"/>
                </a:cubicBezTo>
                <a:cubicBezTo>
                  <a:pt x="1771" y="521"/>
                  <a:pt x="1771" y="522"/>
                  <a:pt x="1772" y="524"/>
                </a:cubicBezTo>
                <a:cubicBezTo>
                  <a:pt x="1774" y="526"/>
                  <a:pt x="1774" y="526"/>
                  <a:pt x="1776" y="528"/>
                </a:cubicBezTo>
                <a:cubicBezTo>
                  <a:pt x="1777" y="531"/>
                  <a:pt x="1778" y="532"/>
                  <a:pt x="1779" y="535"/>
                </a:cubicBezTo>
                <a:cubicBezTo>
                  <a:pt x="1782" y="537"/>
                  <a:pt x="1783" y="539"/>
                  <a:pt x="1787" y="542"/>
                </a:cubicBezTo>
                <a:cubicBezTo>
                  <a:pt x="1790" y="540"/>
                  <a:pt x="1791" y="539"/>
                  <a:pt x="1795" y="538"/>
                </a:cubicBezTo>
                <a:cubicBezTo>
                  <a:pt x="1799" y="544"/>
                  <a:pt x="1801" y="547"/>
                  <a:pt x="1806" y="553"/>
                </a:cubicBezTo>
                <a:cubicBezTo>
                  <a:pt x="1812" y="557"/>
                  <a:pt x="1815" y="559"/>
                  <a:pt x="1821" y="563"/>
                </a:cubicBezTo>
                <a:cubicBezTo>
                  <a:pt x="1827" y="566"/>
                  <a:pt x="1830" y="568"/>
                  <a:pt x="1836" y="571"/>
                </a:cubicBezTo>
                <a:cubicBezTo>
                  <a:pt x="1833" y="566"/>
                  <a:pt x="1831" y="564"/>
                  <a:pt x="1828" y="560"/>
                </a:cubicBezTo>
                <a:cubicBezTo>
                  <a:pt x="1826" y="555"/>
                  <a:pt x="1824" y="553"/>
                  <a:pt x="1822" y="548"/>
                </a:cubicBezTo>
                <a:cubicBezTo>
                  <a:pt x="1817" y="543"/>
                  <a:pt x="1815" y="540"/>
                  <a:pt x="1810" y="536"/>
                </a:cubicBezTo>
                <a:cubicBezTo>
                  <a:pt x="1816" y="539"/>
                  <a:pt x="1819" y="540"/>
                  <a:pt x="1825" y="543"/>
                </a:cubicBezTo>
                <a:cubicBezTo>
                  <a:pt x="1826" y="548"/>
                  <a:pt x="1827" y="551"/>
                  <a:pt x="1828" y="556"/>
                </a:cubicBezTo>
                <a:cubicBezTo>
                  <a:pt x="1833" y="557"/>
                  <a:pt x="1836" y="558"/>
                  <a:pt x="1840" y="559"/>
                </a:cubicBezTo>
                <a:cubicBezTo>
                  <a:pt x="1842" y="563"/>
                  <a:pt x="1843" y="565"/>
                  <a:pt x="1844" y="568"/>
                </a:cubicBezTo>
                <a:cubicBezTo>
                  <a:pt x="1848" y="571"/>
                  <a:pt x="1850" y="572"/>
                  <a:pt x="1854" y="574"/>
                </a:cubicBezTo>
                <a:cubicBezTo>
                  <a:pt x="1852" y="570"/>
                  <a:pt x="1851" y="568"/>
                  <a:pt x="1849" y="564"/>
                </a:cubicBezTo>
                <a:cubicBezTo>
                  <a:pt x="1849" y="561"/>
                  <a:pt x="1849" y="560"/>
                  <a:pt x="1848" y="557"/>
                </a:cubicBezTo>
                <a:cubicBezTo>
                  <a:pt x="1852" y="556"/>
                  <a:pt x="1853" y="556"/>
                  <a:pt x="1856" y="556"/>
                </a:cubicBezTo>
                <a:cubicBezTo>
                  <a:pt x="1858" y="555"/>
                  <a:pt x="1859" y="554"/>
                  <a:pt x="1861" y="552"/>
                </a:cubicBezTo>
                <a:cubicBezTo>
                  <a:pt x="1858" y="551"/>
                  <a:pt x="1857" y="550"/>
                  <a:pt x="1854" y="549"/>
                </a:cubicBezTo>
                <a:cubicBezTo>
                  <a:pt x="1853" y="546"/>
                  <a:pt x="1852" y="545"/>
                  <a:pt x="1851" y="542"/>
                </a:cubicBezTo>
                <a:cubicBezTo>
                  <a:pt x="1850" y="541"/>
                  <a:pt x="1849" y="541"/>
                  <a:pt x="1847" y="540"/>
                </a:cubicBezTo>
                <a:cubicBezTo>
                  <a:pt x="1847" y="536"/>
                  <a:pt x="1847" y="535"/>
                  <a:pt x="1847" y="532"/>
                </a:cubicBezTo>
                <a:cubicBezTo>
                  <a:pt x="1842" y="529"/>
                  <a:pt x="1840" y="528"/>
                  <a:pt x="1836" y="526"/>
                </a:cubicBezTo>
                <a:cubicBezTo>
                  <a:pt x="1834" y="522"/>
                  <a:pt x="1832" y="520"/>
                  <a:pt x="1829" y="516"/>
                </a:cubicBezTo>
                <a:cubicBezTo>
                  <a:pt x="1828" y="512"/>
                  <a:pt x="1828" y="510"/>
                  <a:pt x="1827" y="506"/>
                </a:cubicBezTo>
                <a:cubicBezTo>
                  <a:pt x="1828" y="505"/>
                  <a:pt x="1828" y="504"/>
                  <a:pt x="1829" y="502"/>
                </a:cubicBezTo>
                <a:cubicBezTo>
                  <a:pt x="1833" y="504"/>
                  <a:pt x="1835" y="504"/>
                  <a:pt x="1838" y="506"/>
                </a:cubicBezTo>
                <a:cubicBezTo>
                  <a:pt x="1840" y="509"/>
                  <a:pt x="1841" y="510"/>
                  <a:pt x="1843" y="513"/>
                </a:cubicBezTo>
                <a:cubicBezTo>
                  <a:pt x="1845" y="516"/>
                  <a:pt x="1846" y="517"/>
                  <a:pt x="1848" y="519"/>
                </a:cubicBezTo>
                <a:cubicBezTo>
                  <a:pt x="1849" y="523"/>
                  <a:pt x="1850" y="525"/>
                  <a:pt x="1851" y="529"/>
                </a:cubicBezTo>
                <a:cubicBezTo>
                  <a:pt x="1853" y="531"/>
                  <a:pt x="1854" y="532"/>
                  <a:pt x="1856" y="533"/>
                </a:cubicBezTo>
                <a:cubicBezTo>
                  <a:pt x="1858" y="535"/>
                  <a:pt x="1859" y="535"/>
                  <a:pt x="1862" y="537"/>
                </a:cubicBezTo>
                <a:cubicBezTo>
                  <a:pt x="1863" y="538"/>
                  <a:pt x="1864" y="539"/>
                  <a:pt x="1866" y="541"/>
                </a:cubicBezTo>
                <a:cubicBezTo>
                  <a:pt x="1868" y="538"/>
                  <a:pt x="1869" y="537"/>
                  <a:pt x="1871" y="534"/>
                </a:cubicBezTo>
                <a:cubicBezTo>
                  <a:pt x="1874" y="536"/>
                  <a:pt x="1876" y="536"/>
                  <a:pt x="1879" y="538"/>
                </a:cubicBezTo>
                <a:cubicBezTo>
                  <a:pt x="1879" y="538"/>
                  <a:pt x="1883" y="537"/>
                  <a:pt x="1884" y="530"/>
                </a:cubicBezTo>
                <a:cubicBezTo>
                  <a:pt x="1884" y="530"/>
                  <a:pt x="1893" y="534"/>
                  <a:pt x="1893" y="529"/>
                </a:cubicBezTo>
                <a:cubicBezTo>
                  <a:pt x="1894" y="524"/>
                  <a:pt x="1881" y="512"/>
                  <a:pt x="1876" y="512"/>
                </a:cubicBezTo>
                <a:cubicBezTo>
                  <a:pt x="1876" y="512"/>
                  <a:pt x="1872" y="501"/>
                  <a:pt x="1867" y="504"/>
                </a:cubicBezTo>
                <a:cubicBezTo>
                  <a:pt x="1867" y="504"/>
                  <a:pt x="1867" y="498"/>
                  <a:pt x="1860" y="495"/>
                </a:cubicBezTo>
                <a:cubicBezTo>
                  <a:pt x="1852" y="491"/>
                  <a:pt x="1859" y="488"/>
                  <a:pt x="1843" y="480"/>
                </a:cubicBezTo>
                <a:cubicBezTo>
                  <a:pt x="1827" y="472"/>
                  <a:pt x="1830" y="462"/>
                  <a:pt x="1830" y="462"/>
                </a:cubicBezTo>
                <a:cubicBezTo>
                  <a:pt x="1834" y="463"/>
                  <a:pt x="1836" y="464"/>
                  <a:pt x="1839" y="465"/>
                </a:cubicBezTo>
                <a:cubicBezTo>
                  <a:pt x="1838" y="461"/>
                  <a:pt x="1838" y="460"/>
                  <a:pt x="1836" y="456"/>
                </a:cubicBezTo>
                <a:cubicBezTo>
                  <a:pt x="1836" y="453"/>
                  <a:pt x="1835" y="451"/>
                  <a:pt x="1834" y="448"/>
                </a:cubicBezTo>
                <a:cubicBezTo>
                  <a:pt x="1830" y="445"/>
                  <a:pt x="1828" y="443"/>
                  <a:pt x="1825" y="440"/>
                </a:cubicBezTo>
                <a:cubicBezTo>
                  <a:pt x="1824" y="437"/>
                  <a:pt x="1823" y="436"/>
                  <a:pt x="1822" y="433"/>
                </a:cubicBezTo>
                <a:cubicBezTo>
                  <a:pt x="1820" y="431"/>
                  <a:pt x="1819" y="430"/>
                  <a:pt x="1817" y="427"/>
                </a:cubicBezTo>
                <a:cubicBezTo>
                  <a:pt x="1811" y="425"/>
                  <a:pt x="1808" y="423"/>
                  <a:pt x="1803" y="420"/>
                </a:cubicBezTo>
                <a:cubicBezTo>
                  <a:pt x="1802" y="419"/>
                  <a:pt x="1802" y="417"/>
                  <a:pt x="1801" y="416"/>
                </a:cubicBezTo>
                <a:cubicBezTo>
                  <a:pt x="1801" y="416"/>
                  <a:pt x="1794" y="412"/>
                  <a:pt x="1792" y="406"/>
                </a:cubicBezTo>
                <a:cubicBezTo>
                  <a:pt x="1789" y="400"/>
                  <a:pt x="1774" y="393"/>
                  <a:pt x="1771" y="396"/>
                </a:cubicBezTo>
                <a:cubicBezTo>
                  <a:pt x="1769" y="392"/>
                  <a:pt x="1768" y="390"/>
                  <a:pt x="1766" y="385"/>
                </a:cubicBezTo>
                <a:cubicBezTo>
                  <a:pt x="1763" y="383"/>
                  <a:pt x="1761" y="382"/>
                  <a:pt x="1758" y="380"/>
                </a:cubicBezTo>
                <a:cubicBezTo>
                  <a:pt x="1757" y="376"/>
                  <a:pt x="1756" y="375"/>
                  <a:pt x="1754" y="371"/>
                </a:cubicBezTo>
                <a:cubicBezTo>
                  <a:pt x="1750" y="370"/>
                  <a:pt x="1749" y="369"/>
                  <a:pt x="1745" y="367"/>
                </a:cubicBezTo>
                <a:cubicBezTo>
                  <a:pt x="1743" y="365"/>
                  <a:pt x="1741" y="364"/>
                  <a:pt x="1739" y="361"/>
                </a:cubicBezTo>
                <a:cubicBezTo>
                  <a:pt x="1741" y="360"/>
                  <a:pt x="1742" y="360"/>
                  <a:pt x="1744" y="359"/>
                </a:cubicBezTo>
                <a:cubicBezTo>
                  <a:pt x="1740" y="355"/>
                  <a:pt x="1739" y="352"/>
                  <a:pt x="1735" y="348"/>
                </a:cubicBezTo>
                <a:cubicBezTo>
                  <a:pt x="1730" y="345"/>
                  <a:pt x="1727" y="344"/>
                  <a:pt x="1722" y="341"/>
                </a:cubicBezTo>
                <a:cubicBezTo>
                  <a:pt x="1717" y="339"/>
                  <a:pt x="1715" y="338"/>
                  <a:pt x="1710" y="336"/>
                </a:cubicBezTo>
                <a:cubicBezTo>
                  <a:pt x="1704" y="332"/>
                  <a:pt x="1701" y="331"/>
                  <a:pt x="1695" y="328"/>
                </a:cubicBezTo>
                <a:cubicBezTo>
                  <a:pt x="1695" y="329"/>
                  <a:pt x="1695" y="330"/>
                  <a:pt x="1694" y="332"/>
                </a:cubicBezTo>
                <a:cubicBezTo>
                  <a:pt x="1697" y="336"/>
                  <a:pt x="1699" y="339"/>
                  <a:pt x="1702" y="343"/>
                </a:cubicBezTo>
                <a:cubicBezTo>
                  <a:pt x="1706" y="346"/>
                  <a:pt x="1708" y="347"/>
                  <a:pt x="1711" y="349"/>
                </a:cubicBezTo>
                <a:cubicBezTo>
                  <a:pt x="1716" y="351"/>
                  <a:pt x="1718" y="353"/>
                  <a:pt x="1722" y="354"/>
                </a:cubicBezTo>
                <a:cubicBezTo>
                  <a:pt x="1718" y="354"/>
                  <a:pt x="1716" y="354"/>
                  <a:pt x="1712" y="354"/>
                </a:cubicBezTo>
                <a:cubicBezTo>
                  <a:pt x="1707" y="351"/>
                  <a:pt x="1705" y="350"/>
                  <a:pt x="1700" y="347"/>
                </a:cubicBezTo>
                <a:cubicBezTo>
                  <a:pt x="1700" y="347"/>
                  <a:pt x="1697" y="353"/>
                  <a:pt x="1688" y="349"/>
                </a:cubicBezTo>
                <a:cubicBezTo>
                  <a:pt x="1688" y="349"/>
                  <a:pt x="1697" y="350"/>
                  <a:pt x="1696" y="340"/>
                </a:cubicBezTo>
                <a:cubicBezTo>
                  <a:pt x="1694" y="334"/>
                  <a:pt x="1693" y="331"/>
                  <a:pt x="1691" y="326"/>
                </a:cubicBezTo>
                <a:cubicBezTo>
                  <a:pt x="1684" y="323"/>
                  <a:pt x="1680" y="321"/>
                  <a:pt x="1674" y="319"/>
                </a:cubicBezTo>
                <a:cubicBezTo>
                  <a:pt x="1668" y="318"/>
                  <a:pt x="1665" y="318"/>
                  <a:pt x="1660" y="317"/>
                </a:cubicBezTo>
                <a:cubicBezTo>
                  <a:pt x="1655" y="316"/>
                  <a:pt x="1652" y="316"/>
                  <a:pt x="1648" y="315"/>
                </a:cubicBezTo>
                <a:cubicBezTo>
                  <a:pt x="1644" y="316"/>
                  <a:pt x="1643" y="317"/>
                  <a:pt x="1639" y="317"/>
                </a:cubicBezTo>
                <a:cubicBezTo>
                  <a:pt x="1638" y="321"/>
                  <a:pt x="1638" y="322"/>
                  <a:pt x="1637" y="325"/>
                </a:cubicBezTo>
                <a:cubicBezTo>
                  <a:pt x="1641" y="328"/>
                  <a:pt x="1642" y="329"/>
                  <a:pt x="1646" y="331"/>
                </a:cubicBezTo>
                <a:cubicBezTo>
                  <a:pt x="1641" y="330"/>
                  <a:pt x="1638" y="329"/>
                  <a:pt x="1633" y="328"/>
                </a:cubicBezTo>
                <a:cubicBezTo>
                  <a:pt x="1633" y="328"/>
                  <a:pt x="1634" y="336"/>
                  <a:pt x="1641" y="338"/>
                </a:cubicBezTo>
                <a:cubicBezTo>
                  <a:pt x="1641" y="338"/>
                  <a:pt x="1625" y="335"/>
                  <a:pt x="1628" y="324"/>
                </a:cubicBezTo>
                <a:cubicBezTo>
                  <a:pt x="1630" y="313"/>
                  <a:pt x="1627" y="313"/>
                  <a:pt x="1627" y="313"/>
                </a:cubicBezTo>
                <a:cubicBezTo>
                  <a:pt x="1627" y="313"/>
                  <a:pt x="1640" y="307"/>
                  <a:pt x="1651" y="309"/>
                </a:cubicBezTo>
                <a:cubicBezTo>
                  <a:pt x="1651" y="309"/>
                  <a:pt x="1637" y="300"/>
                  <a:pt x="1625" y="300"/>
                </a:cubicBezTo>
                <a:cubicBezTo>
                  <a:pt x="1614" y="301"/>
                  <a:pt x="1604" y="297"/>
                  <a:pt x="1593" y="305"/>
                </a:cubicBezTo>
                <a:cubicBezTo>
                  <a:pt x="1582" y="312"/>
                  <a:pt x="1585" y="323"/>
                  <a:pt x="1585" y="323"/>
                </a:cubicBezTo>
                <a:cubicBezTo>
                  <a:pt x="1594" y="327"/>
                  <a:pt x="1598" y="329"/>
                  <a:pt x="1607" y="334"/>
                </a:cubicBezTo>
                <a:cubicBezTo>
                  <a:pt x="1599" y="332"/>
                  <a:pt x="1595" y="332"/>
                  <a:pt x="1587" y="330"/>
                </a:cubicBezTo>
                <a:cubicBezTo>
                  <a:pt x="1587" y="330"/>
                  <a:pt x="1590" y="345"/>
                  <a:pt x="1607" y="345"/>
                </a:cubicBezTo>
                <a:cubicBezTo>
                  <a:pt x="1607" y="345"/>
                  <a:pt x="1607" y="353"/>
                  <a:pt x="1615" y="355"/>
                </a:cubicBezTo>
                <a:cubicBezTo>
                  <a:pt x="1623" y="358"/>
                  <a:pt x="1624" y="356"/>
                  <a:pt x="1630" y="367"/>
                </a:cubicBezTo>
                <a:cubicBezTo>
                  <a:pt x="1630" y="367"/>
                  <a:pt x="1621" y="388"/>
                  <a:pt x="1615" y="387"/>
                </a:cubicBezTo>
                <a:cubicBezTo>
                  <a:pt x="1615" y="387"/>
                  <a:pt x="1614" y="378"/>
                  <a:pt x="1609" y="378"/>
                </a:cubicBezTo>
                <a:cubicBezTo>
                  <a:pt x="1603" y="377"/>
                  <a:pt x="1605" y="391"/>
                  <a:pt x="1610" y="390"/>
                </a:cubicBezTo>
                <a:cubicBezTo>
                  <a:pt x="1610" y="390"/>
                  <a:pt x="1596" y="393"/>
                  <a:pt x="1592" y="381"/>
                </a:cubicBezTo>
                <a:cubicBezTo>
                  <a:pt x="1589" y="368"/>
                  <a:pt x="1604" y="381"/>
                  <a:pt x="1599" y="366"/>
                </a:cubicBezTo>
                <a:cubicBezTo>
                  <a:pt x="1599" y="366"/>
                  <a:pt x="1591" y="362"/>
                  <a:pt x="1587" y="355"/>
                </a:cubicBezTo>
                <a:cubicBezTo>
                  <a:pt x="1584" y="348"/>
                  <a:pt x="1573" y="354"/>
                  <a:pt x="1571" y="365"/>
                </a:cubicBezTo>
                <a:cubicBezTo>
                  <a:pt x="1571" y="365"/>
                  <a:pt x="1563" y="362"/>
                  <a:pt x="1571" y="353"/>
                </a:cubicBezTo>
                <a:cubicBezTo>
                  <a:pt x="1578" y="345"/>
                  <a:pt x="1565" y="344"/>
                  <a:pt x="1565" y="344"/>
                </a:cubicBezTo>
                <a:cubicBezTo>
                  <a:pt x="1563" y="342"/>
                  <a:pt x="1561" y="341"/>
                  <a:pt x="1558" y="339"/>
                </a:cubicBezTo>
                <a:cubicBezTo>
                  <a:pt x="1558" y="339"/>
                  <a:pt x="1552" y="341"/>
                  <a:pt x="1550" y="336"/>
                </a:cubicBezTo>
                <a:cubicBezTo>
                  <a:pt x="1548" y="332"/>
                  <a:pt x="1559" y="329"/>
                  <a:pt x="1559" y="329"/>
                </a:cubicBezTo>
                <a:cubicBezTo>
                  <a:pt x="1554" y="325"/>
                  <a:pt x="1552" y="322"/>
                  <a:pt x="1547" y="318"/>
                </a:cubicBezTo>
                <a:cubicBezTo>
                  <a:pt x="1547" y="318"/>
                  <a:pt x="1548" y="310"/>
                  <a:pt x="1537" y="301"/>
                </a:cubicBezTo>
                <a:cubicBezTo>
                  <a:pt x="1537" y="301"/>
                  <a:pt x="1546" y="300"/>
                  <a:pt x="1548" y="294"/>
                </a:cubicBezTo>
                <a:cubicBezTo>
                  <a:pt x="1550" y="289"/>
                  <a:pt x="1553" y="289"/>
                  <a:pt x="1554" y="295"/>
                </a:cubicBezTo>
                <a:cubicBezTo>
                  <a:pt x="1560" y="296"/>
                  <a:pt x="1563" y="296"/>
                  <a:pt x="1568" y="296"/>
                </a:cubicBezTo>
                <a:cubicBezTo>
                  <a:pt x="1568" y="296"/>
                  <a:pt x="1587" y="285"/>
                  <a:pt x="1594" y="287"/>
                </a:cubicBezTo>
                <a:cubicBezTo>
                  <a:pt x="1594" y="287"/>
                  <a:pt x="1595" y="282"/>
                  <a:pt x="1584" y="284"/>
                </a:cubicBezTo>
                <a:cubicBezTo>
                  <a:pt x="1573" y="285"/>
                  <a:pt x="1567" y="276"/>
                  <a:pt x="1567" y="276"/>
                </a:cubicBezTo>
                <a:cubicBezTo>
                  <a:pt x="1567" y="276"/>
                  <a:pt x="1537" y="265"/>
                  <a:pt x="1531" y="267"/>
                </a:cubicBezTo>
                <a:cubicBezTo>
                  <a:pt x="1524" y="268"/>
                  <a:pt x="1518" y="277"/>
                  <a:pt x="1518" y="277"/>
                </a:cubicBezTo>
                <a:cubicBezTo>
                  <a:pt x="1521" y="281"/>
                  <a:pt x="1522" y="283"/>
                  <a:pt x="1524" y="286"/>
                </a:cubicBezTo>
                <a:cubicBezTo>
                  <a:pt x="1523" y="289"/>
                  <a:pt x="1523" y="291"/>
                  <a:pt x="1522" y="294"/>
                </a:cubicBezTo>
                <a:cubicBezTo>
                  <a:pt x="1518" y="295"/>
                  <a:pt x="1515" y="296"/>
                  <a:pt x="1510" y="297"/>
                </a:cubicBezTo>
                <a:cubicBezTo>
                  <a:pt x="1509" y="295"/>
                  <a:pt x="1509" y="293"/>
                  <a:pt x="1508" y="291"/>
                </a:cubicBezTo>
                <a:cubicBezTo>
                  <a:pt x="1509" y="288"/>
                  <a:pt x="1510" y="287"/>
                  <a:pt x="1511" y="284"/>
                </a:cubicBezTo>
                <a:cubicBezTo>
                  <a:pt x="1511" y="278"/>
                  <a:pt x="1511" y="275"/>
                  <a:pt x="1511" y="270"/>
                </a:cubicBezTo>
                <a:cubicBezTo>
                  <a:pt x="1506" y="266"/>
                  <a:pt x="1504" y="264"/>
                  <a:pt x="1500" y="260"/>
                </a:cubicBezTo>
                <a:cubicBezTo>
                  <a:pt x="1499" y="259"/>
                  <a:pt x="1498" y="258"/>
                  <a:pt x="1497" y="257"/>
                </a:cubicBezTo>
                <a:cubicBezTo>
                  <a:pt x="1490" y="256"/>
                  <a:pt x="1486" y="256"/>
                  <a:pt x="1479" y="255"/>
                </a:cubicBezTo>
                <a:cubicBezTo>
                  <a:pt x="1473" y="253"/>
                  <a:pt x="1471" y="252"/>
                  <a:pt x="1466" y="251"/>
                </a:cubicBezTo>
                <a:cubicBezTo>
                  <a:pt x="1461" y="252"/>
                  <a:pt x="1458" y="253"/>
                  <a:pt x="1453" y="254"/>
                </a:cubicBezTo>
                <a:cubicBezTo>
                  <a:pt x="1457" y="256"/>
                  <a:pt x="1459" y="258"/>
                  <a:pt x="1462" y="260"/>
                </a:cubicBezTo>
                <a:cubicBezTo>
                  <a:pt x="1462" y="262"/>
                  <a:pt x="1462" y="263"/>
                  <a:pt x="1462" y="266"/>
                </a:cubicBezTo>
                <a:cubicBezTo>
                  <a:pt x="1457" y="263"/>
                  <a:pt x="1454" y="261"/>
                  <a:pt x="1449" y="259"/>
                </a:cubicBezTo>
                <a:cubicBezTo>
                  <a:pt x="1445" y="259"/>
                  <a:pt x="1443" y="259"/>
                  <a:pt x="1439" y="259"/>
                </a:cubicBezTo>
                <a:cubicBezTo>
                  <a:pt x="1437" y="260"/>
                  <a:pt x="1436" y="260"/>
                  <a:pt x="1434" y="261"/>
                </a:cubicBezTo>
                <a:cubicBezTo>
                  <a:pt x="1440" y="265"/>
                  <a:pt x="1443" y="267"/>
                  <a:pt x="1449" y="272"/>
                </a:cubicBezTo>
                <a:cubicBezTo>
                  <a:pt x="1454" y="275"/>
                  <a:pt x="1457" y="276"/>
                  <a:pt x="1462" y="279"/>
                </a:cubicBezTo>
                <a:cubicBezTo>
                  <a:pt x="1465" y="283"/>
                  <a:pt x="1466" y="286"/>
                  <a:pt x="1469" y="290"/>
                </a:cubicBezTo>
                <a:cubicBezTo>
                  <a:pt x="1474" y="292"/>
                  <a:pt x="1477" y="293"/>
                  <a:pt x="1483" y="296"/>
                </a:cubicBezTo>
                <a:cubicBezTo>
                  <a:pt x="1488" y="295"/>
                  <a:pt x="1490" y="295"/>
                  <a:pt x="1495" y="294"/>
                </a:cubicBezTo>
                <a:cubicBezTo>
                  <a:pt x="1498" y="297"/>
                  <a:pt x="1500" y="297"/>
                  <a:pt x="1503" y="300"/>
                </a:cubicBezTo>
                <a:cubicBezTo>
                  <a:pt x="1502" y="304"/>
                  <a:pt x="1501" y="305"/>
                  <a:pt x="1500" y="310"/>
                </a:cubicBezTo>
                <a:cubicBezTo>
                  <a:pt x="1500" y="310"/>
                  <a:pt x="1505" y="315"/>
                  <a:pt x="1501" y="324"/>
                </a:cubicBezTo>
                <a:cubicBezTo>
                  <a:pt x="1496" y="332"/>
                  <a:pt x="1491" y="317"/>
                  <a:pt x="1491" y="317"/>
                </a:cubicBezTo>
                <a:cubicBezTo>
                  <a:pt x="1491" y="317"/>
                  <a:pt x="1485" y="311"/>
                  <a:pt x="1477" y="316"/>
                </a:cubicBezTo>
                <a:cubicBezTo>
                  <a:pt x="1468" y="321"/>
                  <a:pt x="1467" y="324"/>
                  <a:pt x="1467" y="324"/>
                </a:cubicBezTo>
                <a:cubicBezTo>
                  <a:pt x="1470" y="327"/>
                  <a:pt x="1472" y="329"/>
                  <a:pt x="1475" y="332"/>
                </a:cubicBezTo>
                <a:cubicBezTo>
                  <a:pt x="1475" y="332"/>
                  <a:pt x="1467" y="332"/>
                  <a:pt x="1464" y="335"/>
                </a:cubicBezTo>
                <a:cubicBezTo>
                  <a:pt x="1460" y="337"/>
                  <a:pt x="1450" y="338"/>
                  <a:pt x="1432" y="334"/>
                </a:cubicBezTo>
                <a:cubicBezTo>
                  <a:pt x="1414" y="330"/>
                  <a:pt x="1394" y="314"/>
                  <a:pt x="1394" y="314"/>
                </a:cubicBezTo>
                <a:cubicBezTo>
                  <a:pt x="1383" y="304"/>
                  <a:pt x="1373" y="299"/>
                  <a:pt x="1364" y="304"/>
                </a:cubicBezTo>
                <a:cubicBezTo>
                  <a:pt x="1355" y="308"/>
                  <a:pt x="1351" y="301"/>
                  <a:pt x="1344" y="307"/>
                </a:cubicBezTo>
                <a:cubicBezTo>
                  <a:pt x="1337" y="312"/>
                  <a:pt x="1357" y="314"/>
                  <a:pt x="1350" y="334"/>
                </a:cubicBezTo>
                <a:cubicBezTo>
                  <a:pt x="1350" y="334"/>
                  <a:pt x="1352" y="318"/>
                  <a:pt x="1339" y="317"/>
                </a:cubicBezTo>
                <a:cubicBezTo>
                  <a:pt x="1339" y="317"/>
                  <a:pt x="1333" y="311"/>
                  <a:pt x="1326" y="312"/>
                </a:cubicBezTo>
                <a:cubicBezTo>
                  <a:pt x="1326" y="312"/>
                  <a:pt x="1327" y="307"/>
                  <a:pt x="1321" y="305"/>
                </a:cubicBezTo>
                <a:cubicBezTo>
                  <a:pt x="1315" y="305"/>
                  <a:pt x="1305" y="313"/>
                  <a:pt x="1296" y="310"/>
                </a:cubicBezTo>
                <a:cubicBezTo>
                  <a:pt x="1272" y="303"/>
                  <a:pt x="1259" y="298"/>
                  <a:pt x="1259" y="298"/>
                </a:cubicBezTo>
                <a:cubicBezTo>
                  <a:pt x="1268" y="297"/>
                  <a:pt x="1272" y="297"/>
                  <a:pt x="1281" y="296"/>
                </a:cubicBezTo>
                <a:cubicBezTo>
                  <a:pt x="1281" y="296"/>
                  <a:pt x="1276" y="285"/>
                  <a:pt x="1262" y="283"/>
                </a:cubicBezTo>
                <a:cubicBezTo>
                  <a:pt x="1249" y="281"/>
                  <a:pt x="1227" y="277"/>
                  <a:pt x="1227" y="277"/>
                </a:cubicBezTo>
                <a:cubicBezTo>
                  <a:pt x="1227" y="277"/>
                  <a:pt x="1229" y="273"/>
                  <a:pt x="1214" y="272"/>
                </a:cubicBezTo>
                <a:cubicBezTo>
                  <a:pt x="1210" y="270"/>
                  <a:pt x="1208" y="269"/>
                  <a:pt x="1205" y="267"/>
                </a:cubicBezTo>
                <a:cubicBezTo>
                  <a:pt x="1200" y="265"/>
                  <a:pt x="1197" y="265"/>
                  <a:pt x="1192" y="263"/>
                </a:cubicBezTo>
                <a:cubicBezTo>
                  <a:pt x="1192" y="263"/>
                  <a:pt x="1176" y="259"/>
                  <a:pt x="1171" y="267"/>
                </a:cubicBezTo>
                <a:cubicBezTo>
                  <a:pt x="1167" y="266"/>
                  <a:pt x="1166" y="266"/>
                  <a:pt x="1162" y="265"/>
                </a:cubicBezTo>
                <a:cubicBezTo>
                  <a:pt x="1163" y="261"/>
                  <a:pt x="1164" y="259"/>
                  <a:pt x="1165" y="256"/>
                </a:cubicBezTo>
                <a:cubicBezTo>
                  <a:pt x="1162" y="255"/>
                  <a:pt x="1161" y="255"/>
                  <a:pt x="1158" y="254"/>
                </a:cubicBezTo>
                <a:cubicBezTo>
                  <a:pt x="1155" y="255"/>
                  <a:pt x="1154" y="256"/>
                  <a:pt x="1152" y="256"/>
                </a:cubicBezTo>
                <a:cubicBezTo>
                  <a:pt x="1152" y="256"/>
                  <a:pt x="1148" y="264"/>
                  <a:pt x="1143" y="263"/>
                </a:cubicBezTo>
                <a:cubicBezTo>
                  <a:pt x="1138" y="263"/>
                  <a:pt x="1130" y="248"/>
                  <a:pt x="1130" y="248"/>
                </a:cubicBezTo>
                <a:cubicBezTo>
                  <a:pt x="1130" y="248"/>
                  <a:pt x="1122" y="245"/>
                  <a:pt x="1116" y="249"/>
                </a:cubicBezTo>
                <a:cubicBezTo>
                  <a:pt x="1111" y="254"/>
                  <a:pt x="1105" y="254"/>
                  <a:pt x="1105" y="254"/>
                </a:cubicBezTo>
                <a:cubicBezTo>
                  <a:pt x="1105" y="253"/>
                  <a:pt x="1105" y="251"/>
                  <a:pt x="1104" y="249"/>
                </a:cubicBezTo>
                <a:cubicBezTo>
                  <a:pt x="1098" y="250"/>
                  <a:pt x="1094" y="250"/>
                  <a:pt x="1087" y="250"/>
                </a:cubicBezTo>
                <a:cubicBezTo>
                  <a:pt x="1084" y="250"/>
                  <a:pt x="1082" y="251"/>
                  <a:pt x="1078" y="251"/>
                </a:cubicBezTo>
                <a:cubicBezTo>
                  <a:pt x="1073" y="253"/>
                  <a:pt x="1070" y="253"/>
                  <a:pt x="1065" y="255"/>
                </a:cubicBezTo>
                <a:cubicBezTo>
                  <a:pt x="1061" y="256"/>
                  <a:pt x="1058" y="256"/>
                  <a:pt x="1054" y="256"/>
                </a:cubicBezTo>
                <a:cubicBezTo>
                  <a:pt x="1054" y="256"/>
                  <a:pt x="1050" y="254"/>
                  <a:pt x="1045" y="254"/>
                </a:cubicBezTo>
                <a:cubicBezTo>
                  <a:pt x="1039" y="254"/>
                  <a:pt x="1027" y="257"/>
                  <a:pt x="1019" y="257"/>
                </a:cubicBezTo>
                <a:cubicBezTo>
                  <a:pt x="1010" y="257"/>
                  <a:pt x="997" y="266"/>
                  <a:pt x="997" y="266"/>
                </a:cubicBezTo>
                <a:cubicBezTo>
                  <a:pt x="995" y="263"/>
                  <a:pt x="993" y="262"/>
                  <a:pt x="991" y="259"/>
                </a:cubicBezTo>
                <a:cubicBezTo>
                  <a:pt x="989" y="258"/>
                  <a:pt x="988" y="258"/>
                  <a:pt x="985" y="257"/>
                </a:cubicBezTo>
                <a:cubicBezTo>
                  <a:pt x="978" y="257"/>
                  <a:pt x="975" y="257"/>
                  <a:pt x="969" y="257"/>
                </a:cubicBezTo>
                <a:cubicBezTo>
                  <a:pt x="969" y="257"/>
                  <a:pt x="959" y="257"/>
                  <a:pt x="953" y="255"/>
                </a:cubicBezTo>
                <a:cubicBezTo>
                  <a:pt x="946" y="253"/>
                  <a:pt x="941" y="254"/>
                  <a:pt x="931" y="255"/>
                </a:cubicBezTo>
                <a:cubicBezTo>
                  <a:pt x="921" y="256"/>
                  <a:pt x="909" y="254"/>
                  <a:pt x="909" y="254"/>
                </a:cubicBezTo>
                <a:cubicBezTo>
                  <a:pt x="909" y="254"/>
                  <a:pt x="902" y="255"/>
                  <a:pt x="897" y="252"/>
                </a:cubicBezTo>
                <a:cubicBezTo>
                  <a:pt x="892" y="248"/>
                  <a:pt x="848" y="258"/>
                  <a:pt x="848" y="258"/>
                </a:cubicBezTo>
                <a:cubicBezTo>
                  <a:pt x="848" y="256"/>
                  <a:pt x="847" y="256"/>
                  <a:pt x="847" y="254"/>
                </a:cubicBezTo>
                <a:cubicBezTo>
                  <a:pt x="837" y="255"/>
                  <a:pt x="832" y="256"/>
                  <a:pt x="823" y="257"/>
                </a:cubicBezTo>
                <a:cubicBezTo>
                  <a:pt x="822" y="256"/>
                  <a:pt x="821" y="255"/>
                  <a:pt x="820" y="254"/>
                </a:cubicBezTo>
                <a:cubicBezTo>
                  <a:pt x="813" y="255"/>
                  <a:pt x="809" y="255"/>
                  <a:pt x="801" y="256"/>
                </a:cubicBezTo>
                <a:cubicBezTo>
                  <a:pt x="797" y="258"/>
                  <a:pt x="795" y="259"/>
                  <a:pt x="790" y="261"/>
                </a:cubicBezTo>
                <a:cubicBezTo>
                  <a:pt x="784" y="262"/>
                  <a:pt x="781" y="262"/>
                  <a:pt x="774" y="263"/>
                </a:cubicBezTo>
                <a:cubicBezTo>
                  <a:pt x="768" y="265"/>
                  <a:pt x="765" y="266"/>
                  <a:pt x="759" y="268"/>
                </a:cubicBezTo>
                <a:cubicBezTo>
                  <a:pt x="756" y="270"/>
                  <a:pt x="754" y="271"/>
                  <a:pt x="751" y="273"/>
                </a:cubicBezTo>
                <a:cubicBezTo>
                  <a:pt x="750" y="273"/>
                  <a:pt x="748" y="273"/>
                  <a:pt x="747" y="273"/>
                </a:cubicBezTo>
                <a:cubicBezTo>
                  <a:pt x="984" y="153"/>
                  <a:pt x="1265" y="116"/>
                  <a:pt x="1541" y="188"/>
                </a:cubicBezTo>
                <a:cubicBezTo>
                  <a:pt x="1542" y="189"/>
                  <a:pt x="1542" y="189"/>
                  <a:pt x="1542" y="189"/>
                </a:cubicBezTo>
                <a:cubicBezTo>
                  <a:pt x="1545" y="190"/>
                  <a:pt x="1545" y="191"/>
                  <a:pt x="1548" y="192"/>
                </a:cubicBezTo>
                <a:cubicBezTo>
                  <a:pt x="1548" y="194"/>
                  <a:pt x="1548" y="194"/>
                  <a:pt x="1548" y="195"/>
                </a:cubicBezTo>
                <a:cubicBezTo>
                  <a:pt x="1551" y="197"/>
                  <a:pt x="1553" y="197"/>
                  <a:pt x="1557" y="199"/>
                </a:cubicBezTo>
                <a:cubicBezTo>
                  <a:pt x="1558" y="202"/>
                  <a:pt x="1559" y="203"/>
                  <a:pt x="1560" y="206"/>
                </a:cubicBezTo>
                <a:cubicBezTo>
                  <a:pt x="1560" y="206"/>
                  <a:pt x="1564" y="203"/>
                  <a:pt x="1566" y="208"/>
                </a:cubicBezTo>
                <a:cubicBezTo>
                  <a:pt x="1569" y="213"/>
                  <a:pt x="1575" y="217"/>
                  <a:pt x="1575" y="217"/>
                </a:cubicBezTo>
                <a:cubicBezTo>
                  <a:pt x="1578" y="221"/>
                  <a:pt x="1580" y="222"/>
                  <a:pt x="1583" y="225"/>
                </a:cubicBezTo>
                <a:cubicBezTo>
                  <a:pt x="1589" y="226"/>
                  <a:pt x="1592" y="227"/>
                  <a:pt x="1597" y="228"/>
                </a:cubicBezTo>
                <a:cubicBezTo>
                  <a:pt x="1603" y="230"/>
                  <a:pt x="1606" y="231"/>
                  <a:pt x="1611" y="233"/>
                </a:cubicBezTo>
                <a:cubicBezTo>
                  <a:pt x="1615" y="234"/>
                  <a:pt x="1618" y="235"/>
                  <a:pt x="1622" y="236"/>
                </a:cubicBezTo>
                <a:cubicBezTo>
                  <a:pt x="1624" y="236"/>
                  <a:pt x="1626" y="236"/>
                  <a:pt x="1628" y="235"/>
                </a:cubicBezTo>
                <a:cubicBezTo>
                  <a:pt x="1628" y="235"/>
                  <a:pt x="1633" y="230"/>
                  <a:pt x="1639" y="232"/>
                </a:cubicBezTo>
                <a:cubicBezTo>
                  <a:pt x="1639" y="232"/>
                  <a:pt x="1632" y="232"/>
                  <a:pt x="1633" y="240"/>
                </a:cubicBezTo>
                <a:cubicBezTo>
                  <a:pt x="1637" y="241"/>
                  <a:pt x="1639" y="242"/>
                  <a:pt x="1642" y="244"/>
                </a:cubicBezTo>
                <a:cubicBezTo>
                  <a:pt x="1646" y="246"/>
                  <a:pt x="1649" y="247"/>
                  <a:pt x="1653" y="249"/>
                </a:cubicBezTo>
                <a:cubicBezTo>
                  <a:pt x="1655" y="254"/>
                  <a:pt x="1656" y="256"/>
                  <a:pt x="1658" y="260"/>
                </a:cubicBezTo>
                <a:cubicBezTo>
                  <a:pt x="1655" y="257"/>
                  <a:pt x="1654" y="255"/>
                  <a:pt x="1651" y="252"/>
                </a:cubicBezTo>
                <a:cubicBezTo>
                  <a:pt x="1648" y="250"/>
                  <a:pt x="1647" y="249"/>
                  <a:pt x="1644" y="247"/>
                </a:cubicBezTo>
                <a:cubicBezTo>
                  <a:pt x="1639" y="245"/>
                  <a:pt x="1637" y="244"/>
                  <a:pt x="1632" y="243"/>
                </a:cubicBezTo>
                <a:cubicBezTo>
                  <a:pt x="1629" y="243"/>
                  <a:pt x="1628" y="243"/>
                  <a:pt x="1625" y="243"/>
                </a:cubicBezTo>
                <a:cubicBezTo>
                  <a:pt x="1626" y="244"/>
                  <a:pt x="1627" y="245"/>
                  <a:pt x="1628" y="246"/>
                </a:cubicBezTo>
                <a:cubicBezTo>
                  <a:pt x="1629" y="247"/>
                  <a:pt x="1629" y="248"/>
                  <a:pt x="1629" y="249"/>
                </a:cubicBezTo>
                <a:cubicBezTo>
                  <a:pt x="1630" y="251"/>
                  <a:pt x="1631" y="252"/>
                  <a:pt x="1632" y="253"/>
                </a:cubicBezTo>
                <a:cubicBezTo>
                  <a:pt x="1628" y="252"/>
                  <a:pt x="1626" y="251"/>
                  <a:pt x="1621" y="249"/>
                </a:cubicBezTo>
                <a:cubicBezTo>
                  <a:pt x="1621" y="249"/>
                  <a:pt x="1613" y="250"/>
                  <a:pt x="1609" y="248"/>
                </a:cubicBezTo>
                <a:cubicBezTo>
                  <a:pt x="1605" y="245"/>
                  <a:pt x="1604" y="252"/>
                  <a:pt x="1604" y="252"/>
                </a:cubicBezTo>
                <a:cubicBezTo>
                  <a:pt x="1604" y="252"/>
                  <a:pt x="1601" y="245"/>
                  <a:pt x="1597" y="247"/>
                </a:cubicBezTo>
                <a:cubicBezTo>
                  <a:pt x="1593" y="248"/>
                  <a:pt x="1595" y="250"/>
                  <a:pt x="1595" y="250"/>
                </a:cubicBezTo>
                <a:cubicBezTo>
                  <a:pt x="1592" y="248"/>
                  <a:pt x="1591" y="247"/>
                  <a:pt x="1589" y="245"/>
                </a:cubicBezTo>
                <a:cubicBezTo>
                  <a:pt x="1585" y="243"/>
                  <a:pt x="1583" y="243"/>
                  <a:pt x="1579" y="241"/>
                </a:cubicBezTo>
                <a:cubicBezTo>
                  <a:pt x="1576" y="241"/>
                  <a:pt x="1575" y="241"/>
                  <a:pt x="1572" y="242"/>
                </a:cubicBezTo>
                <a:cubicBezTo>
                  <a:pt x="1569" y="240"/>
                  <a:pt x="1568" y="239"/>
                  <a:pt x="1566" y="237"/>
                </a:cubicBezTo>
                <a:cubicBezTo>
                  <a:pt x="1565" y="235"/>
                  <a:pt x="1564" y="234"/>
                  <a:pt x="1563" y="232"/>
                </a:cubicBezTo>
                <a:cubicBezTo>
                  <a:pt x="1557" y="231"/>
                  <a:pt x="1554" y="230"/>
                  <a:pt x="1549" y="229"/>
                </a:cubicBezTo>
                <a:cubicBezTo>
                  <a:pt x="1543" y="227"/>
                  <a:pt x="1541" y="226"/>
                  <a:pt x="1535" y="224"/>
                </a:cubicBezTo>
                <a:cubicBezTo>
                  <a:pt x="1532" y="222"/>
                  <a:pt x="1530" y="222"/>
                  <a:pt x="1526" y="220"/>
                </a:cubicBezTo>
                <a:cubicBezTo>
                  <a:pt x="1522" y="221"/>
                  <a:pt x="1521" y="221"/>
                  <a:pt x="1517" y="221"/>
                </a:cubicBezTo>
                <a:cubicBezTo>
                  <a:pt x="1517" y="221"/>
                  <a:pt x="1529" y="225"/>
                  <a:pt x="1530" y="231"/>
                </a:cubicBezTo>
                <a:cubicBezTo>
                  <a:pt x="1532" y="236"/>
                  <a:pt x="1542" y="240"/>
                  <a:pt x="1542" y="240"/>
                </a:cubicBezTo>
                <a:cubicBezTo>
                  <a:pt x="1548" y="241"/>
                  <a:pt x="1551" y="241"/>
                  <a:pt x="1557" y="242"/>
                </a:cubicBezTo>
                <a:cubicBezTo>
                  <a:pt x="1560" y="243"/>
                  <a:pt x="1562" y="244"/>
                  <a:pt x="1565" y="245"/>
                </a:cubicBezTo>
                <a:cubicBezTo>
                  <a:pt x="1568" y="247"/>
                  <a:pt x="1569" y="249"/>
                  <a:pt x="1572" y="251"/>
                </a:cubicBezTo>
                <a:cubicBezTo>
                  <a:pt x="1572" y="254"/>
                  <a:pt x="1573" y="255"/>
                  <a:pt x="1573" y="257"/>
                </a:cubicBezTo>
                <a:cubicBezTo>
                  <a:pt x="1572" y="257"/>
                  <a:pt x="1571" y="258"/>
                  <a:pt x="1569" y="258"/>
                </a:cubicBezTo>
                <a:cubicBezTo>
                  <a:pt x="1569" y="261"/>
                  <a:pt x="1568" y="262"/>
                  <a:pt x="1568" y="265"/>
                </a:cubicBezTo>
                <a:cubicBezTo>
                  <a:pt x="1571" y="267"/>
                  <a:pt x="1572" y="267"/>
                  <a:pt x="1575" y="269"/>
                </a:cubicBezTo>
                <a:cubicBezTo>
                  <a:pt x="1576" y="271"/>
                  <a:pt x="1577" y="272"/>
                  <a:pt x="1578" y="275"/>
                </a:cubicBezTo>
                <a:cubicBezTo>
                  <a:pt x="1583" y="277"/>
                  <a:pt x="1585" y="278"/>
                  <a:pt x="1590" y="280"/>
                </a:cubicBezTo>
                <a:cubicBezTo>
                  <a:pt x="1595" y="281"/>
                  <a:pt x="1597" y="281"/>
                  <a:pt x="1602" y="282"/>
                </a:cubicBezTo>
                <a:cubicBezTo>
                  <a:pt x="1605" y="283"/>
                  <a:pt x="1607" y="283"/>
                  <a:pt x="1610" y="284"/>
                </a:cubicBezTo>
                <a:cubicBezTo>
                  <a:pt x="1617" y="287"/>
                  <a:pt x="1620" y="289"/>
                  <a:pt x="1627" y="292"/>
                </a:cubicBezTo>
                <a:cubicBezTo>
                  <a:pt x="1646" y="297"/>
                  <a:pt x="1655" y="300"/>
                  <a:pt x="1673" y="306"/>
                </a:cubicBezTo>
                <a:cubicBezTo>
                  <a:pt x="1676" y="308"/>
                  <a:pt x="1678" y="309"/>
                  <a:pt x="1681" y="312"/>
                </a:cubicBezTo>
                <a:cubicBezTo>
                  <a:pt x="1686" y="313"/>
                  <a:pt x="1689" y="313"/>
                  <a:pt x="1694" y="314"/>
                </a:cubicBezTo>
                <a:cubicBezTo>
                  <a:pt x="1698" y="317"/>
                  <a:pt x="1700" y="318"/>
                  <a:pt x="1705" y="321"/>
                </a:cubicBezTo>
                <a:cubicBezTo>
                  <a:pt x="1705" y="318"/>
                  <a:pt x="1705" y="317"/>
                  <a:pt x="1706" y="315"/>
                </a:cubicBezTo>
                <a:cubicBezTo>
                  <a:pt x="1709" y="314"/>
                  <a:pt x="1710" y="313"/>
                  <a:pt x="1713" y="312"/>
                </a:cubicBezTo>
                <a:cubicBezTo>
                  <a:pt x="1708" y="308"/>
                  <a:pt x="1706" y="307"/>
                  <a:pt x="1702" y="303"/>
                </a:cubicBezTo>
                <a:cubicBezTo>
                  <a:pt x="1697" y="300"/>
                  <a:pt x="1695" y="298"/>
                  <a:pt x="1691" y="294"/>
                </a:cubicBezTo>
                <a:cubicBezTo>
                  <a:pt x="1683" y="291"/>
                  <a:pt x="1679" y="290"/>
                  <a:pt x="1672" y="287"/>
                </a:cubicBezTo>
                <a:cubicBezTo>
                  <a:pt x="1663" y="286"/>
                  <a:pt x="1659" y="285"/>
                  <a:pt x="1651" y="283"/>
                </a:cubicBezTo>
                <a:cubicBezTo>
                  <a:pt x="1651" y="283"/>
                  <a:pt x="1634" y="284"/>
                  <a:pt x="1629" y="277"/>
                </a:cubicBezTo>
                <a:cubicBezTo>
                  <a:pt x="1624" y="269"/>
                  <a:pt x="1612" y="268"/>
                  <a:pt x="1612" y="268"/>
                </a:cubicBezTo>
                <a:cubicBezTo>
                  <a:pt x="1605" y="263"/>
                  <a:pt x="1601" y="261"/>
                  <a:pt x="1594" y="256"/>
                </a:cubicBezTo>
                <a:cubicBezTo>
                  <a:pt x="1601" y="258"/>
                  <a:pt x="1604" y="259"/>
                  <a:pt x="1610" y="260"/>
                </a:cubicBezTo>
                <a:cubicBezTo>
                  <a:pt x="1612" y="260"/>
                  <a:pt x="1613" y="260"/>
                  <a:pt x="1614" y="259"/>
                </a:cubicBezTo>
                <a:cubicBezTo>
                  <a:pt x="1622" y="262"/>
                  <a:pt x="1626" y="263"/>
                  <a:pt x="1633" y="266"/>
                </a:cubicBezTo>
                <a:cubicBezTo>
                  <a:pt x="1640" y="269"/>
                  <a:pt x="1643" y="270"/>
                  <a:pt x="1649" y="272"/>
                </a:cubicBezTo>
                <a:cubicBezTo>
                  <a:pt x="1653" y="274"/>
                  <a:pt x="1655" y="275"/>
                  <a:pt x="1659" y="277"/>
                </a:cubicBezTo>
                <a:cubicBezTo>
                  <a:pt x="1663" y="276"/>
                  <a:pt x="1664" y="276"/>
                  <a:pt x="1668" y="276"/>
                </a:cubicBezTo>
                <a:cubicBezTo>
                  <a:pt x="1675" y="279"/>
                  <a:pt x="1679" y="280"/>
                  <a:pt x="1686" y="283"/>
                </a:cubicBezTo>
                <a:cubicBezTo>
                  <a:pt x="1692" y="286"/>
                  <a:pt x="1694" y="288"/>
                  <a:pt x="1700" y="291"/>
                </a:cubicBezTo>
                <a:cubicBezTo>
                  <a:pt x="1699" y="293"/>
                  <a:pt x="1699" y="293"/>
                  <a:pt x="1699" y="295"/>
                </a:cubicBezTo>
                <a:cubicBezTo>
                  <a:pt x="1704" y="298"/>
                  <a:pt x="1706" y="299"/>
                  <a:pt x="1711" y="301"/>
                </a:cubicBezTo>
                <a:cubicBezTo>
                  <a:pt x="1713" y="304"/>
                  <a:pt x="1714" y="306"/>
                  <a:pt x="1717" y="309"/>
                </a:cubicBezTo>
                <a:cubicBezTo>
                  <a:pt x="1720" y="306"/>
                  <a:pt x="1722" y="304"/>
                  <a:pt x="1725" y="300"/>
                </a:cubicBezTo>
                <a:cubicBezTo>
                  <a:pt x="1730" y="302"/>
                  <a:pt x="1733" y="303"/>
                  <a:pt x="1738" y="304"/>
                </a:cubicBezTo>
                <a:cubicBezTo>
                  <a:pt x="1735" y="299"/>
                  <a:pt x="1733" y="297"/>
                  <a:pt x="1730" y="292"/>
                </a:cubicBezTo>
                <a:cubicBezTo>
                  <a:pt x="1733" y="292"/>
                  <a:pt x="1734" y="292"/>
                  <a:pt x="1737" y="292"/>
                </a:cubicBezTo>
                <a:cubicBezTo>
                  <a:pt x="1738" y="290"/>
                  <a:pt x="1738" y="290"/>
                  <a:pt x="1738" y="288"/>
                </a:cubicBezTo>
                <a:cubicBezTo>
                  <a:pt x="1744" y="291"/>
                  <a:pt x="1746" y="292"/>
                  <a:pt x="1752" y="295"/>
                </a:cubicBezTo>
                <a:cubicBezTo>
                  <a:pt x="1757" y="295"/>
                  <a:pt x="1759" y="295"/>
                  <a:pt x="1763" y="294"/>
                </a:cubicBezTo>
                <a:cubicBezTo>
                  <a:pt x="1766" y="293"/>
                  <a:pt x="1768" y="293"/>
                  <a:pt x="1771" y="292"/>
                </a:cubicBezTo>
                <a:cubicBezTo>
                  <a:pt x="1774" y="292"/>
                  <a:pt x="1775" y="292"/>
                  <a:pt x="1777" y="292"/>
                </a:cubicBezTo>
                <a:cubicBezTo>
                  <a:pt x="1775" y="288"/>
                  <a:pt x="1773" y="285"/>
                  <a:pt x="1771" y="281"/>
                </a:cubicBezTo>
                <a:cubicBezTo>
                  <a:pt x="1775" y="281"/>
                  <a:pt x="1778" y="281"/>
                  <a:pt x="1782" y="281"/>
                </a:cubicBezTo>
                <a:cubicBezTo>
                  <a:pt x="1782" y="282"/>
                  <a:pt x="1782" y="282"/>
                  <a:pt x="1782" y="282"/>
                </a:cubicBezTo>
                <a:cubicBezTo>
                  <a:pt x="1784" y="284"/>
                  <a:pt x="1786" y="285"/>
                  <a:pt x="1788" y="287"/>
                </a:cubicBezTo>
                <a:cubicBezTo>
                  <a:pt x="1790" y="287"/>
                  <a:pt x="1791" y="287"/>
                  <a:pt x="1793" y="288"/>
                </a:cubicBezTo>
                <a:cubicBezTo>
                  <a:pt x="1794" y="288"/>
                  <a:pt x="1794" y="288"/>
                  <a:pt x="1795" y="289"/>
                </a:cubicBezTo>
                <a:cubicBezTo>
                  <a:pt x="1821" y="303"/>
                  <a:pt x="1846" y="318"/>
                  <a:pt x="1870" y="334"/>
                </a:cubicBezTo>
                <a:cubicBezTo>
                  <a:pt x="1871" y="334"/>
                  <a:pt x="1871" y="334"/>
                  <a:pt x="1871" y="335"/>
                </a:cubicBezTo>
                <a:cubicBezTo>
                  <a:pt x="1864" y="332"/>
                  <a:pt x="1861" y="330"/>
                  <a:pt x="1854" y="327"/>
                </a:cubicBezTo>
                <a:cubicBezTo>
                  <a:pt x="1843" y="321"/>
                  <a:pt x="1838" y="318"/>
                  <a:pt x="1827" y="313"/>
                </a:cubicBezTo>
                <a:cubicBezTo>
                  <a:pt x="1823" y="313"/>
                  <a:pt x="1821" y="313"/>
                  <a:pt x="1818" y="313"/>
                </a:cubicBezTo>
                <a:cubicBezTo>
                  <a:pt x="1808" y="308"/>
                  <a:pt x="1803" y="306"/>
                  <a:pt x="1794" y="302"/>
                </a:cubicBezTo>
                <a:cubicBezTo>
                  <a:pt x="1791" y="304"/>
                  <a:pt x="1790" y="305"/>
                  <a:pt x="1788" y="307"/>
                </a:cubicBezTo>
                <a:cubicBezTo>
                  <a:pt x="1794" y="312"/>
                  <a:pt x="1797" y="315"/>
                  <a:pt x="1804" y="320"/>
                </a:cubicBezTo>
                <a:cubicBezTo>
                  <a:pt x="1808" y="322"/>
                  <a:pt x="1810" y="323"/>
                  <a:pt x="1814" y="326"/>
                </a:cubicBezTo>
                <a:cubicBezTo>
                  <a:pt x="1821" y="331"/>
                  <a:pt x="1825" y="333"/>
                  <a:pt x="1832" y="338"/>
                </a:cubicBezTo>
                <a:cubicBezTo>
                  <a:pt x="1822" y="333"/>
                  <a:pt x="1817" y="331"/>
                  <a:pt x="1807" y="326"/>
                </a:cubicBezTo>
                <a:cubicBezTo>
                  <a:pt x="1805" y="328"/>
                  <a:pt x="1804" y="328"/>
                  <a:pt x="1802" y="330"/>
                </a:cubicBezTo>
                <a:cubicBezTo>
                  <a:pt x="1810" y="335"/>
                  <a:pt x="1814" y="338"/>
                  <a:pt x="1821" y="344"/>
                </a:cubicBezTo>
                <a:cubicBezTo>
                  <a:pt x="1818" y="345"/>
                  <a:pt x="1817" y="346"/>
                  <a:pt x="1814" y="348"/>
                </a:cubicBezTo>
                <a:cubicBezTo>
                  <a:pt x="1821" y="352"/>
                  <a:pt x="1824" y="353"/>
                  <a:pt x="1831" y="357"/>
                </a:cubicBezTo>
                <a:cubicBezTo>
                  <a:pt x="1836" y="362"/>
                  <a:pt x="1838" y="364"/>
                  <a:pt x="1843" y="369"/>
                </a:cubicBezTo>
                <a:cubicBezTo>
                  <a:pt x="1851" y="369"/>
                  <a:pt x="1854" y="370"/>
                  <a:pt x="1861" y="370"/>
                </a:cubicBezTo>
                <a:cubicBezTo>
                  <a:pt x="1864" y="374"/>
                  <a:pt x="1865" y="375"/>
                  <a:pt x="1868" y="378"/>
                </a:cubicBezTo>
                <a:cubicBezTo>
                  <a:pt x="1873" y="381"/>
                  <a:pt x="1876" y="383"/>
                  <a:pt x="1882" y="386"/>
                </a:cubicBezTo>
                <a:cubicBezTo>
                  <a:pt x="1890" y="391"/>
                  <a:pt x="1894" y="393"/>
                  <a:pt x="1902" y="397"/>
                </a:cubicBezTo>
                <a:cubicBezTo>
                  <a:pt x="1906" y="402"/>
                  <a:pt x="1909" y="405"/>
                  <a:pt x="1913" y="409"/>
                </a:cubicBezTo>
                <a:cubicBezTo>
                  <a:pt x="1918" y="413"/>
                  <a:pt x="1920" y="414"/>
                  <a:pt x="1925" y="418"/>
                </a:cubicBezTo>
                <a:cubicBezTo>
                  <a:pt x="1926" y="422"/>
                  <a:pt x="1927" y="424"/>
                  <a:pt x="1928" y="429"/>
                </a:cubicBezTo>
                <a:cubicBezTo>
                  <a:pt x="1934" y="440"/>
                  <a:pt x="1937" y="446"/>
                  <a:pt x="1944" y="458"/>
                </a:cubicBezTo>
                <a:cubicBezTo>
                  <a:pt x="1944" y="461"/>
                  <a:pt x="1945" y="463"/>
                  <a:pt x="1945" y="466"/>
                </a:cubicBezTo>
                <a:cubicBezTo>
                  <a:pt x="1948" y="470"/>
                  <a:pt x="1949" y="472"/>
                  <a:pt x="1952" y="475"/>
                </a:cubicBezTo>
                <a:cubicBezTo>
                  <a:pt x="1952" y="478"/>
                  <a:pt x="1952" y="479"/>
                  <a:pt x="1952" y="481"/>
                </a:cubicBezTo>
                <a:cubicBezTo>
                  <a:pt x="1952" y="488"/>
                  <a:pt x="1952" y="491"/>
                  <a:pt x="1952" y="497"/>
                </a:cubicBezTo>
                <a:cubicBezTo>
                  <a:pt x="1958" y="501"/>
                  <a:pt x="1962" y="503"/>
                  <a:pt x="1968" y="508"/>
                </a:cubicBezTo>
                <a:cubicBezTo>
                  <a:pt x="1967" y="509"/>
                  <a:pt x="1967" y="510"/>
                  <a:pt x="1965" y="512"/>
                </a:cubicBezTo>
                <a:cubicBezTo>
                  <a:pt x="1963" y="514"/>
                  <a:pt x="1962" y="515"/>
                  <a:pt x="1959" y="518"/>
                </a:cubicBezTo>
                <a:cubicBezTo>
                  <a:pt x="1960" y="522"/>
                  <a:pt x="1960" y="524"/>
                  <a:pt x="1961" y="529"/>
                </a:cubicBezTo>
                <a:cubicBezTo>
                  <a:pt x="1964" y="531"/>
                  <a:pt x="1965" y="532"/>
                  <a:pt x="1968" y="534"/>
                </a:cubicBezTo>
                <a:cubicBezTo>
                  <a:pt x="1971" y="537"/>
                  <a:pt x="1973" y="539"/>
                  <a:pt x="1977" y="542"/>
                </a:cubicBezTo>
                <a:cubicBezTo>
                  <a:pt x="1979" y="541"/>
                  <a:pt x="1980" y="541"/>
                  <a:pt x="1983" y="541"/>
                </a:cubicBezTo>
                <a:cubicBezTo>
                  <a:pt x="1985" y="543"/>
                  <a:pt x="1986" y="543"/>
                  <a:pt x="1988" y="545"/>
                </a:cubicBezTo>
                <a:cubicBezTo>
                  <a:pt x="1989" y="543"/>
                  <a:pt x="1989" y="543"/>
                  <a:pt x="1989" y="541"/>
                </a:cubicBezTo>
                <a:cubicBezTo>
                  <a:pt x="1991" y="543"/>
                  <a:pt x="1992" y="544"/>
                  <a:pt x="1994" y="545"/>
                </a:cubicBezTo>
                <a:cubicBezTo>
                  <a:pt x="1995" y="551"/>
                  <a:pt x="1995" y="554"/>
                  <a:pt x="1996" y="559"/>
                </a:cubicBezTo>
                <a:cubicBezTo>
                  <a:pt x="1992" y="557"/>
                  <a:pt x="1990" y="556"/>
                  <a:pt x="1985" y="555"/>
                </a:cubicBezTo>
                <a:cubicBezTo>
                  <a:pt x="1980" y="553"/>
                  <a:pt x="1978" y="552"/>
                  <a:pt x="1973" y="550"/>
                </a:cubicBezTo>
                <a:cubicBezTo>
                  <a:pt x="1973" y="554"/>
                  <a:pt x="1972" y="557"/>
                  <a:pt x="1972" y="561"/>
                </a:cubicBezTo>
                <a:cubicBezTo>
                  <a:pt x="1970" y="563"/>
                  <a:pt x="1970" y="564"/>
                  <a:pt x="1968" y="566"/>
                </a:cubicBezTo>
                <a:cubicBezTo>
                  <a:pt x="1969" y="568"/>
                  <a:pt x="1969" y="569"/>
                  <a:pt x="1970" y="571"/>
                </a:cubicBezTo>
                <a:cubicBezTo>
                  <a:pt x="1970" y="576"/>
                  <a:pt x="1970" y="578"/>
                  <a:pt x="1970" y="583"/>
                </a:cubicBezTo>
                <a:cubicBezTo>
                  <a:pt x="1974" y="587"/>
                  <a:pt x="1976" y="589"/>
                  <a:pt x="1980" y="593"/>
                </a:cubicBezTo>
                <a:cubicBezTo>
                  <a:pt x="1982" y="598"/>
                  <a:pt x="1983" y="601"/>
                  <a:pt x="1985" y="606"/>
                </a:cubicBezTo>
                <a:cubicBezTo>
                  <a:pt x="1985" y="611"/>
                  <a:pt x="1985" y="614"/>
                  <a:pt x="1985" y="619"/>
                </a:cubicBezTo>
                <a:cubicBezTo>
                  <a:pt x="1988" y="621"/>
                  <a:pt x="1990" y="622"/>
                  <a:pt x="1993" y="624"/>
                </a:cubicBezTo>
                <a:cubicBezTo>
                  <a:pt x="1993" y="628"/>
                  <a:pt x="1993" y="631"/>
                  <a:pt x="1993" y="636"/>
                </a:cubicBezTo>
                <a:cubicBezTo>
                  <a:pt x="1997" y="640"/>
                  <a:pt x="1998" y="642"/>
                  <a:pt x="2002" y="646"/>
                </a:cubicBezTo>
                <a:cubicBezTo>
                  <a:pt x="2004" y="651"/>
                  <a:pt x="2005" y="654"/>
                  <a:pt x="2007" y="660"/>
                </a:cubicBezTo>
                <a:cubicBezTo>
                  <a:pt x="2010" y="666"/>
                  <a:pt x="2012" y="669"/>
                  <a:pt x="2015" y="675"/>
                </a:cubicBezTo>
                <a:cubicBezTo>
                  <a:pt x="2017" y="678"/>
                  <a:pt x="2018" y="680"/>
                  <a:pt x="2019" y="683"/>
                </a:cubicBezTo>
                <a:cubicBezTo>
                  <a:pt x="2021" y="684"/>
                  <a:pt x="2022" y="685"/>
                  <a:pt x="2024" y="686"/>
                </a:cubicBezTo>
                <a:cubicBezTo>
                  <a:pt x="2026" y="689"/>
                  <a:pt x="2026" y="691"/>
                  <a:pt x="2028" y="695"/>
                </a:cubicBezTo>
                <a:cubicBezTo>
                  <a:pt x="2033" y="698"/>
                  <a:pt x="2035" y="699"/>
                  <a:pt x="2040" y="703"/>
                </a:cubicBezTo>
                <a:cubicBezTo>
                  <a:pt x="2043" y="704"/>
                  <a:pt x="2043" y="705"/>
                  <a:pt x="2046" y="706"/>
                </a:cubicBezTo>
                <a:cubicBezTo>
                  <a:pt x="2048" y="708"/>
                  <a:pt x="2050" y="709"/>
                  <a:pt x="2052" y="712"/>
                </a:cubicBezTo>
                <a:cubicBezTo>
                  <a:pt x="2053" y="714"/>
                  <a:pt x="2053" y="715"/>
                  <a:pt x="2053" y="718"/>
                </a:cubicBezTo>
                <a:cubicBezTo>
                  <a:pt x="2055" y="720"/>
                  <a:pt x="2056" y="721"/>
                  <a:pt x="2059" y="723"/>
                </a:cubicBezTo>
                <a:cubicBezTo>
                  <a:pt x="2061" y="726"/>
                  <a:pt x="2063" y="727"/>
                  <a:pt x="2066" y="730"/>
                </a:cubicBezTo>
                <a:cubicBezTo>
                  <a:pt x="2069" y="730"/>
                  <a:pt x="2070" y="731"/>
                  <a:pt x="2073" y="731"/>
                </a:cubicBezTo>
                <a:cubicBezTo>
                  <a:pt x="2077" y="724"/>
                  <a:pt x="2079" y="720"/>
                  <a:pt x="2083" y="713"/>
                </a:cubicBezTo>
                <a:cubicBezTo>
                  <a:pt x="2083" y="708"/>
                  <a:pt x="2083" y="705"/>
                  <a:pt x="2083" y="700"/>
                </a:cubicBezTo>
                <a:cubicBezTo>
                  <a:pt x="2087" y="703"/>
                  <a:pt x="2089" y="704"/>
                  <a:pt x="2092" y="707"/>
                </a:cubicBezTo>
                <a:cubicBezTo>
                  <a:pt x="2096" y="701"/>
                  <a:pt x="2097" y="699"/>
                  <a:pt x="2100" y="693"/>
                </a:cubicBezTo>
                <a:cubicBezTo>
                  <a:pt x="2100" y="690"/>
                  <a:pt x="2100" y="688"/>
                  <a:pt x="2100" y="684"/>
                </a:cubicBezTo>
                <a:cubicBezTo>
                  <a:pt x="2104" y="683"/>
                  <a:pt x="2106" y="683"/>
                  <a:pt x="2110" y="682"/>
                </a:cubicBezTo>
                <a:cubicBezTo>
                  <a:pt x="2114" y="687"/>
                  <a:pt x="2117" y="689"/>
                  <a:pt x="2121" y="694"/>
                </a:cubicBezTo>
                <a:cubicBezTo>
                  <a:pt x="2122" y="690"/>
                  <a:pt x="2123" y="689"/>
                  <a:pt x="2124" y="685"/>
                </a:cubicBezTo>
                <a:cubicBezTo>
                  <a:pt x="2125" y="689"/>
                  <a:pt x="2126" y="691"/>
                  <a:pt x="2127" y="695"/>
                </a:cubicBezTo>
                <a:cubicBezTo>
                  <a:pt x="2132" y="696"/>
                  <a:pt x="2134" y="696"/>
                  <a:pt x="2139" y="697"/>
                </a:cubicBezTo>
                <a:cubicBezTo>
                  <a:pt x="2143" y="700"/>
                  <a:pt x="2145" y="701"/>
                  <a:pt x="2150" y="704"/>
                </a:cubicBezTo>
                <a:cubicBezTo>
                  <a:pt x="2154" y="703"/>
                  <a:pt x="2156" y="703"/>
                  <a:pt x="2160" y="702"/>
                </a:cubicBezTo>
                <a:cubicBezTo>
                  <a:pt x="2165" y="701"/>
                  <a:pt x="2167" y="701"/>
                  <a:pt x="2171" y="701"/>
                </a:cubicBezTo>
                <a:cubicBezTo>
                  <a:pt x="2167" y="692"/>
                  <a:pt x="2165" y="688"/>
                  <a:pt x="2161" y="680"/>
                </a:cubicBezTo>
                <a:cubicBezTo>
                  <a:pt x="2168" y="691"/>
                  <a:pt x="2171" y="696"/>
                  <a:pt x="2177" y="707"/>
                </a:cubicBezTo>
                <a:cubicBezTo>
                  <a:pt x="2182" y="710"/>
                  <a:pt x="2184" y="712"/>
                  <a:pt x="2188" y="715"/>
                </a:cubicBezTo>
                <a:cubicBezTo>
                  <a:pt x="2191" y="716"/>
                  <a:pt x="2192" y="716"/>
                  <a:pt x="2194" y="717"/>
                </a:cubicBezTo>
                <a:cubicBezTo>
                  <a:pt x="2200" y="722"/>
                  <a:pt x="2203" y="724"/>
                  <a:pt x="2209" y="730"/>
                </a:cubicBezTo>
                <a:cubicBezTo>
                  <a:pt x="2212" y="732"/>
                  <a:pt x="2214" y="734"/>
                  <a:pt x="2218" y="736"/>
                </a:cubicBezTo>
                <a:cubicBezTo>
                  <a:pt x="2221" y="735"/>
                  <a:pt x="2223" y="735"/>
                  <a:pt x="2226" y="734"/>
                </a:cubicBezTo>
                <a:cubicBezTo>
                  <a:pt x="2232" y="739"/>
                  <a:pt x="2235" y="742"/>
                  <a:pt x="2241" y="748"/>
                </a:cubicBezTo>
                <a:cubicBezTo>
                  <a:pt x="2242" y="749"/>
                  <a:pt x="2242" y="749"/>
                  <a:pt x="2243" y="749"/>
                </a:cubicBezTo>
                <a:cubicBezTo>
                  <a:pt x="2254" y="770"/>
                  <a:pt x="2263" y="791"/>
                  <a:pt x="2273" y="812"/>
                </a:cubicBezTo>
                <a:cubicBezTo>
                  <a:pt x="2273" y="812"/>
                  <a:pt x="2272" y="812"/>
                  <a:pt x="2272" y="812"/>
                </a:cubicBezTo>
                <a:cubicBezTo>
                  <a:pt x="2271" y="811"/>
                  <a:pt x="2271" y="810"/>
                  <a:pt x="2270" y="810"/>
                </a:cubicBezTo>
                <a:cubicBezTo>
                  <a:pt x="2270" y="812"/>
                  <a:pt x="2271" y="813"/>
                  <a:pt x="2271" y="816"/>
                </a:cubicBezTo>
                <a:cubicBezTo>
                  <a:pt x="2270" y="814"/>
                  <a:pt x="2270" y="812"/>
                  <a:pt x="2268" y="810"/>
                </a:cubicBezTo>
                <a:cubicBezTo>
                  <a:pt x="2268" y="811"/>
                  <a:pt x="2267" y="811"/>
                  <a:pt x="2267" y="812"/>
                </a:cubicBezTo>
                <a:cubicBezTo>
                  <a:pt x="2266" y="809"/>
                  <a:pt x="2265" y="807"/>
                  <a:pt x="2264" y="804"/>
                </a:cubicBezTo>
                <a:cubicBezTo>
                  <a:pt x="2262" y="801"/>
                  <a:pt x="2260" y="800"/>
                  <a:pt x="2258" y="797"/>
                </a:cubicBezTo>
                <a:cubicBezTo>
                  <a:pt x="2256" y="794"/>
                  <a:pt x="2255" y="792"/>
                  <a:pt x="2253" y="788"/>
                </a:cubicBezTo>
                <a:cubicBezTo>
                  <a:pt x="2249" y="785"/>
                  <a:pt x="2248" y="783"/>
                  <a:pt x="2245" y="780"/>
                </a:cubicBezTo>
                <a:cubicBezTo>
                  <a:pt x="2244" y="782"/>
                  <a:pt x="2244" y="782"/>
                  <a:pt x="2243" y="783"/>
                </a:cubicBezTo>
                <a:cubicBezTo>
                  <a:pt x="2241" y="784"/>
                  <a:pt x="2240" y="785"/>
                  <a:pt x="2238" y="786"/>
                </a:cubicBezTo>
                <a:cubicBezTo>
                  <a:pt x="2243" y="790"/>
                  <a:pt x="2245" y="792"/>
                  <a:pt x="2249" y="796"/>
                </a:cubicBezTo>
                <a:cubicBezTo>
                  <a:pt x="2251" y="798"/>
                  <a:pt x="2252" y="798"/>
                  <a:pt x="2254" y="800"/>
                </a:cubicBezTo>
                <a:cubicBezTo>
                  <a:pt x="2255" y="802"/>
                  <a:pt x="2256" y="803"/>
                  <a:pt x="2257" y="805"/>
                </a:cubicBezTo>
                <a:cubicBezTo>
                  <a:pt x="2253" y="802"/>
                  <a:pt x="2251" y="801"/>
                  <a:pt x="2248" y="798"/>
                </a:cubicBezTo>
                <a:cubicBezTo>
                  <a:pt x="2246" y="798"/>
                  <a:pt x="2245" y="797"/>
                  <a:pt x="2244" y="797"/>
                </a:cubicBezTo>
                <a:cubicBezTo>
                  <a:pt x="2245" y="799"/>
                  <a:pt x="2246" y="800"/>
                  <a:pt x="2248" y="803"/>
                </a:cubicBezTo>
                <a:cubicBezTo>
                  <a:pt x="2252" y="806"/>
                  <a:pt x="2254" y="808"/>
                  <a:pt x="2258" y="811"/>
                </a:cubicBezTo>
                <a:cubicBezTo>
                  <a:pt x="2258" y="812"/>
                  <a:pt x="2259" y="813"/>
                  <a:pt x="2259" y="815"/>
                </a:cubicBezTo>
                <a:cubicBezTo>
                  <a:pt x="2261" y="817"/>
                  <a:pt x="2262" y="818"/>
                  <a:pt x="2264" y="820"/>
                </a:cubicBezTo>
                <a:cubicBezTo>
                  <a:pt x="2261" y="819"/>
                  <a:pt x="2260" y="818"/>
                  <a:pt x="2257" y="816"/>
                </a:cubicBezTo>
                <a:cubicBezTo>
                  <a:pt x="2258" y="818"/>
                  <a:pt x="2258" y="819"/>
                  <a:pt x="2259" y="821"/>
                </a:cubicBezTo>
                <a:cubicBezTo>
                  <a:pt x="2261" y="824"/>
                  <a:pt x="2263" y="825"/>
                  <a:pt x="2266" y="827"/>
                </a:cubicBezTo>
                <a:cubicBezTo>
                  <a:pt x="2268" y="830"/>
                  <a:pt x="2270" y="831"/>
                  <a:pt x="2273" y="833"/>
                </a:cubicBezTo>
                <a:cubicBezTo>
                  <a:pt x="2275" y="836"/>
                  <a:pt x="2276" y="838"/>
                  <a:pt x="2278" y="841"/>
                </a:cubicBezTo>
                <a:cubicBezTo>
                  <a:pt x="2281" y="845"/>
                  <a:pt x="2283" y="847"/>
                  <a:pt x="2286" y="851"/>
                </a:cubicBezTo>
                <a:cubicBezTo>
                  <a:pt x="2287" y="852"/>
                  <a:pt x="2288" y="853"/>
                  <a:pt x="2289" y="853"/>
                </a:cubicBezTo>
                <a:cubicBezTo>
                  <a:pt x="2369" y="1063"/>
                  <a:pt x="2383" y="1299"/>
                  <a:pt x="2314" y="1530"/>
                </a:cubicBezTo>
                <a:cubicBezTo>
                  <a:pt x="2276" y="1655"/>
                  <a:pt x="2218" y="1769"/>
                  <a:pt x="2142" y="1868"/>
                </a:cubicBezTo>
                <a:cubicBezTo>
                  <a:pt x="1932" y="2145"/>
                  <a:pt x="1595" y="2310"/>
                  <a:pt x="1238" y="2304"/>
                </a:cubicBezTo>
                <a:close/>
                <a:moveTo>
                  <a:pt x="1596" y="737"/>
                </a:moveTo>
                <a:cubicBezTo>
                  <a:pt x="1601" y="740"/>
                  <a:pt x="1603" y="741"/>
                  <a:pt x="1607" y="744"/>
                </a:cubicBezTo>
                <a:cubicBezTo>
                  <a:pt x="1610" y="750"/>
                  <a:pt x="1610" y="754"/>
                  <a:pt x="1612" y="760"/>
                </a:cubicBezTo>
                <a:cubicBezTo>
                  <a:pt x="1609" y="762"/>
                  <a:pt x="1608" y="763"/>
                  <a:pt x="1605" y="765"/>
                </a:cubicBezTo>
                <a:cubicBezTo>
                  <a:pt x="1600" y="758"/>
                  <a:pt x="1598" y="755"/>
                  <a:pt x="1593" y="748"/>
                </a:cubicBezTo>
                <a:cubicBezTo>
                  <a:pt x="1593" y="752"/>
                  <a:pt x="1593" y="754"/>
                  <a:pt x="1594" y="758"/>
                </a:cubicBezTo>
                <a:cubicBezTo>
                  <a:pt x="1590" y="759"/>
                  <a:pt x="1588" y="760"/>
                  <a:pt x="1584" y="762"/>
                </a:cubicBezTo>
                <a:cubicBezTo>
                  <a:pt x="1583" y="768"/>
                  <a:pt x="1582" y="771"/>
                  <a:pt x="1581" y="777"/>
                </a:cubicBezTo>
                <a:cubicBezTo>
                  <a:pt x="1577" y="777"/>
                  <a:pt x="1575" y="778"/>
                  <a:pt x="1571" y="778"/>
                </a:cubicBezTo>
                <a:cubicBezTo>
                  <a:pt x="1571" y="778"/>
                  <a:pt x="1580" y="763"/>
                  <a:pt x="1568" y="760"/>
                </a:cubicBezTo>
                <a:cubicBezTo>
                  <a:pt x="1556" y="757"/>
                  <a:pt x="1566" y="748"/>
                  <a:pt x="1566" y="748"/>
                </a:cubicBezTo>
                <a:cubicBezTo>
                  <a:pt x="1566" y="748"/>
                  <a:pt x="1567" y="731"/>
                  <a:pt x="1559" y="727"/>
                </a:cubicBezTo>
                <a:cubicBezTo>
                  <a:pt x="1559" y="727"/>
                  <a:pt x="1571" y="725"/>
                  <a:pt x="1581" y="736"/>
                </a:cubicBezTo>
                <a:cubicBezTo>
                  <a:pt x="1591" y="747"/>
                  <a:pt x="1596" y="737"/>
                  <a:pt x="1596" y="737"/>
                </a:cubicBezTo>
                <a:close/>
                <a:moveTo>
                  <a:pt x="1615" y="797"/>
                </a:moveTo>
                <a:cubicBezTo>
                  <a:pt x="1607" y="798"/>
                  <a:pt x="1603" y="799"/>
                  <a:pt x="1595" y="800"/>
                </a:cubicBezTo>
                <a:cubicBezTo>
                  <a:pt x="1589" y="800"/>
                  <a:pt x="1586" y="800"/>
                  <a:pt x="1579" y="801"/>
                </a:cubicBezTo>
                <a:cubicBezTo>
                  <a:pt x="1577" y="803"/>
                  <a:pt x="1575" y="804"/>
                  <a:pt x="1573" y="807"/>
                </a:cubicBezTo>
                <a:cubicBezTo>
                  <a:pt x="1567" y="804"/>
                  <a:pt x="1564" y="803"/>
                  <a:pt x="1559" y="800"/>
                </a:cubicBezTo>
                <a:cubicBezTo>
                  <a:pt x="1559" y="800"/>
                  <a:pt x="1568" y="792"/>
                  <a:pt x="1574" y="794"/>
                </a:cubicBezTo>
                <a:cubicBezTo>
                  <a:pt x="1581" y="796"/>
                  <a:pt x="1581" y="788"/>
                  <a:pt x="1593" y="792"/>
                </a:cubicBezTo>
                <a:cubicBezTo>
                  <a:pt x="1605" y="796"/>
                  <a:pt x="1615" y="797"/>
                  <a:pt x="1615" y="797"/>
                </a:cubicBezTo>
                <a:close/>
                <a:moveTo>
                  <a:pt x="1609" y="783"/>
                </a:moveTo>
                <a:cubicBezTo>
                  <a:pt x="1609" y="783"/>
                  <a:pt x="1623" y="778"/>
                  <a:pt x="1629" y="782"/>
                </a:cubicBezTo>
                <a:cubicBezTo>
                  <a:pt x="1636" y="786"/>
                  <a:pt x="1647" y="793"/>
                  <a:pt x="1647" y="793"/>
                </a:cubicBezTo>
                <a:cubicBezTo>
                  <a:pt x="1650" y="791"/>
                  <a:pt x="1651" y="790"/>
                  <a:pt x="1654" y="789"/>
                </a:cubicBezTo>
                <a:cubicBezTo>
                  <a:pt x="1655" y="792"/>
                  <a:pt x="1655" y="794"/>
                  <a:pt x="1656" y="797"/>
                </a:cubicBezTo>
                <a:cubicBezTo>
                  <a:pt x="1655" y="798"/>
                  <a:pt x="1654" y="800"/>
                  <a:pt x="1653" y="801"/>
                </a:cubicBezTo>
                <a:cubicBezTo>
                  <a:pt x="1647" y="800"/>
                  <a:pt x="1644" y="799"/>
                  <a:pt x="1639" y="797"/>
                </a:cubicBezTo>
                <a:cubicBezTo>
                  <a:pt x="1635" y="795"/>
                  <a:pt x="1633" y="794"/>
                  <a:pt x="1629" y="791"/>
                </a:cubicBezTo>
                <a:cubicBezTo>
                  <a:pt x="1621" y="788"/>
                  <a:pt x="1617" y="786"/>
                  <a:pt x="1609" y="783"/>
                </a:cubicBezTo>
                <a:close/>
                <a:moveTo>
                  <a:pt x="1682" y="1244"/>
                </a:moveTo>
                <a:cubicBezTo>
                  <a:pt x="1669" y="1241"/>
                  <a:pt x="1671" y="1251"/>
                  <a:pt x="1671" y="1251"/>
                </a:cubicBezTo>
                <a:cubicBezTo>
                  <a:pt x="1681" y="1253"/>
                  <a:pt x="1686" y="1254"/>
                  <a:pt x="1696" y="1256"/>
                </a:cubicBezTo>
                <a:cubicBezTo>
                  <a:pt x="1696" y="1256"/>
                  <a:pt x="1695" y="1247"/>
                  <a:pt x="1682" y="1244"/>
                </a:cubicBezTo>
                <a:close/>
                <a:moveTo>
                  <a:pt x="1361" y="176"/>
                </a:moveTo>
                <a:cubicBezTo>
                  <a:pt x="1355" y="174"/>
                  <a:pt x="1352" y="173"/>
                  <a:pt x="1346" y="171"/>
                </a:cubicBezTo>
                <a:cubicBezTo>
                  <a:pt x="1343" y="171"/>
                  <a:pt x="1341" y="171"/>
                  <a:pt x="1338" y="170"/>
                </a:cubicBezTo>
                <a:cubicBezTo>
                  <a:pt x="1339" y="172"/>
                  <a:pt x="1340" y="173"/>
                  <a:pt x="1341" y="174"/>
                </a:cubicBezTo>
                <a:cubicBezTo>
                  <a:pt x="1340" y="177"/>
                  <a:pt x="1339" y="178"/>
                  <a:pt x="1338" y="180"/>
                </a:cubicBezTo>
                <a:cubicBezTo>
                  <a:pt x="1342" y="180"/>
                  <a:pt x="1344" y="180"/>
                  <a:pt x="1348" y="180"/>
                </a:cubicBezTo>
                <a:cubicBezTo>
                  <a:pt x="1351" y="182"/>
                  <a:pt x="1352" y="183"/>
                  <a:pt x="1355" y="184"/>
                </a:cubicBezTo>
                <a:cubicBezTo>
                  <a:pt x="1360" y="183"/>
                  <a:pt x="1363" y="183"/>
                  <a:pt x="1368" y="182"/>
                </a:cubicBezTo>
                <a:cubicBezTo>
                  <a:pt x="1368" y="182"/>
                  <a:pt x="1376" y="185"/>
                  <a:pt x="1381" y="181"/>
                </a:cubicBezTo>
                <a:cubicBezTo>
                  <a:pt x="1385" y="176"/>
                  <a:pt x="1393" y="170"/>
                  <a:pt x="1393" y="170"/>
                </a:cubicBezTo>
                <a:cubicBezTo>
                  <a:pt x="1391" y="169"/>
                  <a:pt x="1390" y="169"/>
                  <a:pt x="1388" y="169"/>
                </a:cubicBezTo>
                <a:cubicBezTo>
                  <a:pt x="1384" y="167"/>
                  <a:pt x="1382" y="166"/>
                  <a:pt x="1378" y="164"/>
                </a:cubicBezTo>
                <a:cubicBezTo>
                  <a:pt x="1374" y="164"/>
                  <a:pt x="1372" y="164"/>
                  <a:pt x="1368" y="164"/>
                </a:cubicBezTo>
                <a:cubicBezTo>
                  <a:pt x="1364" y="165"/>
                  <a:pt x="1361" y="165"/>
                  <a:pt x="1357" y="166"/>
                </a:cubicBezTo>
                <a:cubicBezTo>
                  <a:pt x="1353" y="165"/>
                  <a:pt x="1351" y="164"/>
                  <a:pt x="1347" y="164"/>
                </a:cubicBezTo>
                <a:cubicBezTo>
                  <a:pt x="1345" y="164"/>
                  <a:pt x="1343" y="164"/>
                  <a:pt x="1341" y="165"/>
                </a:cubicBezTo>
                <a:cubicBezTo>
                  <a:pt x="1343" y="166"/>
                  <a:pt x="1345" y="167"/>
                  <a:pt x="1347" y="168"/>
                </a:cubicBezTo>
                <a:cubicBezTo>
                  <a:pt x="1352" y="171"/>
                  <a:pt x="1355" y="173"/>
                  <a:pt x="1361" y="176"/>
                </a:cubicBezTo>
                <a:close/>
                <a:moveTo>
                  <a:pt x="1332" y="174"/>
                </a:moveTo>
                <a:cubicBezTo>
                  <a:pt x="1331" y="171"/>
                  <a:pt x="1331" y="170"/>
                  <a:pt x="1330" y="168"/>
                </a:cubicBezTo>
                <a:cubicBezTo>
                  <a:pt x="1326" y="168"/>
                  <a:pt x="1325" y="167"/>
                  <a:pt x="1321" y="167"/>
                </a:cubicBezTo>
                <a:cubicBezTo>
                  <a:pt x="1320" y="169"/>
                  <a:pt x="1319" y="169"/>
                  <a:pt x="1318" y="171"/>
                </a:cubicBezTo>
                <a:cubicBezTo>
                  <a:pt x="1320" y="173"/>
                  <a:pt x="1322" y="174"/>
                  <a:pt x="1324" y="176"/>
                </a:cubicBezTo>
                <a:cubicBezTo>
                  <a:pt x="1327" y="175"/>
                  <a:pt x="1329" y="174"/>
                  <a:pt x="1332" y="174"/>
                </a:cubicBezTo>
                <a:close/>
                <a:moveTo>
                  <a:pt x="1422" y="187"/>
                </a:moveTo>
                <a:cubicBezTo>
                  <a:pt x="1422" y="190"/>
                  <a:pt x="1423" y="191"/>
                  <a:pt x="1423" y="193"/>
                </a:cubicBezTo>
                <a:cubicBezTo>
                  <a:pt x="1431" y="195"/>
                  <a:pt x="1435" y="197"/>
                  <a:pt x="1443" y="199"/>
                </a:cubicBezTo>
                <a:cubicBezTo>
                  <a:pt x="1438" y="195"/>
                  <a:pt x="1436" y="194"/>
                  <a:pt x="1431" y="190"/>
                </a:cubicBezTo>
                <a:cubicBezTo>
                  <a:pt x="1428" y="189"/>
                  <a:pt x="1426" y="189"/>
                  <a:pt x="1422" y="187"/>
                </a:cubicBezTo>
                <a:close/>
                <a:moveTo>
                  <a:pt x="1364" y="193"/>
                </a:moveTo>
                <a:cubicBezTo>
                  <a:pt x="1362" y="195"/>
                  <a:pt x="1361" y="195"/>
                  <a:pt x="1358" y="197"/>
                </a:cubicBezTo>
                <a:cubicBezTo>
                  <a:pt x="1363" y="197"/>
                  <a:pt x="1365" y="197"/>
                  <a:pt x="1370" y="198"/>
                </a:cubicBezTo>
                <a:cubicBezTo>
                  <a:pt x="1371" y="200"/>
                  <a:pt x="1371" y="201"/>
                  <a:pt x="1372" y="203"/>
                </a:cubicBezTo>
                <a:cubicBezTo>
                  <a:pt x="1368" y="203"/>
                  <a:pt x="1367" y="203"/>
                  <a:pt x="1364" y="203"/>
                </a:cubicBezTo>
                <a:cubicBezTo>
                  <a:pt x="1368" y="205"/>
                  <a:pt x="1370" y="206"/>
                  <a:pt x="1374" y="209"/>
                </a:cubicBezTo>
                <a:cubicBezTo>
                  <a:pt x="1367" y="208"/>
                  <a:pt x="1364" y="207"/>
                  <a:pt x="1358" y="206"/>
                </a:cubicBezTo>
                <a:cubicBezTo>
                  <a:pt x="1355" y="204"/>
                  <a:pt x="1354" y="203"/>
                  <a:pt x="1351" y="201"/>
                </a:cubicBezTo>
                <a:cubicBezTo>
                  <a:pt x="1347" y="199"/>
                  <a:pt x="1345" y="198"/>
                  <a:pt x="1341" y="196"/>
                </a:cubicBezTo>
                <a:cubicBezTo>
                  <a:pt x="1338" y="194"/>
                  <a:pt x="1337" y="193"/>
                  <a:pt x="1335" y="191"/>
                </a:cubicBezTo>
                <a:cubicBezTo>
                  <a:pt x="1330" y="192"/>
                  <a:pt x="1328" y="192"/>
                  <a:pt x="1324" y="193"/>
                </a:cubicBezTo>
                <a:cubicBezTo>
                  <a:pt x="1324" y="192"/>
                  <a:pt x="1325" y="191"/>
                  <a:pt x="1325" y="189"/>
                </a:cubicBezTo>
                <a:cubicBezTo>
                  <a:pt x="1322" y="189"/>
                  <a:pt x="1321" y="188"/>
                  <a:pt x="1318" y="188"/>
                </a:cubicBezTo>
                <a:cubicBezTo>
                  <a:pt x="1324" y="187"/>
                  <a:pt x="1326" y="187"/>
                  <a:pt x="1332" y="187"/>
                </a:cubicBezTo>
                <a:cubicBezTo>
                  <a:pt x="1333" y="185"/>
                  <a:pt x="1334" y="184"/>
                  <a:pt x="1335" y="182"/>
                </a:cubicBezTo>
                <a:cubicBezTo>
                  <a:pt x="1333" y="181"/>
                  <a:pt x="1332" y="180"/>
                  <a:pt x="1330" y="179"/>
                </a:cubicBezTo>
                <a:cubicBezTo>
                  <a:pt x="1328" y="181"/>
                  <a:pt x="1327" y="182"/>
                  <a:pt x="1324" y="184"/>
                </a:cubicBezTo>
                <a:cubicBezTo>
                  <a:pt x="1324" y="184"/>
                  <a:pt x="1318" y="180"/>
                  <a:pt x="1314" y="186"/>
                </a:cubicBezTo>
                <a:cubicBezTo>
                  <a:pt x="1314" y="186"/>
                  <a:pt x="1304" y="183"/>
                  <a:pt x="1301" y="187"/>
                </a:cubicBezTo>
                <a:cubicBezTo>
                  <a:pt x="1297" y="187"/>
                  <a:pt x="1295" y="188"/>
                  <a:pt x="1292" y="188"/>
                </a:cubicBezTo>
                <a:cubicBezTo>
                  <a:pt x="1292" y="188"/>
                  <a:pt x="1291" y="195"/>
                  <a:pt x="1283" y="194"/>
                </a:cubicBezTo>
                <a:cubicBezTo>
                  <a:pt x="1276" y="193"/>
                  <a:pt x="1274" y="203"/>
                  <a:pt x="1274" y="203"/>
                </a:cubicBezTo>
                <a:cubicBezTo>
                  <a:pt x="1280" y="203"/>
                  <a:pt x="1282" y="204"/>
                  <a:pt x="1288" y="205"/>
                </a:cubicBezTo>
                <a:cubicBezTo>
                  <a:pt x="1288" y="205"/>
                  <a:pt x="1295" y="210"/>
                  <a:pt x="1299" y="204"/>
                </a:cubicBezTo>
                <a:cubicBezTo>
                  <a:pt x="1299" y="204"/>
                  <a:pt x="1298" y="211"/>
                  <a:pt x="1306" y="209"/>
                </a:cubicBezTo>
                <a:cubicBezTo>
                  <a:pt x="1314" y="207"/>
                  <a:pt x="1318" y="203"/>
                  <a:pt x="1318" y="203"/>
                </a:cubicBezTo>
                <a:cubicBezTo>
                  <a:pt x="1318" y="205"/>
                  <a:pt x="1319" y="206"/>
                  <a:pt x="1319" y="208"/>
                </a:cubicBezTo>
                <a:cubicBezTo>
                  <a:pt x="1316" y="209"/>
                  <a:pt x="1314" y="210"/>
                  <a:pt x="1311" y="211"/>
                </a:cubicBezTo>
                <a:cubicBezTo>
                  <a:pt x="1310" y="212"/>
                  <a:pt x="1310" y="213"/>
                  <a:pt x="1309" y="215"/>
                </a:cubicBezTo>
                <a:cubicBezTo>
                  <a:pt x="1313" y="215"/>
                  <a:pt x="1315" y="215"/>
                  <a:pt x="1319" y="215"/>
                </a:cubicBezTo>
                <a:cubicBezTo>
                  <a:pt x="1323" y="217"/>
                  <a:pt x="1326" y="218"/>
                  <a:pt x="1330" y="220"/>
                </a:cubicBezTo>
                <a:cubicBezTo>
                  <a:pt x="1335" y="220"/>
                  <a:pt x="1338" y="220"/>
                  <a:pt x="1343" y="220"/>
                </a:cubicBezTo>
                <a:cubicBezTo>
                  <a:pt x="1348" y="219"/>
                  <a:pt x="1350" y="219"/>
                  <a:pt x="1355" y="219"/>
                </a:cubicBezTo>
                <a:cubicBezTo>
                  <a:pt x="1360" y="218"/>
                  <a:pt x="1363" y="218"/>
                  <a:pt x="1368" y="218"/>
                </a:cubicBezTo>
                <a:cubicBezTo>
                  <a:pt x="1379" y="220"/>
                  <a:pt x="1384" y="221"/>
                  <a:pt x="1395" y="223"/>
                </a:cubicBezTo>
                <a:cubicBezTo>
                  <a:pt x="1400" y="223"/>
                  <a:pt x="1404" y="223"/>
                  <a:pt x="1409" y="222"/>
                </a:cubicBezTo>
                <a:cubicBezTo>
                  <a:pt x="1414" y="220"/>
                  <a:pt x="1417" y="218"/>
                  <a:pt x="1421" y="216"/>
                </a:cubicBezTo>
                <a:cubicBezTo>
                  <a:pt x="1419" y="212"/>
                  <a:pt x="1418" y="210"/>
                  <a:pt x="1416" y="207"/>
                </a:cubicBezTo>
                <a:cubicBezTo>
                  <a:pt x="1411" y="208"/>
                  <a:pt x="1408" y="208"/>
                  <a:pt x="1403" y="209"/>
                </a:cubicBezTo>
                <a:cubicBezTo>
                  <a:pt x="1400" y="208"/>
                  <a:pt x="1399" y="208"/>
                  <a:pt x="1396" y="207"/>
                </a:cubicBezTo>
                <a:cubicBezTo>
                  <a:pt x="1394" y="204"/>
                  <a:pt x="1393" y="203"/>
                  <a:pt x="1391" y="200"/>
                </a:cubicBezTo>
                <a:cubicBezTo>
                  <a:pt x="1391" y="197"/>
                  <a:pt x="1391" y="195"/>
                  <a:pt x="1391" y="192"/>
                </a:cubicBezTo>
                <a:cubicBezTo>
                  <a:pt x="1387" y="192"/>
                  <a:pt x="1385" y="191"/>
                  <a:pt x="1381" y="191"/>
                </a:cubicBezTo>
                <a:cubicBezTo>
                  <a:pt x="1379" y="192"/>
                  <a:pt x="1378" y="192"/>
                  <a:pt x="1375" y="193"/>
                </a:cubicBezTo>
                <a:cubicBezTo>
                  <a:pt x="1371" y="193"/>
                  <a:pt x="1369" y="193"/>
                  <a:pt x="1364" y="193"/>
                </a:cubicBezTo>
                <a:close/>
                <a:moveTo>
                  <a:pt x="497" y="453"/>
                </a:moveTo>
                <a:cubicBezTo>
                  <a:pt x="495" y="456"/>
                  <a:pt x="494" y="458"/>
                  <a:pt x="492" y="461"/>
                </a:cubicBezTo>
                <a:cubicBezTo>
                  <a:pt x="496" y="460"/>
                  <a:pt x="497" y="459"/>
                  <a:pt x="501" y="457"/>
                </a:cubicBezTo>
                <a:cubicBezTo>
                  <a:pt x="502" y="455"/>
                  <a:pt x="503" y="454"/>
                  <a:pt x="504" y="452"/>
                </a:cubicBezTo>
                <a:cubicBezTo>
                  <a:pt x="501" y="452"/>
                  <a:pt x="500" y="453"/>
                  <a:pt x="497" y="453"/>
                </a:cubicBezTo>
                <a:close/>
                <a:moveTo>
                  <a:pt x="1232" y="187"/>
                </a:moveTo>
                <a:cubicBezTo>
                  <a:pt x="1235" y="188"/>
                  <a:pt x="1236" y="188"/>
                  <a:pt x="1239" y="189"/>
                </a:cubicBezTo>
                <a:cubicBezTo>
                  <a:pt x="1241" y="189"/>
                  <a:pt x="1242" y="188"/>
                  <a:pt x="1244" y="188"/>
                </a:cubicBezTo>
                <a:cubicBezTo>
                  <a:pt x="1248" y="189"/>
                  <a:pt x="1250" y="189"/>
                  <a:pt x="1254" y="190"/>
                </a:cubicBezTo>
                <a:cubicBezTo>
                  <a:pt x="1257" y="189"/>
                  <a:pt x="1258" y="189"/>
                  <a:pt x="1262" y="188"/>
                </a:cubicBezTo>
                <a:cubicBezTo>
                  <a:pt x="1265" y="188"/>
                  <a:pt x="1267" y="188"/>
                  <a:pt x="1271" y="187"/>
                </a:cubicBezTo>
                <a:cubicBezTo>
                  <a:pt x="1273" y="185"/>
                  <a:pt x="1274" y="183"/>
                  <a:pt x="1276" y="181"/>
                </a:cubicBezTo>
                <a:cubicBezTo>
                  <a:pt x="1276" y="183"/>
                  <a:pt x="1276" y="184"/>
                  <a:pt x="1277" y="186"/>
                </a:cubicBezTo>
                <a:cubicBezTo>
                  <a:pt x="1279" y="186"/>
                  <a:pt x="1281" y="185"/>
                  <a:pt x="1284" y="185"/>
                </a:cubicBezTo>
                <a:cubicBezTo>
                  <a:pt x="1284" y="186"/>
                  <a:pt x="1284" y="187"/>
                  <a:pt x="1284" y="188"/>
                </a:cubicBezTo>
                <a:cubicBezTo>
                  <a:pt x="1287" y="186"/>
                  <a:pt x="1288" y="185"/>
                  <a:pt x="1291" y="184"/>
                </a:cubicBezTo>
                <a:cubicBezTo>
                  <a:pt x="1294" y="184"/>
                  <a:pt x="1296" y="184"/>
                  <a:pt x="1299" y="184"/>
                </a:cubicBezTo>
                <a:cubicBezTo>
                  <a:pt x="1303" y="183"/>
                  <a:pt x="1304" y="182"/>
                  <a:pt x="1307" y="181"/>
                </a:cubicBezTo>
                <a:cubicBezTo>
                  <a:pt x="1305" y="180"/>
                  <a:pt x="1304" y="179"/>
                  <a:pt x="1302" y="178"/>
                </a:cubicBezTo>
                <a:cubicBezTo>
                  <a:pt x="1306" y="177"/>
                  <a:pt x="1308" y="177"/>
                  <a:pt x="1312" y="177"/>
                </a:cubicBezTo>
                <a:cubicBezTo>
                  <a:pt x="1309" y="175"/>
                  <a:pt x="1308" y="174"/>
                  <a:pt x="1305" y="173"/>
                </a:cubicBezTo>
                <a:cubicBezTo>
                  <a:pt x="1303" y="171"/>
                  <a:pt x="1302" y="171"/>
                  <a:pt x="1299" y="169"/>
                </a:cubicBezTo>
                <a:cubicBezTo>
                  <a:pt x="1296" y="171"/>
                  <a:pt x="1295" y="171"/>
                  <a:pt x="1292" y="173"/>
                </a:cubicBezTo>
                <a:cubicBezTo>
                  <a:pt x="1289" y="172"/>
                  <a:pt x="1288" y="172"/>
                  <a:pt x="1286" y="171"/>
                </a:cubicBezTo>
                <a:cubicBezTo>
                  <a:pt x="1281" y="171"/>
                  <a:pt x="1279" y="171"/>
                  <a:pt x="1274" y="171"/>
                </a:cubicBezTo>
                <a:cubicBezTo>
                  <a:pt x="1272" y="170"/>
                  <a:pt x="1271" y="170"/>
                  <a:pt x="1269" y="170"/>
                </a:cubicBezTo>
                <a:cubicBezTo>
                  <a:pt x="1266" y="172"/>
                  <a:pt x="1265" y="172"/>
                  <a:pt x="1263" y="174"/>
                </a:cubicBezTo>
                <a:cubicBezTo>
                  <a:pt x="1259" y="174"/>
                  <a:pt x="1257" y="175"/>
                  <a:pt x="1253" y="175"/>
                </a:cubicBezTo>
                <a:cubicBezTo>
                  <a:pt x="1247" y="176"/>
                  <a:pt x="1244" y="177"/>
                  <a:pt x="1238" y="178"/>
                </a:cubicBezTo>
                <a:cubicBezTo>
                  <a:pt x="1232" y="179"/>
                  <a:pt x="1230" y="179"/>
                  <a:pt x="1224" y="179"/>
                </a:cubicBezTo>
                <a:cubicBezTo>
                  <a:pt x="1222" y="180"/>
                  <a:pt x="1221" y="181"/>
                  <a:pt x="1219" y="182"/>
                </a:cubicBezTo>
                <a:cubicBezTo>
                  <a:pt x="1220" y="184"/>
                  <a:pt x="1220" y="185"/>
                  <a:pt x="1221" y="188"/>
                </a:cubicBezTo>
                <a:cubicBezTo>
                  <a:pt x="1225" y="187"/>
                  <a:pt x="1227" y="187"/>
                  <a:pt x="1232" y="187"/>
                </a:cubicBezTo>
                <a:close/>
                <a:moveTo>
                  <a:pt x="549" y="440"/>
                </a:moveTo>
                <a:cubicBezTo>
                  <a:pt x="543" y="442"/>
                  <a:pt x="541" y="443"/>
                  <a:pt x="535" y="444"/>
                </a:cubicBezTo>
                <a:cubicBezTo>
                  <a:pt x="534" y="445"/>
                  <a:pt x="533" y="446"/>
                  <a:pt x="532" y="448"/>
                </a:cubicBezTo>
                <a:cubicBezTo>
                  <a:pt x="528" y="448"/>
                  <a:pt x="526" y="447"/>
                  <a:pt x="522" y="447"/>
                </a:cubicBezTo>
                <a:cubicBezTo>
                  <a:pt x="518" y="449"/>
                  <a:pt x="516" y="450"/>
                  <a:pt x="511" y="452"/>
                </a:cubicBezTo>
                <a:cubicBezTo>
                  <a:pt x="510" y="454"/>
                  <a:pt x="510" y="455"/>
                  <a:pt x="509" y="457"/>
                </a:cubicBezTo>
                <a:cubicBezTo>
                  <a:pt x="509" y="457"/>
                  <a:pt x="522" y="447"/>
                  <a:pt x="529" y="452"/>
                </a:cubicBezTo>
                <a:cubicBezTo>
                  <a:pt x="536" y="456"/>
                  <a:pt x="542" y="446"/>
                  <a:pt x="542" y="446"/>
                </a:cubicBezTo>
                <a:cubicBezTo>
                  <a:pt x="547" y="445"/>
                  <a:pt x="550" y="444"/>
                  <a:pt x="555" y="443"/>
                </a:cubicBezTo>
                <a:cubicBezTo>
                  <a:pt x="553" y="442"/>
                  <a:pt x="552" y="441"/>
                  <a:pt x="549" y="440"/>
                </a:cubicBezTo>
                <a:close/>
                <a:moveTo>
                  <a:pt x="1516" y="205"/>
                </a:moveTo>
                <a:cubicBezTo>
                  <a:pt x="1518" y="206"/>
                  <a:pt x="1519" y="207"/>
                  <a:pt x="1521" y="209"/>
                </a:cubicBezTo>
                <a:cubicBezTo>
                  <a:pt x="1524" y="211"/>
                  <a:pt x="1526" y="212"/>
                  <a:pt x="1528" y="214"/>
                </a:cubicBezTo>
                <a:cubicBezTo>
                  <a:pt x="1533" y="217"/>
                  <a:pt x="1535" y="219"/>
                  <a:pt x="1539" y="222"/>
                </a:cubicBezTo>
                <a:cubicBezTo>
                  <a:pt x="1542" y="222"/>
                  <a:pt x="1543" y="222"/>
                  <a:pt x="1546" y="222"/>
                </a:cubicBezTo>
                <a:cubicBezTo>
                  <a:pt x="1551" y="225"/>
                  <a:pt x="1554" y="225"/>
                  <a:pt x="1559" y="228"/>
                </a:cubicBezTo>
                <a:cubicBezTo>
                  <a:pt x="1561" y="227"/>
                  <a:pt x="1562" y="227"/>
                  <a:pt x="1564" y="226"/>
                </a:cubicBezTo>
                <a:cubicBezTo>
                  <a:pt x="1567" y="225"/>
                  <a:pt x="1569" y="225"/>
                  <a:pt x="1572" y="225"/>
                </a:cubicBezTo>
                <a:cubicBezTo>
                  <a:pt x="1569" y="223"/>
                  <a:pt x="1567" y="223"/>
                  <a:pt x="1564" y="222"/>
                </a:cubicBezTo>
                <a:cubicBezTo>
                  <a:pt x="1563" y="219"/>
                  <a:pt x="1562" y="218"/>
                  <a:pt x="1560" y="216"/>
                </a:cubicBezTo>
                <a:cubicBezTo>
                  <a:pt x="1560" y="214"/>
                  <a:pt x="1560" y="214"/>
                  <a:pt x="1560" y="212"/>
                </a:cubicBezTo>
                <a:cubicBezTo>
                  <a:pt x="1558" y="211"/>
                  <a:pt x="1557" y="211"/>
                  <a:pt x="1556" y="210"/>
                </a:cubicBezTo>
                <a:cubicBezTo>
                  <a:pt x="1554" y="208"/>
                  <a:pt x="1554" y="208"/>
                  <a:pt x="1553" y="206"/>
                </a:cubicBezTo>
                <a:cubicBezTo>
                  <a:pt x="1549" y="205"/>
                  <a:pt x="1547" y="205"/>
                  <a:pt x="1542" y="205"/>
                </a:cubicBezTo>
                <a:cubicBezTo>
                  <a:pt x="1539" y="203"/>
                  <a:pt x="1538" y="203"/>
                  <a:pt x="1534" y="201"/>
                </a:cubicBezTo>
                <a:cubicBezTo>
                  <a:pt x="1531" y="199"/>
                  <a:pt x="1530" y="198"/>
                  <a:pt x="1527" y="196"/>
                </a:cubicBezTo>
                <a:cubicBezTo>
                  <a:pt x="1525" y="194"/>
                  <a:pt x="1524" y="193"/>
                  <a:pt x="1521" y="191"/>
                </a:cubicBezTo>
                <a:cubicBezTo>
                  <a:pt x="1517" y="193"/>
                  <a:pt x="1515" y="194"/>
                  <a:pt x="1511" y="197"/>
                </a:cubicBezTo>
                <a:cubicBezTo>
                  <a:pt x="1511" y="198"/>
                  <a:pt x="1511" y="199"/>
                  <a:pt x="1510" y="201"/>
                </a:cubicBezTo>
                <a:cubicBezTo>
                  <a:pt x="1513" y="202"/>
                  <a:pt x="1514" y="203"/>
                  <a:pt x="1516" y="205"/>
                </a:cubicBezTo>
                <a:close/>
                <a:moveTo>
                  <a:pt x="593" y="379"/>
                </a:moveTo>
                <a:cubicBezTo>
                  <a:pt x="590" y="380"/>
                  <a:pt x="589" y="381"/>
                  <a:pt x="586" y="383"/>
                </a:cubicBezTo>
                <a:cubicBezTo>
                  <a:pt x="586" y="384"/>
                  <a:pt x="586" y="385"/>
                  <a:pt x="586" y="386"/>
                </a:cubicBezTo>
                <a:cubicBezTo>
                  <a:pt x="589" y="386"/>
                  <a:pt x="591" y="386"/>
                  <a:pt x="594" y="385"/>
                </a:cubicBezTo>
                <a:cubicBezTo>
                  <a:pt x="598" y="384"/>
                  <a:pt x="601" y="383"/>
                  <a:pt x="605" y="381"/>
                </a:cubicBezTo>
                <a:cubicBezTo>
                  <a:pt x="605" y="380"/>
                  <a:pt x="605" y="379"/>
                  <a:pt x="605" y="377"/>
                </a:cubicBezTo>
                <a:cubicBezTo>
                  <a:pt x="600" y="378"/>
                  <a:pt x="598" y="378"/>
                  <a:pt x="593" y="379"/>
                </a:cubicBezTo>
                <a:close/>
                <a:moveTo>
                  <a:pt x="741" y="389"/>
                </a:moveTo>
                <a:cubicBezTo>
                  <a:pt x="736" y="390"/>
                  <a:pt x="734" y="391"/>
                  <a:pt x="729" y="393"/>
                </a:cubicBezTo>
                <a:cubicBezTo>
                  <a:pt x="727" y="395"/>
                  <a:pt x="726" y="396"/>
                  <a:pt x="723" y="398"/>
                </a:cubicBezTo>
                <a:cubicBezTo>
                  <a:pt x="720" y="398"/>
                  <a:pt x="718" y="398"/>
                  <a:pt x="714" y="398"/>
                </a:cubicBezTo>
                <a:cubicBezTo>
                  <a:pt x="711" y="401"/>
                  <a:pt x="709" y="402"/>
                  <a:pt x="706" y="405"/>
                </a:cubicBezTo>
                <a:cubicBezTo>
                  <a:pt x="708" y="405"/>
                  <a:pt x="709" y="406"/>
                  <a:pt x="712" y="406"/>
                </a:cubicBezTo>
                <a:cubicBezTo>
                  <a:pt x="707" y="409"/>
                  <a:pt x="705" y="410"/>
                  <a:pt x="701" y="412"/>
                </a:cubicBezTo>
                <a:cubicBezTo>
                  <a:pt x="704" y="412"/>
                  <a:pt x="706" y="412"/>
                  <a:pt x="709" y="411"/>
                </a:cubicBezTo>
                <a:cubicBezTo>
                  <a:pt x="712" y="410"/>
                  <a:pt x="714" y="409"/>
                  <a:pt x="717" y="408"/>
                </a:cubicBezTo>
                <a:cubicBezTo>
                  <a:pt x="721" y="406"/>
                  <a:pt x="723" y="405"/>
                  <a:pt x="727" y="403"/>
                </a:cubicBezTo>
                <a:cubicBezTo>
                  <a:pt x="731" y="402"/>
                  <a:pt x="733" y="401"/>
                  <a:pt x="737" y="400"/>
                </a:cubicBezTo>
                <a:cubicBezTo>
                  <a:pt x="738" y="397"/>
                  <a:pt x="739" y="396"/>
                  <a:pt x="740" y="394"/>
                </a:cubicBezTo>
                <a:cubicBezTo>
                  <a:pt x="741" y="392"/>
                  <a:pt x="741" y="391"/>
                  <a:pt x="741" y="389"/>
                </a:cubicBezTo>
                <a:close/>
                <a:moveTo>
                  <a:pt x="1436" y="174"/>
                </a:moveTo>
                <a:cubicBezTo>
                  <a:pt x="1441" y="177"/>
                  <a:pt x="1444" y="178"/>
                  <a:pt x="1450" y="180"/>
                </a:cubicBezTo>
                <a:cubicBezTo>
                  <a:pt x="1444" y="179"/>
                  <a:pt x="1441" y="179"/>
                  <a:pt x="1435" y="178"/>
                </a:cubicBezTo>
                <a:cubicBezTo>
                  <a:pt x="1436" y="180"/>
                  <a:pt x="1436" y="181"/>
                  <a:pt x="1437" y="182"/>
                </a:cubicBezTo>
                <a:cubicBezTo>
                  <a:pt x="1439" y="184"/>
                  <a:pt x="1440" y="185"/>
                  <a:pt x="1442" y="187"/>
                </a:cubicBezTo>
                <a:cubicBezTo>
                  <a:pt x="1445" y="186"/>
                  <a:pt x="1447" y="186"/>
                  <a:pt x="1450" y="185"/>
                </a:cubicBezTo>
                <a:cubicBezTo>
                  <a:pt x="1453" y="187"/>
                  <a:pt x="1454" y="189"/>
                  <a:pt x="1456" y="191"/>
                </a:cubicBezTo>
                <a:cubicBezTo>
                  <a:pt x="1461" y="190"/>
                  <a:pt x="1463" y="190"/>
                  <a:pt x="1468" y="189"/>
                </a:cubicBezTo>
                <a:cubicBezTo>
                  <a:pt x="1470" y="192"/>
                  <a:pt x="1471" y="193"/>
                  <a:pt x="1473" y="195"/>
                </a:cubicBezTo>
                <a:cubicBezTo>
                  <a:pt x="1476" y="195"/>
                  <a:pt x="1478" y="195"/>
                  <a:pt x="1482" y="196"/>
                </a:cubicBezTo>
                <a:cubicBezTo>
                  <a:pt x="1485" y="198"/>
                  <a:pt x="1487" y="199"/>
                  <a:pt x="1490" y="202"/>
                </a:cubicBezTo>
                <a:cubicBezTo>
                  <a:pt x="1496" y="203"/>
                  <a:pt x="1498" y="204"/>
                  <a:pt x="1504" y="206"/>
                </a:cubicBezTo>
                <a:cubicBezTo>
                  <a:pt x="1505" y="205"/>
                  <a:pt x="1505" y="204"/>
                  <a:pt x="1506" y="203"/>
                </a:cubicBezTo>
                <a:cubicBezTo>
                  <a:pt x="1504" y="201"/>
                  <a:pt x="1504" y="201"/>
                  <a:pt x="1503" y="199"/>
                </a:cubicBezTo>
                <a:cubicBezTo>
                  <a:pt x="1502" y="197"/>
                  <a:pt x="1502" y="197"/>
                  <a:pt x="1501" y="195"/>
                </a:cubicBezTo>
                <a:cubicBezTo>
                  <a:pt x="1500" y="192"/>
                  <a:pt x="1499" y="191"/>
                  <a:pt x="1497" y="189"/>
                </a:cubicBezTo>
                <a:cubicBezTo>
                  <a:pt x="1495" y="188"/>
                  <a:pt x="1493" y="188"/>
                  <a:pt x="1490" y="187"/>
                </a:cubicBezTo>
                <a:cubicBezTo>
                  <a:pt x="1488" y="185"/>
                  <a:pt x="1487" y="185"/>
                  <a:pt x="1485" y="183"/>
                </a:cubicBezTo>
                <a:cubicBezTo>
                  <a:pt x="1482" y="182"/>
                  <a:pt x="1480" y="182"/>
                  <a:pt x="1477" y="181"/>
                </a:cubicBezTo>
                <a:cubicBezTo>
                  <a:pt x="1474" y="181"/>
                  <a:pt x="1473" y="180"/>
                  <a:pt x="1471" y="180"/>
                </a:cubicBezTo>
                <a:cubicBezTo>
                  <a:pt x="1469" y="177"/>
                  <a:pt x="1468" y="176"/>
                  <a:pt x="1466" y="173"/>
                </a:cubicBezTo>
                <a:cubicBezTo>
                  <a:pt x="1459" y="172"/>
                  <a:pt x="1455" y="171"/>
                  <a:pt x="1448" y="169"/>
                </a:cubicBezTo>
                <a:cubicBezTo>
                  <a:pt x="1444" y="169"/>
                  <a:pt x="1442" y="169"/>
                  <a:pt x="1437" y="169"/>
                </a:cubicBezTo>
                <a:cubicBezTo>
                  <a:pt x="1435" y="169"/>
                  <a:pt x="1434" y="169"/>
                  <a:pt x="1432" y="168"/>
                </a:cubicBezTo>
                <a:cubicBezTo>
                  <a:pt x="1432" y="170"/>
                  <a:pt x="1432" y="171"/>
                  <a:pt x="1431" y="173"/>
                </a:cubicBezTo>
                <a:cubicBezTo>
                  <a:pt x="1433" y="173"/>
                  <a:pt x="1434" y="174"/>
                  <a:pt x="1436" y="174"/>
                </a:cubicBezTo>
                <a:close/>
                <a:moveTo>
                  <a:pt x="1802" y="579"/>
                </a:moveTo>
                <a:cubicBezTo>
                  <a:pt x="1803" y="581"/>
                  <a:pt x="1804" y="582"/>
                  <a:pt x="1805" y="583"/>
                </a:cubicBezTo>
                <a:cubicBezTo>
                  <a:pt x="1808" y="583"/>
                  <a:pt x="1810" y="583"/>
                  <a:pt x="1813" y="583"/>
                </a:cubicBezTo>
                <a:cubicBezTo>
                  <a:pt x="1811" y="580"/>
                  <a:pt x="1811" y="579"/>
                  <a:pt x="1810" y="577"/>
                </a:cubicBezTo>
                <a:cubicBezTo>
                  <a:pt x="1807" y="578"/>
                  <a:pt x="1805" y="578"/>
                  <a:pt x="1802" y="579"/>
                </a:cubicBezTo>
                <a:close/>
                <a:moveTo>
                  <a:pt x="1840" y="577"/>
                </a:moveTo>
                <a:cubicBezTo>
                  <a:pt x="1841" y="580"/>
                  <a:pt x="1841" y="582"/>
                  <a:pt x="1842" y="585"/>
                </a:cubicBezTo>
                <a:cubicBezTo>
                  <a:pt x="1844" y="583"/>
                  <a:pt x="1846" y="583"/>
                  <a:pt x="1848" y="581"/>
                </a:cubicBezTo>
                <a:cubicBezTo>
                  <a:pt x="1846" y="577"/>
                  <a:pt x="1845" y="575"/>
                  <a:pt x="1843" y="571"/>
                </a:cubicBezTo>
                <a:cubicBezTo>
                  <a:pt x="1841" y="574"/>
                  <a:pt x="1841" y="575"/>
                  <a:pt x="1840" y="577"/>
                </a:cubicBezTo>
                <a:close/>
                <a:moveTo>
                  <a:pt x="1530" y="1200"/>
                </a:moveTo>
                <a:cubicBezTo>
                  <a:pt x="1513" y="1195"/>
                  <a:pt x="1513" y="1204"/>
                  <a:pt x="1527" y="1215"/>
                </a:cubicBezTo>
                <a:cubicBezTo>
                  <a:pt x="1541" y="1227"/>
                  <a:pt x="1546" y="1214"/>
                  <a:pt x="1546" y="1214"/>
                </a:cubicBezTo>
                <a:cubicBezTo>
                  <a:pt x="1546" y="1214"/>
                  <a:pt x="1548" y="1204"/>
                  <a:pt x="1530" y="1200"/>
                </a:cubicBezTo>
                <a:close/>
                <a:moveTo>
                  <a:pt x="1668" y="495"/>
                </a:moveTo>
                <a:cubicBezTo>
                  <a:pt x="1666" y="499"/>
                  <a:pt x="1671" y="505"/>
                  <a:pt x="1671" y="505"/>
                </a:cubicBezTo>
                <a:cubicBezTo>
                  <a:pt x="1671" y="505"/>
                  <a:pt x="1682" y="511"/>
                  <a:pt x="1681" y="499"/>
                </a:cubicBezTo>
                <a:cubicBezTo>
                  <a:pt x="1680" y="488"/>
                  <a:pt x="1670" y="491"/>
                  <a:pt x="1668" y="495"/>
                </a:cubicBezTo>
                <a:close/>
                <a:moveTo>
                  <a:pt x="1649" y="594"/>
                </a:moveTo>
                <a:cubicBezTo>
                  <a:pt x="1649" y="594"/>
                  <a:pt x="1661" y="592"/>
                  <a:pt x="1667" y="594"/>
                </a:cubicBezTo>
                <a:cubicBezTo>
                  <a:pt x="1673" y="596"/>
                  <a:pt x="1675" y="584"/>
                  <a:pt x="1665" y="581"/>
                </a:cubicBezTo>
                <a:cubicBezTo>
                  <a:pt x="1656" y="577"/>
                  <a:pt x="1652" y="585"/>
                  <a:pt x="1652" y="585"/>
                </a:cubicBezTo>
                <a:cubicBezTo>
                  <a:pt x="1651" y="589"/>
                  <a:pt x="1650" y="591"/>
                  <a:pt x="1649" y="594"/>
                </a:cubicBezTo>
                <a:close/>
                <a:moveTo>
                  <a:pt x="1959" y="852"/>
                </a:moveTo>
                <a:cubicBezTo>
                  <a:pt x="1957" y="846"/>
                  <a:pt x="1955" y="842"/>
                  <a:pt x="1953" y="836"/>
                </a:cubicBezTo>
                <a:cubicBezTo>
                  <a:pt x="1954" y="831"/>
                  <a:pt x="1954" y="828"/>
                  <a:pt x="1955" y="823"/>
                </a:cubicBezTo>
                <a:cubicBezTo>
                  <a:pt x="1950" y="822"/>
                  <a:pt x="1948" y="821"/>
                  <a:pt x="1943" y="820"/>
                </a:cubicBezTo>
                <a:cubicBezTo>
                  <a:pt x="1937" y="817"/>
                  <a:pt x="1935" y="816"/>
                  <a:pt x="1929" y="813"/>
                </a:cubicBezTo>
                <a:cubicBezTo>
                  <a:pt x="1930" y="807"/>
                  <a:pt x="1931" y="804"/>
                  <a:pt x="1932" y="798"/>
                </a:cubicBezTo>
                <a:cubicBezTo>
                  <a:pt x="1926" y="798"/>
                  <a:pt x="1923" y="799"/>
                  <a:pt x="1916" y="799"/>
                </a:cubicBezTo>
                <a:cubicBezTo>
                  <a:pt x="1925" y="794"/>
                  <a:pt x="1929" y="792"/>
                  <a:pt x="1936" y="788"/>
                </a:cubicBezTo>
                <a:cubicBezTo>
                  <a:pt x="1934" y="782"/>
                  <a:pt x="1932" y="778"/>
                  <a:pt x="1930" y="772"/>
                </a:cubicBezTo>
                <a:cubicBezTo>
                  <a:pt x="1920" y="777"/>
                  <a:pt x="1916" y="780"/>
                  <a:pt x="1906" y="785"/>
                </a:cubicBezTo>
                <a:cubicBezTo>
                  <a:pt x="1902" y="793"/>
                  <a:pt x="1899" y="797"/>
                  <a:pt x="1894" y="805"/>
                </a:cubicBezTo>
                <a:cubicBezTo>
                  <a:pt x="1888" y="805"/>
                  <a:pt x="1884" y="805"/>
                  <a:pt x="1878" y="804"/>
                </a:cubicBezTo>
                <a:cubicBezTo>
                  <a:pt x="1882" y="806"/>
                  <a:pt x="1885" y="808"/>
                  <a:pt x="1889" y="810"/>
                </a:cubicBezTo>
                <a:cubicBezTo>
                  <a:pt x="1885" y="816"/>
                  <a:pt x="1883" y="820"/>
                  <a:pt x="1879" y="826"/>
                </a:cubicBezTo>
                <a:cubicBezTo>
                  <a:pt x="1886" y="827"/>
                  <a:pt x="1890" y="827"/>
                  <a:pt x="1897" y="827"/>
                </a:cubicBezTo>
                <a:cubicBezTo>
                  <a:pt x="1903" y="831"/>
                  <a:pt x="1907" y="833"/>
                  <a:pt x="1913" y="837"/>
                </a:cubicBezTo>
                <a:cubicBezTo>
                  <a:pt x="1920" y="840"/>
                  <a:pt x="1923" y="841"/>
                  <a:pt x="1929" y="843"/>
                </a:cubicBezTo>
                <a:cubicBezTo>
                  <a:pt x="1921" y="844"/>
                  <a:pt x="1917" y="844"/>
                  <a:pt x="1909" y="845"/>
                </a:cubicBezTo>
                <a:cubicBezTo>
                  <a:pt x="1916" y="848"/>
                  <a:pt x="1920" y="850"/>
                  <a:pt x="1927" y="853"/>
                </a:cubicBezTo>
                <a:cubicBezTo>
                  <a:pt x="1933" y="853"/>
                  <a:pt x="1936" y="852"/>
                  <a:pt x="1942" y="852"/>
                </a:cubicBezTo>
                <a:cubicBezTo>
                  <a:pt x="1942" y="856"/>
                  <a:pt x="1942" y="857"/>
                  <a:pt x="1941" y="861"/>
                </a:cubicBezTo>
                <a:cubicBezTo>
                  <a:pt x="1946" y="863"/>
                  <a:pt x="1949" y="864"/>
                  <a:pt x="1954" y="867"/>
                </a:cubicBezTo>
                <a:cubicBezTo>
                  <a:pt x="1954" y="864"/>
                  <a:pt x="1954" y="862"/>
                  <a:pt x="1954" y="858"/>
                </a:cubicBezTo>
                <a:cubicBezTo>
                  <a:pt x="1956" y="856"/>
                  <a:pt x="1957" y="855"/>
                  <a:pt x="1959" y="852"/>
                </a:cubicBezTo>
                <a:close/>
                <a:moveTo>
                  <a:pt x="1648" y="1223"/>
                </a:moveTo>
                <a:cubicBezTo>
                  <a:pt x="1648" y="1223"/>
                  <a:pt x="1647" y="1213"/>
                  <a:pt x="1632" y="1207"/>
                </a:cubicBezTo>
                <a:cubicBezTo>
                  <a:pt x="1618" y="1201"/>
                  <a:pt x="1612" y="1207"/>
                  <a:pt x="1609" y="1198"/>
                </a:cubicBezTo>
                <a:cubicBezTo>
                  <a:pt x="1606" y="1189"/>
                  <a:pt x="1595" y="1199"/>
                  <a:pt x="1595" y="1199"/>
                </a:cubicBezTo>
                <a:cubicBezTo>
                  <a:pt x="1595" y="1199"/>
                  <a:pt x="1611" y="1205"/>
                  <a:pt x="1599" y="1209"/>
                </a:cubicBezTo>
                <a:cubicBezTo>
                  <a:pt x="1587" y="1214"/>
                  <a:pt x="1602" y="1219"/>
                  <a:pt x="1602" y="1219"/>
                </a:cubicBezTo>
                <a:cubicBezTo>
                  <a:pt x="1602" y="1219"/>
                  <a:pt x="1598" y="1225"/>
                  <a:pt x="1592" y="1218"/>
                </a:cubicBezTo>
                <a:cubicBezTo>
                  <a:pt x="1585" y="1211"/>
                  <a:pt x="1572" y="1207"/>
                  <a:pt x="1574" y="1216"/>
                </a:cubicBezTo>
                <a:cubicBezTo>
                  <a:pt x="1576" y="1224"/>
                  <a:pt x="1588" y="1224"/>
                  <a:pt x="1588" y="1224"/>
                </a:cubicBezTo>
                <a:cubicBezTo>
                  <a:pt x="1595" y="1225"/>
                  <a:pt x="1599" y="1226"/>
                  <a:pt x="1605" y="1228"/>
                </a:cubicBezTo>
                <a:cubicBezTo>
                  <a:pt x="1605" y="1228"/>
                  <a:pt x="1605" y="1239"/>
                  <a:pt x="1613" y="1241"/>
                </a:cubicBezTo>
                <a:cubicBezTo>
                  <a:pt x="1621" y="1244"/>
                  <a:pt x="1623" y="1232"/>
                  <a:pt x="1623" y="1232"/>
                </a:cubicBezTo>
                <a:cubicBezTo>
                  <a:pt x="1628" y="1239"/>
                  <a:pt x="1637" y="1235"/>
                  <a:pt x="1637" y="1235"/>
                </a:cubicBezTo>
                <a:cubicBezTo>
                  <a:pt x="1637" y="1235"/>
                  <a:pt x="1658" y="1247"/>
                  <a:pt x="1660" y="1237"/>
                </a:cubicBezTo>
                <a:cubicBezTo>
                  <a:pt x="1663" y="1227"/>
                  <a:pt x="1648" y="1223"/>
                  <a:pt x="1648" y="1223"/>
                </a:cubicBezTo>
                <a:close/>
                <a:moveTo>
                  <a:pt x="1583" y="1180"/>
                </a:moveTo>
                <a:cubicBezTo>
                  <a:pt x="1584" y="1174"/>
                  <a:pt x="1571" y="1169"/>
                  <a:pt x="1571" y="1169"/>
                </a:cubicBezTo>
                <a:cubicBezTo>
                  <a:pt x="1564" y="1163"/>
                  <a:pt x="1561" y="1160"/>
                  <a:pt x="1554" y="1155"/>
                </a:cubicBezTo>
                <a:cubicBezTo>
                  <a:pt x="1550" y="1146"/>
                  <a:pt x="1548" y="1142"/>
                  <a:pt x="1544" y="1134"/>
                </a:cubicBezTo>
                <a:cubicBezTo>
                  <a:pt x="1538" y="1132"/>
                  <a:pt x="1535" y="1131"/>
                  <a:pt x="1529" y="1129"/>
                </a:cubicBezTo>
                <a:cubicBezTo>
                  <a:pt x="1529" y="1129"/>
                  <a:pt x="1528" y="1118"/>
                  <a:pt x="1504" y="1107"/>
                </a:cubicBezTo>
                <a:cubicBezTo>
                  <a:pt x="1480" y="1096"/>
                  <a:pt x="1449" y="1105"/>
                  <a:pt x="1449" y="1105"/>
                </a:cubicBezTo>
                <a:cubicBezTo>
                  <a:pt x="1449" y="1105"/>
                  <a:pt x="1446" y="1113"/>
                  <a:pt x="1454" y="1116"/>
                </a:cubicBezTo>
                <a:cubicBezTo>
                  <a:pt x="1463" y="1118"/>
                  <a:pt x="1473" y="1111"/>
                  <a:pt x="1481" y="1113"/>
                </a:cubicBezTo>
                <a:cubicBezTo>
                  <a:pt x="1490" y="1116"/>
                  <a:pt x="1490" y="1127"/>
                  <a:pt x="1490" y="1127"/>
                </a:cubicBezTo>
                <a:cubicBezTo>
                  <a:pt x="1490" y="1127"/>
                  <a:pt x="1502" y="1127"/>
                  <a:pt x="1506" y="1135"/>
                </a:cubicBezTo>
                <a:cubicBezTo>
                  <a:pt x="1511" y="1143"/>
                  <a:pt x="1525" y="1145"/>
                  <a:pt x="1525" y="1145"/>
                </a:cubicBezTo>
                <a:cubicBezTo>
                  <a:pt x="1525" y="1145"/>
                  <a:pt x="1529" y="1160"/>
                  <a:pt x="1536" y="1162"/>
                </a:cubicBezTo>
                <a:cubicBezTo>
                  <a:pt x="1542" y="1164"/>
                  <a:pt x="1542" y="1171"/>
                  <a:pt x="1542" y="1171"/>
                </a:cubicBezTo>
                <a:cubicBezTo>
                  <a:pt x="1540" y="1171"/>
                  <a:pt x="1539" y="1171"/>
                  <a:pt x="1538" y="1171"/>
                </a:cubicBezTo>
                <a:cubicBezTo>
                  <a:pt x="1536" y="1173"/>
                  <a:pt x="1535" y="1174"/>
                  <a:pt x="1533" y="1177"/>
                </a:cubicBezTo>
                <a:cubicBezTo>
                  <a:pt x="1543" y="1180"/>
                  <a:pt x="1548" y="1182"/>
                  <a:pt x="1559" y="1186"/>
                </a:cubicBezTo>
                <a:cubicBezTo>
                  <a:pt x="1559" y="1186"/>
                  <a:pt x="1584" y="1193"/>
                  <a:pt x="1586" y="1189"/>
                </a:cubicBezTo>
                <a:cubicBezTo>
                  <a:pt x="1588" y="1185"/>
                  <a:pt x="1583" y="1186"/>
                  <a:pt x="1583" y="1180"/>
                </a:cubicBezTo>
                <a:close/>
                <a:moveTo>
                  <a:pt x="1548" y="246"/>
                </a:moveTo>
                <a:cubicBezTo>
                  <a:pt x="1548" y="246"/>
                  <a:pt x="1542" y="249"/>
                  <a:pt x="1536" y="245"/>
                </a:cubicBezTo>
                <a:cubicBezTo>
                  <a:pt x="1530" y="241"/>
                  <a:pt x="1528" y="246"/>
                  <a:pt x="1528" y="246"/>
                </a:cubicBezTo>
                <a:cubicBezTo>
                  <a:pt x="1526" y="243"/>
                  <a:pt x="1526" y="241"/>
                  <a:pt x="1524" y="238"/>
                </a:cubicBezTo>
                <a:cubicBezTo>
                  <a:pt x="1520" y="238"/>
                  <a:pt x="1519" y="238"/>
                  <a:pt x="1516" y="239"/>
                </a:cubicBezTo>
                <a:cubicBezTo>
                  <a:pt x="1514" y="237"/>
                  <a:pt x="1513" y="236"/>
                  <a:pt x="1512" y="234"/>
                </a:cubicBezTo>
                <a:cubicBezTo>
                  <a:pt x="1512" y="232"/>
                  <a:pt x="1513" y="230"/>
                  <a:pt x="1514" y="228"/>
                </a:cubicBezTo>
                <a:cubicBezTo>
                  <a:pt x="1511" y="225"/>
                  <a:pt x="1510" y="224"/>
                  <a:pt x="1507" y="221"/>
                </a:cubicBezTo>
                <a:cubicBezTo>
                  <a:pt x="1504" y="220"/>
                  <a:pt x="1503" y="220"/>
                  <a:pt x="1499" y="219"/>
                </a:cubicBezTo>
                <a:cubicBezTo>
                  <a:pt x="1499" y="220"/>
                  <a:pt x="1498" y="220"/>
                  <a:pt x="1497" y="221"/>
                </a:cubicBezTo>
                <a:cubicBezTo>
                  <a:pt x="1496" y="220"/>
                  <a:pt x="1495" y="219"/>
                  <a:pt x="1494" y="218"/>
                </a:cubicBezTo>
                <a:cubicBezTo>
                  <a:pt x="1489" y="217"/>
                  <a:pt x="1486" y="216"/>
                  <a:pt x="1482" y="215"/>
                </a:cubicBezTo>
                <a:cubicBezTo>
                  <a:pt x="1478" y="214"/>
                  <a:pt x="1476" y="213"/>
                  <a:pt x="1473" y="213"/>
                </a:cubicBezTo>
                <a:cubicBezTo>
                  <a:pt x="1473" y="213"/>
                  <a:pt x="1482" y="222"/>
                  <a:pt x="1481" y="225"/>
                </a:cubicBezTo>
                <a:cubicBezTo>
                  <a:pt x="1478" y="222"/>
                  <a:pt x="1476" y="220"/>
                  <a:pt x="1473" y="217"/>
                </a:cubicBezTo>
                <a:cubicBezTo>
                  <a:pt x="1470" y="215"/>
                  <a:pt x="1469" y="214"/>
                  <a:pt x="1466" y="211"/>
                </a:cubicBezTo>
                <a:cubicBezTo>
                  <a:pt x="1464" y="213"/>
                  <a:pt x="1463" y="214"/>
                  <a:pt x="1461" y="215"/>
                </a:cubicBezTo>
                <a:cubicBezTo>
                  <a:pt x="1461" y="217"/>
                  <a:pt x="1461" y="217"/>
                  <a:pt x="1460" y="219"/>
                </a:cubicBezTo>
                <a:cubicBezTo>
                  <a:pt x="1458" y="217"/>
                  <a:pt x="1457" y="217"/>
                  <a:pt x="1456" y="215"/>
                </a:cubicBezTo>
                <a:cubicBezTo>
                  <a:pt x="1454" y="213"/>
                  <a:pt x="1453" y="212"/>
                  <a:pt x="1451" y="209"/>
                </a:cubicBezTo>
                <a:cubicBezTo>
                  <a:pt x="1449" y="209"/>
                  <a:pt x="1448" y="209"/>
                  <a:pt x="1445" y="208"/>
                </a:cubicBezTo>
                <a:cubicBezTo>
                  <a:pt x="1443" y="207"/>
                  <a:pt x="1441" y="206"/>
                  <a:pt x="1439" y="205"/>
                </a:cubicBezTo>
                <a:cubicBezTo>
                  <a:pt x="1437" y="204"/>
                  <a:pt x="1436" y="204"/>
                  <a:pt x="1434" y="204"/>
                </a:cubicBezTo>
                <a:cubicBezTo>
                  <a:pt x="1432" y="205"/>
                  <a:pt x="1431" y="206"/>
                  <a:pt x="1430" y="207"/>
                </a:cubicBezTo>
                <a:cubicBezTo>
                  <a:pt x="1432" y="208"/>
                  <a:pt x="1433" y="209"/>
                  <a:pt x="1435" y="210"/>
                </a:cubicBezTo>
                <a:cubicBezTo>
                  <a:pt x="1435" y="212"/>
                  <a:pt x="1434" y="213"/>
                  <a:pt x="1434" y="216"/>
                </a:cubicBezTo>
                <a:cubicBezTo>
                  <a:pt x="1436" y="216"/>
                  <a:pt x="1437" y="217"/>
                  <a:pt x="1439" y="218"/>
                </a:cubicBezTo>
                <a:cubicBezTo>
                  <a:pt x="1440" y="219"/>
                  <a:pt x="1441" y="220"/>
                  <a:pt x="1442" y="222"/>
                </a:cubicBezTo>
                <a:cubicBezTo>
                  <a:pt x="1445" y="223"/>
                  <a:pt x="1447" y="224"/>
                  <a:pt x="1450" y="226"/>
                </a:cubicBezTo>
                <a:cubicBezTo>
                  <a:pt x="1454" y="226"/>
                  <a:pt x="1455" y="226"/>
                  <a:pt x="1459" y="226"/>
                </a:cubicBezTo>
                <a:cubicBezTo>
                  <a:pt x="1464" y="229"/>
                  <a:pt x="1466" y="230"/>
                  <a:pt x="1471" y="232"/>
                </a:cubicBezTo>
                <a:cubicBezTo>
                  <a:pt x="1473" y="234"/>
                  <a:pt x="1473" y="235"/>
                  <a:pt x="1475" y="238"/>
                </a:cubicBezTo>
                <a:cubicBezTo>
                  <a:pt x="1476" y="239"/>
                  <a:pt x="1477" y="240"/>
                  <a:pt x="1479" y="241"/>
                </a:cubicBezTo>
                <a:cubicBezTo>
                  <a:pt x="1485" y="242"/>
                  <a:pt x="1489" y="243"/>
                  <a:pt x="1495" y="245"/>
                </a:cubicBezTo>
                <a:cubicBezTo>
                  <a:pt x="1498" y="246"/>
                  <a:pt x="1500" y="246"/>
                  <a:pt x="1503" y="247"/>
                </a:cubicBezTo>
                <a:cubicBezTo>
                  <a:pt x="1506" y="246"/>
                  <a:pt x="1507" y="246"/>
                  <a:pt x="1510" y="245"/>
                </a:cubicBezTo>
                <a:cubicBezTo>
                  <a:pt x="1511" y="244"/>
                  <a:pt x="1511" y="243"/>
                  <a:pt x="1512" y="242"/>
                </a:cubicBezTo>
                <a:cubicBezTo>
                  <a:pt x="1514" y="242"/>
                  <a:pt x="1514" y="242"/>
                  <a:pt x="1516" y="241"/>
                </a:cubicBezTo>
                <a:cubicBezTo>
                  <a:pt x="1517" y="243"/>
                  <a:pt x="1518" y="244"/>
                  <a:pt x="1518" y="246"/>
                </a:cubicBezTo>
                <a:cubicBezTo>
                  <a:pt x="1520" y="246"/>
                  <a:pt x="1520" y="246"/>
                  <a:pt x="1521" y="247"/>
                </a:cubicBezTo>
                <a:cubicBezTo>
                  <a:pt x="1521" y="249"/>
                  <a:pt x="1520" y="251"/>
                  <a:pt x="1519" y="253"/>
                </a:cubicBezTo>
                <a:cubicBezTo>
                  <a:pt x="1522" y="255"/>
                  <a:pt x="1523" y="256"/>
                  <a:pt x="1525" y="258"/>
                </a:cubicBezTo>
                <a:cubicBezTo>
                  <a:pt x="1527" y="259"/>
                  <a:pt x="1529" y="259"/>
                  <a:pt x="1531" y="260"/>
                </a:cubicBezTo>
                <a:cubicBezTo>
                  <a:pt x="1533" y="261"/>
                  <a:pt x="1534" y="261"/>
                  <a:pt x="1537" y="262"/>
                </a:cubicBezTo>
                <a:cubicBezTo>
                  <a:pt x="1543" y="263"/>
                  <a:pt x="1546" y="263"/>
                  <a:pt x="1552" y="264"/>
                </a:cubicBezTo>
                <a:cubicBezTo>
                  <a:pt x="1552" y="264"/>
                  <a:pt x="1557" y="263"/>
                  <a:pt x="1556" y="255"/>
                </a:cubicBezTo>
                <a:cubicBezTo>
                  <a:pt x="1555" y="248"/>
                  <a:pt x="1548" y="246"/>
                  <a:pt x="1548" y="246"/>
                </a:cubicBezTo>
                <a:close/>
                <a:moveTo>
                  <a:pt x="1729" y="444"/>
                </a:moveTo>
                <a:cubicBezTo>
                  <a:pt x="1735" y="444"/>
                  <a:pt x="1737" y="445"/>
                  <a:pt x="1743" y="446"/>
                </a:cubicBezTo>
                <a:cubicBezTo>
                  <a:pt x="1744" y="441"/>
                  <a:pt x="1744" y="439"/>
                  <a:pt x="1745" y="434"/>
                </a:cubicBezTo>
                <a:cubicBezTo>
                  <a:pt x="1740" y="431"/>
                  <a:pt x="1737" y="429"/>
                  <a:pt x="1732" y="426"/>
                </a:cubicBezTo>
                <a:cubicBezTo>
                  <a:pt x="1727" y="425"/>
                  <a:pt x="1724" y="424"/>
                  <a:pt x="1719" y="423"/>
                </a:cubicBezTo>
                <a:cubicBezTo>
                  <a:pt x="1718" y="427"/>
                  <a:pt x="1718" y="429"/>
                  <a:pt x="1717" y="434"/>
                </a:cubicBezTo>
                <a:cubicBezTo>
                  <a:pt x="1721" y="438"/>
                  <a:pt x="1724" y="440"/>
                  <a:pt x="1729" y="444"/>
                </a:cubicBezTo>
                <a:close/>
                <a:moveTo>
                  <a:pt x="1454" y="301"/>
                </a:moveTo>
                <a:cubicBezTo>
                  <a:pt x="1456" y="300"/>
                  <a:pt x="1457" y="300"/>
                  <a:pt x="1459" y="299"/>
                </a:cubicBezTo>
                <a:cubicBezTo>
                  <a:pt x="1458" y="298"/>
                  <a:pt x="1457" y="297"/>
                  <a:pt x="1457" y="295"/>
                </a:cubicBezTo>
                <a:cubicBezTo>
                  <a:pt x="1454" y="294"/>
                  <a:pt x="1453" y="293"/>
                  <a:pt x="1451" y="292"/>
                </a:cubicBezTo>
                <a:cubicBezTo>
                  <a:pt x="1450" y="294"/>
                  <a:pt x="1450" y="295"/>
                  <a:pt x="1449" y="297"/>
                </a:cubicBezTo>
                <a:cubicBezTo>
                  <a:pt x="1451" y="298"/>
                  <a:pt x="1452" y="299"/>
                  <a:pt x="1454" y="301"/>
                </a:cubicBezTo>
                <a:close/>
                <a:moveTo>
                  <a:pt x="1439" y="227"/>
                </a:moveTo>
                <a:cubicBezTo>
                  <a:pt x="1443" y="219"/>
                  <a:pt x="1429" y="221"/>
                  <a:pt x="1429" y="221"/>
                </a:cubicBezTo>
                <a:cubicBezTo>
                  <a:pt x="1426" y="221"/>
                  <a:pt x="1425" y="221"/>
                  <a:pt x="1422" y="222"/>
                </a:cubicBezTo>
                <a:cubicBezTo>
                  <a:pt x="1423" y="224"/>
                  <a:pt x="1423" y="226"/>
                  <a:pt x="1424" y="228"/>
                </a:cubicBezTo>
                <a:cubicBezTo>
                  <a:pt x="1424" y="228"/>
                  <a:pt x="1436" y="235"/>
                  <a:pt x="1439" y="227"/>
                </a:cubicBezTo>
                <a:close/>
                <a:moveTo>
                  <a:pt x="1412" y="267"/>
                </a:moveTo>
                <a:cubicBezTo>
                  <a:pt x="1410" y="265"/>
                  <a:pt x="1410" y="265"/>
                  <a:pt x="1408" y="263"/>
                </a:cubicBezTo>
                <a:cubicBezTo>
                  <a:pt x="1409" y="259"/>
                  <a:pt x="1409" y="257"/>
                  <a:pt x="1410" y="253"/>
                </a:cubicBezTo>
                <a:cubicBezTo>
                  <a:pt x="1414" y="253"/>
                  <a:pt x="1416" y="252"/>
                  <a:pt x="1419" y="252"/>
                </a:cubicBezTo>
                <a:cubicBezTo>
                  <a:pt x="1418" y="247"/>
                  <a:pt x="1418" y="245"/>
                  <a:pt x="1417" y="241"/>
                </a:cubicBezTo>
                <a:cubicBezTo>
                  <a:pt x="1413" y="241"/>
                  <a:pt x="1411" y="241"/>
                  <a:pt x="1407" y="241"/>
                </a:cubicBezTo>
                <a:cubicBezTo>
                  <a:pt x="1402" y="239"/>
                  <a:pt x="1399" y="239"/>
                  <a:pt x="1394" y="238"/>
                </a:cubicBezTo>
                <a:cubicBezTo>
                  <a:pt x="1393" y="240"/>
                  <a:pt x="1392" y="241"/>
                  <a:pt x="1390" y="243"/>
                </a:cubicBezTo>
                <a:cubicBezTo>
                  <a:pt x="1387" y="243"/>
                  <a:pt x="1385" y="243"/>
                  <a:pt x="1381" y="243"/>
                </a:cubicBezTo>
                <a:cubicBezTo>
                  <a:pt x="1381" y="243"/>
                  <a:pt x="1377" y="235"/>
                  <a:pt x="1374" y="242"/>
                </a:cubicBezTo>
                <a:cubicBezTo>
                  <a:pt x="1371" y="249"/>
                  <a:pt x="1374" y="263"/>
                  <a:pt x="1374" y="263"/>
                </a:cubicBezTo>
                <a:cubicBezTo>
                  <a:pt x="1372" y="262"/>
                  <a:pt x="1371" y="262"/>
                  <a:pt x="1368" y="261"/>
                </a:cubicBezTo>
                <a:cubicBezTo>
                  <a:pt x="1369" y="260"/>
                  <a:pt x="1369" y="260"/>
                  <a:pt x="1370" y="259"/>
                </a:cubicBezTo>
                <a:cubicBezTo>
                  <a:pt x="1368" y="258"/>
                  <a:pt x="1368" y="257"/>
                  <a:pt x="1366" y="256"/>
                </a:cubicBezTo>
                <a:cubicBezTo>
                  <a:pt x="1365" y="254"/>
                  <a:pt x="1365" y="254"/>
                  <a:pt x="1364" y="252"/>
                </a:cubicBezTo>
                <a:cubicBezTo>
                  <a:pt x="1366" y="252"/>
                  <a:pt x="1367" y="252"/>
                  <a:pt x="1369" y="251"/>
                </a:cubicBezTo>
                <a:cubicBezTo>
                  <a:pt x="1367" y="250"/>
                  <a:pt x="1367" y="249"/>
                  <a:pt x="1365" y="248"/>
                </a:cubicBezTo>
                <a:cubicBezTo>
                  <a:pt x="1363" y="247"/>
                  <a:pt x="1361" y="247"/>
                  <a:pt x="1359" y="246"/>
                </a:cubicBezTo>
                <a:cubicBezTo>
                  <a:pt x="1358" y="245"/>
                  <a:pt x="1358" y="244"/>
                  <a:pt x="1357" y="242"/>
                </a:cubicBezTo>
                <a:cubicBezTo>
                  <a:pt x="1355" y="241"/>
                  <a:pt x="1354" y="240"/>
                  <a:pt x="1352" y="239"/>
                </a:cubicBezTo>
                <a:cubicBezTo>
                  <a:pt x="1348" y="239"/>
                  <a:pt x="1346" y="239"/>
                  <a:pt x="1341" y="239"/>
                </a:cubicBezTo>
                <a:cubicBezTo>
                  <a:pt x="1342" y="241"/>
                  <a:pt x="1343" y="242"/>
                  <a:pt x="1344" y="244"/>
                </a:cubicBezTo>
                <a:cubicBezTo>
                  <a:pt x="1342" y="244"/>
                  <a:pt x="1341" y="245"/>
                  <a:pt x="1340" y="245"/>
                </a:cubicBezTo>
                <a:cubicBezTo>
                  <a:pt x="1336" y="242"/>
                  <a:pt x="1334" y="241"/>
                  <a:pt x="1331" y="237"/>
                </a:cubicBezTo>
                <a:cubicBezTo>
                  <a:pt x="1327" y="237"/>
                  <a:pt x="1325" y="238"/>
                  <a:pt x="1321" y="238"/>
                </a:cubicBezTo>
                <a:cubicBezTo>
                  <a:pt x="1317" y="236"/>
                  <a:pt x="1315" y="235"/>
                  <a:pt x="1311" y="234"/>
                </a:cubicBezTo>
                <a:cubicBezTo>
                  <a:pt x="1309" y="235"/>
                  <a:pt x="1307" y="236"/>
                  <a:pt x="1305" y="238"/>
                </a:cubicBezTo>
                <a:cubicBezTo>
                  <a:pt x="1306" y="234"/>
                  <a:pt x="1306" y="232"/>
                  <a:pt x="1307" y="229"/>
                </a:cubicBezTo>
                <a:cubicBezTo>
                  <a:pt x="1304" y="228"/>
                  <a:pt x="1302" y="227"/>
                  <a:pt x="1299" y="226"/>
                </a:cubicBezTo>
                <a:cubicBezTo>
                  <a:pt x="1296" y="227"/>
                  <a:pt x="1295" y="227"/>
                  <a:pt x="1292" y="228"/>
                </a:cubicBezTo>
                <a:cubicBezTo>
                  <a:pt x="1290" y="225"/>
                  <a:pt x="1289" y="224"/>
                  <a:pt x="1288" y="221"/>
                </a:cubicBezTo>
                <a:cubicBezTo>
                  <a:pt x="1286" y="218"/>
                  <a:pt x="1284" y="217"/>
                  <a:pt x="1282" y="215"/>
                </a:cubicBezTo>
                <a:cubicBezTo>
                  <a:pt x="1276" y="214"/>
                  <a:pt x="1273" y="213"/>
                  <a:pt x="1267" y="213"/>
                </a:cubicBezTo>
                <a:cubicBezTo>
                  <a:pt x="1261" y="211"/>
                  <a:pt x="1258" y="210"/>
                  <a:pt x="1252" y="209"/>
                </a:cubicBezTo>
                <a:cubicBezTo>
                  <a:pt x="1243" y="207"/>
                  <a:pt x="1239" y="207"/>
                  <a:pt x="1230" y="205"/>
                </a:cubicBezTo>
                <a:cubicBezTo>
                  <a:pt x="1220" y="205"/>
                  <a:pt x="1215" y="205"/>
                  <a:pt x="1205" y="204"/>
                </a:cubicBezTo>
                <a:cubicBezTo>
                  <a:pt x="1197" y="203"/>
                  <a:pt x="1194" y="203"/>
                  <a:pt x="1187" y="203"/>
                </a:cubicBezTo>
                <a:cubicBezTo>
                  <a:pt x="1187" y="205"/>
                  <a:pt x="1187" y="206"/>
                  <a:pt x="1187" y="209"/>
                </a:cubicBezTo>
                <a:cubicBezTo>
                  <a:pt x="1189" y="211"/>
                  <a:pt x="1190" y="212"/>
                  <a:pt x="1192" y="214"/>
                </a:cubicBezTo>
                <a:cubicBezTo>
                  <a:pt x="1189" y="214"/>
                  <a:pt x="1187" y="214"/>
                  <a:pt x="1184" y="214"/>
                </a:cubicBezTo>
                <a:cubicBezTo>
                  <a:pt x="1182" y="216"/>
                  <a:pt x="1181" y="217"/>
                  <a:pt x="1179" y="218"/>
                </a:cubicBezTo>
                <a:cubicBezTo>
                  <a:pt x="1176" y="220"/>
                  <a:pt x="1174" y="221"/>
                  <a:pt x="1171" y="224"/>
                </a:cubicBezTo>
                <a:cubicBezTo>
                  <a:pt x="1166" y="227"/>
                  <a:pt x="1163" y="228"/>
                  <a:pt x="1158" y="231"/>
                </a:cubicBezTo>
                <a:cubicBezTo>
                  <a:pt x="1165" y="233"/>
                  <a:pt x="1168" y="234"/>
                  <a:pt x="1174" y="236"/>
                </a:cubicBezTo>
                <a:cubicBezTo>
                  <a:pt x="1177" y="238"/>
                  <a:pt x="1178" y="239"/>
                  <a:pt x="1180" y="240"/>
                </a:cubicBezTo>
                <a:cubicBezTo>
                  <a:pt x="1181" y="242"/>
                  <a:pt x="1181" y="243"/>
                  <a:pt x="1182" y="245"/>
                </a:cubicBezTo>
                <a:cubicBezTo>
                  <a:pt x="1185" y="246"/>
                  <a:pt x="1186" y="247"/>
                  <a:pt x="1189" y="248"/>
                </a:cubicBezTo>
                <a:cubicBezTo>
                  <a:pt x="1194" y="246"/>
                  <a:pt x="1196" y="245"/>
                  <a:pt x="1201" y="243"/>
                </a:cubicBezTo>
                <a:cubicBezTo>
                  <a:pt x="1205" y="243"/>
                  <a:pt x="1207" y="243"/>
                  <a:pt x="1212" y="244"/>
                </a:cubicBezTo>
                <a:cubicBezTo>
                  <a:pt x="1214" y="244"/>
                  <a:pt x="1215" y="244"/>
                  <a:pt x="1218" y="245"/>
                </a:cubicBezTo>
                <a:cubicBezTo>
                  <a:pt x="1221" y="242"/>
                  <a:pt x="1223" y="240"/>
                  <a:pt x="1226" y="237"/>
                </a:cubicBezTo>
                <a:cubicBezTo>
                  <a:pt x="1230" y="236"/>
                  <a:pt x="1232" y="236"/>
                  <a:pt x="1235" y="234"/>
                </a:cubicBezTo>
                <a:cubicBezTo>
                  <a:pt x="1241" y="232"/>
                  <a:pt x="1244" y="230"/>
                  <a:pt x="1250" y="228"/>
                </a:cubicBezTo>
                <a:cubicBezTo>
                  <a:pt x="1259" y="228"/>
                  <a:pt x="1264" y="228"/>
                  <a:pt x="1273" y="228"/>
                </a:cubicBezTo>
                <a:cubicBezTo>
                  <a:pt x="1265" y="230"/>
                  <a:pt x="1261" y="230"/>
                  <a:pt x="1253" y="232"/>
                </a:cubicBezTo>
                <a:cubicBezTo>
                  <a:pt x="1249" y="234"/>
                  <a:pt x="1247" y="235"/>
                  <a:pt x="1242" y="237"/>
                </a:cubicBezTo>
                <a:cubicBezTo>
                  <a:pt x="1239" y="239"/>
                  <a:pt x="1238" y="241"/>
                  <a:pt x="1235" y="243"/>
                </a:cubicBezTo>
                <a:cubicBezTo>
                  <a:pt x="1238" y="245"/>
                  <a:pt x="1240" y="246"/>
                  <a:pt x="1243" y="248"/>
                </a:cubicBezTo>
                <a:cubicBezTo>
                  <a:pt x="1247" y="249"/>
                  <a:pt x="1249" y="250"/>
                  <a:pt x="1254" y="251"/>
                </a:cubicBezTo>
                <a:cubicBezTo>
                  <a:pt x="1248" y="252"/>
                  <a:pt x="1246" y="252"/>
                  <a:pt x="1241" y="253"/>
                </a:cubicBezTo>
                <a:cubicBezTo>
                  <a:pt x="1245" y="255"/>
                  <a:pt x="1248" y="256"/>
                  <a:pt x="1253" y="258"/>
                </a:cubicBezTo>
                <a:cubicBezTo>
                  <a:pt x="1276" y="263"/>
                  <a:pt x="1288" y="265"/>
                  <a:pt x="1311" y="271"/>
                </a:cubicBezTo>
                <a:cubicBezTo>
                  <a:pt x="1289" y="268"/>
                  <a:pt x="1278" y="267"/>
                  <a:pt x="1256" y="265"/>
                </a:cubicBezTo>
                <a:cubicBezTo>
                  <a:pt x="1251" y="266"/>
                  <a:pt x="1249" y="267"/>
                  <a:pt x="1243" y="268"/>
                </a:cubicBezTo>
                <a:cubicBezTo>
                  <a:pt x="1243" y="268"/>
                  <a:pt x="1249" y="271"/>
                  <a:pt x="1251" y="275"/>
                </a:cubicBezTo>
                <a:cubicBezTo>
                  <a:pt x="1253" y="280"/>
                  <a:pt x="1263" y="278"/>
                  <a:pt x="1263" y="278"/>
                </a:cubicBezTo>
                <a:cubicBezTo>
                  <a:pt x="1263" y="278"/>
                  <a:pt x="1284" y="281"/>
                  <a:pt x="1283" y="285"/>
                </a:cubicBezTo>
                <a:cubicBezTo>
                  <a:pt x="1283" y="289"/>
                  <a:pt x="1291" y="294"/>
                  <a:pt x="1291" y="294"/>
                </a:cubicBezTo>
                <a:cubicBezTo>
                  <a:pt x="1302" y="296"/>
                  <a:pt x="1307" y="297"/>
                  <a:pt x="1318" y="300"/>
                </a:cubicBezTo>
                <a:cubicBezTo>
                  <a:pt x="1326" y="300"/>
                  <a:pt x="1330" y="301"/>
                  <a:pt x="1337" y="301"/>
                </a:cubicBezTo>
                <a:cubicBezTo>
                  <a:pt x="1340" y="300"/>
                  <a:pt x="1342" y="300"/>
                  <a:pt x="1345" y="299"/>
                </a:cubicBezTo>
                <a:cubicBezTo>
                  <a:pt x="1351" y="300"/>
                  <a:pt x="1353" y="300"/>
                  <a:pt x="1359" y="300"/>
                </a:cubicBezTo>
                <a:cubicBezTo>
                  <a:pt x="1365" y="299"/>
                  <a:pt x="1368" y="298"/>
                  <a:pt x="1373" y="297"/>
                </a:cubicBezTo>
                <a:cubicBezTo>
                  <a:pt x="1378" y="299"/>
                  <a:pt x="1381" y="301"/>
                  <a:pt x="1386" y="304"/>
                </a:cubicBezTo>
                <a:cubicBezTo>
                  <a:pt x="1390" y="306"/>
                  <a:pt x="1393" y="307"/>
                  <a:pt x="1397" y="309"/>
                </a:cubicBezTo>
                <a:cubicBezTo>
                  <a:pt x="1400" y="311"/>
                  <a:pt x="1401" y="312"/>
                  <a:pt x="1404" y="314"/>
                </a:cubicBezTo>
                <a:cubicBezTo>
                  <a:pt x="1411" y="314"/>
                  <a:pt x="1414" y="315"/>
                  <a:pt x="1421" y="316"/>
                </a:cubicBezTo>
                <a:cubicBezTo>
                  <a:pt x="1425" y="319"/>
                  <a:pt x="1426" y="321"/>
                  <a:pt x="1429" y="324"/>
                </a:cubicBezTo>
                <a:cubicBezTo>
                  <a:pt x="1433" y="320"/>
                  <a:pt x="1435" y="318"/>
                  <a:pt x="1438" y="314"/>
                </a:cubicBezTo>
                <a:cubicBezTo>
                  <a:pt x="1441" y="313"/>
                  <a:pt x="1443" y="313"/>
                  <a:pt x="1446" y="312"/>
                </a:cubicBezTo>
                <a:cubicBezTo>
                  <a:pt x="1445" y="308"/>
                  <a:pt x="1445" y="305"/>
                  <a:pt x="1445" y="301"/>
                </a:cubicBezTo>
                <a:cubicBezTo>
                  <a:pt x="1440" y="299"/>
                  <a:pt x="1437" y="299"/>
                  <a:pt x="1433" y="297"/>
                </a:cubicBezTo>
                <a:cubicBezTo>
                  <a:pt x="1431" y="294"/>
                  <a:pt x="1430" y="292"/>
                  <a:pt x="1428" y="288"/>
                </a:cubicBezTo>
                <a:cubicBezTo>
                  <a:pt x="1424" y="287"/>
                  <a:pt x="1422" y="286"/>
                  <a:pt x="1419" y="285"/>
                </a:cubicBezTo>
                <a:cubicBezTo>
                  <a:pt x="1416" y="284"/>
                  <a:pt x="1414" y="283"/>
                  <a:pt x="1411" y="281"/>
                </a:cubicBezTo>
                <a:cubicBezTo>
                  <a:pt x="1412" y="276"/>
                  <a:pt x="1412" y="273"/>
                  <a:pt x="1412" y="267"/>
                </a:cubicBezTo>
                <a:close/>
                <a:moveTo>
                  <a:pt x="1633" y="470"/>
                </a:moveTo>
                <a:cubicBezTo>
                  <a:pt x="1625" y="469"/>
                  <a:pt x="1624" y="478"/>
                  <a:pt x="1624" y="478"/>
                </a:cubicBezTo>
                <a:cubicBezTo>
                  <a:pt x="1628" y="491"/>
                  <a:pt x="1639" y="485"/>
                  <a:pt x="1639" y="485"/>
                </a:cubicBezTo>
                <a:cubicBezTo>
                  <a:pt x="1643" y="484"/>
                  <a:pt x="1646" y="483"/>
                  <a:pt x="1650" y="482"/>
                </a:cubicBezTo>
                <a:cubicBezTo>
                  <a:pt x="1650" y="482"/>
                  <a:pt x="1641" y="471"/>
                  <a:pt x="1633" y="470"/>
                </a:cubicBezTo>
                <a:close/>
                <a:moveTo>
                  <a:pt x="1697" y="401"/>
                </a:moveTo>
                <a:cubicBezTo>
                  <a:pt x="1697" y="404"/>
                  <a:pt x="1697" y="406"/>
                  <a:pt x="1697" y="410"/>
                </a:cubicBezTo>
                <a:cubicBezTo>
                  <a:pt x="1699" y="412"/>
                  <a:pt x="1700" y="414"/>
                  <a:pt x="1702" y="416"/>
                </a:cubicBezTo>
                <a:cubicBezTo>
                  <a:pt x="1704" y="411"/>
                  <a:pt x="1705" y="409"/>
                  <a:pt x="1707" y="403"/>
                </a:cubicBezTo>
                <a:cubicBezTo>
                  <a:pt x="1712" y="401"/>
                  <a:pt x="1714" y="400"/>
                  <a:pt x="1719" y="398"/>
                </a:cubicBezTo>
                <a:cubicBezTo>
                  <a:pt x="1714" y="397"/>
                  <a:pt x="1712" y="396"/>
                  <a:pt x="1706" y="394"/>
                </a:cubicBezTo>
                <a:cubicBezTo>
                  <a:pt x="1702" y="397"/>
                  <a:pt x="1701" y="398"/>
                  <a:pt x="1697" y="401"/>
                </a:cubicBezTo>
                <a:close/>
                <a:moveTo>
                  <a:pt x="1440" y="320"/>
                </a:moveTo>
                <a:cubicBezTo>
                  <a:pt x="1439" y="322"/>
                  <a:pt x="1439" y="324"/>
                  <a:pt x="1438" y="326"/>
                </a:cubicBezTo>
                <a:cubicBezTo>
                  <a:pt x="1439" y="327"/>
                  <a:pt x="1440" y="327"/>
                  <a:pt x="1441" y="327"/>
                </a:cubicBezTo>
                <a:cubicBezTo>
                  <a:pt x="1444" y="326"/>
                  <a:pt x="1445" y="326"/>
                  <a:pt x="1448" y="325"/>
                </a:cubicBezTo>
                <a:cubicBezTo>
                  <a:pt x="1451" y="324"/>
                  <a:pt x="1452" y="324"/>
                  <a:pt x="1455" y="323"/>
                </a:cubicBezTo>
                <a:cubicBezTo>
                  <a:pt x="1455" y="323"/>
                  <a:pt x="1459" y="313"/>
                  <a:pt x="1450" y="315"/>
                </a:cubicBezTo>
                <a:cubicBezTo>
                  <a:pt x="1440" y="317"/>
                  <a:pt x="1440" y="320"/>
                  <a:pt x="1440" y="320"/>
                </a:cubicBezTo>
                <a:close/>
              </a:path>
            </a:pathLst>
          </a:custGeom>
          <a:solidFill>
            <a:schemeClr val="bg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/>
            <a:endParaRPr lang="zh-CN" altLang="en-US" strike="noStrike" noProof="1">
              <a:solidFill>
                <a:schemeClr val="bg1"/>
              </a:solidFill>
              <a:latin typeface="+mn-ea"/>
              <a:cs typeface="+mn-ea"/>
            </a:endParaRPr>
          </a:p>
        </p:txBody>
      </p:sp>
      <p:sp>
        <p:nvSpPr>
          <p:cNvPr id="17" name="Freeform 5"/>
          <p:cNvSpPr/>
          <p:nvPr>
            <p:custDataLst>
              <p:tags r:id="rId5"/>
            </p:custDataLst>
          </p:nvPr>
        </p:nvSpPr>
        <p:spPr>
          <a:xfrm>
            <a:off x="4135438" y="1831975"/>
            <a:ext cx="4943475" cy="1776413"/>
          </a:xfrm>
          <a:custGeom>
            <a:avLst/>
            <a:gdLst/>
            <a:ahLst/>
            <a:cxnLst>
              <a:cxn ang="0">
                <a:pos x="449047" y="1776380"/>
              </a:cxn>
              <a:cxn ang="0">
                <a:pos x="0" y="1776380"/>
              </a:cxn>
              <a:cxn ang="0">
                <a:pos x="1046016" y="0"/>
              </a:cxn>
              <a:cxn ang="0">
                <a:pos x="4943485" y="0"/>
              </a:cxn>
            </a:cxnLst>
            <a:rect l="0" t="0" r="0" b="0"/>
            <a:pathLst>
              <a:path w="3743" h="1345">
                <a:moveTo>
                  <a:pt x="340" y="1345"/>
                </a:moveTo>
                <a:lnTo>
                  <a:pt x="0" y="1345"/>
                </a:lnTo>
                <a:lnTo>
                  <a:pt x="792" y="0"/>
                </a:lnTo>
                <a:lnTo>
                  <a:pt x="3743" y="0"/>
                </a:lnTo>
              </a:path>
            </a:pathLst>
          </a:custGeom>
          <a:noFill/>
          <a:ln w="7938" cap="flat" cmpd="sng">
            <a:solidFill>
              <a:srgbClr val="595959"/>
            </a:solidFill>
            <a:prstDash val="dash"/>
            <a:miter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8" name="Freeform 6"/>
          <p:cNvSpPr/>
          <p:nvPr>
            <p:custDataLst>
              <p:tags r:id="rId6"/>
            </p:custDataLst>
          </p:nvPr>
        </p:nvSpPr>
        <p:spPr>
          <a:xfrm>
            <a:off x="3244850" y="3609975"/>
            <a:ext cx="5033963" cy="1776413"/>
          </a:xfrm>
          <a:custGeom>
            <a:avLst/>
            <a:gdLst/>
            <a:ahLst/>
            <a:cxnLst>
              <a:cxn ang="0">
                <a:pos x="4582926" y="0"/>
              </a:cxn>
              <a:cxn ang="0">
                <a:pos x="5033295" y="0"/>
              </a:cxn>
              <a:cxn ang="0">
                <a:pos x="3985957" y="1776380"/>
              </a:cxn>
              <a:cxn ang="0">
                <a:pos x="0" y="1776380"/>
              </a:cxn>
            </a:cxnLst>
            <a:rect l="0" t="0" r="0" b="0"/>
            <a:pathLst>
              <a:path w="3811" h="1345">
                <a:moveTo>
                  <a:pt x="3470" y="0"/>
                </a:moveTo>
                <a:lnTo>
                  <a:pt x="3811" y="0"/>
                </a:lnTo>
                <a:lnTo>
                  <a:pt x="3018" y="1345"/>
                </a:lnTo>
                <a:lnTo>
                  <a:pt x="0" y="1345"/>
                </a:lnTo>
              </a:path>
            </a:pathLst>
          </a:custGeom>
          <a:noFill/>
          <a:ln w="7938" cap="flat" cmpd="sng">
            <a:solidFill>
              <a:srgbClr val="595959"/>
            </a:solidFill>
            <a:prstDash val="dash"/>
            <a:miter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9" name="圆角矩形 6"/>
          <p:cNvSpPr/>
          <p:nvPr>
            <p:custDataLst>
              <p:tags r:id="rId7"/>
            </p:custDataLst>
          </p:nvPr>
        </p:nvSpPr>
        <p:spPr>
          <a:xfrm>
            <a:off x="8469313" y="1614488"/>
            <a:ext cx="2390775" cy="430213"/>
          </a:xfrm>
          <a:prstGeom prst="roundRect">
            <a:avLst/>
          </a:prstGeom>
          <a:solidFill>
            <a:srgbClr val="275A9D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2000" strike="noStrike" noProof="1" smtClean="0">
                <a:solidFill>
                  <a:schemeClr val="bg1"/>
                </a:solidFill>
                <a:latin typeface="+mn-ea"/>
                <a:cs typeface="+mn-ea"/>
              </a:rPr>
              <a:t>碳三项目</a:t>
            </a:r>
            <a:endParaRPr lang="zh-CN" altLang="en-US" sz="2000" strike="noStrike" noProof="1">
              <a:solidFill>
                <a:schemeClr val="bg1"/>
              </a:solidFill>
              <a:latin typeface="+mn-ea"/>
              <a:cs typeface="+mn-ea"/>
            </a:endParaRPr>
          </a:p>
        </p:txBody>
      </p:sp>
      <p:sp>
        <p:nvSpPr>
          <p:cNvPr id="20" name="圆角矩形 7"/>
          <p:cNvSpPr/>
          <p:nvPr>
            <p:custDataLst>
              <p:tags r:id="rId8"/>
            </p:custDataLst>
          </p:nvPr>
        </p:nvSpPr>
        <p:spPr>
          <a:xfrm>
            <a:off x="1506538" y="5172075"/>
            <a:ext cx="2390775" cy="430213"/>
          </a:xfrm>
          <a:prstGeom prst="roundRect">
            <a:avLst/>
          </a:prstGeom>
          <a:solidFill>
            <a:srgbClr val="275A9D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2000" strike="noStrike" noProof="1" smtClean="0">
                <a:solidFill>
                  <a:schemeClr val="bg1"/>
                </a:solidFill>
                <a:latin typeface="+mn-ea"/>
                <a:cs typeface="+mn-ea"/>
              </a:rPr>
              <a:t>一期项目</a:t>
            </a:r>
            <a:endParaRPr lang="zh-CN" altLang="en-US" sz="2000" strike="noStrike" noProof="1">
              <a:solidFill>
                <a:schemeClr val="bg1"/>
              </a:solidFill>
              <a:latin typeface="+mn-ea"/>
              <a:cs typeface="+mn-ea"/>
            </a:endParaRPr>
          </a:p>
        </p:txBody>
      </p:sp>
      <p:sp>
        <p:nvSpPr>
          <p:cNvPr id="23" name="Freeform 8"/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5427663" y="2832100"/>
            <a:ext cx="1641475" cy="1604963"/>
          </a:xfrm>
          <a:custGeom>
            <a:avLst/>
            <a:gdLst>
              <a:gd name="T0" fmla="*/ 1647 w 2514"/>
              <a:gd name="T1" fmla="*/ 221 h 2456"/>
              <a:gd name="T2" fmla="*/ 610 w 2514"/>
              <a:gd name="T3" fmla="*/ 369 h 2456"/>
              <a:gd name="T4" fmla="*/ 685 w 2514"/>
              <a:gd name="T5" fmla="*/ 405 h 2456"/>
              <a:gd name="T6" fmla="*/ 954 w 2514"/>
              <a:gd name="T7" fmla="*/ 401 h 2456"/>
              <a:gd name="T8" fmla="*/ 1005 w 2514"/>
              <a:gd name="T9" fmla="*/ 531 h 2456"/>
              <a:gd name="T10" fmla="*/ 1023 w 2514"/>
              <a:gd name="T11" fmla="*/ 788 h 2456"/>
              <a:gd name="T12" fmla="*/ 1076 w 2514"/>
              <a:gd name="T13" fmla="*/ 972 h 2456"/>
              <a:gd name="T14" fmla="*/ 1078 w 2514"/>
              <a:gd name="T15" fmla="*/ 843 h 2456"/>
              <a:gd name="T16" fmla="*/ 1136 w 2514"/>
              <a:gd name="T17" fmla="*/ 1049 h 2456"/>
              <a:gd name="T18" fmla="*/ 1363 w 2514"/>
              <a:gd name="T19" fmla="*/ 1266 h 2456"/>
              <a:gd name="T20" fmla="*/ 1432 w 2514"/>
              <a:gd name="T21" fmla="*/ 1469 h 2456"/>
              <a:gd name="T22" fmla="*/ 1423 w 2514"/>
              <a:gd name="T23" fmla="*/ 1798 h 2456"/>
              <a:gd name="T24" fmla="*/ 1231 w 2514"/>
              <a:gd name="T25" fmla="*/ 2177 h 2456"/>
              <a:gd name="T26" fmla="*/ 1211 w 2514"/>
              <a:gd name="T27" fmla="*/ 2303 h 2456"/>
              <a:gd name="T28" fmla="*/ 1477 w 2514"/>
              <a:gd name="T29" fmla="*/ 682 h 2456"/>
              <a:gd name="T30" fmla="*/ 1271 w 2514"/>
              <a:gd name="T31" fmla="*/ 2243 h 2456"/>
              <a:gd name="T32" fmla="*/ 1542 w 2514"/>
              <a:gd name="T33" fmla="*/ 2058 h 2456"/>
              <a:gd name="T34" fmla="*/ 1955 w 2514"/>
              <a:gd name="T35" fmla="*/ 1699 h 2456"/>
              <a:gd name="T36" fmla="*/ 1703 w 2514"/>
              <a:gd name="T37" fmla="*/ 1398 h 2456"/>
              <a:gd name="T38" fmla="*/ 1421 w 2514"/>
              <a:gd name="T39" fmla="*/ 1217 h 2456"/>
              <a:gd name="T40" fmla="*/ 1410 w 2514"/>
              <a:gd name="T41" fmla="*/ 969 h 2456"/>
              <a:gd name="T42" fmla="*/ 1740 w 2514"/>
              <a:gd name="T43" fmla="*/ 826 h 2456"/>
              <a:gd name="T44" fmla="*/ 1802 w 2514"/>
              <a:gd name="T45" fmla="*/ 777 h 2456"/>
              <a:gd name="T46" fmla="*/ 1838 w 2514"/>
              <a:gd name="T47" fmla="*/ 605 h 2456"/>
              <a:gd name="T48" fmla="*/ 1654 w 2514"/>
              <a:gd name="T49" fmla="*/ 629 h 2456"/>
              <a:gd name="T50" fmla="*/ 1614 w 2514"/>
              <a:gd name="T51" fmla="*/ 413 h 2456"/>
              <a:gd name="T52" fmla="*/ 1660 w 2514"/>
              <a:gd name="T53" fmla="*/ 392 h 2456"/>
              <a:gd name="T54" fmla="*/ 1713 w 2514"/>
              <a:gd name="T55" fmla="*/ 479 h 2456"/>
              <a:gd name="T56" fmla="*/ 1861 w 2514"/>
              <a:gd name="T57" fmla="*/ 552 h 2456"/>
              <a:gd name="T58" fmla="*/ 1839 w 2514"/>
              <a:gd name="T59" fmla="*/ 465 h 2456"/>
              <a:gd name="T60" fmla="*/ 1700 w 2514"/>
              <a:gd name="T61" fmla="*/ 347 h 2456"/>
              <a:gd name="T62" fmla="*/ 1610 w 2514"/>
              <a:gd name="T63" fmla="*/ 390 h 2456"/>
              <a:gd name="T64" fmla="*/ 1511 w 2514"/>
              <a:gd name="T65" fmla="*/ 270 h 2456"/>
              <a:gd name="T66" fmla="*/ 1394 w 2514"/>
              <a:gd name="T67" fmla="*/ 314 h 2456"/>
              <a:gd name="T68" fmla="*/ 1087 w 2514"/>
              <a:gd name="T69" fmla="*/ 250 h 2456"/>
              <a:gd name="T70" fmla="*/ 1542 w 2514"/>
              <a:gd name="T71" fmla="*/ 189 h 2456"/>
              <a:gd name="T72" fmla="*/ 1609 w 2514"/>
              <a:gd name="T73" fmla="*/ 248 h 2456"/>
              <a:gd name="T74" fmla="*/ 1610 w 2514"/>
              <a:gd name="T75" fmla="*/ 284 h 2456"/>
              <a:gd name="T76" fmla="*/ 1717 w 2514"/>
              <a:gd name="T77" fmla="*/ 309 h 2456"/>
              <a:gd name="T78" fmla="*/ 1832 w 2514"/>
              <a:gd name="T79" fmla="*/ 338 h 2456"/>
              <a:gd name="T80" fmla="*/ 1983 w 2514"/>
              <a:gd name="T81" fmla="*/ 541 h 2456"/>
              <a:gd name="T82" fmla="*/ 2053 w 2514"/>
              <a:gd name="T83" fmla="*/ 718 h 2456"/>
              <a:gd name="T84" fmla="*/ 2243 w 2514"/>
              <a:gd name="T85" fmla="*/ 749 h 2456"/>
              <a:gd name="T86" fmla="*/ 2273 w 2514"/>
              <a:gd name="T87" fmla="*/ 833 h 2456"/>
              <a:gd name="T88" fmla="*/ 1559 w 2514"/>
              <a:gd name="T89" fmla="*/ 800 h 2456"/>
              <a:gd name="T90" fmla="*/ 1381 w 2514"/>
              <a:gd name="T91" fmla="*/ 181 h 2456"/>
              <a:gd name="T92" fmla="*/ 1364 w 2514"/>
              <a:gd name="T93" fmla="*/ 203 h 2456"/>
              <a:gd name="T94" fmla="*/ 1319 w 2514"/>
              <a:gd name="T95" fmla="*/ 215 h 2456"/>
              <a:gd name="T96" fmla="*/ 1262 w 2514"/>
              <a:gd name="T97" fmla="*/ 188 h 2456"/>
              <a:gd name="T98" fmla="*/ 535 w 2514"/>
              <a:gd name="T99" fmla="*/ 444 h 2456"/>
              <a:gd name="T100" fmla="*/ 1521 w 2514"/>
              <a:gd name="T101" fmla="*/ 191 h 2456"/>
              <a:gd name="T102" fmla="*/ 1450 w 2514"/>
              <a:gd name="T103" fmla="*/ 180 h 2456"/>
              <a:gd name="T104" fmla="*/ 1802 w 2514"/>
              <a:gd name="T105" fmla="*/ 579 h 2456"/>
              <a:gd name="T106" fmla="*/ 1955 w 2514"/>
              <a:gd name="T107" fmla="*/ 823 h 2456"/>
              <a:gd name="T108" fmla="*/ 1595 w 2514"/>
              <a:gd name="T109" fmla="*/ 1199 h 2456"/>
              <a:gd name="T110" fmla="*/ 1542 w 2514"/>
              <a:gd name="T111" fmla="*/ 1171 h 2456"/>
              <a:gd name="T112" fmla="*/ 1451 w 2514"/>
              <a:gd name="T113" fmla="*/ 209 h 2456"/>
              <a:gd name="T114" fmla="*/ 1552 w 2514"/>
              <a:gd name="T115" fmla="*/ 264 h 2456"/>
              <a:gd name="T116" fmla="*/ 1417 w 2514"/>
              <a:gd name="T117" fmla="*/ 241 h 2456"/>
              <a:gd name="T118" fmla="*/ 1292 w 2514"/>
              <a:gd name="T119" fmla="*/ 228 h 2456"/>
              <a:gd name="T120" fmla="*/ 1253 w 2514"/>
              <a:gd name="T121" fmla="*/ 232 h 2456"/>
              <a:gd name="T122" fmla="*/ 1446 w 2514"/>
              <a:gd name="T123" fmla="*/ 312 h 2456"/>
              <a:gd name="T124" fmla="*/ 1440 w 2514"/>
              <a:gd name="T125" fmla="*/ 320 h 2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14" h="2456">
                <a:moveTo>
                  <a:pt x="2373" y="1547"/>
                </a:moveTo>
                <a:cubicBezTo>
                  <a:pt x="2514" y="1077"/>
                  <a:pt x="2329" y="589"/>
                  <a:pt x="1949" y="314"/>
                </a:cubicBezTo>
                <a:cubicBezTo>
                  <a:pt x="1841" y="237"/>
                  <a:pt x="1719" y="176"/>
                  <a:pt x="1583" y="137"/>
                </a:cubicBezTo>
                <a:cubicBezTo>
                  <a:pt x="1102" y="0"/>
                  <a:pt x="603" y="180"/>
                  <a:pt x="322" y="552"/>
                </a:cubicBezTo>
                <a:cubicBezTo>
                  <a:pt x="242" y="656"/>
                  <a:pt x="180" y="776"/>
                  <a:pt x="141" y="909"/>
                </a:cubicBezTo>
                <a:cubicBezTo>
                  <a:pt x="0" y="1379"/>
                  <a:pt x="184" y="1866"/>
                  <a:pt x="565" y="2141"/>
                </a:cubicBezTo>
                <a:cubicBezTo>
                  <a:pt x="672" y="2219"/>
                  <a:pt x="795" y="2280"/>
                  <a:pt x="930" y="2318"/>
                </a:cubicBezTo>
                <a:cubicBezTo>
                  <a:pt x="1411" y="2456"/>
                  <a:pt x="1910" y="2276"/>
                  <a:pt x="2192" y="1904"/>
                </a:cubicBezTo>
                <a:cubicBezTo>
                  <a:pt x="2271" y="1799"/>
                  <a:pt x="2333" y="1679"/>
                  <a:pt x="2373" y="1547"/>
                </a:cubicBezTo>
                <a:close/>
                <a:moveTo>
                  <a:pt x="2209" y="708"/>
                </a:moveTo>
                <a:cubicBezTo>
                  <a:pt x="2213" y="710"/>
                  <a:pt x="2214" y="712"/>
                  <a:pt x="2218" y="715"/>
                </a:cubicBezTo>
                <a:cubicBezTo>
                  <a:pt x="2218" y="713"/>
                  <a:pt x="2217" y="712"/>
                  <a:pt x="2217" y="710"/>
                </a:cubicBezTo>
                <a:cubicBezTo>
                  <a:pt x="2220" y="714"/>
                  <a:pt x="2222" y="715"/>
                  <a:pt x="2225" y="719"/>
                </a:cubicBezTo>
                <a:cubicBezTo>
                  <a:pt x="2228" y="724"/>
                  <a:pt x="2229" y="726"/>
                  <a:pt x="2232" y="732"/>
                </a:cubicBezTo>
                <a:cubicBezTo>
                  <a:pt x="2234" y="734"/>
                  <a:pt x="2235" y="736"/>
                  <a:pt x="2237" y="738"/>
                </a:cubicBezTo>
                <a:cubicBezTo>
                  <a:pt x="2238" y="740"/>
                  <a:pt x="2239" y="742"/>
                  <a:pt x="2240" y="744"/>
                </a:cubicBezTo>
                <a:cubicBezTo>
                  <a:pt x="2238" y="741"/>
                  <a:pt x="2235" y="739"/>
                  <a:pt x="2231" y="735"/>
                </a:cubicBezTo>
                <a:cubicBezTo>
                  <a:pt x="2228" y="730"/>
                  <a:pt x="2226" y="728"/>
                  <a:pt x="2223" y="723"/>
                </a:cubicBezTo>
                <a:cubicBezTo>
                  <a:pt x="2219" y="719"/>
                  <a:pt x="2217" y="717"/>
                  <a:pt x="2212" y="713"/>
                </a:cubicBezTo>
                <a:cubicBezTo>
                  <a:pt x="2210" y="711"/>
                  <a:pt x="2209" y="710"/>
                  <a:pt x="2206" y="708"/>
                </a:cubicBezTo>
                <a:cubicBezTo>
                  <a:pt x="2207" y="708"/>
                  <a:pt x="2208" y="708"/>
                  <a:pt x="2209" y="708"/>
                </a:cubicBezTo>
                <a:close/>
                <a:moveTo>
                  <a:pt x="1647" y="221"/>
                </a:moveTo>
                <a:cubicBezTo>
                  <a:pt x="1646" y="221"/>
                  <a:pt x="1646" y="222"/>
                  <a:pt x="1646" y="222"/>
                </a:cubicBezTo>
                <a:cubicBezTo>
                  <a:pt x="1646" y="221"/>
                  <a:pt x="1646" y="221"/>
                  <a:pt x="1645" y="221"/>
                </a:cubicBezTo>
                <a:cubicBezTo>
                  <a:pt x="1646" y="221"/>
                  <a:pt x="1646" y="221"/>
                  <a:pt x="1647" y="221"/>
                </a:cubicBezTo>
                <a:close/>
                <a:moveTo>
                  <a:pt x="687" y="307"/>
                </a:moveTo>
                <a:cubicBezTo>
                  <a:pt x="687" y="308"/>
                  <a:pt x="688" y="308"/>
                  <a:pt x="689" y="309"/>
                </a:cubicBezTo>
                <a:cubicBezTo>
                  <a:pt x="689" y="309"/>
                  <a:pt x="708" y="306"/>
                  <a:pt x="702" y="314"/>
                </a:cubicBezTo>
                <a:cubicBezTo>
                  <a:pt x="697" y="315"/>
                  <a:pt x="694" y="316"/>
                  <a:pt x="689" y="317"/>
                </a:cubicBezTo>
                <a:cubicBezTo>
                  <a:pt x="686" y="318"/>
                  <a:pt x="684" y="318"/>
                  <a:pt x="681" y="319"/>
                </a:cubicBezTo>
                <a:cubicBezTo>
                  <a:pt x="682" y="317"/>
                  <a:pt x="682" y="316"/>
                  <a:pt x="683" y="314"/>
                </a:cubicBezTo>
                <a:cubicBezTo>
                  <a:pt x="679" y="314"/>
                  <a:pt x="677" y="314"/>
                  <a:pt x="674" y="315"/>
                </a:cubicBezTo>
                <a:cubicBezTo>
                  <a:pt x="678" y="312"/>
                  <a:pt x="682" y="310"/>
                  <a:pt x="687" y="307"/>
                </a:cubicBezTo>
                <a:close/>
                <a:moveTo>
                  <a:pt x="948" y="2261"/>
                </a:moveTo>
                <a:cubicBezTo>
                  <a:pt x="819" y="2224"/>
                  <a:pt x="703" y="2167"/>
                  <a:pt x="601" y="2093"/>
                </a:cubicBezTo>
                <a:cubicBezTo>
                  <a:pt x="241" y="1832"/>
                  <a:pt x="66" y="1371"/>
                  <a:pt x="200" y="926"/>
                </a:cubicBezTo>
                <a:cubicBezTo>
                  <a:pt x="237" y="800"/>
                  <a:pt x="296" y="687"/>
                  <a:pt x="371" y="587"/>
                </a:cubicBezTo>
                <a:cubicBezTo>
                  <a:pt x="445" y="490"/>
                  <a:pt x="535" y="406"/>
                  <a:pt x="635" y="339"/>
                </a:cubicBezTo>
                <a:cubicBezTo>
                  <a:pt x="636" y="339"/>
                  <a:pt x="637" y="339"/>
                  <a:pt x="639" y="339"/>
                </a:cubicBezTo>
                <a:cubicBezTo>
                  <a:pt x="644" y="338"/>
                  <a:pt x="665" y="333"/>
                  <a:pt x="670" y="334"/>
                </a:cubicBezTo>
                <a:cubicBezTo>
                  <a:pt x="676" y="335"/>
                  <a:pt x="693" y="327"/>
                  <a:pt x="694" y="331"/>
                </a:cubicBezTo>
                <a:cubicBezTo>
                  <a:pt x="694" y="334"/>
                  <a:pt x="688" y="338"/>
                  <a:pt x="688" y="338"/>
                </a:cubicBezTo>
                <a:cubicBezTo>
                  <a:pt x="681" y="339"/>
                  <a:pt x="677" y="340"/>
                  <a:pt x="670" y="342"/>
                </a:cubicBezTo>
                <a:cubicBezTo>
                  <a:pt x="664" y="343"/>
                  <a:pt x="662" y="343"/>
                  <a:pt x="656" y="344"/>
                </a:cubicBezTo>
                <a:cubicBezTo>
                  <a:pt x="653" y="343"/>
                  <a:pt x="651" y="343"/>
                  <a:pt x="648" y="342"/>
                </a:cubicBezTo>
                <a:cubicBezTo>
                  <a:pt x="645" y="344"/>
                  <a:pt x="644" y="345"/>
                  <a:pt x="641" y="347"/>
                </a:cubicBezTo>
                <a:cubicBezTo>
                  <a:pt x="636" y="350"/>
                  <a:pt x="634" y="351"/>
                  <a:pt x="630" y="353"/>
                </a:cubicBezTo>
                <a:cubicBezTo>
                  <a:pt x="625" y="355"/>
                  <a:pt x="623" y="357"/>
                  <a:pt x="618" y="358"/>
                </a:cubicBezTo>
                <a:cubicBezTo>
                  <a:pt x="619" y="360"/>
                  <a:pt x="619" y="361"/>
                  <a:pt x="620" y="362"/>
                </a:cubicBezTo>
                <a:cubicBezTo>
                  <a:pt x="616" y="365"/>
                  <a:pt x="614" y="366"/>
                  <a:pt x="610" y="369"/>
                </a:cubicBezTo>
                <a:cubicBezTo>
                  <a:pt x="610" y="369"/>
                  <a:pt x="618" y="371"/>
                  <a:pt x="614" y="376"/>
                </a:cubicBezTo>
                <a:cubicBezTo>
                  <a:pt x="610" y="380"/>
                  <a:pt x="618" y="380"/>
                  <a:pt x="618" y="380"/>
                </a:cubicBezTo>
                <a:cubicBezTo>
                  <a:pt x="618" y="380"/>
                  <a:pt x="619" y="387"/>
                  <a:pt x="628" y="383"/>
                </a:cubicBezTo>
                <a:cubicBezTo>
                  <a:pt x="638" y="379"/>
                  <a:pt x="637" y="388"/>
                  <a:pt x="637" y="390"/>
                </a:cubicBezTo>
                <a:cubicBezTo>
                  <a:pt x="636" y="392"/>
                  <a:pt x="646" y="395"/>
                  <a:pt x="659" y="384"/>
                </a:cubicBezTo>
                <a:cubicBezTo>
                  <a:pt x="660" y="386"/>
                  <a:pt x="660" y="387"/>
                  <a:pt x="660" y="389"/>
                </a:cubicBezTo>
                <a:cubicBezTo>
                  <a:pt x="663" y="390"/>
                  <a:pt x="664" y="390"/>
                  <a:pt x="666" y="391"/>
                </a:cubicBezTo>
                <a:cubicBezTo>
                  <a:pt x="672" y="390"/>
                  <a:pt x="675" y="390"/>
                  <a:pt x="681" y="389"/>
                </a:cubicBezTo>
                <a:cubicBezTo>
                  <a:pt x="681" y="389"/>
                  <a:pt x="683" y="393"/>
                  <a:pt x="673" y="400"/>
                </a:cubicBezTo>
                <a:cubicBezTo>
                  <a:pt x="663" y="407"/>
                  <a:pt x="645" y="412"/>
                  <a:pt x="645" y="412"/>
                </a:cubicBezTo>
                <a:cubicBezTo>
                  <a:pt x="645" y="412"/>
                  <a:pt x="633" y="413"/>
                  <a:pt x="629" y="418"/>
                </a:cubicBezTo>
                <a:cubicBezTo>
                  <a:pt x="624" y="418"/>
                  <a:pt x="622" y="418"/>
                  <a:pt x="617" y="418"/>
                </a:cubicBezTo>
                <a:cubicBezTo>
                  <a:pt x="613" y="420"/>
                  <a:pt x="611" y="420"/>
                  <a:pt x="607" y="421"/>
                </a:cubicBezTo>
                <a:cubicBezTo>
                  <a:pt x="607" y="421"/>
                  <a:pt x="594" y="429"/>
                  <a:pt x="587" y="430"/>
                </a:cubicBezTo>
                <a:cubicBezTo>
                  <a:pt x="580" y="430"/>
                  <a:pt x="573" y="434"/>
                  <a:pt x="573" y="434"/>
                </a:cubicBezTo>
                <a:cubicBezTo>
                  <a:pt x="573" y="434"/>
                  <a:pt x="568" y="434"/>
                  <a:pt x="566" y="438"/>
                </a:cubicBezTo>
                <a:cubicBezTo>
                  <a:pt x="565" y="441"/>
                  <a:pt x="579" y="435"/>
                  <a:pt x="579" y="435"/>
                </a:cubicBezTo>
                <a:cubicBezTo>
                  <a:pt x="579" y="435"/>
                  <a:pt x="586" y="437"/>
                  <a:pt x="589" y="434"/>
                </a:cubicBezTo>
                <a:cubicBezTo>
                  <a:pt x="593" y="431"/>
                  <a:pt x="604" y="429"/>
                  <a:pt x="604" y="429"/>
                </a:cubicBezTo>
                <a:cubicBezTo>
                  <a:pt x="609" y="427"/>
                  <a:pt x="611" y="427"/>
                  <a:pt x="615" y="425"/>
                </a:cubicBezTo>
                <a:cubicBezTo>
                  <a:pt x="615" y="425"/>
                  <a:pt x="628" y="430"/>
                  <a:pt x="635" y="430"/>
                </a:cubicBezTo>
                <a:cubicBezTo>
                  <a:pt x="632" y="427"/>
                  <a:pt x="631" y="426"/>
                  <a:pt x="629" y="423"/>
                </a:cubicBezTo>
                <a:cubicBezTo>
                  <a:pt x="632" y="422"/>
                  <a:pt x="634" y="422"/>
                  <a:pt x="638" y="421"/>
                </a:cubicBezTo>
                <a:cubicBezTo>
                  <a:pt x="638" y="421"/>
                  <a:pt x="651" y="421"/>
                  <a:pt x="660" y="415"/>
                </a:cubicBezTo>
                <a:cubicBezTo>
                  <a:pt x="669" y="408"/>
                  <a:pt x="680" y="411"/>
                  <a:pt x="685" y="405"/>
                </a:cubicBezTo>
                <a:cubicBezTo>
                  <a:pt x="690" y="399"/>
                  <a:pt x="701" y="399"/>
                  <a:pt x="708" y="397"/>
                </a:cubicBezTo>
                <a:cubicBezTo>
                  <a:pt x="716" y="394"/>
                  <a:pt x="723" y="392"/>
                  <a:pt x="723" y="392"/>
                </a:cubicBezTo>
                <a:cubicBezTo>
                  <a:pt x="723" y="392"/>
                  <a:pt x="723" y="388"/>
                  <a:pt x="732" y="388"/>
                </a:cubicBezTo>
                <a:cubicBezTo>
                  <a:pt x="741" y="387"/>
                  <a:pt x="738" y="380"/>
                  <a:pt x="733" y="380"/>
                </a:cubicBezTo>
                <a:cubicBezTo>
                  <a:pt x="733" y="380"/>
                  <a:pt x="738" y="380"/>
                  <a:pt x="743" y="375"/>
                </a:cubicBezTo>
                <a:cubicBezTo>
                  <a:pt x="748" y="370"/>
                  <a:pt x="750" y="379"/>
                  <a:pt x="761" y="367"/>
                </a:cubicBezTo>
                <a:cubicBezTo>
                  <a:pt x="772" y="354"/>
                  <a:pt x="767" y="374"/>
                  <a:pt x="757" y="379"/>
                </a:cubicBezTo>
                <a:cubicBezTo>
                  <a:pt x="763" y="379"/>
                  <a:pt x="766" y="379"/>
                  <a:pt x="772" y="379"/>
                </a:cubicBezTo>
                <a:cubicBezTo>
                  <a:pt x="772" y="379"/>
                  <a:pt x="781" y="373"/>
                  <a:pt x="788" y="372"/>
                </a:cubicBezTo>
                <a:cubicBezTo>
                  <a:pt x="795" y="371"/>
                  <a:pt x="805" y="370"/>
                  <a:pt x="805" y="370"/>
                </a:cubicBezTo>
                <a:cubicBezTo>
                  <a:pt x="808" y="367"/>
                  <a:pt x="810" y="365"/>
                  <a:pt x="813" y="361"/>
                </a:cubicBezTo>
                <a:cubicBezTo>
                  <a:pt x="819" y="359"/>
                  <a:pt x="822" y="358"/>
                  <a:pt x="828" y="356"/>
                </a:cubicBezTo>
                <a:cubicBezTo>
                  <a:pt x="828" y="356"/>
                  <a:pt x="837" y="361"/>
                  <a:pt x="836" y="365"/>
                </a:cubicBezTo>
                <a:cubicBezTo>
                  <a:pt x="836" y="365"/>
                  <a:pt x="824" y="363"/>
                  <a:pt x="819" y="368"/>
                </a:cubicBezTo>
                <a:cubicBezTo>
                  <a:pt x="819" y="368"/>
                  <a:pt x="832" y="365"/>
                  <a:pt x="846" y="371"/>
                </a:cubicBezTo>
                <a:cubicBezTo>
                  <a:pt x="860" y="377"/>
                  <a:pt x="867" y="369"/>
                  <a:pt x="867" y="369"/>
                </a:cubicBezTo>
                <a:cubicBezTo>
                  <a:pt x="871" y="370"/>
                  <a:pt x="873" y="370"/>
                  <a:pt x="876" y="370"/>
                </a:cubicBezTo>
                <a:cubicBezTo>
                  <a:pt x="881" y="372"/>
                  <a:pt x="883" y="373"/>
                  <a:pt x="887" y="375"/>
                </a:cubicBezTo>
                <a:cubicBezTo>
                  <a:pt x="887" y="375"/>
                  <a:pt x="907" y="372"/>
                  <a:pt x="909" y="383"/>
                </a:cubicBezTo>
                <a:cubicBezTo>
                  <a:pt x="912" y="395"/>
                  <a:pt x="922" y="388"/>
                  <a:pt x="922" y="388"/>
                </a:cubicBezTo>
                <a:cubicBezTo>
                  <a:pt x="922" y="388"/>
                  <a:pt x="938" y="401"/>
                  <a:pt x="936" y="407"/>
                </a:cubicBezTo>
                <a:cubicBezTo>
                  <a:pt x="934" y="412"/>
                  <a:pt x="938" y="418"/>
                  <a:pt x="938" y="418"/>
                </a:cubicBezTo>
                <a:cubicBezTo>
                  <a:pt x="941" y="420"/>
                  <a:pt x="942" y="421"/>
                  <a:pt x="945" y="424"/>
                </a:cubicBezTo>
                <a:cubicBezTo>
                  <a:pt x="948" y="420"/>
                  <a:pt x="949" y="418"/>
                  <a:pt x="951" y="414"/>
                </a:cubicBezTo>
                <a:cubicBezTo>
                  <a:pt x="951" y="414"/>
                  <a:pt x="950" y="410"/>
                  <a:pt x="954" y="401"/>
                </a:cubicBezTo>
                <a:cubicBezTo>
                  <a:pt x="958" y="393"/>
                  <a:pt x="956" y="389"/>
                  <a:pt x="956" y="389"/>
                </a:cubicBezTo>
                <a:cubicBezTo>
                  <a:pt x="956" y="389"/>
                  <a:pt x="961" y="399"/>
                  <a:pt x="957" y="405"/>
                </a:cubicBezTo>
                <a:cubicBezTo>
                  <a:pt x="954" y="411"/>
                  <a:pt x="957" y="415"/>
                  <a:pt x="961" y="412"/>
                </a:cubicBezTo>
                <a:cubicBezTo>
                  <a:pt x="965" y="410"/>
                  <a:pt x="967" y="405"/>
                  <a:pt x="967" y="405"/>
                </a:cubicBezTo>
                <a:cubicBezTo>
                  <a:pt x="968" y="408"/>
                  <a:pt x="969" y="409"/>
                  <a:pt x="970" y="413"/>
                </a:cubicBezTo>
                <a:cubicBezTo>
                  <a:pt x="970" y="413"/>
                  <a:pt x="956" y="415"/>
                  <a:pt x="955" y="417"/>
                </a:cubicBezTo>
                <a:cubicBezTo>
                  <a:pt x="954" y="420"/>
                  <a:pt x="948" y="429"/>
                  <a:pt x="956" y="425"/>
                </a:cubicBezTo>
                <a:cubicBezTo>
                  <a:pt x="956" y="425"/>
                  <a:pt x="956" y="431"/>
                  <a:pt x="952" y="437"/>
                </a:cubicBezTo>
                <a:cubicBezTo>
                  <a:pt x="949" y="444"/>
                  <a:pt x="959" y="446"/>
                  <a:pt x="959" y="446"/>
                </a:cubicBezTo>
                <a:cubicBezTo>
                  <a:pt x="962" y="446"/>
                  <a:pt x="964" y="446"/>
                  <a:pt x="968" y="447"/>
                </a:cubicBezTo>
                <a:cubicBezTo>
                  <a:pt x="968" y="447"/>
                  <a:pt x="973" y="441"/>
                  <a:pt x="971" y="435"/>
                </a:cubicBezTo>
                <a:cubicBezTo>
                  <a:pt x="971" y="435"/>
                  <a:pt x="979" y="438"/>
                  <a:pt x="976" y="445"/>
                </a:cubicBezTo>
                <a:cubicBezTo>
                  <a:pt x="973" y="452"/>
                  <a:pt x="980" y="448"/>
                  <a:pt x="980" y="448"/>
                </a:cubicBezTo>
                <a:cubicBezTo>
                  <a:pt x="980" y="454"/>
                  <a:pt x="981" y="457"/>
                  <a:pt x="981" y="463"/>
                </a:cubicBezTo>
                <a:cubicBezTo>
                  <a:pt x="981" y="467"/>
                  <a:pt x="981" y="469"/>
                  <a:pt x="981" y="473"/>
                </a:cubicBezTo>
                <a:cubicBezTo>
                  <a:pt x="985" y="473"/>
                  <a:pt x="987" y="473"/>
                  <a:pt x="992" y="473"/>
                </a:cubicBezTo>
                <a:cubicBezTo>
                  <a:pt x="991" y="477"/>
                  <a:pt x="991" y="479"/>
                  <a:pt x="990" y="482"/>
                </a:cubicBezTo>
                <a:cubicBezTo>
                  <a:pt x="992" y="483"/>
                  <a:pt x="993" y="483"/>
                  <a:pt x="994" y="483"/>
                </a:cubicBezTo>
                <a:cubicBezTo>
                  <a:pt x="994" y="483"/>
                  <a:pt x="999" y="492"/>
                  <a:pt x="998" y="496"/>
                </a:cubicBezTo>
                <a:cubicBezTo>
                  <a:pt x="998" y="496"/>
                  <a:pt x="999" y="500"/>
                  <a:pt x="1005" y="500"/>
                </a:cubicBezTo>
                <a:cubicBezTo>
                  <a:pt x="1005" y="500"/>
                  <a:pt x="1000" y="505"/>
                  <a:pt x="1007" y="512"/>
                </a:cubicBezTo>
                <a:cubicBezTo>
                  <a:pt x="1007" y="512"/>
                  <a:pt x="1004" y="514"/>
                  <a:pt x="999" y="507"/>
                </a:cubicBezTo>
                <a:cubicBezTo>
                  <a:pt x="995" y="500"/>
                  <a:pt x="989" y="507"/>
                  <a:pt x="988" y="511"/>
                </a:cubicBezTo>
                <a:cubicBezTo>
                  <a:pt x="986" y="514"/>
                  <a:pt x="998" y="524"/>
                  <a:pt x="1006" y="527"/>
                </a:cubicBezTo>
                <a:cubicBezTo>
                  <a:pt x="1005" y="529"/>
                  <a:pt x="1005" y="530"/>
                  <a:pt x="1005" y="531"/>
                </a:cubicBezTo>
                <a:cubicBezTo>
                  <a:pt x="1009" y="534"/>
                  <a:pt x="1010" y="535"/>
                  <a:pt x="1014" y="537"/>
                </a:cubicBezTo>
                <a:cubicBezTo>
                  <a:pt x="1016" y="539"/>
                  <a:pt x="1017" y="539"/>
                  <a:pt x="1019" y="541"/>
                </a:cubicBezTo>
                <a:cubicBezTo>
                  <a:pt x="1019" y="542"/>
                  <a:pt x="1019" y="543"/>
                  <a:pt x="1019" y="545"/>
                </a:cubicBezTo>
                <a:cubicBezTo>
                  <a:pt x="1022" y="546"/>
                  <a:pt x="1023" y="546"/>
                  <a:pt x="1026" y="548"/>
                </a:cubicBezTo>
                <a:cubicBezTo>
                  <a:pt x="1026" y="548"/>
                  <a:pt x="1036" y="550"/>
                  <a:pt x="1034" y="555"/>
                </a:cubicBezTo>
                <a:cubicBezTo>
                  <a:pt x="1034" y="555"/>
                  <a:pt x="1026" y="550"/>
                  <a:pt x="1020" y="553"/>
                </a:cubicBezTo>
                <a:cubicBezTo>
                  <a:pt x="1015" y="556"/>
                  <a:pt x="1024" y="559"/>
                  <a:pt x="1024" y="559"/>
                </a:cubicBezTo>
                <a:cubicBezTo>
                  <a:pt x="1024" y="559"/>
                  <a:pt x="1015" y="568"/>
                  <a:pt x="1022" y="575"/>
                </a:cubicBezTo>
                <a:cubicBezTo>
                  <a:pt x="1022" y="575"/>
                  <a:pt x="1009" y="608"/>
                  <a:pt x="1001" y="619"/>
                </a:cubicBezTo>
                <a:cubicBezTo>
                  <a:pt x="1001" y="619"/>
                  <a:pt x="992" y="627"/>
                  <a:pt x="991" y="634"/>
                </a:cubicBezTo>
                <a:cubicBezTo>
                  <a:pt x="989" y="641"/>
                  <a:pt x="992" y="645"/>
                  <a:pt x="992" y="645"/>
                </a:cubicBezTo>
                <a:cubicBezTo>
                  <a:pt x="992" y="645"/>
                  <a:pt x="989" y="654"/>
                  <a:pt x="982" y="661"/>
                </a:cubicBezTo>
                <a:cubicBezTo>
                  <a:pt x="975" y="668"/>
                  <a:pt x="972" y="675"/>
                  <a:pt x="983" y="673"/>
                </a:cubicBezTo>
                <a:cubicBezTo>
                  <a:pt x="982" y="677"/>
                  <a:pt x="981" y="679"/>
                  <a:pt x="981" y="683"/>
                </a:cubicBezTo>
                <a:cubicBezTo>
                  <a:pt x="980" y="688"/>
                  <a:pt x="980" y="691"/>
                  <a:pt x="979" y="695"/>
                </a:cubicBezTo>
                <a:cubicBezTo>
                  <a:pt x="982" y="700"/>
                  <a:pt x="983" y="703"/>
                  <a:pt x="986" y="707"/>
                </a:cubicBezTo>
                <a:cubicBezTo>
                  <a:pt x="986" y="714"/>
                  <a:pt x="985" y="717"/>
                  <a:pt x="985" y="723"/>
                </a:cubicBezTo>
                <a:cubicBezTo>
                  <a:pt x="987" y="725"/>
                  <a:pt x="988" y="726"/>
                  <a:pt x="990" y="728"/>
                </a:cubicBezTo>
                <a:cubicBezTo>
                  <a:pt x="990" y="728"/>
                  <a:pt x="991" y="734"/>
                  <a:pt x="988" y="737"/>
                </a:cubicBezTo>
                <a:cubicBezTo>
                  <a:pt x="988" y="737"/>
                  <a:pt x="995" y="741"/>
                  <a:pt x="994" y="746"/>
                </a:cubicBezTo>
                <a:cubicBezTo>
                  <a:pt x="994" y="746"/>
                  <a:pt x="1000" y="756"/>
                  <a:pt x="997" y="767"/>
                </a:cubicBezTo>
                <a:cubicBezTo>
                  <a:pt x="1002" y="769"/>
                  <a:pt x="1004" y="770"/>
                  <a:pt x="1009" y="773"/>
                </a:cubicBezTo>
                <a:cubicBezTo>
                  <a:pt x="1011" y="775"/>
                  <a:pt x="1012" y="776"/>
                  <a:pt x="1013" y="778"/>
                </a:cubicBezTo>
                <a:cubicBezTo>
                  <a:pt x="1017" y="780"/>
                  <a:pt x="1019" y="780"/>
                  <a:pt x="1024" y="782"/>
                </a:cubicBezTo>
                <a:cubicBezTo>
                  <a:pt x="1023" y="784"/>
                  <a:pt x="1023" y="786"/>
                  <a:pt x="1023" y="788"/>
                </a:cubicBezTo>
                <a:cubicBezTo>
                  <a:pt x="1025" y="788"/>
                  <a:pt x="1027" y="788"/>
                  <a:pt x="1029" y="788"/>
                </a:cubicBezTo>
                <a:cubicBezTo>
                  <a:pt x="1029" y="790"/>
                  <a:pt x="1028" y="791"/>
                  <a:pt x="1028" y="794"/>
                </a:cubicBezTo>
                <a:cubicBezTo>
                  <a:pt x="1030" y="794"/>
                  <a:pt x="1032" y="795"/>
                  <a:pt x="1034" y="796"/>
                </a:cubicBezTo>
                <a:cubicBezTo>
                  <a:pt x="1033" y="802"/>
                  <a:pt x="1033" y="806"/>
                  <a:pt x="1031" y="813"/>
                </a:cubicBezTo>
                <a:cubicBezTo>
                  <a:pt x="1033" y="814"/>
                  <a:pt x="1033" y="814"/>
                  <a:pt x="1035" y="815"/>
                </a:cubicBezTo>
                <a:cubicBezTo>
                  <a:pt x="1034" y="817"/>
                  <a:pt x="1033" y="819"/>
                  <a:pt x="1033" y="821"/>
                </a:cubicBezTo>
                <a:cubicBezTo>
                  <a:pt x="1033" y="821"/>
                  <a:pt x="1036" y="822"/>
                  <a:pt x="1035" y="828"/>
                </a:cubicBezTo>
                <a:cubicBezTo>
                  <a:pt x="1034" y="833"/>
                  <a:pt x="1037" y="840"/>
                  <a:pt x="1037" y="840"/>
                </a:cubicBezTo>
                <a:cubicBezTo>
                  <a:pt x="1038" y="844"/>
                  <a:pt x="1038" y="847"/>
                  <a:pt x="1038" y="851"/>
                </a:cubicBezTo>
                <a:cubicBezTo>
                  <a:pt x="1038" y="851"/>
                  <a:pt x="1042" y="853"/>
                  <a:pt x="1040" y="859"/>
                </a:cubicBezTo>
                <a:cubicBezTo>
                  <a:pt x="1040" y="859"/>
                  <a:pt x="1038" y="867"/>
                  <a:pt x="1044" y="868"/>
                </a:cubicBezTo>
                <a:cubicBezTo>
                  <a:pt x="1049" y="870"/>
                  <a:pt x="1051" y="876"/>
                  <a:pt x="1050" y="880"/>
                </a:cubicBezTo>
                <a:cubicBezTo>
                  <a:pt x="1049" y="884"/>
                  <a:pt x="1054" y="888"/>
                  <a:pt x="1054" y="888"/>
                </a:cubicBezTo>
                <a:cubicBezTo>
                  <a:pt x="1054" y="888"/>
                  <a:pt x="1051" y="893"/>
                  <a:pt x="1046" y="892"/>
                </a:cubicBezTo>
                <a:cubicBezTo>
                  <a:pt x="1042" y="891"/>
                  <a:pt x="1038" y="884"/>
                  <a:pt x="1039" y="882"/>
                </a:cubicBezTo>
                <a:cubicBezTo>
                  <a:pt x="1039" y="881"/>
                  <a:pt x="1034" y="891"/>
                  <a:pt x="1039" y="899"/>
                </a:cubicBezTo>
                <a:cubicBezTo>
                  <a:pt x="1044" y="907"/>
                  <a:pt x="1048" y="915"/>
                  <a:pt x="1048" y="915"/>
                </a:cubicBezTo>
                <a:cubicBezTo>
                  <a:pt x="1052" y="916"/>
                  <a:pt x="1054" y="917"/>
                  <a:pt x="1058" y="918"/>
                </a:cubicBezTo>
                <a:cubicBezTo>
                  <a:pt x="1058" y="918"/>
                  <a:pt x="1060" y="921"/>
                  <a:pt x="1060" y="925"/>
                </a:cubicBezTo>
                <a:cubicBezTo>
                  <a:pt x="1061" y="929"/>
                  <a:pt x="1067" y="931"/>
                  <a:pt x="1067" y="931"/>
                </a:cubicBezTo>
                <a:cubicBezTo>
                  <a:pt x="1067" y="931"/>
                  <a:pt x="1070" y="936"/>
                  <a:pt x="1067" y="942"/>
                </a:cubicBezTo>
                <a:cubicBezTo>
                  <a:pt x="1065" y="948"/>
                  <a:pt x="1061" y="950"/>
                  <a:pt x="1061" y="950"/>
                </a:cubicBezTo>
                <a:cubicBezTo>
                  <a:pt x="1061" y="950"/>
                  <a:pt x="1060" y="956"/>
                  <a:pt x="1064" y="956"/>
                </a:cubicBezTo>
                <a:cubicBezTo>
                  <a:pt x="1068" y="956"/>
                  <a:pt x="1062" y="964"/>
                  <a:pt x="1071" y="966"/>
                </a:cubicBezTo>
                <a:cubicBezTo>
                  <a:pt x="1073" y="969"/>
                  <a:pt x="1074" y="970"/>
                  <a:pt x="1076" y="972"/>
                </a:cubicBezTo>
                <a:cubicBezTo>
                  <a:pt x="1076" y="972"/>
                  <a:pt x="1075" y="981"/>
                  <a:pt x="1083" y="981"/>
                </a:cubicBezTo>
                <a:cubicBezTo>
                  <a:pt x="1083" y="981"/>
                  <a:pt x="1078" y="990"/>
                  <a:pt x="1079" y="992"/>
                </a:cubicBezTo>
                <a:cubicBezTo>
                  <a:pt x="1081" y="994"/>
                  <a:pt x="1087" y="1000"/>
                  <a:pt x="1089" y="994"/>
                </a:cubicBezTo>
                <a:cubicBezTo>
                  <a:pt x="1091" y="988"/>
                  <a:pt x="1093" y="995"/>
                  <a:pt x="1096" y="985"/>
                </a:cubicBezTo>
                <a:cubicBezTo>
                  <a:pt x="1099" y="974"/>
                  <a:pt x="1094" y="981"/>
                  <a:pt x="1092" y="972"/>
                </a:cubicBezTo>
                <a:cubicBezTo>
                  <a:pt x="1090" y="963"/>
                  <a:pt x="1084" y="963"/>
                  <a:pt x="1084" y="963"/>
                </a:cubicBezTo>
                <a:cubicBezTo>
                  <a:pt x="1085" y="958"/>
                  <a:pt x="1086" y="955"/>
                  <a:pt x="1087" y="950"/>
                </a:cubicBezTo>
                <a:cubicBezTo>
                  <a:pt x="1085" y="947"/>
                  <a:pt x="1084" y="946"/>
                  <a:pt x="1082" y="942"/>
                </a:cubicBezTo>
                <a:cubicBezTo>
                  <a:pt x="1083" y="939"/>
                  <a:pt x="1084" y="937"/>
                  <a:pt x="1084" y="933"/>
                </a:cubicBezTo>
                <a:cubicBezTo>
                  <a:pt x="1083" y="930"/>
                  <a:pt x="1082" y="928"/>
                  <a:pt x="1081" y="924"/>
                </a:cubicBezTo>
                <a:cubicBezTo>
                  <a:pt x="1080" y="921"/>
                  <a:pt x="1080" y="920"/>
                  <a:pt x="1079" y="917"/>
                </a:cubicBezTo>
                <a:cubicBezTo>
                  <a:pt x="1078" y="915"/>
                  <a:pt x="1078" y="915"/>
                  <a:pt x="1077" y="913"/>
                </a:cubicBezTo>
                <a:cubicBezTo>
                  <a:pt x="1076" y="911"/>
                  <a:pt x="1076" y="910"/>
                  <a:pt x="1075" y="909"/>
                </a:cubicBezTo>
                <a:cubicBezTo>
                  <a:pt x="1074" y="906"/>
                  <a:pt x="1073" y="904"/>
                  <a:pt x="1073" y="902"/>
                </a:cubicBezTo>
                <a:cubicBezTo>
                  <a:pt x="1072" y="898"/>
                  <a:pt x="1072" y="896"/>
                  <a:pt x="1072" y="892"/>
                </a:cubicBezTo>
                <a:cubicBezTo>
                  <a:pt x="1073" y="886"/>
                  <a:pt x="1074" y="882"/>
                  <a:pt x="1075" y="876"/>
                </a:cubicBezTo>
                <a:cubicBezTo>
                  <a:pt x="1072" y="873"/>
                  <a:pt x="1071" y="872"/>
                  <a:pt x="1069" y="870"/>
                </a:cubicBezTo>
                <a:cubicBezTo>
                  <a:pt x="1067" y="869"/>
                  <a:pt x="1066" y="869"/>
                  <a:pt x="1065" y="869"/>
                </a:cubicBezTo>
                <a:cubicBezTo>
                  <a:pt x="1064" y="866"/>
                  <a:pt x="1063" y="865"/>
                  <a:pt x="1062" y="862"/>
                </a:cubicBezTo>
                <a:cubicBezTo>
                  <a:pt x="1060" y="860"/>
                  <a:pt x="1060" y="860"/>
                  <a:pt x="1058" y="858"/>
                </a:cubicBezTo>
                <a:cubicBezTo>
                  <a:pt x="1059" y="854"/>
                  <a:pt x="1060" y="851"/>
                  <a:pt x="1060" y="847"/>
                </a:cubicBezTo>
                <a:cubicBezTo>
                  <a:pt x="1060" y="844"/>
                  <a:pt x="1061" y="843"/>
                  <a:pt x="1061" y="839"/>
                </a:cubicBezTo>
                <a:cubicBezTo>
                  <a:pt x="1062" y="837"/>
                  <a:pt x="1062" y="835"/>
                  <a:pt x="1063" y="833"/>
                </a:cubicBezTo>
                <a:cubicBezTo>
                  <a:pt x="1067" y="835"/>
                  <a:pt x="1068" y="836"/>
                  <a:pt x="1072" y="838"/>
                </a:cubicBezTo>
                <a:cubicBezTo>
                  <a:pt x="1074" y="840"/>
                  <a:pt x="1076" y="841"/>
                  <a:pt x="1078" y="843"/>
                </a:cubicBezTo>
                <a:cubicBezTo>
                  <a:pt x="1078" y="847"/>
                  <a:pt x="1078" y="848"/>
                  <a:pt x="1078" y="851"/>
                </a:cubicBezTo>
                <a:cubicBezTo>
                  <a:pt x="1079" y="853"/>
                  <a:pt x="1080" y="854"/>
                  <a:pt x="1081" y="856"/>
                </a:cubicBezTo>
                <a:cubicBezTo>
                  <a:pt x="1081" y="861"/>
                  <a:pt x="1081" y="863"/>
                  <a:pt x="1081" y="868"/>
                </a:cubicBezTo>
                <a:cubicBezTo>
                  <a:pt x="1082" y="872"/>
                  <a:pt x="1082" y="874"/>
                  <a:pt x="1083" y="878"/>
                </a:cubicBezTo>
                <a:cubicBezTo>
                  <a:pt x="1082" y="880"/>
                  <a:pt x="1082" y="881"/>
                  <a:pt x="1081" y="884"/>
                </a:cubicBezTo>
                <a:cubicBezTo>
                  <a:pt x="1081" y="886"/>
                  <a:pt x="1081" y="888"/>
                  <a:pt x="1080" y="890"/>
                </a:cubicBezTo>
                <a:cubicBezTo>
                  <a:pt x="1083" y="890"/>
                  <a:pt x="1084" y="890"/>
                  <a:pt x="1087" y="890"/>
                </a:cubicBezTo>
                <a:cubicBezTo>
                  <a:pt x="1087" y="894"/>
                  <a:pt x="1088" y="895"/>
                  <a:pt x="1088" y="898"/>
                </a:cubicBezTo>
                <a:cubicBezTo>
                  <a:pt x="1091" y="902"/>
                  <a:pt x="1093" y="904"/>
                  <a:pt x="1096" y="908"/>
                </a:cubicBezTo>
                <a:cubicBezTo>
                  <a:pt x="1098" y="909"/>
                  <a:pt x="1099" y="909"/>
                  <a:pt x="1100" y="910"/>
                </a:cubicBezTo>
                <a:cubicBezTo>
                  <a:pt x="1099" y="913"/>
                  <a:pt x="1099" y="914"/>
                  <a:pt x="1098" y="917"/>
                </a:cubicBezTo>
                <a:cubicBezTo>
                  <a:pt x="1100" y="919"/>
                  <a:pt x="1102" y="920"/>
                  <a:pt x="1104" y="923"/>
                </a:cubicBezTo>
                <a:cubicBezTo>
                  <a:pt x="1105" y="926"/>
                  <a:pt x="1106" y="928"/>
                  <a:pt x="1107" y="931"/>
                </a:cubicBezTo>
                <a:cubicBezTo>
                  <a:pt x="1108" y="932"/>
                  <a:pt x="1109" y="933"/>
                  <a:pt x="1111" y="934"/>
                </a:cubicBezTo>
                <a:cubicBezTo>
                  <a:pt x="1111" y="937"/>
                  <a:pt x="1111" y="938"/>
                  <a:pt x="1110" y="941"/>
                </a:cubicBezTo>
                <a:cubicBezTo>
                  <a:pt x="1108" y="942"/>
                  <a:pt x="1107" y="943"/>
                  <a:pt x="1104" y="945"/>
                </a:cubicBezTo>
                <a:cubicBezTo>
                  <a:pt x="1105" y="947"/>
                  <a:pt x="1105" y="948"/>
                  <a:pt x="1105" y="950"/>
                </a:cubicBezTo>
                <a:cubicBezTo>
                  <a:pt x="1109" y="953"/>
                  <a:pt x="1111" y="954"/>
                  <a:pt x="1116" y="957"/>
                </a:cubicBezTo>
                <a:cubicBezTo>
                  <a:pt x="1118" y="963"/>
                  <a:pt x="1119" y="966"/>
                  <a:pt x="1121" y="972"/>
                </a:cubicBezTo>
                <a:cubicBezTo>
                  <a:pt x="1125" y="977"/>
                  <a:pt x="1127" y="980"/>
                  <a:pt x="1131" y="985"/>
                </a:cubicBezTo>
                <a:cubicBezTo>
                  <a:pt x="1133" y="991"/>
                  <a:pt x="1135" y="994"/>
                  <a:pt x="1138" y="1000"/>
                </a:cubicBezTo>
                <a:cubicBezTo>
                  <a:pt x="1140" y="1009"/>
                  <a:pt x="1141" y="1014"/>
                  <a:pt x="1143" y="1023"/>
                </a:cubicBezTo>
                <a:cubicBezTo>
                  <a:pt x="1142" y="1025"/>
                  <a:pt x="1141" y="1026"/>
                  <a:pt x="1140" y="1028"/>
                </a:cubicBezTo>
                <a:cubicBezTo>
                  <a:pt x="1141" y="1032"/>
                  <a:pt x="1142" y="1035"/>
                  <a:pt x="1142" y="1039"/>
                </a:cubicBezTo>
                <a:cubicBezTo>
                  <a:pt x="1140" y="1043"/>
                  <a:pt x="1138" y="1045"/>
                  <a:pt x="1136" y="1049"/>
                </a:cubicBezTo>
                <a:cubicBezTo>
                  <a:pt x="1133" y="1051"/>
                  <a:pt x="1132" y="1051"/>
                  <a:pt x="1129" y="1053"/>
                </a:cubicBezTo>
                <a:cubicBezTo>
                  <a:pt x="1129" y="1055"/>
                  <a:pt x="1130" y="1056"/>
                  <a:pt x="1130" y="1058"/>
                </a:cubicBezTo>
                <a:cubicBezTo>
                  <a:pt x="1134" y="1065"/>
                  <a:pt x="1136" y="1069"/>
                  <a:pt x="1139" y="1076"/>
                </a:cubicBezTo>
                <a:cubicBezTo>
                  <a:pt x="1139" y="1076"/>
                  <a:pt x="1144" y="1080"/>
                  <a:pt x="1152" y="1093"/>
                </a:cubicBezTo>
                <a:cubicBezTo>
                  <a:pt x="1159" y="1107"/>
                  <a:pt x="1174" y="1106"/>
                  <a:pt x="1174" y="1106"/>
                </a:cubicBezTo>
                <a:cubicBezTo>
                  <a:pt x="1177" y="1112"/>
                  <a:pt x="1179" y="1116"/>
                  <a:pt x="1182" y="1122"/>
                </a:cubicBezTo>
                <a:cubicBezTo>
                  <a:pt x="1182" y="1122"/>
                  <a:pt x="1188" y="1130"/>
                  <a:pt x="1197" y="1132"/>
                </a:cubicBezTo>
                <a:cubicBezTo>
                  <a:pt x="1197" y="1132"/>
                  <a:pt x="1207" y="1147"/>
                  <a:pt x="1215" y="1149"/>
                </a:cubicBezTo>
                <a:cubicBezTo>
                  <a:pt x="1223" y="1151"/>
                  <a:pt x="1230" y="1166"/>
                  <a:pt x="1230" y="1166"/>
                </a:cubicBezTo>
                <a:cubicBezTo>
                  <a:pt x="1236" y="1167"/>
                  <a:pt x="1239" y="1168"/>
                  <a:pt x="1245" y="1169"/>
                </a:cubicBezTo>
                <a:cubicBezTo>
                  <a:pt x="1245" y="1169"/>
                  <a:pt x="1256" y="1175"/>
                  <a:pt x="1263" y="1167"/>
                </a:cubicBezTo>
                <a:cubicBezTo>
                  <a:pt x="1270" y="1159"/>
                  <a:pt x="1279" y="1167"/>
                  <a:pt x="1279" y="1170"/>
                </a:cubicBezTo>
                <a:cubicBezTo>
                  <a:pt x="1279" y="1173"/>
                  <a:pt x="1291" y="1182"/>
                  <a:pt x="1291" y="1182"/>
                </a:cubicBezTo>
                <a:cubicBezTo>
                  <a:pt x="1291" y="1185"/>
                  <a:pt x="1292" y="1186"/>
                  <a:pt x="1292" y="1189"/>
                </a:cubicBezTo>
                <a:cubicBezTo>
                  <a:pt x="1295" y="1195"/>
                  <a:pt x="1296" y="1198"/>
                  <a:pt x="1298" y="1204"/>
                </a:cubicBezTo>
                <a:cubicBezTo>
                  <a:pt x="1300" y="1208"/>
                  <a:pt x="1301" y="1210"/>
                  <a:pt x="1303" y="1213"/>
                </a:cubicBezTo>
                <a:cubicBezTo>
                  <a:pt x="1306" y="1217"/>
                  <a:pt x="1308" y="1218"/>
                  <a:pt x="1311" y="1221"/>
                </a:cubicBezTo>
                <a:cubicBezTo>
                  <a:pt x="1317" y="1225"/>
                  <a:pt x="1320" y="1226"/>
                  <a:pt x="1326" y="1230"/>
                </a:cubicBezTo>
                <a:cubicBezTo>
                  <a:pt x="1327" y="1232"/>
                  <a:pt x="1328" y="1233"/>
                  <a:pt x="1329" y="1236"/>
                </a:cubicBezTo>
                <a:cubicBezTo>
                  <a:pt x="1332" y="1236"/>
                  <a:pt x="1334" y="1237"/>
                  <a:pt x="1338" y="1237"/>
                </a:cubicBezTo>
                <a:cubicBezTo>
                  <a:pt x="1338" y="1239"/>
                  <a:pt x="1339" y="1240"/>
                  <a:pt x="1339" y="1242"/>
                </a:cubicBezTo>
                <a:cubicBezTo>
                  <a:pt x="1344" y="1244"/>
                  <a:pt x="1347" y="1245"/>
                  <a:pt x="1352" y="1248"/>
                </a:cubicBezTo>
                <a:cubicBezTo>
                  <a:pt x="1355" y="1248"/>
                  <a:pt x="1357" y="1248"/>
                  <a:pt x="1360" y="1248"/>
                </a:cubicBezTo>
                <a:cubicBezTo>
                  <a:pt x="1361" y="1252"/>
                  <a:pt x="1361" y="1254"/>
                  <a:pt x="1361" y="1258"/>
                </a:cubicBezTo>
                <a:cubicBezTo>
                  <a:pt x="1362" y="1261"/>
                  <a:pt x="1362" y="1262"/>
                  <a:pt x="1363" y="1266"/>
                </a:cubicBezTo>
                <a:cubicBezTo>
                  <a:pt x="1366" y="1273"/>
                  <a:pt x="1368" y="1276"/>
                  <a:pt x="1372" y="1283"/>
                </a:cubicBezTo>
                <a:cubicBezTo>
                  <a:pt x="1374" y="1284"/>
                  <a:pt x="1375" y="1285"/>
                  <a:pt x="1376" y="1286"/>
                </a:cubicBezTo>
                <a:cubicBezTo>
                  <a:pt x="1375" y="1292"/>
                  <a:pt x="1375" y="1295"/>
                  <a:pt x="1374" y="1300"/>
                </a:cubicBezTo>
                <a:cubicBezTo>
                  <a:pt x="1372" y="1305"/>
                  <a:pt x="1371" y="1307"/>
                  <a:pt x="1369" y="1311"/>
                </a:cubicBezTo>
                <a:cubicBezTo>
                  <a:pt x="1374" y="1315"/>
                  <a:pt x="1377" y="1317"/>
                  <a:pt x="1382" y="1321"/>
                </a:cubicBezTo>
                <a:cubicBezTo>
                  <a:pt x="1385" y="1321"/>
                  <a:pt x="1386" y="1321"/>
                  <a:pt x="1388" y="1320"/>
                </a:cubicBezTo>
                <a:cubicBezTo>
                  <a:pt x="1391" y="1326"/>
                  <a:pt x="1391" y="1328"/>
                  <a:pt x="1394" y="1334"/>
                </a:cubicBezTo>
                <a:cubicBezTo>
                  <a:pt x="1393" y="1338"/>
                  <a:pt x="1393" y="1339"/>
                  <a:pt x="1392" y="1343"/>
                </a:cubicBezTo>
                <a:cubicBezTo>
                  <a:pt x="1392" y="1343"/>
                  <a:pt x="1399" y="1345"/>
                  <a:pt x="1402" y="1350"/>
                </a:cubicBezTo>
                <a:cubicBezTo>
                  <a:pt x="1405" y="1354"/>
                  <a:pt x="1417" y="1356"/>
                  <a:pt x="1417" y="1356"/>
                </a:cubicBezTo>
                <a:cubicBezTo>
                  <a:pt x="1418" y="1359"/>
                  <a:pt x="1418" y="1361"/>
                  <a:pt x="1419" y="1364"/>
                </a:cubicBezTo>
                <a:cubicBezTo>
                  <a:pt x="1422" y="1365"/>
                  <a:pt x="1423" y="1366"/>
                  <a:pt x="1426" y="1367"/>
                </a:cubicBezTo>
                <a:cubicBezTo>
                  <a:pt x="1425" y="1370"/>
                  <a:pt x="1425" y="1371"/>
                  <a:pt x="1425" y="1374"/>
                </a:cubicBezTo>
                <a:cubicBezTo>
                  <a:pt x="1425" y="1374"/>
                  <a:pt x="1432" y="1382"/>
                  <a:pt x="1440" y="1375"/>
                </a:cubicBezTo>
                <a:cubicBezTo>
                  <a:pt x="1448" y="1368"/>
                  <a:pt x="1439" y="1363"/>
                  <a:pt x="1439" y="1363"/>
                </a:cubicBezTo>
                <a:cubicBezTo>
                  <a:pt x="1439" y="1363"/>
                  <a:pt x="1451" y="1360"/>
                  <a:pt x="1453" y="1355"/>
                </a:cubicBezTo>
                <a:cubicBezTo>
                  <a:pt x="1455" y="1350"/>
                  <a:pt x="1464" y="1355"/>
                  <a:pt x="1465" y="1362"/>
                </a:cubicBezTo>
                <a:cubicBezTo>
                  <a:pt x="1466" y="1369"/>
                  <a:pt x="1466" y="1379"/>
                  <a:pt x="1466" y="1379"/>
                </a:cubicBezTo>
                <a:cubicBezTo>
                  <a:pt x="1466" y="1379"/>
                  <a:pt x="1467" y="1383"/>
                  <a:pt x="1470" y="1388"/>
                </a:cubicBezTo>
                <a:cubicBezTo>
                  <a:pt x="1469" y="1390"/>
                  <a:pt x="1468" y="1391"/>
                  <a:pt x="1466" y="1393"/>
                </a:cubicBezTo>
                <a:cubicBezTo>
                  <a:pt x="1469" y="1398"/>
                  <a:pt x="1471" y="1401"/>
                  <a:pt x="1474" y="1406"/>
                </a:cubicBezTo>
                <a:cubicBezTo>
                  <a:pt x="1470" y="1411"/>
                  <a:pt x="1469" y="1413"/>
                  <a:pt x="1465" y="1417"/>
                </a:cubicBezTo>
                <a:cubicBezTo>
                  <a:pt x="1462" y="1425"/>
                  <a:pt x="1461" y="1429"/>
                  <a:pt x="1458" y="1437"/>
                </a:cubicBezTo>
                <a:cubicBezTo>
                  <a:pt x="1458" y="1437"/>
                  <a:pt x="1463" y="1452"/>
                  <a:pt x="1451" y="1457"/>
                </a:cubicBezTo>
                <a:cubicBezTo>
                  <a:pt x="1438" y="1462"/>
                  <a:pt x="1442" y="1461"/>
                  <a:pt x="1432" y="1469"/>
                </a:cubicBezTo>
                <a:cubicBezTo>
                  <a:pt x="1423" y="1476"/>
                  <a:pt x="1419" y="1480"/>
                  <a:pt x="1419" y="1480"/>
                </a:cubicBezTo>
                <a:cubicBezTo>
                  <a:pt x="1413" y="1482"/>
                  <a:pt x="1410" y="1483"/>
                  <a:pt x="1403" y="1486"/>
                </a:cubicBezTo>
                <a:cubicBezTo>
                  <a:pt x="1401" y="1490"/>
                  <a:pt x="1401" y="1491"/>
                  <a:pt x="1399" y="1495"/>
                </a:cubicBezTo>
                <a:cubicBezTo>
                  <a:pt x="1396" y="1500"/>
                  <a:pt x="1395" y="1502"/>
                  <a:pt x="1392" y="1507"/>
                </a:cubicBezTo>
                <a:cubicBezTo>
                  <a:pt x="1392" y="1507"/>
                  <a:pt x="1379" y="1507"/>
                  <a:pt x="1383" y="1518"/>
                </a:cubicBezTo>
                <a:cubicBezTo>
                  <a:pt x="1387" y="1528"/>
                  <a:pt x="1368" y="1531"/>
                  <a:pt x="1372" y="1534"/>
                </a:cubicBezTo>
                <a:cubicBezTo>
                  <a:pt x="1377" y="1537"/>
                  <a:pt x="1380" y="1545"/>
                  <a:pt x="1380" y="1545"/>
                </a:cubicBezTo>
                <a:cubicBezTo>
                  <a:pt x="1383" y="1546"/>
                  <a:pt x="1384" y="1546"/>
                  <a:pt x="1387" y="1547"/>
                </a:cubicBezTo>
                <a:cubicBezTo>
                  <a:pt x="1386" y="1549"/>
                  <a:pt x="1386" y="1550"/>
                  <a:pt x="1385" y="1553"/>
                </a:cubicBezTo>
                <a:cubicBezTo>
                  <a:pt x="1377" y="1555"/>
                  <a:pt x="1373" y="1556"/>
                  <a:pt x="1365" y="1558"/>
                </a:cubicBezTo>
                <a:cubicBezTo>
                  <a:pt x="1362" y="1562"/>
                  <a:pt x="1361" y="1565"/>
                  <a:pt x="1358" y="1569"/>
                </a:cubicBezTo>
                <a:cubicBezTo>
                  <a:pt x="1358" y="1575"/>
                  <a:pt x="1358" y="1578"/>
                  <a:pt x="1358" y="1584"/>
                </a:cubicBezTo>
                <a:cubicBezTo>
                  <a:pt x="1358" y="1584"/>
                  <a:pt x="1351" y="1584"/>
                  <a:pt x="1352" y="1591"/>
                </a:cubicBezTo>
                <a:cubicBezTo>
                  <a:pt x="1353" y="1597"/>
                  <a:pt x="1367" y="1608"/>
                  <a:pt x="1367" y="1608"/>
                </a:cubicBezTo>
                <a:cubicBezTo>
                  <a:pt x="1366" y="1616"/>
                  <a:pt x="1366" y="1619"/>
                  <a:pt x="1364" y="1627"/>
                </a:cubicBezTo>
                <a:cubicBezTo>
                  <a:pt x="1367" y="1630"/>
                  <a:pt x="1368" y="1631"/>
                  <a:pt x="1370" y="1634"/>
                </a:cubicBezTo>
                <a:cubicBezTo>
                  <a:pt x="1371" y="1648"/>
                  <a:pt x="1371" y="1655"/>
                  <a:pt x="1372" y="1670"/>
                </a:cubicBezTo>
                <a:cubicBezTo>
                  <a:pt x="1374" y="1684"/>
                  <a:pt x="1375" y="1690"/>
                  <a:pt x="1377" y="1704"/>
                </a:cubicBezTo>
                <a:cubicBezTo>
                  <a:pt x="1379" y="1712"/>
                  <a:pt x="1380" y="1715"/>
                  <a:pt x="1382" y="1723"/>
                </a:cubicBezTo>
                <a:cubicBezTo>
                  <a:pt x="1378" y="1725"/>
                  <a:pt x="1376" y="1726"/>
                  <a:pt x="1372" y="1728"/>
                </a:cubicBezTo>
                <a:cubicBezTo>
                  <a:pt x="1375" y="1732"/>
                  <a:pt x="1377" y="1735"/>
                  <a:pt x="1380" y="1740"/>
                </a:cubicBezTo>
                <a:cubicBezTo>
                  <a:pt x="1381" y="1746"/>
                  <a:pt x="1382" y="1749"/>
                  <a:pt x="1384" y="1756"/>
                </a:cubicBezTo>
                <a:cubicBezTo>
                  <a:pt x="1390" y="1762"/>
                  <a:pt x="1393" y="1765"/>
                  <a:pt x="1399" y="1771"/>
                </a:cubicBezTo>
                <a:cubicBezTo>
                  <a:pt x="1404" y="1777"/>
                  <a:pt x="1406" y="1780"/>
                  <a:pt x="1411" y="1786"/>
                </a:cubicBezTo>
                <a:cubicBezTo>
                  <a:pt x="1416" y="1791"/>
                  <a:pt x="1418" y="1793"/>
                  <a:pt x="1423" y="1798"/>
                </a:cubicBezTo>
                <a:cubicBezTo>
                  <a:pt x="1422" y="1799"/>
                  <a:pt x="1422" y="1800"/>
                  <a:pt x="1422" y="1801"/>
                </a:cubicBezTo>
                <a:cubicBezTo>
                  <a:pt x="1425" y="1807"/>
                  <a:pt x="1427" y="1810"/>
                  <a:pt x="1430" y="1816"/>
                </a:cubicBezTo>
                <a:cubicBezTo>
                  <a:pt x="1425" y="1831"/>
                  <a:pt x="1423" y="1839"/>
                  <a:pt x="1418" y="1854"/>
                </a:cubicBezTo>
                <a:cubicBezTo>
                  <a:pt x="1418" y="1854"/>
                  <a:pt x="1416" y="1871"/>
                  <a:pt x="1405" y="1881"/>
                </a:cubicBezTo>
                <a:cubicBezTo>
                  <a:pt x="1394" y="1891"/>
                  <a:pt x="1395" y="1911"/>
                  <a:pt x="1389" y="1913"/>
                </a:cubicBezTo>
                <a:cubicBezTo>
                  <a:pt x="1382" y="1916"/>
                  <a:pt x="1376" y="1934"/>
                  <a:pt x="1376" y="1934"/>
                </a:cubicBezTo>
                <a:cubicBezTo>
                  <a:pt x="1376" y="1934"/>
                  <a:pt x="1375" y="1932"/>
                  <a:pt x="1369" y="1946"/>
                </a:cubicBezTo>
                <a:cubicBezTo>
                  <a:pt x="1363" y="1960"/>
                  <a:pt x="1348" y="1961"/>
                  <a:pt x="1352" y="1966"/>
                </a:cubicBezTo>
                <a:cubicBezTo>
                  <a:pt x="1355" y="1972"/>
                  <a:pt x="1349" y="1981"/>
                  <a:pt x="1349" y="1981"/>
                </a:cubicBezTo>
                <a:cubicBezTo>
                  <a:pt x="1349" y="1981"/>
                  <a:pt x="1338" y="1988"/>
                  <a:pt x="1338" y="1998"/>
                </a:cubicBezTo>
                <a:cubicBezTo>
                  <a:pt x="1338" y="2008"/>
                  <a:pt x="1324" y="2028"/>
                  <a:pt x="1324" y="2028"/>
                </a:cubicBezTo>
                <a:cubicBezTo>
                  <a:pt x="1314" y="2028"/>
                  <a:pt x="1317" y="2042"/>
                  <a:pt x="1309" y="2046"/>
                </a:cubicBezTo>
                <a:cubicBezTo>
                  <a:pt x="1300" y="2049"/>
                  <a:pt x="1291" y="2063"/>
                  <a:pt x="1291" y="2063"/>
                </a:cubicBezTo>
                <a:cubicBezTo>
                  <a:pt x="1285" y="2067"/>
                  <a:pt x="1282" y="2069"/>
                  <a:pt x="1276" y="2073"/>
                </a:cubicBezTo>
                <a:cubicBezTo>
                  <a:pt x="1276" y="2077"/>
                  <a:pt x="1276" y="2078"/>
                  <a:pt x="1277" y="2082"/>
                </a:cubicBezTo>
                <a:cubicBezTo>
                  <a:pt x="1273" y="2087"/>
                  <a:pt x="1271" y="2090"/>
                  <a:pt x="1267" y="2095"/>
                </a:cubicBezTo>
                <a:cubicBezTo>
                  <a:pt x="1269" y="2098"/>
                  <a:pt x="1269" y="2099"/>
                  <a:pt x="1270" y="2102"/>
                </a:cubicBezTo>
                <a:cubicBezTo>
                  <a:pt x="1252" y="2116"/>
                  <a:pt x="1259" y="2127"/>
                  <a:pt x="1251" y="2129"/>
                </a:cubicBezTo>
                <a:cubicBezTo>
                  <a:pt x="1244" y="2131"/>
                  <a:pt x="1245" y="2142"/>
                  <a:pt x="1238" y="2145"/>
                </a:cubicBezTo>
                <a:cubicBezTo>
                  <a:pt x="1232" y="2148"/>
                  <a:pt x="1232" y="2153"/>
                  <a:pt x="1232" y="2153"/>
                </a:cubicBezTo>
                <a:cubicBezTo>
                  <a:pt x="1246" y="2159"/>
                  <a:pt x="1253" y="2141"/>
                  <a:pt x="1253" y="2141"/>
                </a:cubicBezTo>
                <a:cubicBezTo>
                  <a:pt x="1253" y="2141"/>
                  <a:pt x="1257" y="2132"/>
                  <a:pt x="1260" y="2134"/>
                </a:cubicBezTo>
                <a:cubicBezTo>
                  <a:pt x="1264" y="2136"/>
                  <a:pt x="1258" y="2143"/>
                  <a:pt x="1258" y="2143"/>
                </a:cubicBezTo>
                <a:cubicBezTo>
                  <a:pt x="1258" y="2143"/>
                  <a:pt x="1252" y="2151"/>
                  <a:pt x="1249" y="2158"/>
                </a:cubicBezTo>
                <a:cubicBezTo>
                  <a:pt x="1245" y="2166"/>
                  <a:pt x="1231" y="2177"/>
                  <a:pt x="1231" y="2177"/>
                </a:cubicBezTo>
                <a:cubicBezTo>
                  <a:pt x="1231" y="2177"/>
                  <a:pt x="1247" y="2163"/>
                  <a:pt x="1238" y="2162"/>
                </a:cubicBezTo>
                <a:cubicBezTo>
                  <a:pt x="1228" y="2161"/>
                  <a:pt x="1226" y="2165"/>
                  <a:pt x="1225" y="2170"/>
                </a:cubicBezTo>
                <a:cubicBezTo>
                  <a:pt x="1223" y="2175"/>
                  <a:pt x="1218" y="2180"/>
                  <a:pt x="1218" y="2180"/>
                </a:cubicBezTo>
                <a:cubicBezTo>
                  <a:pt x="1211" y="2179"/>
                  <a:pt x="1207" y="2189"/>
                  <a:pt x="1207" y="2189"/>
                </a:cubicBezTo>
                <a:cubicBezTo>
                  <a:pt x="1204" y="2191"/>
                  <a:pt x="1202" y="2191"/>
                  <a:pt x="1199" y="2193"/>
                </a:cubicBezTo>
                <a:cubicBezTo>
                  <a:pt x="1205" y="2195"/>
                  <a:pt x="1208" y="2196"/>
                  <a:pt x="1214" y="2198"/>
                </a:cubicBezTo>
                <a:cubicBezTo>
                  <a:pt x="1205" y="2198"/>
                  <a:pt x="1201" y="2210"/>
                  <a:pt x="1201" y="2210"/>
                </a:cubicBezTo>
                <a:cubicBezTo>
                  <a:pt x="1184" y="2212"/>
                  <a:pt x="1185" y="2226"/>
                  <a:pt x="1185" y="2226"/>
                </a:cubicBezTo>
                <a:cubicBezTo>
                  <a:pt x="1185" y="2226"/>
                  <a:pt x="1182" y="2235"/>
                  <a:pt x="1179" y="2242"/>
                </a:cubicBezTo>
                <a:cubicBezTo>
                  <a:pt x="1175" y="2249"/>
                  <a:pt x="1184" y="2245"/>
                  <a:pt x="1184" y="2245"/>
                </a:cubicBezTo>
                <a:cubicBezTo>
                  <a:pt x="1180" y="2249"/>
                  <a:pt x="1178" y="2251"/>
                  <a:pt x="1173" y="2254"/>
                </a:cubicBezTo>
                <a:cubicBezTo>
                  <a:pt x="1175" y="2255"/>
                  <a:pt x="1176" y="2255"/>
                  <a:pt x="1178" y="2255"/>
                </a:cubicBezTo>
                <a:cubicBezTo>
                  <a:pt x="1176" y="2258"/>
                  <a:pt x="1175" y="2259"/>
                  <a:pt x="1174" y="2262"/>
                </a:cubicBezTo>
                <a:cubicBezTo>
                  <a:pt x="1174" y="2262"/>
                  <a:pt x="1176" y="2265"/>
                  <a:pt x="1176" y="2271"/>
                </a:cubicBezTo>
                <a:cubicBezTo>
                  <a:pt x="1175" y="2278"/>
                  <a:pt x="1184" y="2276"/>
                  <a:pt x="1184" y="2276"/>
                </a:cubicBezTo>
                <a:cubicBezTo>
                  <a:pt x="1181" y="2279"/>
                  <a:pt x="1179" y="2280"/>
                  <a:pt x="1176" y="2282"/>
                </a:cubicBezTo>
                <a:cubicBezTo>
                  <a:pt x="1180" y="2283"/>
                  <a:pt x="1182" y="2283"/>
                  <a:pt x="1187" y="2283"/>
                </a:cubicBezTo>
                <a:cubicBezTo>
                  <a:pt x="1185" y="2284"/>
                  <a:pt x="1184" y="2284"/>
                  <a:pt x="1182" y="2285"/>
                </a:cubicBezTo>
                <a:cubicBezTo>
                  <a:pt x="1184" y="2286"/>
                  <a:pt x="1185" y="2287"/>
                  <a:pt x="1187" y="2289"/>
                </a:cubicBezTo>
                <a:cubicBezTo>
                  <a:pt x="1190" y="2289"/>
                  <a:pt x="1191" y="2290"/>
                  <a:pt x="1194" y="2290"/>
                </a:cubicBezTo>
                <a:cubicBezTo>
                  <a:pt x="1192" y="2292"/>
                  <a:pt x="1191" y="2293"/>
                  <a:pt x="1189" y="2294"/>
                </a:cubicBezTo>
                <a:cubicBezTo>
                  <a:pt x="1192" y="2295"/>
                  <a:pt x="1194" y="2295"/>
                  <a:pt x="1197" y="2296"/>
                </a:cubicBezTo>
                <a:cubicBezTo>
                  <a:pt x="1200" y="2298"/>
                  <a:pt x="1202" y="2299"/>
                  <a:pt x="1205" y="2301"/>
                </a:cubicBezTo>
                <a:cubicBezTo>
                  <a:pt x="1208" y="2300"/>
                  <a:pt x="1209" y="2300"/>
                  <a:pt x="1211" y="2299"/>
                </a:cubicBezTo>
                <a:cubicBezTo>
                  <a:pt x="1211" y="2301"/>
                  <a:pt x="1211" y="2301"/>
                  <a:pt x="1211" y="2303"/>
                </a:cubicBezTo>
                <a:cubicBezTo>
                  <a:pt x="1211" y="2303"/>
                  <a:pt x="1211" y="2303"/>
                  <a:pt x="1211" y="2303"/>
                </a:cubicBezTo>
                <a:cubicBezTo>
                  <a:pt x="1124" y="2300"/>
                  <a:pt x="1035" y="2286"/>
                  <a:pt x="948" y="2261"/>
                </a:cubicBezTo>
                <a:close/>
                <a:moveTo>
                  <a:pt x="1520" y="759"/>
                </a:moveTo>
                <a:cubicBezTo>
                  <a:pt x="1521" y="773"/>
                  <a:pt x="1505" y="778"/>
                  <a:pt x="1505" y="778"/>
                </a:cubicBezTo>
                <a:cubicBezTo>
                  <a:pt x="1502" y="778"/>
                  <a:pt x="1501" y="778"/>
                  <a:pt x="1498" y="778"/>
                </a:cubicBezTo>
                <a:cubicBezTo>
                  <a:pt x="1498" y="771"/>
                  <a:pt x="1498" y="767"/>
                  <a:pt x="1499" y="760"/>
                </a:cubicBezTo>
                <a:cubicBezTo>
                  <a:pt x="1501" y="754"/>
                  <a:pt x="1502" y="752"/>
                  <a:pt x="1505" y="746"/>
                </a:cubicBezTo>
                <a:cubicBezTo>
                  <a:pt x="1510" y="737"/>
                  <a:pt x="1513" y="732"/>
                  <a:pt x="1519" y="723"/>
                </a:cubicBezTo>
                <a:cubicBezTo>
                  <a:pt x="1512" y="725"/>
                  <a:pt x="1508" y="726"/>
                  <a:pt x="1501" y="728"/>
                </a:cubicBezTo>
                <a:cubicBezTo>
                  <a:pt x="1509" y="723"/>
                  <a:pt x="1512" y="721"/>
                  <a:pt x="1519" y="717"/>
                </a:cubicBezTo>
                <a:cubicBezTo>
                  <a:pt x="1523" y="718"/>
                  <a:pt x="1524" y="718"/>
                  <a:pt x="1527" y="719"/>
                </a:cubicBezTo>
                <a:cubicBezTo>
                  <a:pt x="1536" y="719"/>
                  <a:pt x="1540" y="719"/>
                  <a:pt x="1548" y="719"/>
                </a:cubicBezTo>
                <a:cubicBezTo>
                  <a:pt x="1542" y="725"/>
                  <a:pt x="1539" y="727"/>
                  <a:pt x="1534" y="733"/>
                </a:cubicBezTo>
                <a:cubicBezTo>
                  <a:pt x="1534" y="733"/>
                  <a:pt x="1520" y="745"/>
                  <a:pt x="1520" y="759"/>
                </a:cubicBezTo>
                <a:close/>
                <a:moveTo>
                  <a:pt x="1551" y="706"/>
                </a:moveTo>
                <a:cubicBezTo>
                  <a:pt x="1547" y="705"/>
                  <a:pt x="1545" y="704"/>
                  <a:pt x="1541" y="703"/>
                </a:cubicBezTo>
                <a:cubicBezTo>
                  <a:pt x="1536" y="704"/>
                  <a:pt x="1534" y="704"/>
                  <a:pt x="1530" y="705"/>
                </a:cubicBezTo>
                <a:cubicBezTo>
                  <a:pt x="1525" y="703"/>
                  <a:pt x="1523" y="702"/>
                  <a:pt x="1518" y="701"/>
                </a:cubicBezTo>
                <a:cubicBezTo>
                  <a:pt x="1518" y="698"/>
                  <a:pt x="1518" y="696"/>
                  <a:pt x="1518" y="693"/>
                </a:cubicBezTo>
                <a:cubicBezTo>
                  <a:pt x="1515" y="692"/>
                  <a:pt x="1514" y="692"/>
                  <a:pt x="1512" y="691"/>
                </a:cubicBezTo>
                <a:cubicBezTo>
                  <a:pt x="1514" y="689"/>
                  <a:pt x="1514" y="688"/>
                  <a:pt x="1515" y="686"/>
                </a:cubicBezTo>
                <a:cubicBezTo>
                  <a:pt x="1511" y="684"/>
                  <a:pt x="1509" y="684"/>
                  <a:pt x="1505" y="682"/>
                </a:cubicBezTo>
                <a:cubicBezTo>
                  <a:pt x="1499" y="684"/>
                  <a:pt x="1496" y="685"/>
                  <a:pt x="1490" y="687"/>
                </a:cubicBezTo>
                <a:cubicBezTo>
                  <a:pt x="1484" y="688"/>
                  <a:pt x="1481" y="689"/>
                  <a:pt x="1476" y="690"/>
                </a:cubicBezTo>
                <a:cubicBezTo>
                  <a:pt x="1476" y="686"/>
                  <a:pt x="1477" y="685"/>
                  <a:pt x="1477" y="682"/>
                </a:cubicBezTo>
                <a:cubicBezTo>
                  <a:pt x="1470" y="680"/>
                  <a:pt x="1467" y="680"/>
                  <a:pt x="1460" y="678"/>
                </a:cubicBezTo>
                <a:cubicBezTo>
                  <a:pt x="1467" y="675"/>
                  <a:pt x="1471" y="674"/>
                  <a:pt x="1479" y="670"/>
                </a:cubicBezTo>
                <a:cubicBezTo>
                  <a:pt x="1486" y="670"/>
                  <a:pt x="1490" y="670"/>
                  <a:pt x="1497" y="670"/>
                </a:cubicBezTo>
                <a:cubicBezTo>
                  <a:pt x="1501" y="669"/>
                  <a:pt x="1503" y="668"/>
                  <a:pt x="1507" y="667"/>
                </a:cubicBezTo>
                <a:cubicBezTo>
                  <a:pt x="1515" y="667"/>
                  <a:pt x="1519" y="666"/>
                  <a:pt x="1526" y="666"/>
                </a:cubicBezTo>
                <a:cubicBezTo>
                  <a:pt x="1532" y="669"/>
                  <a:pt x="1534" y="670"/>
                  <a:pt x="1540" y="672"/>
                </a:cubicBezTo>
                <a:cubicBezTo>
                  <a:pt x="1541" y="679"/>
                  <a:pt x="1542" y="682"/>
                  <a:pt x="1543" y="688"/>
                </a:cubicBezTo>
                <a:cubicBezTo>
                  <a:pt x="1547" y="689"/>
                  <a:pt x="1549" y="690"/>
                  <a:pt x="1554" y="691"/>
                </a:cubicBezTo>
                <a:cubicBezTo>
                  <a:pt x="1556" y="697"/>
                  <a:pt x="1558" y="700"/>
                  <a:pt x="1560" y="706"/>
                </a:cubicBezTo>
                <a:cubicBezTo>
                  <a:pt x="1558" y="710"/>
                  <a:pt x="1556" y="712"/>
                  <a:pt x="1553" y="716"/>
                </a:cubicBezTo>
                <a:cubicBezTo>
                  <a:pt x="1552" y="712"/>
                  <a:pt x="1552" y="710"/>
                  <a:pt x="1551" y="706"/>
                </a:cubicBezTo>
                <a:close/>
                <a:moveTo>
                  <a:pt x="1238" y="2304"/>
                </a:moveTo>
                <a:cubicBezTo>
                  <a:pt x="1241" y="2302"/>
                  <a:pt x="1244" y="2299"/>
                  <a:pt x="1247" y="2301"/>
                </a:cubicBezTo>
                <a:cubicBezTo>
                  <a:pt x="1252" y="2304"/>
                  <a:pt x="1266" y="2298"/>
                  <a:pt x="1266" y="2298"/>
                </a:cubicBezTo>
                <a:cubicBezTo>
                  <a:pt x="1258" y="2297"/>
                  <a:pt x="1257" y="2291"/>
                  <a:pt x="1253" y="2289"/>
                </a:cubicBezTo>
                <a:cubicBezTo>
                  <a:pt x="1249" y="2287"/>
                  <a:pt x="1246" y="2284"/>
                  <a:pt x="1246" y="2284"/>
                </a:cubicBezTo>
                <a:cubicBezTo>
                  <a:pt x="1248" y="2281"/>
                  <a:pt x="1249" y="2279"/>
                  <a:pt x="1251" y="2276"/>
                </a:cubicBezTo>
                <a:cubicBezTo>
                  <a:pt x="1249" y="2275"/>
                  <a:pt x="1249" y="2274"/>
                  <a:pt x="1247" y="2274"/>
                </a:cubicBezTo>
                <a:cubicBezTo>
                  <a:pt x="1248" y="2271"/>
                  <a:pt x="1249" y="2270"/>
                  <a:pt x="1251" y="2267"/>
                </a:cubicBezTo>
                <a:cubicBezTo>
                  <a:pt x="1248" y="2266"/>
                  <a:pt x="1246" y="2266"/>
                  <a:pt x="1243" y="2265"/>
                </a:cubicBezTo>
                <a:cubicBezTo>
                  <a:pt x="1246" y="2262"/>
                  <a:pt x="1248" y="2261"/>
                  <a:pt x="1251" y="2258"/>
                </a:cubicBezTo>
                <a:cubicBezTo>
                  <a:pt x="1249" y="2256"/>
                  <a:pt x="1248" y="2255"/>
                  <a:pt x="1247" y="2252"/>
                </a:cubicBezTo>
                <a:cubicBezTo>
                  <a:pt x="1250" y="2250"/>
                  <a:pt x="1252" y="2249"/>
                  <a:pt x="1255" y="2247"/>
                </a:cubicBezTo>
                <a:cubicBezTo>
                  <a:pt x="1258" y="2247"/>
                  <a:pt x="1259" y="2247"/>
                  <a:pt x="1261" y="2248"/>
                </a:cubicBezTo>
                <a:cubicBezTo>
                  <a:pt x="1265" y="2246"/>
                  <a:pt x="1267" y="2245"/>
                  <a:pt x="1271" y="2243"/>
                </a:cubicBezTo>
                <a:cubicBezTo>
                  <a:pt x="1274" y="2239"/>
                  <a:pt x="1275" y="2236"/>
                  <a:pt x="1278" y="2231"/>
                </a:cubicBezTo>
                <a:cubicBezTo>
                  <a:pt x="1282" y="2229"/>
                  <a:pt x="1284" y="2228"/>
                  <a:pt x="1289" y="2226"/>
                </a:cubicBezTo>
                <a:cubicBezTo>
                  <a:pt x="1292" y="2225"/>
                  <a:pt x="1293" y="2225"/>
                  <a:pt x="1296" y="2224"/>
                </a:cubicBezTo>
                <a:cubicBezTo>
                  <a:pt x="1302" y="2221"/>
                  <a:pt x="1305" y="2219"/>
                  <a:pt x="1311" y="2216"/>
                </a:cubicBezTo>
                <a:cubicBezTo>
                  <a:pt x="1312" y="2212"/>
                  <a:pt x="1312" y="2210"/>
                  <a:pt x="1313" y="2206"/>
                </a:cubicBezTo>
                <a:cubicBezTo>
                  <a:pt x="1307" y="2206"/>
                  <a:pt x="1303" y="2206"/>
                  <a:pt x="1297" y="2206"/>
                </a:cubicBezTo>
                <a:cubicBezTo>
                  <a:pt x="1298" y="2202"/>
                  <a:pt x="1298" y="2200"/>
                  <a:pt x="1299" y="2196"/>
                </a:cubicBezTo>
                <a:cubicBezTo>
                  <a:pt x="1302" y="2193"/>
                  <a:pt x="1304" y="2191"/>
                  <a:pt x="1306" y="2187"/>
                </a:cubicBezTo>
                <a:cubicBezTo>
                  <a:pt x="1313" y="2185"/>
                  <a:pt x="1316" y="2183"/>
                  <a:pt x="1323" y="2181"/>
                </a:cubicBezTo>
                <a:cubicBezTo>
                  <a:pt x="1323" y="2181"/>
                  <a:pt x="1335" y="2178"/>
                  <a:pt x="1339" y="2170"/>
                </a:cubicBezTo>
                <a:cubicBezTo>
                  <a:pt x="1343" y="2162"/>
                  <a:pt x="1362" y="2157"/>
                  <a:pt x="1362" y="2157"/>
                </a:cubicBezTo>
                <a:cubicBezTo>
                  <a:pt x="1365" y="2155"/>
                  <a:pt x="1367" y="2154"/>
                  <a:pt x="1370" y="2153"/>
                </a:cubicBezTo>
                <a:cubicBezTo>
                  <a:pt x="1369" y="2151"/>
                  <a:pt x="1369" y="2150"/>
                  <a:pt x="1368" y="2148"/>
                </a:cubicBezTo>
                <a:cubicBezTo>
                  <a:pt x="1365" y="2149"/>
                  <a:pt x="1363" y="2150"/>
                  <a:pt x="1359" y="2151"/>
                </a:cubicBezTo>
                <a:cubicBezTo>
                  <a:pt x="1357" y="2149"/>
                  <a:pt x="1356" y="2149"/>
                  <a:pt x="1355" y="2147"/>
                </a:cubicBezTo>
                <a:cubicBezTo>
                  <a:pt x="1357" y="2141"/>
                  <a:pt x="1359" y="2137"/>
                  <a:pt x="1362" y="2130"/>
                </a:cubicBezTo>
                <a:cubicBezTo>
                  <a:pt x="1362" y="2130"/>
                  <a:pt x="1379" y="2141"/>
                  <a:pt x="1393" y="2136"/>
                </a:cubicBezTo>
                <a:cubicBezTo>
                  <a:pt x="1407" y="2131"/>
                  <a:pt x="1411" y="2113"/>
                  <a:pt x="1411" y="2113"/>
                </a:cubicBezTo>
                <a:cubicBezTo>
                  <a:pt x="1414" y="2118"/>
                  <a:pt x="1426" y="2112"/>
                  <a:pt x="1426" y="2112"/>
                </a:cubicBezTo>
                <a:cubicBezTo>
                  <a:pt x="1435" y="2113"/>
                  <a:pt x="1447" y="2108"/>
                  <a:pt x="1447" y="2108"/>
                </a:cubicBezTo>
                <a:cubicBezTo>
                  <a:pt x="1447" y="2108"/>
                  <a:pt x="1461" y="2112"/>
                  <a:pt x="1469" y="2104"/>
                </a:cubicBezTo>
                <a:cubicBezTo>
                  <a:pt x="1476" y="2096"/>
                  <a:pt x="1489" y="2092"/>
                  <a:pt x="1493" y="2085"/>
                </a:cubicBezTo>
                <a:cubicBezTo>
                  <a:pt x="1497" y="2078"/>
                  <a:pt x="1495" y="2073"/>
                  <a:pt x="1495" y="2073"/>
                </a:cubicBezTo>
                <a:cubicBezTo>
                  <a:pt x="1495" y="2073"/>
                  <a:pt x="1513" y="2060"/>
                  <a:pt x="1521" y="2064"/>
                </a:cubicBezTo>
                <a:cubicBezTo>
                  <a:pt x="1529" y="2069"/>
                  <a:pt x="1536" y="2063"/>
                  <a:pt x="1542" y="2058"/>
                </a:cubicBezTo>
                <a:cubicBezTo>
                  <a:pt x="1548" y="2053"/>
                  <a:pt x="1552" y="2049"/>
                  <a:pt x="1557" y="2049"/>
                </a:cubicBezTo>
                <a:cubicBezTo>
                  <a:pt x="1563" y="2049"/>
                  <a:pt x="1575" y="2033"/>
                  <a:pt x="1575" y="2033"/>
                </a:cubicBezTo>
                <a:cubicBezTo>
                  <a:pt x="1584" y="2033"/>
                  <a:pt x="1597" y="2024"/>
                  <a:pt x="1597" y="2024"/>
                </a:cubicBezTo>
                <a:cubicBezTo>
                  <a:pt x="1597" y="2024"/>
                  <a:pt x="1607" y="2021"/>
                  <a:pt x="1616" y="2010"/>
                </a:cubicBezTo>
                <a:cubicBezTo>
                  <a:pt x="1624" y="2000"/>
                  <a:pt x="1635" y="1994"/>
                  <a:pt x="1635" y="1994"/>
                </a:cubicBezTo>
                <a:cubicBezTo>
                  <a:pt x="1635" y="1994"/>
                  <a:pt x="1659" y="1980"/>
                  <a:pt x="1659" y="1972"/>
                </a:cubicBezTo>
                <a:cubicBezTo>
                  <a:pt x="1659" y="1963"/>
                  <a:pt x="1670" y="1953"/>
                  <a:pt x="1670" y="1953"/>
                </a:cubicBezTo>
                <a:cubicBezTo>
                  <a:pt x="1670" y="1953"/>
                  <a:pt x="1680" y="1949"/>
                  <a:pt x="1689" y="1942"/>
                </a:cubicBezTo>
                <a:cubicBezTo>
                  <a:pt x="1698" y="1935"/>
                  <a:pt x="1717" y="1933"/>
                  <a:pt x="1717" y="1933"/>
                </a:cubicBezTo>
                <a:cubicBezTo>
                  <a:pt x="1728" y="1933"/>
                  <a:pt x="1735" y="1923"/>
                  <a:pt x="1735" y="1923"/>
                </a:cubicBezTo>
                <a:cubicBezTo>
                  <a:pt x="1748" y="1923"/>
                  <a:pt x="1754" y="1924"/>
                  <a:pt x="1766" y="1924"/>
                </a:cubicBezTo>
                <a:cubicBezTo>
                  <a:pt x="1766" y="1924"/>
                  <a:pt x="1766" y="1924"/>
                  <a:pt x="1774" y="1920"/>
                </a:cubicBezTo>
                <a:cubicBezTo>
                  <a:pt x="1783" y="1916"/>
                  <a:pt x="1785" y="1922"/>
                  <a:pt x="1787" y="1918"/>
                </a:cubicBezTo>
                <a:cubicBezTo>
                  <a:pt x="1790" y="1913"/>
                  <a:pt x="1797" y="1903"/>
                  <a:pt x="1802" y="1897"/>
                </a:cubicBezTo>
                <a:cubicBezTo>
                  <a:pt x="1807" y="1891"/>
                  <a:pt x="1824" y="1882"/>
                  <a:pt x="1824" y="1882"/>
                </a:cubicBezTo>
                <a:cubicBezTo>
                  <a:pt x="1824" y="1882"/>
                  <a:pt x="1830" y="1866"/>
                  <a:pt x="1841" y="1866"/>
                </a:cubicBezTo>
                <a:cubicBezTo>
                  <a:pt x="1852" y="1865"/>
                  <a:pt x="1845" y="1853"/>
                  <a:pt x="1845" y="1853"/>
                </a:cubicBezTo>
                <a:cubicBezTo>
                  <a:pt x="1845" y="1853"/>
                  <a:pt x="1857" y="1842"/>
                  <a:pt x="1859" y="1833"/>
                </a:cubicBezTo>
                <a:cubicBezTo>
                  <a:pt x="1860" y="1824"/>
                  <a:pt x="1878" y="1802"/>
                  <a:pt x="1878" y="1802"/>
                </a:cubicBezTo>
                <a:cubicBezTo>
                  <a:pt x="1892" y="1804"/>
                  <a:pt x="1914" y="1781"/>
                  <a:pt x="1914" y="1781"/>
                </a:cubicBezTo>
                <a:cubicBezTo>
                  <a:pt x="1914" y="1781"/>
                  <a:pt x="1925" y="1770"/>
                  <a:pt x="1938" y="1765"/>
                </a:cubicBezTo>
                <a:cubicBezTo>
                  <a:pt x="1952" y="1761"/>
                  <a:pt x="1956" y="1746"/>
                  <a:pt x="1956" y="1746"/>
                </a:cubicBezTo>
                <a:cubicBezTo>
                  <a:pt x="1973" y="1729"/>
                  <a:pt x="1961" y="1730"/>
                  <a:pt x="1967" y="1719"/>
                </a:cubicBezTo>
                <a:cubicBezTo>
                  <a:pt x="1973" y="1708"/>
                  <a:pt x="1973" y="1701"/>
                  <a:pt x="1973" y="1701"/>
                </a:cubicBezTo>
                <a:cubicBezTo>
                  <a:pt x="1973" y="1701"/>
                  <a:pt x="1963" y="1701"/>
                  <a:pt x="1955" y="1699"/>
                </a:cubicBezTo>
                <a:cubicBezTo>
                  <a:pt x="1946" y="1697"/>
                  <a:pt x="1938" y="1678"/>
                  <a:pt x="1938" y="1678"/>
                </a:cubicBezTo>
                <a:cubicBezTo>
                  <a:pt x="1935" y="1674"/>
                  <a:pt x="1934" y="1671"/>
                  <a:pt x="1931" y="1666"/>
                </a:cubicBezTo>
                <a:cubicBezTo>
                  <a:pt x="1929" y="1664"/>
                  <a:pt x="1928" y="1662"/>
                  <a:pt x="1926" y="1659"/>
                </a:cubicBezTo>
                <a:cubicBezTo>
                  <a:pt x="1916" y="1658"/>
                  <a:pt x="1911" y="1658"/>
                  <a:pt x="1900" y="1657"/>
                </a:cubicBezTo>
                <a:cubicBezTo>
                  <a:pt x="1900" y="1657"/>
                  <a:pt x="1894" y="1652"/>
                  <a:pt x="1887" y="1648"/>
                </a:cubicBezTo>
                <a:cubicBezTo>
                  <a:pt x="1880" y="1643"/>
                  <a:pt x="1877" y="1651"/>
                  <a:pt x="1877" y="1651"/>
                </a:cubicBezTo>
                <a:cubicBezTo>
                  <a:pt x="1877" y="1651"/>
                  <a:pt x="1875" y="1646"/>
                  <a:pt x="1872" y="1631"/>
                </a:cubicBezTo>
                <a:cubicBezTo>
                  <a:pt x="1868" y="1616"/>
                  <a:pt x="1839" y="1606"/>
                  <a:pt x="1839" y="1606"/>
                </a:cubicBezTo>
                <a:cubicBezTo>
                  <a:pt x="1831" y="1599"/>
                  <a:pt x="1835" y="1562"/>
                  <a:pt x="1835" y="1562"/>
                </a:cubicBezTo>
                <a:cubicBezTo>
                  <a:pt x="1835" y="1562"/>
                  <a:pt x="1825" y="1561"/>
                  <a:pt x="1821" y="1556"/>
                </a:cubicBezTo>
                <a:cubicBezTo>
                  <a:pt x="1817" y="1551"/>
                  <a:pt x="1823" y="1527"/>
                  <a:pt x="1823" y="1527"/>
                </a:cubicBezTo>
                <a:cubicBezTo>
                  <a:pt x="1823" y="1527"/>
                  <a:pt x="1813" y="1527"/>
                  <a:pt x="1808" y="1512"/>
                </a:cubicBezTo>
                <a:cubicBezTo>
                  <a:pt x="1803" y="1497"/>
                  <a:pt x="1794" y="1495"/>
                  <a:pt x="1794" y="1495"/>
                </a:cubicBezTo>
                <a:cubicBezTo>
                  <a:pt x="1794" y="1495"/>
                  <a:pt x="1790" y="1490"/>
                  <a:pt x="1778" y="1485"/>
                </a:cubicBezTo>
                <a:cubicBezTo>
                  <a:pt x="1765" y="1479"/>
                  <a:pt x="1761" y="1486"/>
                  <a:pt x="1761" y="1486"/>
                </a:cubicBezTo>
                <a:cubicBezTo>
                  <a:pt x="1761" y="1486"/>
                  <a:pt x="1744" y="1478"/>
                  <a:pt x="1744" y="1469"/>
                </a:cubicBezTo>
                <a:cubicBezTo>
                  <a:pt x="1744" y="1461"/>
                  <a:pt x="1739" y="1455"/>
                  <a:pt x="1739" y="1455"/>
                </a:cubicBezTo>
                <a:cubicBezTo>
                  <a:pt x="1737" y="1448"/>
                  <a:pt x="1736" y="1444"/>
                  <a:pt x="1733" y="1437"/>
                </a:cubicBezTo>
                <a:cubicBezTo>
                  <a:pt x="1728" y="1430"/>
                  <a:pt x="1726" y="1427"/>
                  <a:pt x="1721" y="1420"/>
                </a:cubicBezTo>
                <a:cubicBezTo>
                  <a:pt x="1717" y="1415"/>
                  <a:pt x="1715" y="1413"/>
                  <a:pt x="1712" y="1408"/>
                </a:cubicBezTo>
                <a:cubicBezTo>
                  <a:pt x="1716" y="1405"/>
                  <a:pt x="1718" y="1403"/>
                  <a:pt x="1723" y="1400"/>
                </a:cubicBezTo>
                <a:cubicBezTo>
                  <a:pt x="1722" y="1396"/>
                  <a:pt x="1722" y="1395"/>
                  <a:pt x="1722" y="1391"/>
                </a:cubicBezTo>
                <a:cubicBezTo>
                  <a:pt x="1718" y="1392"/>
                  <a:pt x="1716" y="1392"/>
                  <a:pt x="1712" y="1394"/>
                </a:cubicBezTo>
                <a:cubicBezTo>
                  <a:pt x="1711" y="1396"/>
                  <a:pt x="1710" y="1397"/>
                  <a:pt x="1709" y="1400"/>
                </a:cubicBezTo>
                <a:cubicBezTo>
                  <a:pt x="1707" y="1399"/>
                  <a:pt x="1705" y="1399"/>
                  <a:pt x="1703" y="1398"/>
                </a:cubicBezTo>
                <a:cubicBezTo>
                  <a:pt x="1703" y="1395"/>
                  <a:pt x="1703" y="1393"/>
                  <a:pt x="1703" y="1389"/>
                </a:cubicBezTo>
                <a:cubicBezTo>
                  <a:pt x="1696" y="1387"/>
                  <a:pt x="1693" y="1386"/>
                  <a:pt x="1686" y="1383"/>
                </a:cubicBezTo>
                <a:cubicBezTo>
                  <a:pt x="1687" y="1373"/>
                  <a:pt x="1677" y="1379"/>
                  <a:pt x="1677" y="1379"/>
                </a:cubicBezTo>
                <a:cubicBezTo>
                  <a:pt x="1677" y="1379"/>
                  <a:pt x="1673" y="1385"/>
                  <a:pt x="1661" y="1385"/>
                </a:cubicBezTo>
                <a:cubicBezTo>
                  <a:pt x="1649" y="1386"/>
                  <a:pt x="1658" y="1371"/>
                  <a:pt x="1650" y="1375"/>
                </a:cubicBezTo>
                <a:cubicBezTo>
                  <a:pt x="1642" y="1378"/>
                  <a:pt x="1623" y="1367"/>
                  <a:pt x="1623" y="1367"/>
                </a:cubicBezTo>
                <a:cubicBezTo>
                  <a:pt x="1629" y="1347"/>
                  <a:pt x="1607" y="1351"/>
                  <a:pt x="1607" y="1351"/>
                </a:cubicBezTo>
                <a:cubicBezTo>
                  <a:pt x="1606" y="1345"/>
                  <a:pt x="1605" y="1342"/>
                  <a:pt x="1603" y="1335"/>
                </a:cubicBezTo>
                <a:cubicBezTo>
                  <a:pt x="1599" y="1342"/>
                  <a:pt x="1598" y="1346"/>
                  <a:pt x="1594" y="1352"/>
                </a:cubicBezTo>
                <a:cubicBezTo>
                  <a:pt x="1587" y="1351"/>
                  <a:pt x="1584" y="1350"/>
                  <a:pt x="1577" y="1348"/>
                </a:cubicBezTo>
                <a:cubicBezTo>
                  <a:pt x="1577" y="1348"/>
                  <a:pt x="1586" y="1341"/>
                  <a:pt x="1589" y="1333"/>
                </a:cubicBezTo>
                <a:cubicBezTo>
                  <a:pt x="1591" y="1324"/>
                  <a:pt x="1579" y="1321"/>
                  <a:pt x="1564" y="1334"/>
                </a:cubicBezTo>
                <a:cubicBezTo>
                  <a:pt x="1549" y="1347"/>
                  <a:pt x="1549" y="1332"/>
                  <a:pt x="1530" y="1336"/>
                </a:cubicBezTo>
                <a:cubicBezTo>
                  <a:pt x="1512" y="1340"/>
                  <a:pt x="1511" y="1360"/>
                  <a:pt x="1511" y="1360"/>
                </a:cubicBezTo>
                <a:cubicBezTo>
                  <a:pt x="1492" y="1355"/>
                  <a:pt x="1487" y="1371"/>
                  <a:pt x="1487" y="1371"/>
                </a:cubicBezTo>
                <a:cubicBezTo>
                  <a:pt x="1487" y="1371"/>
                  <a:pt x="1475" y="1346"/>
                  <a:pt x="1460" y="1342"/>
                </a:cubicBezTo>
                <a:cubicBezTo>
                  <a:pt x="1444" y="1337"/>
                  <a:pt x="1441" y="1357"/>
                  <a:pt x="1426" y="1345"/>
                </a:cubicBezTo>
                <a:cubicBezTo>
                  <a:pt x="1411" y="1334"/>
                  <a:pt x="1408" y="1300"/>
                  <a:pt x="1408" y="1300"/>
                </a:cubicBezTo>
                <a:cubicBezTo>
                  <a:pt x="1409" y="1296"/>
                  <a:pt x="1410" y="1293"/>
                  <a:pt x="1412" y="1289"/>
                </a:cubicBezTo>
                <a:cubicBezTo>
                  <a:pt x="1414" y="1283"/>
                  <a:pt x="1416" y="1280"/>
                  <a:pt x="1418" y="1273"/>
                </a:cubicBezTo>
                <a:cubicBezTo>
                  <a:pt x="1420" y="1264"/>
                  <a:pt x="1421" y="1260"/>
                  <a:pt x="1423" y="1251"/>
                </a:cubicBezTo>
                <a:cubicBezTo>
                  <a:pt x="1426" y="1249"/>
                  <a:pt x="1427" y="1249"/>
                  <a:pt x="1429" y="1247"/>
                </a:cubicBezTo>
                <a:cubicBezTo>
                  <a:pt x="1432" y="1240"/>
                  <a:pt x="1434" y="1237"/>
                  <a:pt x="1437" y="1230"/>
                </a:cubicBezTo>
                <a:cubicBezTo>
                  <a:pt x="1432" y="1228"/>
                  <a:pt x="1429" y="1226"/>
                  <a:pt x="1425" y="1224"/>
                </a:cubicBezTo>
                <a:cubicBezTo>
                  <a:pt x="1423" y="1221"/>
                  <a:pt x="1422" y="1220"/>
                  <a:pt x="1421" y="1217"/>
                </a:cubicBezTo>
                <a:cubicBezTo>
                  <a:pt x="1412" y="1213"/>
                  <a:pt x="1407" y="1211"/>
                  <a:pt x="1398" y="1207"/>
                </a:cubicBezTo>
                <a:cubicBezTo>
                  <a:pt x="1398" y="1207"/>
                  <a:pt x="1366" y="1205"/>
                  <a:pt x="1358" y="1197"/>
                </a:cubicBezTo>
                <a:cubicBezTo>
                  <a:pt x="1358" y="1197"/>
                  <a:pt x="1360" y="1190"/>
                  <a:pt x="1368" y="1188"/>
                </a:cubicBezTo>
                <a:cubicBezTo>
                  <a:pt x="1377" y="1186"/>
                  <a:pt x="1378" y="1163"/>
                  <a:pt x="1378" y="1163"/>
                </a:cubicBezTo>
                <a:cubicBezTo>
                  <a:pt x="1384" y="1156"/>
                  <a:pt x="1387" y="1153"/>
                  <a:pt x="1392" y="1147"/>
                </a:cubicBezTo>
                <a:cubicBezTo>
                  <a:pt x="1392" y="1147"/>
                  <a:pt x="1396" y="1127"/>
                  <a:pt x="1401" y="1125"/>
                </a:cubicBezTo>
                <a:cubicBezTo>
                  <a:pt x="1406" y="1123"/>
                  <a:pt x="1412" y="1117"/>
                  <a:pt x="1412" y="1117"/>
                </a:cubicBezTo>
                <a:cubicBezTo>
                  <a:pt x="1411" y="1112"/>
                  <a:pt x="1411" y="1110"/>
                  <a:pt x="1411" y="1106"/>
                </a:cubicBezTo>
                <a:cubicBezTo>
                  <a:pt x="1401" y="1104"/>
                  <a:pt x="1396" y="1103"/>
                  <a:pt x="1385" y="1101"/>
                </a:cubicBezTo>
                <a:cubicBezTo>
                  <a:pt x="1378" y="1100"/>
                  <a:pt x="1375" y="1100"/>
                  <a:pt x="1368" y="1099"/>
                </a:cubicBezTo>
                <a:cubicBezTo>
                  <a:pt x="1366" y="1100"/>
                  <a:pt x="1365" y="1101"/>
                  <a:pt x="1363" y="1103"/>
                </a:cubicBezTo>
                <a:cubicBezTo>
                  <a:pt x="1359" y="1103"/>
                  <a:pt x="1357" y="1103"/>
                  <a:pt x="1354" y="1104"/>
                </a:cubicBezTo>
                <a:cubicBezTo>
                  <a:pt x="1351" y="1108"/>
                  <a:pt x="1349" y="1110"/>
                  <a:pt x="1345" y="1114"/>
                </a:cubicBezTo>
                <a:cubicBezTo>
                  <a:pt x="1345" y="1114"/>
                  <a:pt x="1341" y="1134"/>
                  <a:pt x="1330" y="1133"/>
                </a:cubicBezTo>
                <a:cubicBezTo>
                  <a:pt x="1318" y="1132"/>
                  <a:pt x="1311" y="1138"/>
                  <a:pt x="1311" y="1138"/>
                </a:cubicBezTo>
                <a:cubicBezTo>
                  <a:pt x="1303" y="1135"/>
                  <a:pt x="1298" y="1133"/>
                  <a:pt x="1290" y="1131"/>
                </a:cubicBezTo>
                <a:cubicBezTo>
                  <a:pt x="1290" y="1131"/>
                  <a:pt x="1278" y="1117"/>
                  <a:pt x="1268" y="1115"/>
                </a:cubicBezTo>
                <a:cubicBezTo>
                  <a:pt x="1268" y="1115"/>
                  <a:pt x="1276" y="1096"/>
                  <a:pt x="1266" y="1090"/>
                </a:cubicBezTo>
                <a:cubicBezTo>
                  <a:pt x="1256" y="1084"/>
                  <a:pt x="1262" y="1063"/>
                  <a:pt x="1262" y="1063"/>
                </a:cubicBezTo>
                <a:cubicBezTo>
                  <a:pt x="1262" y="1063"/>
                  <a:pt x="1251" y="1056"/>
                  <a:pt x="1266" y="1037"/>
                </a:cubicBezTo>
                <a:cubicBezTo>
                  <a:pt x="1280" y="1018"/>
                  <a:pt x="1267" y="1014"/>
                  <a:pt x="1280" y="1002"/>
                </a:cubicBezTo>
                <a:cubicBezTo>
                  <a:pt x="1293" y="990"/>
                  <a:pt x="1274" y="963"/>
                  <a:pt x="1300" y="960"/>
                </a:cubicBezTo>
                <a:cubicBezTo>
                  <a:pt x="1326" y="957"/>
                  <a:pt x="1341" y="946"/>
                  <a:pt x="1341" y="946"/>
                </a:cubicBezTo>
                <a:cubicBezTo>
                  <a:pt x="1341" y="946"/>
                  <a:pt x="1359" y="944"/>
                  <a:pt x="1372" y="957"/>
                </a:cubicBezTo>
                <a:cubicBezTo>
                  <a:pt x="1385" y="969"/>
                  <a:pt x="1402" y="980"/>
                  <a:pt x="1410" y="969"/>
                </a:cubicBezTo>
                <a:cubicBezTo>
                  <a:pt x="1410" y="969"/>
                  <a:pt x="1405" y="982"/>
                  <a:pt x="1415" y="982"/>
                </a:cubicBezTo>
                <a:cubicBezTo>
                  <a:pt x="1425" y="981"/>
                  <a:pt x="1426" y="958"/>
                  <a:pt x="1426" y="958"/>
                </a:cubicBezTo>
                <a:cubicBezTo>
                  <a:pt x="1426" y="958"/>
                  <a:pt x="1437" y="967"/>
                  <a:pt x="1454" y="966"/>
                </a:cubicBezTo>
                <a:cubicBezTo>
                  <a:pt x="1472" y="966"/>
                  <a:pt x="1469" y="982"/>
                  <a:pt x="1469" y="982"/>
                </a:cubicBezTo>
                <a:cubicBezTo>
                  <a:pt x="1469" y="982"/>
                  <a:pt x="1477" y="995"/>
                  <a:pt x="1489" y="985"/>
                </a:cubicBezTo>
                <a:cubicBezTo>
                  <a:pt x="1501" y="975"/>
                  <a:pt x="1503" y="998"/>
                  <a:pt x="1499" y="1011"/>
                </a:cubicBezTo>
                <a:cubicBezTo>
                  <a:pt x="1496" y="1023"/>
                  <a:pt x="1504" y="1030"/>
                  <a:pt x="1503" y="1041"/>
                </a:cubicBezTo>
                <a:cubicBezTo>
                  <a:pt x="1501" y="1052"/>
                  <a:pt x="1511" y="1057"/>
                  <a:pt x="1509" y="1072"/>
                </a:cubicBezTo>
                <a:cubicBezTo>
                  <a:pt x="1507" y="1086"/>
                  <a:pt x="1523" y="1085"/>
                  <a:pt x="1530" y="1061"/>
                </a:cubicBezTo>
                <a:cubicBezTo>
                  <a:pt x="1537" y="1037"/>
                  <a:pt x="1541" y="1039"/>
                  <a:pt x="1535" y="1028"/>
                </a:cubicBezTo>
                <a:cubicBezTo>
                  <a:pt x="1535" y="1028"/>
                  <a:pt x="1540" y="1016"/>
                  <a:pt x="1534" y="1005"/>
                </a:cubicBezTo>
                <a:cubicBezTo>
                  <a:pt x="1527" y="994"/>
                  <a:pt x="1536" y="969"/>
                  <a:pt x="1547" y="964"/>
                </a:cubicBezTo>
                <a:cubicBezTo>
                  <a:pt x="1556" y="961"/>
                  <a:pt x="1575" y="949"/>
                  <a:pt x="1580" y="947"/>
                </a:cubicBezTo>
                <a:cubicBezTo>
                  <a:pt x="1580" y="947"/>
                  <a:pt x="1585" y="938"/>
                  <a:pt x="1604" y="938"/>
                </a:cubicBezTo>
                <a:cubicBezTo>
                  <a:pt x="1624" y="939"/>
                  <a:pt x="1640" y="933"/>
                  <a:pt x="1635" y="920"/>
                </a:cubicBezTo>
                <a:cubicBezTo>
                  <a:pt x="1630" y="907"/>
                  <a:pt x="1644" y="896"/>
                  <a:pt x="1644" y="896"/>
                </a:cubicBezTo>
                <a:cubicBezTo>
                  <a:pt x="1644" y="896"/>
                  <a:pt x="1655" y="888"/>
                  <a:pt x="1655" y="878"/>
                </a:cubicBezTo>
                <a:cubicBezTo>
                  <a:pt x="1655" y="878"/>
                  <a:pt x="1671" y="876"/>
                  <a:pt x="1675" y="858"/>
                </a:cubicBezTo>
                <a:cubicBezTo>
                  <a:pt x="1675" y="858"/>
                  <a:pt x="1698" y="869"/>
                  <a:pt x="1705" y="859"/>
                </a:cubicBezTo>
                <a:cubicBezTo>
                  <a:pt x="1711" y="849"/>
                  <a:pt x="1725" y="858"/>
                  <a:pt x="1726" y="866"/>
                </a:cubicBezTo>
                <a:cubicBezTo>
                  <a:pt x="1726" y="866"/>
                  <a:pt x="1736" y="864"/>
                  <a:pt x="1734" y="852"/>
                </a:cubicBezTo>
                <a:cubicBezTo>
                  <a:pt x="1731" y="851"/>
                  <a:pt x="1729" y="851"/>
                  <a:pt x="1726" y="851"/>
                </a:cubicBezTo>
                <a:cubicBezTo>
                  <a:pt x="1724" y="848"/>
                  <a:pt x="1724" y="847"/>
                  <a:pt x="1722" y="844"/>
                </a:cubicBezTo>
                <a:cubicBezTo>
                  <a:pt x="1722" y="844"/>
                  <a:pt x="1725" y="845"/>
                  <a:pt x="1727" y="834"/>
                </a:cubicBezTo>
                <a:cubicBezTo>
                  <a:pt x="1729" y="823"/>
                  <a:pt x="1740" y="826"/>
                  <a:pt x="1740" y="826"/>
                </a:cubicBezTo>
                <a:cubicBezTo>
                  <a:pt x="1740" y="826"/>
                  <a:pt x="1754" y="830"/>
                  <a:pt x="1754" y="826"/>
                </a:cubicBezTo>
                <a:cubicBezTo>
                  <a:pt x="1754" y="826"/>
                  <a:pt x="1765" y="823"/>
                  <a:pt x="1771" y="824"/>
                </a:cubicBezTo>
                <a:cubicBezTo>
                  <a:pt x="1778" y="824"/>
                  <a:pt x="1777" y="818"/>
                  <a:pt x="1783" y="820"/>
                </a:cubicBezTo>
                <a:cubicBezTo>
                  <a:pt x="1789" y="823"/>
                  <a:pt x="1799" y="818"/>
                  <a:pt x="1808" y="826"/>
                </a:cubicBezTo>
                <a:cubicBezTo>
                  <a:pt x="1808" y="826"/>
                  <a:pt x="1798" y="827"/>
                  <a:pt x="1792" y="832"/>
                </a:cubicBezTo>
                <a:cubicBezTo>
                  <a:pt x="1785" y="837"/>
                  <a:pt x="1786" y="844"/>
                  <a:pt x="1789" y="849"/>
                </a:cubicBezTo>
                <a:cubicBezTo>
                  <a:pt x="1793" y="854"/>
                  <a:pt x="1804" y="847"/>
                  <a:pt x="1810" y="844"/>
                </a:cubicBezTo>
                <a:cubicBezTo>
                  <a:pt x="1815" y="841"/>
                  <a:pt x="1824" y="850"/>
                  <a:pt x="1829" y="844"/>
                </a:cubicBezTo>
                <a:cubicBezTo>
                  <a:pt x="1829" y="844"/>
                  <a:pt x="1842" y="852"/>
                  <a:pt x="1844" y="844"/>
                </a:cubicBezTo>
                <a:cubicBezTo>
                  <a:pt x="1844" y="844"/>
                  <a:pt x="1855" y="851"/>
                  <a:pt x="1856" y="843"/>
                </a:cubicBezTo>
                <a:cubicBezTo>
                  <a:pt x="1856" y="843"/>
                  <a:pt x="1869" y="847"/>
                  <a:pt x="1872" y="843"/>
                </a:cubicBezTo>
                <a:cubicBezTo>
                  <a:pt x="1874" y="838"/>
                  <a:pt x="1865" y="830"/>
                  <a:pt x="1865" y="830"/>
                </a:cubicBezTo>
                <a:cubicBezTo>
                  <a:pt x="1865" y="830"/>
                  <a:pt x="1868" y="823"/>
                  <a:pt x="1866" y="822"/>
                </a:cubicBezTo>
                <a:cubicBezTo>
                  <a:pt x="1863" y="821"/>
                  <a:pt x="1855" y="828"/>
                  <a:pt x="1855" y="828"/>
                </a:cubicBezTo>
                <a:cubicBezTo>
                  <a:pt x="1855" y="828"/>
                  <a:pt x="1849" y="830"/>
                  <a:pt x="1849" y="837"/>
                </a:cubicBezTo>
                <a:cubicBezTo>
                  <a:pt x="1849" y="837"/>
                  <a:pt x="1843" y="832"/>
                  <a:pt x="1838" y="830"/>
                </a:cubicBezTo>
                <a:cubicBezTo>
                  <a:pt x="1838" y="830"/>
                  <a:pt x="1844" y="832"/>
                  <a:pt x="1845" y="825"/>
                </a:cubicBezTo>
                <a:cubicBezTo>
                  <a:pt x="1846" y="818"/>
                  <a:pt x="1835" y="820"/>
                  <a:pt x="1835" y="820"/>
                </a:cubicBezTo>
                <a:cubicBezTo>
                  <a:pt x="1831" y="816"/>
                  <a:pt x="1829" y="815"/>
                  <a:pt x="1825" y="811"/>
                </a:cubicBezTo>
                <a:cubicBezTo>
                  <a:pt x="1825" y="809"/>
                  <a:pt x="1825" y="807"/>
                  <a:pt x="1824" y="805"/>
                </a:cubicBezTo>
                <a:cubicBezTo>
                  <a:pt x="1823" y="804"/>
                  <a:pt x="1822" y="804"/>
                  <a:pt x="1820" y="804"/>
                </a:cubicBezTo>
                <a:cubicBezTo>
                  <a:pt x="1819" y="807"/>
                  <a:pt x="1819" y="809"/>
                  <a:pt x="1818" y="812"/>
                </a:cubicBezTo>
                <a:cubicBezTo>
                  <a:pt x="1817" y="809"/>
                  <a:pt x="1817" y="807"/>
                  <a:pt x="1815" y="804"/>
                </a:cubicBezTo>
                <a:cubicBezTo>
                  <a:pt x="1815" y="804"/>
                  <a:pt x="1810" y="795"/>
                  <a:pt x="1819" y="790"/>
                </a:cubicBezTo>
                <a:cubicBezTo>
                  <a:pt x="1819" y="790"/>
                  <a:pt x="1806" y="788"/>
                  <a:pt x="1802" y="777"/>
                </a:cubicBezTo>
                <a:cubicBezTo>
                  <a:pt x="1802" y="777"/>
                  <a:pt x="1813" y="786"/>
                  <a:pt x="1819" y="779"/>
                </a:cubicBezTo>
                <a:cubicBezTo>
                  <a:pt x="1819" y="779"/>
                  <a:pt x="1824" y="786"/>
                  <a:pt x="1826" y="776"/>
                </a:cubicBezTo>
                <a:cubicBezTo>
                  <a:pt x="1828" y="766"/>
                  <a:pt x="1813" y="764"/>
                  <a:pt x="1813" y="764"/>
                </a:cubicBezTo>
                <a:cubicBezTo>
                  <a:pt x="1805" y="761"/>
                  <a:pt x="1802" y="760"/>
                  <a:pt x="1793" y="757"/>
                </a:cubicBezTo>
                <a:cubicBezTo>
                  <a:pt x="1793" y="757"/>
                  <a:pt x="1773" y="754"/>
                  <a:pt x="1759" y="761"/>
                </a:cubicBezTo>
                <a:cubicBezTo>
                  <a:pt x="1759" y="761"/>
                  <a:pt x="1768" y="746"/>
                  <a:pt x="1786" y="752"/>
                </a:cubicBezTo>
                <a:cubicBezTo>
                  <a:pt x="1786" y="752"/>
                  <a:pt x="1796" y="739"/>
                  <a:pt x="1806" y="745"/>
                </a:cubicBezTo>
                <a:cubicBezTo>
                  <a:pt x="1806" y="745"/>
                  <a:pt x="1840" y="754"/>
                  <a:pt x="1853" y="764"/>
                </a:cubicBezTo>
                <a:cubicBezTo>
                  <a:pt x="1866" y="773"/>
                  <a:pt x="1881" y="774"/>
                  <a:pt x="1881" y="774"/>
                </a:cubicBezTo>
                <a:cubicBezTo>
                  <a:pt x="1881" y="774"/>
                  <a:pt x="1905" y="767"/>
                  <a:pt x="1917" y="775"/>
                </a:cubicBezTo>
                <a:cubicBezTo>
                  <a:pt x="1917" y="775"/>
                  <a:pt x="1927" y="767"/>
                  <a:pt x="1933" y="770"/>
                </a:cubicBezTo>
                <a:cubicBezTo>
                  <a:pt x="1935" y="762"/>
                  <a:pt x="1935" y="758"/>
                  <a:pt x="1936" y="750"/>
                </a:cubicBezTo>
                <a:cubicBezTo>
                  <a:pt x="1930" y="746"/>
                  <a:pt x="1927" y="743"/>
                  <a:pt x="1921" y="739"/>
                </a:cubicBezTo>
                <a:cubicBezTo>
                  <a:pt x="1919" y="735"/>
                  <a:pt x="1918" y="733"/>
                  <a:pt x="1917" y="730"/>
                </a:cubicBezTo>
                <a:cubicBezTo>
                  <a:pt x="1916" y="727"/>
                  <a:pt x="1916" y="726"/>
                  <a:pt x="1916" y="723"/>
                </a:cubicBezTo>
                <a:cubicBezTo>
                  <a:pt x="1910" y="720"/>
                  <a:pt x="1908" y="719"/>
                  <a:pt x="1902" y="716"/>
                </a:cubicBezTo>
                <a:cubicBezTo>
                  <a:pt x="1902" y="713"/>
                  <a:pt x="1902" y="711"/>
                  <a:pt x="1902" y="708"/>
                </a:cubicBezTo>
                <a:cubicBezTo>
                  <a:pt x="1897" y="704"/>
                  <a:pt x="1894" y="702"/>
                  <a:pt x="1889" y="698"/>
                </a:cubicBezTo>
                <a:cubicBezTo>
                  <a:pt x="1889" y="695"/>
                  <a:pt x="1888" y="693"/>
                  <a:pt x="1888" y="690"/>
                </a:cubicBezTo>
                <a:cubicBezTo>
                  <a:pt x="1886" y="689"/>
                  <a:pt x="1885" y="688"/>
                  <a:pt x="1884" y="687"/>
                </a:cubicBezTo>
                <a:cubicBezTo>
                  <a:pt x="1884" y="687"/>
                  <a:pt x="1877" y="675"/>
                  <a:pt x="1878" y="667"/>
                </a:cubicBezTo>
                <a:cubicBezTo>
                  <a:pt x="1879" y="659"/>
                  <a:pt x="1869" y="648"/>
                  <a:pt x="1869" y="648"/>
                </a:cubicBezTo>
                <a:cubicBezTo>
                  <a:pt x="1869" y="648"/>
                  <a:pt x="1864" y="632"/>
                  <a:pt x="1858" y="625"/>
                </a:cubicBezTo>
                <a:cubicBezTo>
                  <a:pt x="1853" y="619"/>
                  <a:pt x="1848" y="592"/>
                  <a:pt x="1848" y="592"/>
                </a:cubicBezTo>
                <a:cubicBezTo>
                  <a:pt x="1848" y="592"/>
                  <a:pt x="1839" y="601"/>
                  <a:pt x="1838" y="605"/>
                </a:cubicBezTo>
                <a:cubicBezTo>
                  <a:pt x="1838" y="605"/>
                  <a:pt x="1832" y="605"/>
                  <a:pt x="1831" y="612"/>
                </a:cubicBezTo>
                <a:cubicBezTo>
                  <a:pt x="1830" y="619"/>
                  <a:pt x="1822" y="612"/>
                  <a:pt x="1815" y="615"/>
                </a:cubicBezTo>
                <a:cubicBezTo>
                  <a:pt x="1808" y="617"/>
                  <a:pt x="1804" y="607"/>
                  <a:pt x="1795" y="599"/>
                </a:cubicBezTo>
                <a:cubicBezTo>
                  <a:pt x="1795" y="599"/>
                  <a:pt x="1788" y="586"/>
                  <a:pt x="1789" y="579"/>
                </a:cubicBezTo>
                <a:cubicBezTo>
                  <a:pt x="1790" y="572"/>
                  <a:pt x="1794" y="573"/>
                  <a:pt x="1794" y="565"/>
                </a:cubicBezTo>
                <a:cubicBezTo>
                  <a:pt x="1794" y="565"/>
                  <a:pt x="1787" y="563"/>
                  <a:pt x="1785" y="566"/>
                </a:cubicBezTo>
                <a:cubicBezTo>
                  <a:pt x="1785" y="566"/>
                  <a:pt x="1785" y="560"/>
                  <a:pt x="1775" y="557"/>
                </a:cubicBezTo>
                <a:cubicBezTo>
                  <a:pt x="1766" y="554"/>
                  <a:pt x="1775" y="548"/>
                  <a:pt x="1769" y="544"/>
                </a:cubicBezTo>
                <a:cubicBezTo>
                  <a:pt x="1763" y="539"/>
                  <a:pt x="1763" y="532"/>
                  <a:pt x="1754" y="528"/>
                </a:cubicBezTo>
                <a:cubicBezTo>
                  <a:pt x="1754" y="528"/>
                  <a:pt x="1746" y="520"/>
                  <a:pt x="1741" y="519"/>
                </a:cubicBezTo>
                <a:cubicBezTo>
                  <a:pt x="1735" y="519"/>
                  <a:pt x="1735" y="521"/>
                  <a:pt x="1725" y="517"/>
                </a:cubicBezTo>
                <a:cubicBezTo>
                  <a:pt x="1716" y="513"/>
                  <a:pt x="1714" y="508"/>
                  <a:pt x="1706" y="505"/>
                </a:cubicBezTo>
                <a:cubicBezTo>
                  <a:pt x="1698" y="502"/>
                  <a:pt x="1688" y="496"/>
                  <a:pt x="1693" y="511"/>
                </a:cubicBezTo>
                <a:cubicBezTo>
                  <a:pt x="1698" y="526"/>
                  <a:pt x="1681" y="525"/>
                  <a:pt x="1681" y="525"/>
                </a:cubicBezTo>
                <a:cubicBezTo>
                  <a:pt x="1681" y="525"/>
                  <a:pt x="1692" y="529"/>
                  <a:pt x="1693" y="542"/>
                </a:cubicBezTo>
                <a:cubicBezTo>
                  <a:pt x="1691" y="543"/>
                  <a:pt x="1690" y="543"/>
                  <a:pt x="1688" y="544"/>
                </a:cubicBezTo>
                <a:cubicBezTo>
                  <a:pt x="1687" y="547"/>
                  <a:pt x="1687" y="548"/>
                  <a:pt x="1686" y="551"/>
                </a:cubicBezTo>
                <a:cubicBezTo>
                  <a:pt x="1683" y="551"/>
                  <a:pt x="1682" y="551"/>
                  <a:pt x="1679" y="552"/>
                </a:cubicBezTo>
                <a:cubicBezTo>
                  <a:pt x="1678" y="554"/>
                  <a:pt x="1677" y="556"/>
                  <a:pt x="1676" y="558"/>
                </a:cubicBezTo>
                <a:cubicBezTo>
                  <a:pt x="1681" y="563"/>
                  <a:pt x="1684" y="565"/>
                  <a:pt x="1689" y="569"/>
                </a:cubicBezTo>
                <a:cubicBezTo>
                  <a:pt x="1689" y="569"/>
                  <a:pt x="1696" y="583"/>
                  <a:pt x="1694" y="596"/>
                </a:cubicBezTo>
                <a:cubicBezTo>
                  <a:pt x="1692" y="609"/>
                  <a:pt x="1673" y="609"/>
                  <a:pt x="1673" y="609"/>
                </a:cubicBezTo>
                <a:cubicBezTo>
                  <a:pt x="1664" y="608"/>
                  <a:pt x="1660" y="608"/>
                  <a:pt x="1651" y="607"/>
                </a:cubicBezTo>
                <a:cubicBezTo>
                  <a:pt x="1651" y="611"/>
                  <a:pt x="1651" y="613"/>
                  <a:pt x="1651" y="617"/>
                </a:cubicBezTo>
                <a:cubicBezTo>
                  <a:pt x="1652" y="621"/>
                  <a:pt x="1653" y="624"/>
                  <a:pt x="1654" y="629"/>
                </a:cubicBezTo>
                <a:cubicBezTo>
                  <a:pt x="1654" y="634"/>
                  <a:pt x="1653" y="636"/>
                  <a:pt x="1653" y="641"/>
                </a:cubicBezTo>
                <a:cubicBezTo>
                  <a:pt x="1653" y="641"/>
                  <a:pt x="1656" y="653"/>
                  <a:pt x="1651" y="655"/>
                </a:cubicBezTo>
                <a:cubicBezTo>
                  <a:pt x="1646" y="657"/>
                  <a:pt x="1641" y="650"/>
                  <a:pt x="1641" y="650"/>
                </a:cubicBezTo>
                <a:cubicBezTo>
                  <a:pt x="1639" y="653"/>
                  <a:pt x="1638" y="654"/>
                  <a:pt x="1635" y="656"/>
                </a:cubicBezTo>
                <a:cubicBezTo>
                  <a:pt x="1633" y="653"/>
                  <a:pt x="1632" y="652"/>
                  <a:pt x="1629" y="648"/>
                </a:cubicBezTo>
                <a:cubicBezTo>
                  <a:pt x="1627" y="644"/>
                  <a:pt x="1626" y="643"/>
                  <a:pt x="1623" y="638"/>
                </a:cubicBezTo>
                <a:cubicBezTo>
                  <a:pt x="1627" y="638"/>
                  <a:pt x="1629" y="638"/>
                  <a:pt x="1633" y="638"/>
                </a:cubicBezTo>
                <a:cubicBezTo>
                  <a:pt x="1633" y="635"/>
                  <a:pt x="1633" y="633"/>
                  <a:pt x="1634" y="630"/>
                </a:cubicBezTo>
                <a:cubicBezTo>
                  <a:pt x="1628" y="625"/>
                  <a:pt x="1625" y="623"/>
                  <a:pt x="1619" y="618"/>
                </a:cubicBezTo>
                <a:cubicBezTo>
                  <a:pt x="1618" y="615"/>
                  <a:pt x="1618" y="613"/>
                  <a:pt x="1617" y="609"/>
                </a:cubicBezTo>
                <a:cubicBezTo>
                  <a:pt x="1617" y="609"/>
                  <a:pt x="1615" y="608"/>
                  <a:pt x="1621" y="598"/>
                </a:cubicBezTo>
                <a:cubicBezTo>
                  <a:pt x="1627" y="589"/>
                  <a:pt x="1610" y="583"/>
                  <a:pt x="1610" y="583"/>
                </a:cubicBezTo>
                <a:cubicBezTo>
                  <a:pt x="1610" y="583"/>
                  <a:pt x="1586" y="579"/>
                  <a:pt x="1579" y="570"/>
                </a:cubicBezTo>
                <a:cubicBezTo>
                  <a:pt x="1573" y="560"/>
                  <a:pt x="1561" y="562"/>
                  <a:pt x="1551" y="544"/>
                </a:cubicBezTo>
                <a:cubicBezTo>
                  <a:pt x="1540" y="525"/>
                  <a:pt x="1527" y="530"/>
                  <a:pt x="1527" y="530"/>
                </a:cubicBezTo>
                <a:cubicBezTo>
                  <a:pt x="1527" y="530"/>
                  <a:pt x="1524" y="522"/>
                  <a:pt x="1508" y="519"/>
                </a:cubicBezTo>
                <a:cubicBezTo>
                  <a:pt x="1492" y="515"/>
                  <a:pt x="1495" y="491"/>
                  <a:pt x="1495" y="491"/>
                </a:cubicBezTo>
                <a:cubicBezTo>
                  <a:pt x="1487" y="489"/>
                  <a:pt x="1484" y="487"/>
                  <a:pt x="1476" y="485"/>
                </a:cubicBezTo>
                <a:cubicBezTo>
                  <a:pt x="1476" y="485"/>
                  <a:pt x="1476" y="466"/>
                  <a:pt x="1489" y="459"/>
                </a:cubicBezTo>
                <a:cubicBezTo>
                  <a:pt x="1502" y="451"/>
                  <a:pt x="1528" y="436"/>
                  <a:pt x="1543" y="442"/>
                </a:cubicBezTo>
                <a:cubicBezTo>
                  <a:pt x="1545" y="438"/>
                  <a:pt x="1546" y="436"/>
                  <a:pt x="1548" y="433"/>
                </a:cubicBezTo>
                <a:cubicBezTo>
                  <a:pt x="1548" y="433"/>
                  <a:pt x="1551" y="436"/>
                  <a:pt x="1554" y="430"/>
                </a:cubicBezTo>
                <a:cubicBezTo>
                  <a:pt x="1554" y="430"/>
                  <a:pt x="1574" y="436"/>
                  <a:pt x="1580" y="432"/>
                </a:cubicBezTo>
                <a:cubicBezTo>
                  <a:pt x="1587" y="427"/>
                  <a:pt x="1598" y="429"/>
                  <a:pt x="1599" y="420"/>
                </a:cubicBezTo>
                <a:cubicBezTo>
                  <a:pt x="1599" y="420"/>
                  <a:pt x="1611" y="419"/>
                  <a:pt x="1614" y="413"/>
                </a:cubicBezTo>
                <a:cubicBezTo>
                  <a:pt x="1617" y="407"/>
                  <a:pt x="1606" y="409"/>
                  <a:pt x="1606" y="409"/>
                </a:cubicBezTo>
                <a:cubicBezTo>
                  <a:pt x="1606" y="409"/>
                  <a:pt x="1619" y="401"/>
                  <a:pt x="1622" y="414"/>
                </a:cubicBezTo>
                <a:cubicBezTo>
                  <a:pt x="1622" y="414"/>
                  <a:pt x="1625" y="418"/>
                  <a:pt x="1621" y="421"/>
                </a:cubicBezTo>
                <a:cubicBezTo>
                  <a:pt x="1618" y="424"/>
                  <a:pt x="1617" y="415"/>
                  <a:pt x="1610" y="421"/>
                </a:cubicBezTo>
                <a:cubicBezTo>
                  <a:pt x="1602" y="426"/>
                  <a:pt x="1601" y="435"/>
                  <a:pt x="1601" y="435"/>
                </a:cubicBezTo>
                <a:cubicBezTo>
                  <a:pt x="1601" y="435"/>
                  <a:pt x="1591" y="443"/>
                  <a:pt x="1588" y="443"/>
                </a:cubicBezTo>
                <a:cubicBezTo>
                  <a:pt x="1585" y="443"/>
                  <a:pt x="1591" y="454"/>
                  <a:pt x="1605" y="451"/>
                </a:cubicBezTo>
                <a:cubicBezTo>
                  <a:pt x="1605" y="451"/>
                  <a:pt x="1603" y="457"/>
                  <a:pt x="1607" y="461"/>
                </a:cubicBezTo>
                <a:cubicBezTo>
                  <a:pt x="1611" y="464"/>
                  <a:pt x="1626" y="458"/>
                  <a:pt x="1626" y="458"/>
                </a:cubicBezTo>
                <a:cubicBezTo>
                  <a:pt x="1626" y="458"/>
                  <a:pt x="1630" y="465"/>
                  <a:pt x="1632" y="456"/>
                </a:cubicBezTo>
                <a:cubicBezTo>
                  <a:pt x="1632" y="456"/>
                  <a:pt x="1638" y="454"/>
                  <a:pt x="1641" y="461"/>
                </a:cubicBezTo>
                <a:cubicBezTo>
                  <a:pt x="1645" y="467"/>
                  <a:pt x="1656" y="469"/>
                  <a:pt x="1656" y="469"/>
                </a:cubicBezTo>
                <a:cubicBezTo>
                  <a:pt x="1656" y="469"/>
                  <a:pt x="1657" y="479"/>
                  <a:pt x="1667" y="475"/>
                </a:cubicBezTo>
                <a:cubicBezTo>
                  <a:pt x="1672" y="473"/>
                  <a:pt x="1677" y="476"/>
                  <a:pt x="1677" y="476"/>
                </a:cubicBezTo>
                <a:cubicBezTo>
                  <a:pt x="1677" y="476"/>
                  <a:pt x="1673" y="461"/>
                  <a:pt x="1659" y="460"/>
                </a:cubicBezTo>
                <a:cubicBezTo>
                  <a:pt x="1659" y="460"/>
                  <a:pt x="1657" y="449"/>
                  <a:pt x="1651" y="447"/>
                </a:cubicBezTo>
                <a:cubicBezTo>
                  <a:pt x="1644" y="444"/>
                  <a:pt x="1641" y="438"/>
                  <a:pt x="1641" y="438"/>
                </a:cubicBezTo>
                <a:cubicBezTo>
                  <a:pt x="1641" y="438"/>
                  <a:pt x="1632" y="439"/>
                  <a:pt x="1628" y="423"/>
                </a:cubicBezTo>
                <a:cubicBezTo>
                  <a:pt x="1628" y="423"/>
                  <a:pt x="1637" y="438"/>
                  <a:pt x="1646" y="435"/>
                </a:cubicBezTo>
                <a:cubicBezTo>
                  <a:pt x="1646" y="435"/>
                  <a:pt x="1643" y="421"/>
                  <a:pt x="1637" y="417"/>
                </a:cubicBezTo>
                <a:cubicBezTo>
                  <a:pt x="1637" y="417"/>
                  <a:pt x="1645" y="420"/>
                  <a:pt x="1647" y="427"/>
                </a:cubicBezTo>
                <a:cubicBezTo>
                  <a:pt x="1648" y="425"/>
                  <a:pt x="1648" y="424"/>
                  <a:pt x="1650" y="421"/>
                </a:cubicBezTo>
                <a:cubicBezTo>
                  <a:pt x="1650" y="421"/>
                  <a:pt x="1663" y="427"/>
                  <a:pt x="1668" y="424"/>
                </a:cubicBezTo>
                <a:cubicBezTo>
                  <a:pt x="1668" y="424"/>
                  <a:pt x="1677" y="421"/>
                  <a:pt x="1670" y="411"/>
                </a:cubicBezTo>
                <a:cubicBezTo>
                  <a:pt x="1663" y="401"/>
                  <a:pt x="1660" y="392"/>
                  <a:pt x="1660" y="392"/>
                </a:cubicBezTo>
                <a:cubicBezTo>
                  <a:pt x="1660" y="392"/>
                  <a:pt x="1669" y="400"/>
                  <a:pt x="1677" y="397"/>
                </a:cubicBezTo>
                <a:cubicBezTo>
                  <a:pt x="1677" y="397"/>
                  <a:pt x="1678" y="386"/>
                  <a:pt x="1672" y="385"/>
                </a:cubicBezTo>
                <a:cubicBezTo>
                  <a:pt x="1668" y="384"/>
                  <a:pt x="1666" y="381"/>
                  <a:pt x="1665" y="379"/>
                </a:cubicBezTo>
                <a:cubicBezTo>
                  <a:pt x="1670" y="379"/>
                  <a:pt x="1673" y="380"/>
                  <a:pt x="1679" y="380"/>
                </a:cubicBezTo>
                <a:cubicBezTo>
                  <a:pt x="1682" y="383"/>
                  <a:pt x="1684" y="385"/>
                  <a:pt x="1687" y="388"/>
                </a:cubicBezTo>
                <a:cubicBezTo>
                  <a:pt x="1689" y="389"/>
                  <a:pt x="1690" y="390"/>
                  <a:pt x="1692" y="392"/>
                </a:cubicBezTo>
                <a:cubicBezTo>
                  <a:pt x="1698" y="391"/>
                  <a:pt x="1701" y="390"/>
                  <a:pt x="1707" y="390"/>
                </a:cubicBezTo>
                <a:cubicBezTo>
                  <a:pt x="1708" y="388"/>
                  <a:pt x="1709" y="387"/>
                  <a:pt x="1710" y="385"/>
                </a:cubicBezTo>
                <a:cubicBezTo>
                  <a:pt x="1714" y="388"/>
                  <a:pt x="1716" y="389"/>
                  <a:pt x="1720" y="392"/>
                </a:cubicBezTo>
                <a:cubicBezTo>
                  <a:pt x="1723" y="399"/>
                  <a:pt x="1725" y="402"/>
                  <a:pt x="1729" y="409"/>
                </a:cubicBezTo>
                <a:cubicBezTo>
                  <a:pt x="1734" y="412"/>
                  <a:pt x="1736" y="413"/>
                  <a:pt x="1742" y="416"/>
                </a:cubicBezTo>
                <a:cubicBezTo>
                  <a:pt x="1744" y="421"/>
                  <a:pt x="1745" y="423"/>
                  <a:pt x="1747" y="428"/>
                </a:cubicBezTo>
                <a:cubicBezTo>
                  <a:pt x="1750" y="430"/>
                  <a:pt x="1751" y="430"/>
                  <a:pt x="1753" y="432"/>
                </a:cubicBezTo>
                <a:cubicBezTo>
                  <a:pt x="1754" y="438"/>
                  <a:pt x="1754" y="441"/>
                  <a:pt x="1755" y="447"/>
                </a:cubicBezTo>
                <a:cubicBezTo>
                  <a:pt x="1760" y="446"/>
                  <a:pt x="1763" y="445"/>
                  <a:pt x="1767" y="444"/>
                </a:cubicBezTo>
                <a:cubicBezTo>
                  <a:pt x="1770" y="448"/>
                  <a:pt x="1771" y="449"/>
                  <a:pt x="1774" y="453"/>
                </a:cubicBezTo>
                <a:cubicBezTo>
                  <a:pt x="1774" y="457"/>
                  <a:pt x="1773" y="458"/>
                  <a:pt x="1773" y="462"/>
                </a:cubicBezTo>
                <a:cubicBezTo>
                  <a:pt x="1766" y="462"/>
                  <a:pt x="1762" y="462"/>
                  <a:pt x="1754" y="462"/>
                </a:cubicBezTo>
                <a:cubicBezTo>
                  <a:pt x="1752" y="465"/>
                  <a:pt x="1750" y="467"/>
                  <a:pt x="1747" y="471"/>
                </a:cubicBezTo>
                <a:cubicBezTo>
                  <a:pt x="1748" y="474"/>
                  <a:pt x="1749" y="476"/>
                  <a:pt x="1750" y="479"/>
                </a:cubicBezTo>
                <a:cubicBezTo>
                  <a:pt x="1741" y="474"/>
                  <a:pt x="1736" y="472"/>
                  <a:pt x="1727" y="467"/>
                </a:cubicBezTo>
                <a:cubicBezTo>
                  <a:pt x="1720" y="465"/>
                  <a:pt x="1716" y="464"/>
                  <a:pt x="1710" y="462"/>
                </a:cubicBezTo>
                <a:cubicBezTo>
                  <a:pt x="1706" y="463"/>
                  <a:pt x="1705" y="464"/>
                  <a:pt x="1701" y="465"/>
                </a:cubicBezTo>
                <a:cubicBezTo>
                  <a:pt x="1701" y="468"/>
                  <a:pt x="1701" y="469"/>
                  <a:pt x="1701" y="472"/>
                </a:cubicBezTo>
                <a:cubicBezTo>
                  <a:pt x="1705" y="475"/>
                  <a:pt x="1708" y="476"/>
                  <a:pt x="1713" y="479"/>
                </a:cubicBezTo>
                <a:cubicBezTo>
                  <a:pt x="1715" y="483"/>
                  <a:pt x="1715" y="484"/>
                  <a:pt x="1717" y="488"/>
                </a:cubicBezTo>
                <a:cubicBezTo>
                  <a:pt x="1722" y="488"/>
                  <a:pt x="1725" y="488"/>
                  <a:pt x="1730" y="489"/>
                </a:cubicBezTo>
                <a:cubicBezTo>
                  <a:pt x="1736" y="490"/>
                  <a:pt x="1739" y="491"/>
                  <a:pt x="1746" y="492"/>
                </a:cubicBezTo>
                <a:cubicBezTo>
                  <a:pt x="1750" y="497"/>
                  <a:pt x="1753" y="500"/>
                  <a:pt x="1758" y="505"/>
                </a:cubicBezTo>
                <a:cubicBezTo>
                  <a:pt x="1763" y="511"/>
                  <a:pt x="1765" y="513"/>
                  <a:pt x="1770" y="519"/>
                </a:cubicBezTo>
                <a:cubicBezTo>
                  <a:pt x="1771" y="521"/>
                  <a:pt x="1771" y="522"/>
                  <a:pt x="1772" y="524"/>
                </a:cubicBezTo>
                <a:cubicBezTo>
                  <a:pt x="1774" y="526"/>
                  <a:pt x="1774" y="526"/>
                  <a:pt x="1776" y="528"/>
                </a:cubicBezTo>
                <a:cubicBezTo>
                  <a:pt x="1777" y="531"/>
                  <a:pt x="1778" y="532"/>
                  <a:pt x="1779" y="535"/>
                </a:cubicBezTo>
                <a:cubicBezTo>
                  <a:pt x="1782" y="537"/>
                  <a:pt x="1783" y="539"/>
                  <a:pt x="1787" y="542"/>
                </a:cubicBezTo>
                <a:cubicBezTo>
                  <a:pt x="1790" y="540"/>
                  <a:pt x="1791" y="539"/>
                  <a:pt x="1795" y="538"/>
                </a:cubicBezTo>
                <a:cubicBezTo>
                  <a:pt x="1799" y="544"/>
                  <a:pt x="1801" y="547"/>
                  <a:pt x="1806" y="553"/>
                </a:cubicBezTo>
                <a:cubicBezTo>
                  <a:pt x="1812" y="557"/>
                  <a:pt x="1815" y="559"/>
                  <a:pt x="1821" y="563"/>
                </a:cubicBezTo>
                <a:cubicBezTo>
                  <a:pt x="1827" y="566"/>
                  <a:pt x="1830" y="568"/>
                  <a:pt x="1836" y="571"/>
                </a:cubicBezTo>
                <a:cubicBezTo>
                  <a:pt x="1833" y="566"/>
                  <a:pt x="1831" y="564"/>
                  <a:pt x="1828" y="560"/>
                </a:cubicBezTo>
                <a:cubicBezTo>
                  <a:pt x="1826" y="555"/>
                  <a:pt x="1824" y="553"/>
                  <a:pt x="1822" y="548"/>
                </a:cubicBezTo>
                <a:cubicBezTo>
                  <a:pt x="1817" y="543"/>
                  <a:pt x="1815" y="540"/>
                  <a:pt x="1810" y="536"/>
                </a:cubicBezTo>
                <a:cubicBezTo>
                  <a:pt x="1816" y="539"/>
                  <a:pt x="1819" y="540"/>
                  <a:pt x="1825" y="543"/>
                </a:cubicBezTo>
                <a:cubicBezTo>
                  <a:pt x="1826" y="548"/>
                  <a:pt x="1827" y="551"/>
                  <a:pt x="1828" y="556"/>
                </a:cubicBezTo>
                <a:cubicBezTo>
                  <a:pt x="1833" y="557"/>
                  <a:pt x="1836" y="558"/>
                  <a:pt x="1840" y="559"/>
                </a:cubicBezTo>
                <a:cubicBezTo>
                  <a:pt x="1842" y="563"/>
                  <a:pt x="1843" y="565"/>
                  <a:pt x="1844" y="568"/>
                </a:cubicBezTo>
                <a:cubicBezTo>
                  <a:pt x="1848" y="571"/>
                  <a:pt x="1850" y="572"/>
                  <a:pt x="1854" y="574"/>
                </a:cubicBezTo>
                <a:cubicBezTo>
                  <a:pt x="1852" y="570"/>
                  <a:pt x="1851" y="568"/>
                  <a:pt x="1849" y="564"/>
                </a:cubicBezTo>
                <a:cubicBezTo>
                  <a:pt x="1849" y="561"/>
                  <a:pt x="1849" y="560"/>
                  <a:pt x="1848" y="557"/>
                </a:cubicBezTo>
                <a:cubicBezTo>
                  <a:pt x="1852" y="556"/>
                  <a:pt x="1853" y="556"/>
                  <a:pt x="1856" y="556"/>
                </a:cubicBezTo>
                <a:cubicBezTo>
                  <a:pt x="1858" y="555"/>
                  <a:pt x="1859" y="554"/>
                  <a:pt x="1861" y="552"/>
                </a:cubicBezTo>
                <a:cubicBezTo>
                  <a:pt x="1858" y="551"/>
                  <a:pt x="1857" y="550"/>
                  <a:pt x="1854" y="549"/>
                </a:cubicBezTo>
                <a:cubicBezTo>
                  <a:pt x="1853" y="546"/>
                  <a:pt x="1852" y="545"/>
                  <a:pt x="1851" y="542"/>
                </a:cubicBezTo>
                <a:cubicBezTo>
                  <a:pt x="1850" y="541"/>
                  <a:pt x="1849" y="541"/>
                  <a:pt x="1847" y="540"/>
                </a:cubicBezTo>
                <a:cubicBezTo>
                  <a:pt x="1847" y="536"/>
                  <a:pt x="1847" y="535"/>
                  <a:pt x="1847" y="532"/>
                </a:cubicBezTo>
                <a:cubicBezTo>
                  <a:pt x="1842" y="529"/>
                  <a:pt x="1840" y="528"/>
                  <a:pt x="1836" y="526"/>
                </a:cubicBezTo>
                <a:cubicBezTo>
                  <a:pt x="1834" y="522"/>
                  <a:pt x="1832" y="520"/>
                  <a:pt x="1829" y="516"/>
                </a:cubicBezTo>
                <a:cubicBezTo>
                  <a:pt x="1828" y="512"/>
                  <a:pt x="1828" y="510"/>
                  <a:pt x="1827" y="506"/>
                </a:cubicBezTo>
                <a:cubicBezTo>
                  <a:pt x="1828" y="505"/>
                  <a:pt x="1828" y="504"/>
                  <a:pt x="1829" y="502"/>
                </a:cubicBezTo>
                <a:cubicBezTo>
                  <a:pt x="1833" y="504"/>
                  <a:pt x="1835" y="504"/>
                  <a:pt x="1838" y="506"/>
                </a:cubicBezTo>
                <a:cubicBezTo>
                  <a:pt x="1840" y="509"/>
                  <a:pt x="1841" y="510"/>
                  <a:pt x="1843" y="513"/>
                </a:cubicBezTo>
                <a:cubicBezTo>
                  <a:pt x="1845" y="516"/>
                  <a:pt x="1846" y="517"/>
                  <a:pt x="1848" y="519"/>
                </a:cubicBezTo>
                <a:cubicBezTo>
                  <a:pt x="1849" y="523"/>
                  <a:pt x="1850" y="525"/>
                  <a:pt x="1851" y="529"/>
                </a:cubicBezTo>
                <a:cubicBezTo>
                  <a:pt x="1853" y="531"/>
                  <a:pt x="1854" y="532"/>
                  <a:pt x="1856" y="533"/>
                </a:cubicBezTo>
                <a:cubicBezTo>
                  <a:pt x="1858" y="535"/>
                  <a:pt x="1859" y="535"/>
                  <a:pt x="1862" y="537"/>
                </a:cubicBezTo>
                <a:cubicBezTo>
                  <a:pt x="1863" y="538"/>
                  <a:pt x="1864" y="539"/>
                  <a:pt x="1866" y="541"/>
                </a:cubicBezTo>
                <a:cubicBezTo>
                  <a:pt x="1868" y="538"/>
                  <a:pt x="1869" y="537"/>
                  <a:pt x="1871" y="534"/>
                </a:cubicBezTo>
                <a:cubicBezTo>
                  <a:pt x="1874" y="536"/>
                  <a:pt x="1876" y="536"/>
                  <a:pt x="1879" y="538"/>
                </a:cubicBezTo>
                <a:cubicBezTo>
                  <a:pt x="1879" y="538"/>
                  <a:pt x="1883" y="537"/>
                  <a:pt x="1884" y="530"/>
                </a:cubicBezTo>
                <a:cubicBezTo>
                  <a:pt x="1884" y="530"/>
                  <a:pt x="1893" y="534"/>
                  <a:pt x="1893" y="529"/>
                </a:cubicBezTo>
                <a:cubicBezTo>
                  <a:pt x="1894" y="524"/>
                  <a:pt x="1881" y="512"/>
                  <a:pt x="1876" y="512"/>
                </a:cubicBezTo>
                <a:cubicBezTo>
                  <a:pt x="1876" y="512"/>
                  <a:pt x="1872" y="501"/>
                  <a:pt x="1867" y="504"/>
                </a:cubicBezTo>
                <a:cubicBezTo>
                  <a:pt x="1867" y="504"/>
                  <a:pt x="1867" y="498"/>
                  <a:pt x="1860" y="495"/>
                </a:cubicBezTo>
                <a:cubicBezTo>
                  <a:pt x="1852" y="491"/>
                  <a:pt x="1859" y="488"/>
                  <a:pt x="1843" y="480"/>
                </a:cubicBezTo>
                <a:cubicBezTo>
                  <a:pt x="1827" y="472"/>
                  <a:pt x="1830" y="462"/>
                  <a:pt x="1830" y="462"/>
                </a:cubicBezTo>
                <a:cubicBezTo>
                  <a:pt x="1834" y="463"/>
                  <a:pt x="1836" y="464"/>
                  <a:pt x="1839" y="465"/>
                </a:cubicBezTo>
                <a:cubicBezTo>
                  <a:pt x="1838" y="461"/>
                  <a:pt x="1838" y="460"/>
                  <a:pt x="1836" y="456"/>
                </a:cubicBezTo>
                <a:cubicBezTo>
                  <a:pt x="1836" y="453"/>
                  <a:pt x="1835" y="451"/>
                  <a:pt x="1834" y="448"/>
                </a:cubicBezTo>
                <a:cubicBezTo>
                  <a:pt x="1830" y="445"/>
                  <a:pt x="1828" y="443"/>
                  <a:pt x="1825" y="440"/>
                </a:cubicBezTo>
                <a:cubicBezTo>
                  <a:pt x="1824" y="437"/>
                  <a:pt x="1823" y="436"/>
                  <a:pt x="1822" y="433"/>
                </a:cubicBezTo>
                <a:cubicBezTo>
                  <a:pt x="1820" y="431"/>
                  <a:pt x="1819" y="430"/>
                  <a:pt x="1817" y="427"/>
                </a:cubicBezTo>
                <a:cubicBezTo>
                  <a:pt x="1811" y="425"/>
                  <a:pt x="1808" y="423"/>
                  <a:pt x="1803" y="420"/>
                </a:cubicBezTo>
                <a:cubicBezTo>
                  <a:pt x="1802" y="419"/>
                  <a:pt x="1802" y="417"/>
                  <a:pt x="1801" y="416"/>
                </a:cubicBezTo>
                <a:cubicBezTo>
                  <a:pt x="1801" y="416"/>
                  <a:pt x="1794" y="412"/>
                  <a:pt x="1792" y="406"/>
                </a:cubicBezTo>
                <a:cubicBezTo>
                  <a:pt x="1789" y="400"/>
                  <a:pt x="1774" y="393"/>
                  <a:pt x="1771" y="396"/>
                </a:cubicBezTo>
                <a:cubicBezTo>
                  <a:pt x="1769" y="392"/>
                  <a:pt x="1768" y="390"/>
                  <a:pt x="1766" y="385"/>
                </a:cubicBezTo>
                <a:cubicBezTo>
                  <a:pt x="1763" y="383"/>
                  <a:pt x="1761" y="382"/>
                  <a:pt x="1758" y="380"/>
                </a:cubicBezTo>
                <a:cubicBezTo>
                  <a:pt x="1757" y="376"/>
                  <a:pt x="1756" y="375"/>
                  <a:pt x="1754" y="371"/>
                </a:cubicBezTo>
                <a:cubicBezTo>
                  <a:pt x="1750" y="370"/>
                  <a:pt x="1749" y="369"/>
                  <a:pt x="1745" y="367"/>
                </a:cubicBezTo>
                <a:cubicBezTo>
                  <a:pt x="1743" y="365"/>
                  <a:pt x="1741" y="364"/>
                  <a:pt x="1739" y="361"/>
                </a:cubicBezTo>
                <a:cubicBezTo>
                  <a:pt x="1741" y="360"/>
                  <a:pt x="1742" y="360"/>
                  <a:pt x="1744" y="359"/>
                </a:cubicBezTo>
                <a:cubicBezTo>
                  <a:pt x="1740" y="355"/>
                  <a:pt x="1739" y="352"/>
                  <a:pt x="1735" y="348"/>
                </a:cubicBezTo>
                <a:cubicBezTo>
                  <a:pt x="1730" y="345"/>
                  <a:pt x="1727" y="344"/>
                  <a:pt x="1722" y="341"/>
                </a:cubicBezTo>
                <a:cubicBezTo>
                  <a:pt x="1717" y="339"/>
                  <a:pt x="1715" y="338"/>
                  <a:pt x="1710" y="336"/>
                </a:cubicBezTo>
                <a:cubicBezTo>
                  <a:pt x="1704" y="332"/>
                  <a:pt x="1701" y="331"/>
                  <a:pt x="1695" y="328"/>
                </a:cubicBezTo>
                <a:cubicBezTo>
                  <a:pt x="1695" y="329"/>
                  <a:pt x="1695" y="330"/>
                  <a:pt x="1694" y="332"/>
                </a:cubicBezTo>
                <a:cubicBezTo>
                  <a:pt x="1697" y="336"/>
                  <a:pt x="1699" y="339"/>
                  <a:pt x="1702" y="343"/>
                </a:cubicBezTo>
                <a:cubicBezTo>
                  <a:pt x="1706" y="346"/>
                  <a:pt x="1708" y="347"/>
                  <a:pt x="1711" y="349"/>
                </a:cubicBezTo>
                <a:cubicBezTo>
                  <a:pt x="1716" y="351"/>
                  <a:pt x="1718" y="353"/>
                  <a:pt x="1722" y="354"/>
                </a:cubicBezTo>
                <a:cubicBezTo>
                  <a:pt x="1718" y="354"/>
                  <a:pt x="1716" y="354"/>
                  <a:pt x="1712" y="354"/>
                </a:cubicBezTo>
                <a:cubicBezTo>
                  <a:pt x="1707" y="351"/>
                  <a:pt x="1705" y="350"/>
                  <a:pt x="1700" y="347"/>
                </a:cubicBezTo>
                <a:cubicBezTo>
                  <a:pt x="1700" y="347"/>
                  <a:pt x="1697" y="353"/>
                  <a:pt x="1688" y="349"/>
                </a:cubicBezTo>
                <a:cubicBezTo>
                  <a:pt x="1688" y="349"/>
                  <a:pt x="1697" y="350"/>
                  <a:pt x="1696" y="340"/>
                </a:cubicBezTo>
                <a:cubicBezTo>
                  <a:pt x="1694" y="334"/>
                  <a:pt x="1693" y="331"/>
                  <a:pt x="1691" y="326"/>
                </a:cubicBezTo>
                <a:cubicBezTo>
                  <a:pt x="1684" y="323"/>
                  <a:pt x="1680" y="321"/>
                  <a:pt x="1674" y="319"/>
                </a:cubicBezTo>
                <a:cubicBezTo>
                  <a:pt x="1668" y="318"/>
                  <a:pt x="1665" y="318"/>
                  <a:pt x="1660" y="317"/>
                </a:cubicBezTo>
                <a:cubicBezTo>
                  <a:pt x="1655" y="316"/>
                  <a:pt x="1652" y="316"/>
                  <a:pt x="1648" y="315"/>
                </a:cubicBezTo>
                <a:cubicBezTo>
                  <a:pt x="1644" y="316"/>
                  <a:pt x="1643" y="317"/>
                  <a:pt x="1639" y="317"/>
                </a:cubicBezTo>
                <a:cubicBezTo>
                  <a:pt x="1638" y="321"/>
                  <a:pt x="1638" y="322"/>
                  <a:pt x="1637" y="325"/>
                </a:cubicBezTo>
                <a:cubicBezTo>
                  <a:pt x="1641" y="328"/>
                  <a:pt x="1642" y="329"/>
                  <a:pt x="1646" y="331"/>
                </a:cubicBezTo>
                <a:cubicBezTo>
                  <a:pt x="1641" y="330"/>
                  <a:pt x="1638" y="329"/>
                  <a:pt x="1633" y="328"/>
                </a:cubicBezTo>
                <a:cubicBezTo>
                  <a:pt x="1633" y="328"/>
                  <a:pt x="1634" y="336"/>
                  <a:pt x="1641" y="338"/>
                </a:cubicBezTo>
                <a:cubicBezTo>
                  <a:pt x="1641" y="338"/>
                  <a:pt x="1625" y="335"/>
                  <a:pt x="1628" y="324"/>
                </a:cubicBezTo>
                <a:cubicBezTo>
                  <a:pt x="1630" y="313"/>
                  <a:pt x="1627" y="313"/>
                  <a:pt x="1627" y="313"/>
                </a:cubicBezTo>
                <a:cubicBezTo>
                  <a:pt x="1627" y="313"/>
                  <a:pt x="1640" y="307"/>
                  <a:pt x="1651" y="309"/>
                </a:cubicBezTo>
                <a:cubicBezTo>
                  <a:pt x="1651" y="309"/>
                  <a:pt x="1637" y="300"/>
                  <a:pt x="1625" y="300"/>
                </a:cubicBezTo>
                <a:cubicBezTo>
                  <a:pt x="1614" y="301"/>
                  <a:pt x="1604" y="297"/>
                  <a:pt x="1593" y="305"/>
                </a:cubicBezTo>
                <a:cubicBezTo>
                  <a:pt x="1582" y="312"/>
                  <a:pt x="1585" y="323"/>
                  <a:pt x="1585" y="323"/>
                </a:cubicBezTo>
                <a:cubicBezTo>
                  <a:pt x="1594" y="327"/>
                  <a:pt x="1598" y="329"/>
                  <a:pt x="1607" y="334"/>
                </a:cubicBezTo>
                <a:cubicBezTo>
                  <a:pt x="1599" y="332"/>
                  <a:pt x="1595" y="332"/>
                  <a:pt x="1587" y="330"/>
                </a:cubicBezTo>
                <a:cubicBezTo>
                  <a:pt x="1587" y="330"/>
                  <a:pt x="1590" y="345"/>
                  <a:pt x="1607" y="345"/>
                </a:cubicBezTo>
                <a:cubicBezTo>
                  <a:pt x="1607" y="345"/>
                  <a:pt x="1607" y="353"/>
                  <a:pt x="1615" y="355"/>
                </a:cubicBezTo>
                <a:cubicBezTo>
                  <a:pt x="1623" y="358"/>
                  <a:pt x="1624" y="356"/>
                  <a:pt x="1630" y="367"/>
                </a:cubicBezTo>
                <a:cubicBezTo>
                  <a:pt x="1630" y="367"/>
                  <a:pt x="1621" y="388"/>
                  <a:pt x="1615" y="387"/>
                </a:cubicBezTo>
                <a:cubicBezTo>
                  <a:pt x="1615" y="387"/>
                  <a:pt x="1614" y="378"/>
                  <a:pt x="1609" y="378"/>
                </a:cubicBezTo>
                <a:cubicBezTo>
                  <a:pt x="1603" y="377"/>
                  <a:pt x="1605" y="391"/>
                  <a:pt x="1610" y="390"/>
                </a:cubicBezTo>
                <a:cubicBezTo>
                  <a:pt x="1610" y="390"/>
                  <a:pt x="1596" y="393"/>
                  <a:pt x="1592" y="381"/>
                </a:cubicBezTo>
                <a:cubicBezTo>
                  <a:pt x="1589" y="368"/>
                  <a:pt x="1604" y="381"/>
                  <a:pt x="1599" y="366"/>
                </a:cubicBezTo>
                <a:cubicBezTo>
                  <a:pt x="1599" y="366"/>
                  <a:pt x="1591" y="362"/>
                  <a:pt x="1587" y="355"/>
                </a:cubicBezTo>
                <a:cubicBezTo>
                  <a:pt x="1584" y="348"/>
                  <a:pt x="1573" y="354"/>
                  <a:pt x="1571" y="365"/>
                </a:cubicBezTo>
                <a:cubicBezTo>
                  <a:pt x="1571" y="365"/>
                  <a:pt x="1563" y="362"/>
                  <a:pt x="1571" y="353"/>
                </a:cubicBezTo>
                <a:cubicBezTo>
                  <a:pt x="1578" y="345"/>
                  <a:pt x="1565" y="344"/>
                  <a:pt x="1565" y="344"/>
                </a:cubicBezTo>
                <a:cubicBezTo>
                  <a:pt x="1563" y="342"/>
                  <a:pt x="1561" y="341"/>
                  <a:pt x="1558" y="339"/>
                </a:cubicBezTo>
                <a:cubicBezTo>
                  <a:pt x="1558" y="339"/>
                  <a:pt x="1552" y="341"/>
                  <a:pt x="1550" y="336"/>
                </a:cubicBezTo>
                <a:cubicBezTo>
                  <a:pt x="1548" y="332"/>
                  <a:pt x="1559" y="329"/>
                  <a:pt x="1559" y="329"/>
                </a:cubicBezTo>
                <a:cubicBezTo>
                  <a:pt x="1554" y="325"/>
                  <a:pt x="1552" y="322"/>
                  <a:pt x="1547" y="318"/>
                </a:cubicBezTo>
                <a:cubicBezTo>
                  <a:pt x="1547" y="318"/>
                  <a:pt x="1548" y="310"/>
                  <a:pt x="1537" y="301"/>
                </a:cubicBezTo>
                <a:cubicBezTo>
                  <a:pt x="1537" y="301"/>
                  <a:pt x="1546" y="300"/>
                  <a:pt x="1548" y="294"/>
                </a:cubicBezTo>
                <a:cubicBezTo>
                  <a:pt x="1550" y="289"/>
                  <a:pt x="1553" y="289"/>
                  <a:pt x="1554" y="295"/>
                </a:cubicBezTo>
                <a:cubicBezTo>
                  <a:pt x="1560" y="296"/>
                  <a:pt x="1563" y="296"/>
                  <a:pt x="1568" y="296"/>
                </a:cubicBezTo>
                <a:cubicBezTo>
                  <a:pt x="1568" y="296"/>
                  <a:pt x="1587" y="285"/>
                  <a:pt x="1594" y="287"/>
                </a:cubicBezTo>
                <a:cubicBezTo>
                  <a:pt x="1594" y="287"/>
                  <a:pt x="1595" y="282"/>
                  <a:pt x="1584" y="284"/>
                </a:cubicBezTo>
                <a:cubicBezTo>
                  <a:pt x="1573" y="285"/>
                  <a:pt x="1567" y="276"/>
                  <a:pt x="1567" y="276"/>
                </a:cubicBezTo>
                <a:cubicBezTo>
                  <a:pt x="1567" y="276"/>
                  <a:pt x="1537" y="265"/>
                  <a:pt x="1531" y="267"/>
                </a:cubicBezTo>
                <a:cubicBezTo>
                  <a:pt x="1524" y="268"/>
                  <a:pt x="1518" y="277"/>
                  <a:pt x="1518" y="277"/>
                </a:cubicBezTo>
                <a:cubicBezTo>
                  <a:pt x="1521" y="281"/>
                  <a:pt x="1522" y="283"/>
                  <a:pt x="1524" y="286"/>
                </a:cubicBezTo>
                <a:cubicBezTo>
                  <a:pt x="1523" y="289"/>
                  <a:pt x="1523" y="291"/>
                  <a:pt x="1522" y="294"/>
                </a:cubicBezTo>
                <a:cubicBezTo>
                  <a:pt x="1518" y="295"/>
                  <a:pt x="1515" y="296"/>
                  <a:pt x="1510" y="297"/>
                </a:cubicBezTo>
                <a:cubicBezTo>
                  <a:pt x="1509" y="295"/>
                  <a:pt x="1509" y="293"/>
                  <a:pt x="1508" y="291"/>
                </a:cubicBezTo>
                <a:cubicBezTo>
                  <a:pt x="1509" y="288"/>
                  <a:pt x="1510" y="287"/>
                  <a:pt x="1511" y="284"/>
                </a:cubicBezTo>
                <a:cubicBezTo>
                  <a:pt x="1511" y="278"/>
                  <a:pt x="1511" y="275"/>
                  <a:pt x="1511" y="270"/>
                </a:cubicBezTo>
                <a:cubicBezTo>
                  <a:pt x="1506" y="266"/>
                  <a:pt x="1504" y="264"/>
                  <a:pt x="1500" y="260"/>
                </a:cubicBezTo>
                <a:cubicBezTo>
                  <a:pt x="1499" y="259"/>
                  <a:pt x="1498" y="258"/>
                  <a:pt x="1497" y="257"/>
                </a:cubicBezTo>
                <a:cubicBezTo>
                  <a:pt x="1490" y="256"/>
                  <a:pt x="1486" y="256"/>
                  <a:pt x="1479" y="255"/>
                </a:cubicBezTo>
                <a:cubicBezTo>
                  <a:pt x="1473" y="253"/>
                  <a:pt x="1471" y="252"/>
                  <a:pt x="1466" y="251"/>
                </a:cubicBezTo>
                <a:cubicBezTo>
                  <a:pt x="1461" y="252"/>
                  <a:pt x="1458" y="253"/>
                  <a:pt x="1453" y="254"/>
                </a:cubicBezTo>
                <a:cubicBezTo>
                  <a:pt x="1457" y="256"/>
                  <a:pt x="1459" y="258"/>
                  <a:pt x="1462" y="260"/>
                </a:cubicBezTo>
                <a:cubicBezTo>
                  <a:pt x="1462" y="262"/>
                  <a:pt x="1462" y="263"/>
                  <a:pt x="1462" y="266"/>
                </a:cubicBezTo>
                <a:cubicBezTo>
                  <a:pt x="1457" y="263"/>
                  <a:pt x="1454" y="261"/>
                  <a:pt x="1449" y="259"/>
                </a:cubicBezTo>
                <a:cubicBezTo>
                  <a:pt x="1445" y="259"/>
                  <a:pt x="1443" y="259"/>
                  <a:pt x="1439" y="259"/>
                </a:cubicBezTo>
                <a:cubicBezTo>
                  <a:pt x="1437" y="260"/>
                  <a:pt x="1436" y="260"/>
                  <a:pt x="1434" y="261"/>
                </a:cubicBezTo>
                <a:cubicBezTo>
                  <a:pt x="1440" y="265"/>
                  <a:pt x="1443" y="267"/>
                  <a:pt x="1449" y="272"/>
                </a:cubicBezTo>
                <a:cubicBezTo>
                  <a:pt x="1454" y="275"/>
                  <a:pt x="1457" y="276"/>
                  <a:pt x="1462" y="279"/>
                </a:cubicBezTo>
                <a:cubicBezTo>
                  <a:pt x="1465" y="283"/>
                  <a:pt x="1466" y="286"/>
                  <a:pt x="1469" y="290"/>
                </a:cubicBezTo>
                <a:cubicBezTo>
                  <a:pt x="1474" y="292"/>
                  <a:pt x="1477" y="293"/>
                  <a:pt x="1483" y="296"/>
                </a:cubicBezTo>
                <a:cubicBezTo>
                  <a:pt x="1488" y="295"/>
                  <a:pt x="1490" y="295"/>
                  <a:pt x="1495" y="294"/>
                </a:cubicBezTo>
                <a:cubicBezTo>
                  <a:pt x="1498" y="297"/>
                  <a:pt x="1500" y="297"/>
                  <a:pt x="1503" y="300"/>
                </a:cubicBezTo>
                <a:cubicBezTo>
                  <a:pt x="1502" y="304"/>
                  <a:pt x="1501" y="305"/>
                  <a:pt x="1500" y="310"/>
                </a:cubicBezTo>
                <a:cubicBezTo>
                  <a:pt x="1500" y="310"/>
                  <a:pt x="1505" y="315"/>
                  <a:pt x="1501" y="324"/>
                </a:cubicBezTo>
                <a:cubicBezTo>
                  <a:pt x="1496" y="332"/>
                  <a:pt x="1491" y="317"/>
                  <a:pt x="1491" y="317"/>
                </a:cubicBezTo>
                <a:cubicBezTo>
                  <a:pt x="1491" y="317"/>
                  <a:pt x="1485" y="311"/>
                  <a:pt x="1477" y="316"/>
                </a:cubicBezTo>
                <a:cubicBezTo>
                  <a:pt x="1468" y="321"/>
                  <a:pt x="1467" y="324"/>
                  <a:pt x="1467" y="324"/>
                </a:cubicBezTo>
                <a:cubicBezTo>
                  <a:pt x="1470" y="327"/>
                  <a:pt x="1472" y="329"/>
                  <a:pt x="1475" y="332"/>
                </a:cubicBezTo>
                <a:cubicBezTo>
                  <a:pt x="1475" y="332"/>
                  <a:pt x="1467" y="332"/>
                  <a:pt x="1464" y="335"/>
                </a:cubicBezTo>
                <a:cubicBezTo>
                  <a:pt x="1460" y="337"/>
                  <a:pt x="1450" y="338"/>
                  <a:pt x="1432" y="334"/>
                </a:cubicBezTo>
                <a:cubicBezTo>
                  <a:pt x="1414" y="330"/>
                  <a:pt x="1394" y="314"/>
                  <a:pt x="1394" y="314"/>
                </a:cubicBezTo>
                <a:cubicBezTo>
                  <a:pt x="1383" y="304"/>
                  <a:pt x="1373" y="299"/>
                  <a:pt x="1364" y="304"/>
                </a:cubicBezTo>
                <a:cubicBezTo>
                  <a:pt x="1355" y="308"/>
                  <a:pt x="1351" y="301"/>
                  <a:pt x="1344" y="307"/>
                </a:cubicBezTo>
                <a:cubicBezTo>
                  <a:pt x="1337" y="312"/>
                  <a:pt x="1357" y="314"/>
                  <a:pt x="1350" y="334"/>
                </a:cubicBezTo>
                <a:cubicBezTo>
                  <a:pt x="1350" y="334"/>
                  <a:pt x="1352" y="318"/>
                  <a:pt x="1339" y="317"/>
                </a:cubicBezTo>
                <a:cubicBezTo>
                  <a:pt x="1339" y="317"/>
                  <a:pt x="1333" y="311"/>
                  <a:pt x="1326" y="312"/>
                </a:cubicBezTo>
                <a:cubicBezTo>
                  <a:pt x="1326" y="312"/>
                  <a:pt x="1327" y="307"/>
                  <a:pt x="1321" y="305"/>
                </a:cubicBezTo>
                <a:cubicBezTo>
                  <a:pt x="1315" y="305"/>
                  <a:pt x="1305" y="313"/>
                  <a:pt x="1296" y="310"/>
                </a:cubicBezTo>
                <a:cubicBezTo>
                  <a:pt x="1272" y="303"/>
                  <a:pt x="1259" y="298"/>
                  <a:pt x="1259" y="298"/>
                </a:cubicBezTo>
                <a:cubicBezTo>
                  <a:pt x="1268" y="297"/>
                  <a:pt x="1272" y="297"/>
                  <a:pt x="1281" y="296"/>
                </a:cubicBezTo>
                <a:cubicBezTo>
                  <a:pt x="1281" y="296"/>
                  <a:pt x="1276" y="285"/>
                  <a:pt x="1262" y="283"/>
                </a:cubicBezTo>
                <a:cubicBezTo>
                  <a:pt x="1249" y="281"/>
                  <a:pt x="1227" y="277"/>
                  <a:pt x="1227" y="277"/>
                </a:cubicBezTo>
                <a:cubicBezTo>
                  <a:pt x="1227" y="277"/>
                  <a:pt x="1229" y="273"/>
                  <a:pt x="1214" y="272"/>
                </a:cubicBezTo>
                <a:cubicBezTo>
                  <a:pt x="1210" y="270"/>
                  <a:pt x="1208" y="269"/>
                  <a:pt x="1205" y="267"/>
                </a:cubicBezTo>
                <a:cubicBezTo>
                  <a:pt x="1200" y="265"/>
                  <a:pt x="1197" y="265"/>
                  <a:pt x="1192" y="263"/>
                </a:cubicBezTo>
                <a:cubicBezTo>
                  <a:pt x="1192" y="263"/>
                  <a:pt x="1176" y="259"/>
                  <a:pt x="1171" y="267"/>
                </a:cubicBezTo>
                <a:cubicBezTo>
                  <a:pt x="1167" y="266"/>
                  <a:pt x="1166" y="266"/>
                  <a:pt x="1162" y="265"/>
                </a:cubicBezTo>
                <a:cubicBezTo>
                  <a:pt x="1163" y="261"/>
                  <a:pt x="1164" y="259"/>
                  <a:pt x="1165" y="256"/>
                </a:cubicBezTo>
                <a:cubicBezTo>
                  <a:pt x="1162" y="255"/>
                  <a:pt x="1161" y="255"/>
                  <a:pt x="1158" y="254"/>
                </a:cubicBezTo>
                <a:cubicBezTo>
                  <a:pt x="1155" y="255"/>
                  <a:pt x="1154" y="256"/>
                  <a:pt x="1152" y="256"/>
                </a:cubicBezTo>
                <a:cubicBezTo>
                  <a:pt x="1152" y="256"/>
                  <a:pt x="1148" y="264"/>
                  <a:pt x="1143" y="263"/>
                </a:cubicBezTo>
                <a:cubicBezTo>
                  <a:pt x="1138" y="263"/>
                  <a:pt x="1130" y="248"/>
                  <a:pt x="1130" y="248"/>
                </a:cubicBezTo>
                <a:cubicBezTo>
                  <a:pt x="1130" y="248"/>
                  <a:pt x="1122" y="245"/>
                  <a:pt x="1116" y="249"/>
                </a:cubicBezTo>
                <a:cubicBezTo>
                  <a:pt x="1111" y="254"/>
                  <a:pt x="1105" y="254"/>
                  <a:pt x="1105" y="254"/>
                </a:cubicBezTo>
                <a:cubicBezTo>
                  <a:pt x="1105" y="253"/>
                  <a:pt x="1105" y="251"/>
                  <a:pt x="1104" y="249"/>
                </a:cubicBezTo>
                <a:cubicBezTo>
                  <a:pt x="1098" y="250"/>
                  <a:pt x="1094" y="250"/>
                  <a:pt x="1087" y="250"/>
                </a:cubicBezTo>
                <a:cubicBezTo>
                  <a:pt x="1084" y="250"/>
                  <a:pt x="1082" y="251"/>
                  <a:pt x="1078" y="251"/>
                </a:cubicBezTo>
                <a:cubicBezTo>
                  <a:pt x="1073" y="253"/>
                  <a:pt x="1070" y="253"/>
                  <a:pt x="1065" y="255"/>
                </a:cubicBezTo>
                <a:cubicBezTo>
                  <a:pt x="1061" y="256"/>
                  <a:pt x="1058" y="256"/>
                  <a:pt x="1054" y="256"/>
                </a:cubicBezTo>
                <a:cubicBezTo>
                  <a:pt x="1054" y="256"/>
                  <a:pt x="1050" y="254"/>
                  <a:pt x="1045" y="254"/>
                </a:cubicBezTo>
                <a:cubicBezTo>
                  <a:pt x="1039" y="254"/>
                  <a:pt x="1027" y="257"/>
                  <a:pt x="1019" y="257"/>
                </a:cubicBezTo>
                <a:cubicBezTo>
                  <a:pt x="1010" y="257"/>
                  <a:pt x="997" y="266"/>
                  <a:pt x="997" y="266"/>
                </a:cubicBezTo>
                <a:cubicBezTo>
                  <a:pt x="995" y="263"/>
                  <a:pt x="993" y="262"/>
                  <a:pt x="991" y="259"/>
                </a:cubicBezTo>
                <a:cubicBezTo>
                  <a:pt x="989" y="258"/>
                  <a:pt x="988" y="258"/>
                  <a:pt x="985" y="257"/>
                </a:cubicBezTo>
                <a:cubicBezTo>
                  <a:pt x="978" y="257"/>
                  <a:pt x="975" y="257"/>
                  <a:pt x="969" y="257"/>
                </a:cubicBezTo>
                <a:cubicBezTo>
                  <a:pt x="969" y="257"/>
                  <a:pt x="959" y="257"/>
                  <a:pt x="953" y="255"/>
                </a:cubicBezTo>
                <a:cubicBezTo>
                  <a:pt x="946" y="253"/>
                  <a:pt x="941" y="254"/>
                  <a:pt x="931" y="255"/>
                </a:cubicBezTo>
                <a:cubicBezTo>
                  <a:pt x="921" y="256"/>
                  <a:pt x="909" y="254"/>
                  <a:pt x="909" y="254"/>
                </a:cubicBezTo>
                <a:cubicBezTo>
                  <a:pt x="909" y="254"/>
                  <a:pt x="902" y="255"/>
                  <a:pt x="897" y="252"/>
                </a:cubicBezTo>
                <a:cubicBezTo>
                  <a:pt x="892" y="248"/>
                  <a:pt x="848" y="258"/>
                  <a:pt x="848" y="258"/>
                </a:cubicBezTo>
                <a:cubicBezTo>
                  <a:pt x="848" y="256"/>
                  <a:pt x="847" y="256"/>
                  <a:pt x="847" y="254"/>
                </a:cubicBezTo>
                <a:cubicBezTo>
                  <a:pt x="837" y="255"/>
                  <a:pt x="832" y="256"/>
                  <a:pt x="823" y="257"/>
                </a:cubicBezTo>
                <a:cubicBezTo>
                  <a:pt x="822" y="256"/>
                  <a:pt x="821" y="255"/>
                  <a:pt x="820" y="254"/>
                </a:cubicBezTo>
                <a:cubicBezTo>
                  <a:pt x="813" y="255"/>
                  <a:pt x="809" y="255"/>
                  <a:pt x="801" y="256"/>
                </a:cubicBezTo>
                <a:cubicBezTo>
                  <a:pt x="797" y="258"/>
                  <a:pt x="795" y="259"/>
                  <a:pt x="790" y="261"/>
                </a:cubicBezTo>
                <a:cubicBezTo>
                  <a:pt x="784" y="262"/>
                  <a:pt x="781" y="262"/>
                  <a:pt x="774" y="263"/>
                </a:cubicBezTo>
                <a:cubicBezTo>
                  <a:pt x="768" y="265"/>
                  <a:pt x="765" y="266"/>
                  <a:pt x="759" y="268"/>
                </a:cubicBezTo>
                <a:cubicBezTo>
                  <a:pt x="756" y="270"/>
                  <a:pt x="754" y="271"/>
                  <a:pt x="751" y="273"/>
                </a:cubicBezTo>
                <a:cubicBezTo>
                  <a:pt x="750" y="273"/>
                  <a:pt x="748" y="273"/>
                  <a:pt x="747" y="273"/>
                </a:cubicBezTo>
                <a:cubicBezTo>
                  <a:pt x="984" y="153"/>
                  <a:pt x="1265" y="116"/>
                  <a:pt x="1541" y="188"/>
                </a:cubicBezTo>
                <a:cubicBezTo>
                  <a:pt x="1542" y="189"/>
                  <a:pt x="1542" y="189"/>
                  <a:pt x="1542" y="189"/>
                </a:cubicBezTo>
                <a:cubicBezTo>
                  <a:pt x="1545" y="190"/>
                  <a:pt x="1545" y="191"/>
                  <a:pt x="1548" y="192"/>
                </a:cubicBezTo>
                <a:cubicBezTo>
                  <a:pt x="1548" y="194"/>
                  <a:pt x="1548" y="194"/>
                  <a:pt x="1548" y="195"/>
                </a:cubicBezTo>
                <a:cubicBezTo>
                  <a:pt x="1551" y="197"/>
                  <a:pt x="1553" y="197"/>
                  <a:pt x="1557" y="199"/>
                </a:cubicBezTo>
                <a:cubicBezTo>
                  <a:pt x="1558" y="202"/>
                  <a:pt x="1559" y="203"/>
                  <a:pt x="1560" y="206"/>
                </a:cubicBezTo>
                <a:cubicBezTo>
                  <a:pt x="1560" y="206"/>
                  <a:pt x="1564" y="203"/>
                  <a:pt x="1566" y="208"/>
                </a:cubicBezTo>
                <a:cubicBezTo>
                  <a:pt x="1569" y="213"/>
                  <a:pt x="1575" y="217"/>
                  <a:pt x="1575" y="217"/>
                </a:cubicBezTo>
                <a:cubicBezTo>
                  <a:pt x="1578" y="221"/>
                  <a:pt x="1580" y="222"/>
                  <a:pt x="1583" y="225"/>
                </a:cubicBezTo>
                <a:cubicBezTo>
                  <a:pt x="1589" y="226"/>
                  <a:pt x="1592" y="227"/>
                  <a:pt x="1597" y="228"/>
                </a:cubicBezTo>
                <a:cubicBezTo>
                  <a:pt x="1603" y="230"/>
                  <a:pt x="1606" y="231"/>
                  <a:pt x="1611" y="233"/>
                </a:cubicBezTo>
                <a:cubicBezTo>
                  <a:pt x="1615" y="234"/>
                  <a:pt x="1618" y="235"/>
                  <a:pt x="1622" y="236"/>
                </a:cubicBezTo>
                <a:cubicBezTo>
                  <a:pt x="1624" y="236"/>
                  <a:pt x="1626" y="236"/>
                  <a:pt x="1628" y="235"/>
                </a:cubicBezTo>
                <a:cubicBezTo>
                  <a:pt x="1628" y="235"/>
                  <a:pt x="1633" y="230"/>
                  <a:pt x="1639" y="232"/>
                </a:cubicBezTo>
                <a:cubicBezTo>
                  <a:pt x="1639" y="232"/>
                  <a:pt x="1632" y="232"/>
                  <a:pt x="1633" y="240"/>
                </a:cubicBezTo>
                <a:cubicBezTo>
                  <a:pt x="1637" y="241"/>
                  <a:pt x="1639" y="242"/>
                  <a:pt x="1642" y="244"/>
                </a:cubicBezTo>
                <a:cubicBezTo>
                  <a:pt x="1646" y="246"/>
                  <a:pt x="1649" y="247"/>
                  <a:pt x="1653" y="249"/>
                </a:cubicBezTo>
                <a:cubicBezTo>
                  <a:pt x="1655" y="254"/>
                  <a:pt x="1656" y="256"/>
                  <a:pt x="1658" y="260"/>
                </a:cubicBezTo>
                <a:cubicBezTo>
                  <a:pt x="1655" y="257"/>
                  <a:pt x="1654" y="255"/>
                  <a:pt x="1651" y="252"/>
                </a:cubicBezTo>
                <a:cubicBezTo>
                  <a:pt x="1648" y="250"/>
                  <a:pt x="1647" y="249"/>
                  <a:pt x="1644" y="247"/>
                </a:cubicBezTo>
                <a:cubicBezTo>
                  <a:pt x="1639" y="245"/>
                  <a:pt x="1637" y="244"/>
                  <a:pt x="1632" y="243"/>
                </a:cubicBezTo>
                <a:cubicBezTo>
                  <a:pt x="1629" y="243"/>
                  <a:pt x="1628" y="243"/>
                  <a:pt x="1625" y="243"/>
                </a:cubicBezTo>
                <a:cubicBezTo>
                  <a:pt x="1626" y="244"/>
                  <a:pt x="1627" y="245"/>
                  <a:pt x="1628" y="246"/>
                </a:cubicBezTo>
                <a:cubicBezTo>
                  <a:pt x="1629" y="247"/>
                  <a:pt x="1629" y="248"/>
                  <a:pt x="1629" y="249"/>
                </a:cubicBezTo>
                <a:cubicBezTo>
                  <a:pt x="1630" y="251"/>
                  <a:pt x="1631" y="252"/>
                  <a:pt x="1632" y="253"/>
                </a:cubicBezTo>
                <a:cubicBezTo>
                  <a:pt x="1628" y="252"/>
                  <a:pt x="1626" y="251"/>
                  <a:pt x="1621" y="249"/>
                </a:cubicBezTo>
                <a:cubicBezTo>
                  <a:pt x="1621" y="249"/>
                  <a:pt x="1613" y="250"/>
                  <a:pt x="1609" y="248"/>
                </a:cubicBezTo>
                <a:cubicBezTo>
                  <a:pt x="1605" y="245"/>
                  <a:pt x="1604" y="252"/>
                  <a:pt x="1604" y="252"/>
                </a:cubicBezTo>
                <a:cubicBezTo>
                  <a:pt x="1604" y="252"/>
                  <a:pt x="1601" y="245"/>
                  <a:pt x="1597" y="247"/>
                </a:cubicBezTo>
                <a:cubicBezTo>
                  <a:pt x="1593" y="248"/>
                  <a:pt x="1595" y="250"/>
                  <a:pt x="1595" y="250"/>
                </a:cubicBezTo>
                <a:cubicBezTo>
                  <a:pt x="1592" y="248"/>
                  <a:pt x="1591" y="247"/>
                  <a:pt x="1589" y="245"/>
                </a:cubicBezTo>
                <a:cubicBezTo>
                  <a:pt x="1585" y="243"/>
                  <a:pt x="1583" y="243"/>
                  <a:pt x="1579" y="241"/>
                </a:cubicBezTo>
                <a:cubicBezTo>
                  <a:pt x="1576" y="241"/>
                  <a:pt x="1575" y="241"/>
                  <a:pt x="1572" y="242"/>
                </a:cubicBezTo>
                <a:cubicBezTo>
                  <a:pt x="1569" y="240"/>
                  <a:pt x="1568" y="239"/>
                  <a:pt x="1566" y="237"/>
                </a:cubicBezTo>
                <a:cubicBezTo>
                  <a:pt x="1565" y="235"/>
                  <a:pt x="1564" y="234"/>
                  <a:pt x="1563" y="232"/>
                </a:cubicBezTo>
                <a:cubicBezTo>
                  <a:pt x="1557" y="231"/>
                  <a:pt x="1554" y="230"/>
                  <a:pt x="1549" y="229"/>
                </a:cubicBezTo>
                <a:cubicBezTo>
                  <a:pt x="1543" y="227"/>
                  <a:pt x="1541" y="226"/>
                  <a:pt x="1535" y="224"/>
                </a:cubicBezTo>
                <a:cubicBezTo>
                  <a:pt x="1532" y="222"/>
                  <a:pt x="1530" y="222"/>
                  <a:pt x="1526" y="220"/>
                </a:cubicBezTo>
                <a:cubicBezTo>
                  <a:pt x="1522" y="221"/>
                  <a:pt x="1521" y="221"/>
                  <a:pt x="1517" y="221"/>
                </a:cubicBezTo>
                <a:cubicBezTo>
                  <a:pt x="1517" y="221"/>
                  <a:pt x="1529" y="225"/>
                  <a:pt x="1530" y="231"/>
                </a:cubicBezTo>
                <a:cubicBezTo>
                  <a:pt x="1532" y="236"/>
                  <a:pt x="1542" y="240"/>
                  <a:pt x="1542" y="240"/>
                </a:cubicBezTo>
                <a:cubicBezTo>
                  <a:pt x="1548" y="241"/>
                  <a:pt x="1551" y="241"/>
                  <a:pt x="1557" y="242"/>
                </a:cubicBezTo>
                <a:cubicBezTo>
                  <a:pt x="1560" y="243"/>
                  <a:pt x="1562" y="244"/>
                  <a:pt x="1565" y="245"/>
                </a:cubicBezTo>
                <a:cubicBezTo>
                  <a:pt x="1568" y="247"/>
                  <a:pt x="1569" y="249"/>
                  <a:pt x="1572" y="251"/>
                </a:cubicBezTo>
                <a:cubicBezTo>
                  <a:pt x="1572" y="254"/>
                  <a:pt x="1573" y="255"/>
                  <a:pt x="1573" y="257"/>
                </a:cubicBezTo>
                <a:cubicBezTo>
                  <a:pt x="1572" y="257"/>
                  <a:pt x="1571" y="258"/>
                  <a:pt x="1569" y="258"/>
                </a:cubicBezTo>
                <a:cubicBezTo>
                  <a:pt x="1569" y="261"/>
                  <a:pt x="1568" y="262"/>
                  <a:pt x="1568" y="265"/>
                </a:cubicBezTo>
                <a:cubicBezTo>
                  <a:pt x="1571" y="267"/>
                  <a:pt x="1572" y="267"/>
                  <a:pt x="1575" y="269"/>
                </a:cubicBezTo>
                <a:cubicBezTo>
                  <a:pt x="1576" y="271"/>
                  <a:pt x="1577" y="272"/>
                  <a:pt x="1578" y="275"/>
                </a:cubicBezTo>
                <a:cubicBezTo>
                  <a:pt x="1583" y="277"/>
                  <a:pt x="1585" y="278"/>
                  <a:pt x="1590" y="280"/>
                </a:cubicBezTo>
                <a:cubicBezTo>
                  <a:pt x="1595" y="281"/>
                  <a:pt x="1597" y="281"/>
                  <a:pt x="1602" y="282"/>
                </a:cubicBezTo>
                <a:cubicBezTo>
                  <a:pt x="1605" y="283"/>
                  <a:pt x="1607" y="283"/>
                  <a:pt x="1610" y="284"/>
                </a:cubicBezTo>
                <a:cubicBezTo>
                  <a:pt x="1617" y="287"/>
                  <a:pt x="1620" y="289"/>
                  <a:pt x="1627" y="292"/>
                </a:cubicBezTo>
                <a:cubicBezTo>
                  <a:pt x="1646" y="297"/>
                  <a:pt x="1655" y="300"/>
                  <a:pt x="1673" y="306"/>
                </a:cubicBezTo>
                <a:cubicBezTo>
                  <a:pt x="1676" y="308"/>
                  <a:pt x="1678" y="309"/>
                  <a:pt x="1681" y="312"/>
                </a:cubicBezTo>
                <a:cubicBezTo>
                  <a:pt x="1686" y="313"/>
                  <a:pt x="1689" y="313"/>
                  <a:pt x="1694" y="314"/>
                </a:cubicBezTo>
                <a:cubicBezTo>
                  <a:pt x="1698" y="317"/>
                  <a:pt x="1700" y="318"/>
                  <a:pt x="1705" y="321"/>
                </a:cubicBezTo>
                <a:cubicBezTo>
                  <a:pt x="1705" y="318"/>
                  <a:pt x="1705" y="317"/>
                  <a:pt x="1706" y="315"/>
                </a:cubicBezTo>
                <a:cubicBezTo>
                  <a:pt x="1709" y="314"/>
                  <a:pt x="1710" y="313"/>
                  <a:pt x="1713" y="312"/>
                </a:cubicBezTo>
                <a:cubicBezTo>
                  <a:pt x="1708" y="308"/>
                  <a:pt x="1706" y="307"/>
                  <a:pt x="1702" y="303"/>
                </a:cubicBezTo>
                <a:cubicBezTo>
                  <a:pt x="1697" y="300"/>
                  <a:pt x="1695" y="298"/>
                  <a:pt x="1691" y="294"/>
                </a:cubicBezTo>
                <a:cubicBezTo>
                  <a:pt x="1683" y="291"/>
                  <a:pt x="1679" y="290"/>
                  <a:pt x="1672" y="287"/>
                </a:cubicBezTo>
                <a:cubicBezTo>
                  <a:pt x="1663" y="286"/>
                  <a:pt x="1659" y="285"/>
                  <a:pt x="1651" y="283"/>
                </a:cubicBezTo>
                <a:cubicBezTo>
                  <a:pt x="1651" y="283"/>
                  <a:pt x="1634" y="284"/>
                  <a:pt x="1629" y="277"/>
                </a:cubicBezTo>
                <a:cubicBezTo>
                  <a:pt x="1624" y="269"/>
                  <a:pt x="1612" y="268"/>
                  <a:pt x="1612" y="268"/>
                </a:cubicBezTo>
                <a:cubicBezTo>
                  <a:pt x="1605" y="263"/>
                  <a:pt x="1601" y="261"/>
                  <a:pt x="1594" y="256"/>
                </a:cubicBezTo>
                <a:cubicBezTo>
                  <a:pt x="1601" y="258"/>
                  <a:pt x="1604" y="259"/>
                  <a:pt x="1610" y="260"/>
                </a:cubicBezTo>
                <a:cubicBezTo>
                  <a:pt x="1612" y="260"/>
                  <a:pt x="1613" y="260"/>
                  <a:pt x="1614" y="259"/>
                </a:cubicBezTo>
                <a:cubicBezTo>
                  <a:pt x="1622" y="262"/>
                  <a:pt x="1626" y="263"/>
                  <a:pt x="1633" y="266"/>
                </a:cubicBezTo>
                <a:cubicBezTo>
                  <a:pt x="1640" y="269"/>
                  <a:pt x="1643" y="270"/>
                  <a:pt x="1649" y="272"/>
                </a:cubicBezTo>
                <a:cubicBezTo>
                  <a:pt x="1653" y="274"/>
                  <a:pt x="1655" y="275"/>
                  <a:pt x="1659" y="277"/>
                </a:cubicBezTo>
                <a:cubicBezTo>
                  <a:pt x="1663" y="276"/>
                  <a:pt x="1664" y="276"/>
                  <a:pt x="1668" y="276"/>
                </a:cubicBezTo>
                <a:cubicBezTo>
                  <a:pt x="1675" y="279"/>
                  <a:pt x="1679" y="280"/>
                  <a:pt x="1686" y="283"/>
                </a:cubicBezTo>
                <a:cubicBezTo>
                  <a:pt x="1692" y="286"/>
                  <a:pt x="1694" y="288"/>
                  <a:pt x="1700" y="291"/>
                </a:cubicBezTo>
                <a:cubicBezTo>
                  <a:pt x="1699" y="293"/>
                  <a:pt x="1699" y="293"/>
                  <a:pt x="1699" y="295"/>
                </a:cubicBezTo>
                <a:cubicBezTo>
                  <a:pt x="1704" y="298"/>
                  <a:pt x="1706" y="299"/>
                  <a:pt x="1711" y="301"/>
                </a:cubicBezTo>
                <a:cubicBezTo>
                  <a:pt x="1713" y="304"/>
                  <a:pt x="1714" y="306"/>
                  <a:pt x="1717" y="309"/>
                </a:cubicBezTo>
                <a:cubicBezTo>
                  <a:pt x="1720" y="306"/>
                  <a:pt x="1722" y="304"/>
                  <a:pt x="1725" y="300"/>
                </a:cubicBezTo>
                <a:cubicBezTo>
                  <a:pt x="1730" y="302"/>
                  <a:pt x="1733" y="303"/>
                  <a:pt x="1738" y="304"/>
                </a:cubicBezTo>
                <a:cubicBezTo>
                  <a:pt x="1735" y="299"/>
                  <a:pt x="1733" y="297"/>
                  <a:pt x="1730" y="292"/>
                </a:cubicBezTo>
                <a:cubicBezTo>
                  <a:pt x="1733" y="292"/>
                  <a:pt x="1734" y="292"/>
                  <a:pt x="1737" y="292"/>
                </a:cubicBezTo>
                <a:cubicBezTo>
                  <a:pt x="1738" y="290"/>
                  <a:pt x="1738" y="290"/>
                  <a:pt x="1738" y="288"/>
                </a:cubicBezTo>
                <a:cubicBezTo>
                  <a:pt x="1744" y="291"/>
                  <a:pt x="1746" y="292"/>
                  <a:pt x="1752" y="295"/>
                </a:cubicBezTo>
                <a:cubicBezTo>
                  <a:pt x="1757" y="295"/>
                  <a:pt x="1759" y="295"/>
                  <a:pt x="1763" y="294"/>
                </a:cubicBezTo>
                <a:cubicBezTo>
                  <a:pt x="1766" y="293"/>
                  <a:pt x="1768" y="293"/>
                  <a:pt x="1771" y="292"/>
                </a:cubicBezTo>
                <a:cubicBezTo>
                  <a:pt x="1774" y="292"/>
                  <a:pt x="1775" y="292"/>
                  <a:pt x="1777" y="292"/>
                </a:cubicBezTo>
                <a:cubicBezTo>
                  <a:pt x="1775" y="288"/>
                  <a:pt x="1773" y="285"/>
                  <a:pt x="1771" y="281"/>
                </a:cubicBezTo>
                <a:cubicBezTo>
                  <a:pt x="1775" y="281"/>
                  <a:pt x="1778" y="281"/>
                  <a:pt x="1782" y="281"/>
                </a:cubicBezTo>
                <a:cubicBezTo>
                  <a:pt x="1782" y="282"/>
                  <a:pt x="1782" y="282"/>
                  <a:pt x="1782" y="282"/>
                </a:cubicBezTo>
                <a:cubicBezTo>
                  <a:pt x="1784" y="284"/>
                  <a:pt x="1786" y="285"/>
                  <a:pt x="1788" y="287"/>
                </a:cubicBezTo>
                <a:cubicBezTo>
                  <a:pt x="1790" y="287"/>
                  <a:pt x="1791" y="287"/>
                  <a:pt x="1793" y="288"/>
                </a:cubicBezTo>
                <a:cubicBezTo>
                  <a:pt x="1794" y="288"/>
                  <a:pt x="1794" y="288"/>
                  <a:pt x="1795" y="289"/>
                </a:cubicBezTo>
                <a:cubicBezTo>
                  <a:pt x="1821" y="303"/>
                  <a:pt x="1846" y="318"/>
                  <a:pt x="1870" y="334"/>
                </a:cubicBezTo>
                <a:cubicBezTo>
                  <a:pt x="1871" y="334"/>
                  <a:pt x="1871" y="334"/>
                  <a:pt x="1871" y="335"/>
                </a:cubicBezTo>
                <a:cubicBezTo>
                  <a:pt x="1864" y="332"/>
                  <a:pt x="1861" y="330"/>
                  <a:pt x="1854" y="327"/>
                </a:cubicBezTo>
                <a:cubicBezTo>
                  <a:pt x="1843" y="321"/>
                  <a:pt x="1838" y="318"/>
                  <a:pt x="1827" y="313"/>
                </a:cubicBezTo>
                <a:cubicBezTo>
                  <a:pt x="1823" y="313"/>
                  <a:pt x="1821" y="313"/>
                  <a:pt x="1818" y="313"/>
                </a:cubicBezTo>
                <a:cubicBezTo>
                  <a:pt x="1808" y="308"/>
                  <a:pt x="1803" y="306"/>
                  <a:pt x="1794" y="302"/>
                </a:cubicBezTo>
                <a:cubicBezTo>
                  <a:pt x="1791" y="304"/>
                  <a:pt x="1790" y="305"/>
                  <a:pt x="1788" y="307"/>
                </a:cubicBezTo>
                <a:cubicBezTo>
                  <a:pt x="1794" y="312"/>
                  <a:pt x="1797" y="315"/>
                  <a:pt x="1804" y="320"/>
                </a:cubicBezTo>
                <a:cubicBezTo>
                  <a:pt x="1808" y="322"/>
                  <a:pt x="1810" y="323"/>
                  <a:pt x="1814" y="326"/>
                </a:cubicBezTo>
                <a:cubicBezTo>
                  <a:pt x="1821" y="331"/>
                  <a:pt x="1825" y="333"/>
                  <a:pt x="1832" y="338"/>
                </a:cubicBezTo>
                <a:cubicBezTo>
                  <a:pt x="1822" y="333"/>
                  <a:pt x="1817" y="331"/>
                  <a:pt x="1807" y="326"/>
                </a:cubicBezTo>
                <a:cubicBezTo>
                  <a:pt x="1805" y="328"/>
                  <a:pt x="1804" y="328"/>
                  <a:pt x="1802" y="330"/>
                </a:cubicBezTo>
                <a:cubicBezTo>
                  <a:pt x="1810" y="335"/>
                  <a:pt x="1814" y="338"/>
                  <a:pt x="1821" y="344"/>
                </a:cubicBezTo>
                <a:cubicBezTo>
                  <a:pt x="1818" y="345"/>
                  <a:pt x="1817" y="346"/>
                  <a:pt x="1814" y="348"/>
                </a:cubicBezTo>
                <a:cubicBezTo>
                  <a:pt x="1821" y="352"/>
                  <a:pt x="1824" y="353"/>
                  <a:pt x="1831" y="357"/>
                </a:cubicBezTo>
                <a:cubicBezTo>
                  <a:pt x="1836" y="362"/>
                  <a:pt x="1838" y="364"/>
                  <a:pt x="1843" y="369"/>
                </a:cubicBezTo>
                <a:cubicBezTo>
                  <a:pt x="1851" y="369"/>
                  <a:pt x="1854" y="370"/>
                  <a:pt x="1861" y="370"/>
                </a:cubicBezTo>
                <a:cubicBezTo>
                  <a:pt x="1864" y="374"/>
                  <a:pt x="1865" y="375"/>
                  <a:pt x="1868" y="378"/>
                </a:cubicBezTo>
                <a:cubicBezTo>
                  <a:pt x="1873" y="381"/>
                  <a:pt x="1876" y="383"/>
                  <a:pt x="1882" y="386"/>
                </a:cubicBezTo>
                <a:cubicBezTo>
                  <a:pt x="1890" y="391"/>
                  <a:pt x="1894" y="393"/>
                  <a:pt x="1902" y="397"/>
                </a:cubicBezTo>
                <a:cubicBezTo>
                  <a:pt x="1906" y="402"/>
                  <a:pt x="1909" y="405"/>
                  <a:pt x="1913" y="409"/>
                </a:cubicBezTo>
                <a:cubicBezTo>
                  <a:pt x="1918" y="413"/>
                  <a:pt x="1920" y="414"/>
                  <a:pt x="1925" y="418"/>
                </a:cubicBezTo>
                <a:cubicBezTo>
                  <a:pt x="1926" y="422"/>
                  <a:pt x="1927" y="424"/>
                  <a:pt x="1928" y="429"/>
                </a:cubicBezTo>
                <a:cubicBezTo>
                  <a:pt x="1934" y="440"/>
                  <a:pt x="1937" y="446"/>
                  <a:pt x="1944" y="458"/>
                </a:cubicBezTo>
                <a:cubicBezTo>
                  <a:pt x="1944" y="461"/>
                  <a:pt x="1945" y="463"/>
                  <a:pt x="1945" y="466"/>
                </a:cubicBezTo>
                <a:cubicBezTo>
                  <a:pt x="1948" y="470"/>
                  <a:pt x="1949" y="472"/>
                  <a:pt x="1952" y="475"/>
                </a:cubicBezTo>
                <a:cubicBezTo>
                  <a:pt x="1952" y="478"/>
                  <a:pt x="1952" y="479"/>
                  <a:pt x="1952" y="481"/>
                </a:cubicBezTo>
                <a:cubicBezTo>
                  <a:pt x="1952" y="488"/>
                  <a:pt x="1952" y="491"/>
                  <a:pt x="1952" y="497"/>
                </a:cubicBezTo>
                <a:cubicBezTo>
                  <a:pt x="1958" y="501"/>
                  <a:pt x="1962" y="503"/>
                  <a:pt x="1968" y="508"/>
                </a:cubicBezTo>
                <a:cubicBezTo>
                  <a:pt x="1967" y="509"/>
                  <a:pt x="1967" y="510"/>
                  <a:pt x="1965" y="512"/>
                </a:cubicBezTo>
                <a:cubicBezTo>
                  <a:pt x="1963" y="514"/>
                  <a:pt x="1962" y="515"/>
                  <a:pt x="1959" y="518"/>
                </a:cubicBezTo>
                <a:cubicBezTo>
                  <a:pt x="1960" y="522"/>
                  <a:pt x="1960" y="524"/>
                  <a:pt x="1961" y="529"/>
                </a:cubicBezTo>
                <a:cubicBezTo>
                  <a:pt x="1964" y="531"/>
                  <a:pt x="1965" y="532"/>
                  <a:pt x="1968" y="534"/>
                </a:cubicBezTo>
                <a:cubicBezTo>
                  <a:pt x="1971" y="537"/>
                  <a:pt x="1973" y="539"/>
                  <a:pt x="1977" y="542"/>
                </a:cubicBezTo>
                <a:cubicBezTo>
                  <a:pt x="1979" y="541"/>
                  <a:pt x="1980" y="541"/>
                  <a:pt x="1983" y="541"/>
                </a:cubicBezTo>
                <a:cubicBezTo>
                  <a:pt x="1985" y="543"/>
                  <a:pt x="1986" y="543"/>
                  <a:pt x="1988" y="545"/>
                </a:cubicBezTo>
                <a:cubicBezTo>
                  <a:pt x="1989" y="543"/>
                  <a:pt x="1989" y="543"/>
                  <a:pt x="1989" y="541"/>
                </a:cubicBezTo>
                <a:cubicBezTo>
                  <a:pt x="1991" y="543"/>
                  <a:pt x="1992" y="544"/>
                  <a:pt x="1994" y="545"/>
                </a:cubicBezTo>
                <a:cubicBezTo>
                  <a:pt x="1995" y="551"/>
                  <a:pt x="1995" y="554"/>
                  <a:pt x="1996" y="559"/>
                </a:cubicBezTo>
                <a:cubicBezTo>
                  <a:pt x="1992" y="557"/>
                  <a:pt x="1990" y="556"/>
                  <a:pt x="1985" y="555"/>
                </a:cubicBezTo>
                <a:cubicBezTo>
                  <a:pt x="1980" y="553"/>
                  <a:pt x="1978" y="552"/>
                  <a:pt x="1973" y="550"/>
                </a:cubicBezTo>
                <a:cubicBezTo>
                  <a:pt x="1973" y="554"/>
                  <a:pt x="1972" y="557"/>
                  <a:pt x="1972" y="561"/>
                </a:cubicBezTo>
                <a:cubicBezTo>
                  <a:pt x="1970" y="563"/>
                  <a:pt x="1970" y="564"/>
                  <a:pt x="1968" y="566"/>
                </a:cubicBezTo>
                <a:cubicBezTo>
                  <a:pt x="1969" y="568"/>
                  <a:pt x="1969" y="569"/>
                  <a:pt x="1970" y="571"/>
                </a:cubicBezTo>
                <a:cubicBezTo>
                  <a:pt x="1970" y="576"/>
                  <a:pt x="1970" y="578"/>
                  <a:pt x="1970" y="583"/>
                </a:cubicBezTo>
                <a:cubicBezTo>
                  <a:pt x="1974" y="587"/>
                  <a:pt x="1976" y="589"/>
                  <a:pt x="1980" y="593"/>
                </a:cubicBezTo>
                <a:cubicBezTo>
                  <a:pt x="1982" y="598"/>
                  <a:pt x="1983" y="601"/>
                  <a:pt x="1985" y="606"/>
                </a:cubicBezTo>
                <a:cubicBezTo>
                  <a:pt x="1985" y="611"/>
                  <a:pt x="1985" y="614"/>
                  <a:pt x="1985" y="619"/>
                </a:cubicBezTo>
                <a:cubicBezTo>
                  <a:pt x="1988" y="621"/>
                  <a:pt x="1990" y="622"/>
                  <a:pt x="1993" y="624"/>
                </a:cubicBezTo>
                <a:cubicBezTo>
                  <a:pt x="1993" y="628"/>
                  <a:pt x="1993" y="631"/>
                  <a:pt x="1993" y="636"/>
                </a:cubicBezTo>
                <a:cubicBezTo>
                  <a:pt x="1997" y="640"/>
                  <a:pt x="1998" y="642"/>
                  <a:pt x="2002" y="646"/>
                </a:cubicBezTo>
                <a:cubicBezTo>
                  <a:pt x="2004" y="651"/>
                  <a:pt x="2005" y="654"/>
                  <a:pt x="2007" y="660"/>
                </a:cubicBezTo>
                <a:cubicBezTo>
                  <a:pt x="2010" y="666"/>
                  <a:pt x="2012" y="669"/>
                  <a:pt x="2015" y="675"/>
                </a:cubicBezTo>
                <a:cubicBezTo>
                  <a:pt x="2017" y="678"/>
                  <a:pt x="2018" y="680"/>
                  <a:pt x="2019" y="683"/>
                </a:cubicBezTo>
                <a:cubicBezTo>
                  <a:pt x="2021" y="684"/>
                  <a:pt x="2022" y="685"/>
                  <a:pt x="2024" y="686"/>
                </a:cubicBezTo>
                <a:cubicBezTo>
                  <a:pt x="2026" y="689"/>
                  <a:pt x="2026" y="691"/>
                  <a:pt x="2028" y="695"/>
                </a:cubicBezTo>
                <a:cubicBezTo>
                  <a:pt x="2033" y="698"/>
                  <a:pt x="2035" y="699"/>
                  <a:pt x="2040" y="703"/>
                </a:cubicBezTo>
                <a:cubicBezTo>
                  <a:pt x="2043" y="704"/>
                  <a:pt x="2043" y="705"/>
                  <a:pt x="2046" y="706"/>
                </a:cubicBezTo>
                <a:cubicBezTo>
                  <a:pt x="2048" y="708"/>
                  <a:pt x="2050" y="709"/>
                  <a:pt x="2052" y="712"/>
                </a:cubicBezTo>
                <a:cubicBezTo>
                  <a:pt x="2053" y="714"/>
                  <a:pt x="2053" y="715"/>
                  <a:pt x="2053" y="718"/>
                </a:cubicBezTo>
                <a:cubicBezTo>
                  <a:pt x="2055" y="720"/>
                  <a:pt x="2056" y="721"/>
                  <a:pt x="2059" y="723"/>
                </a:cubicBezTo>
                <a:cubicBezTo>
                  <a:pt x="2061" y="726"/>
                  <a:pt x="2063" y="727"/>
                  <a:pt x="2066" y="730"/>
                </a:cubicBezTo>
                <a:cubicBezTo>
                  <a:pt x="2069" y="730"/>
                  <a:pt x="2070" y="731"/>
                  <a:pt x="2073" y="731"/>
                </a:cubicBezTo>
                <a:cubicBezTo>
                  <a:pt x="2077" y="724"/>
                  <a:pt x="2079" y="720"/>
                  <a:pt x="2083" y="713"/>
                </a:cubicBezTo>
                <a:cubicBezTo>
                  <a:pt x="2083" y="708"/>
                  <a:pt x="2083" y="705"/>
                  <a:pt x="2083" y="700"/>
                </a:cubicBezTo>
                <a:cubicBezTo>
                  <a:pt x="2087" y="703"/>
                  <a:pt x="2089" y="704"/>
                  <a:pt x="2092" y="707"/>
                </a:cubicBezTo>
                <a:cubicBezTo>
                  <a:pt x="2096" y="701"/>
                  <a:pt x="2097" y="699"/>
                  <a:pt x="2100" y="693"/>
                </a:cubicBezTo>
                <a:cubicBezTo>
                  <a:pt x="2100" y="690"/>
                  <a:pt x="2100" y="688"/>
                  <a:pt x="2100" y="684"/>
                </a:cubicBezTo>
                <a:cubicBezTo>
                  <a:pt x="2104" y="683"/>
                  <a:pt x="2106" y="683"/>
                  <a:pt x="2110" y="682"/>
                </a:cubicBezTo>
                <a:cubicBezTo>
                  <a:pt x="2114" y="687"/>
                  <a:pt x="2117" y="689"/>
                  <a:pt x="2121" y="694"/>
                </a:cubicBezTo>
                <a:cubicBezTo>
                  <a:pt x="2122" y="690"/>
                  <a:pt x="2123" y="689"/>
                  <a:pt x="2124" y="685"/>
                </a:cubicBezTo>
                <a:cubicBezTo>
                  <a:pt x="2125" y="689"/>
                  <a:pt x="2126" y="691"/>
                  <a:pt x="2127" y="695"/>
                </a:cubicBezTo>
                <a:cubicBezTo>
                  <a:pt x="2132" y="696"/>
                  <a:pt x="2134" y="696"/>
                  <a:pt x="2139" y="697"/>
                </a:cubicBezTo>
                <a:cubicBezTo>
                  <a:pt x="2143" y="700"/>
                  <a:pt x="2145" y="701"/>
                  <a:pt x="2150" y="704"/>
                </a:cubicBezTo>
                <a:cubicBezTo>
                  <a:pt x="2154" y="703"/>
                  <a:pt x="2156" y="703"/>
                  <a:pt x="2160" y="702"/>
                </a:cubicBezTo>
                <a:cubicBezTo>
                  <a:pt x="2165" y="701"/>
                  <a:pt x="2167" y="701"/>
                  <a:pt x="2171" y="701"/>
                </a:cubicBezTo>
                <a:cubicBezTo>
                  <a:pt x="2167" y="692"/>
                  <a:pt x="2165" y="688"/>
                  <a:pt x="2161" y="680"/>
                </a:cubicBezTo>
                <a:cubicBezTo>
                  <a:pt x="2168" y="691"/>
                  <a:pt x="2171" y="696"/>
                  <a:pt x="2177" y="707"/>
                </a:cubicBezTo>
                <a:cubicBezTo>
                  <a:pt x="2182" y="710"/>
                  <a:pt x="2184" y="712"/>
                  <a:pt x="2188" y="715"/>
                </a:cubicBezTo>
                <a:cubicBezTo>
                  <a:pt x="2191" y="716"/>
                  <a:pt x="2192" y="716"/>
                  <a:pt x="2194" y="717"/>
                </a:cubicBezTo>
                <a:cubicBezTo>
                  <a:pt x="2200" y="722"/>
                  <a:pt x="2203" y="724"/>
                  <a:pt x="2209" y="730"/>
                </a:cubicBezTo>
                <a:cubicBezTo>
                  <a:pt x="2212" y="732"/>
                  <a:pt x="2214" y="734"/>
                  <a:pt x="2218" y="736"/>
                </a:cubicBezTo>
                <a:cubicBezTo>
                  <a:pt x="2221" y="735"/>
                  <a:pt x="2223" y="735"/>
                  <a:pt x="2226" y="734"/>
                </a:cubicBezTo>
                <a:cubicBezTo>
                  <a:pt x="2232" y="739"/>
                  <a:pt x="2235" y="742"/>
                  <a:pt x="2241" y="748"/>
                </a:cubicBezTo>
                <a:cubicBezTo>
                  <a:pt x="2242" y="749"/>
                  <a:pt x="2242" y="749"/>
                  <a:pt x="2243" y="749"/>
                </a:cubicBezTo>
                <a:cubicBezTo>
                  <a:pt x="2254" y="770"/>
                  <a:pt x="2263" y="791"/>
                  <a:pt x="2273" y="812"/>
                </a:cubicBezTo>
                <a:cubicBezTo>
                  <a:pt x="2273" y="812"/>
                  <a:pt x="2272" y="812"/>
                  <a:pt x="2272" y="812"/>
                </a:cubicBezTo>
                <a:cubicBezTo>
                  <a:pt x="2271" y="811"/>
                  <a:pt x="2271" y="810"/>
                  <a:pt x="2270" y="810"/>
                </a:cubicBezTo>
                <a:cubicBezTo>
                  <a:pt x="2270" y="812"/>
                  <a:pt x="2271" y="813"/>
                  <a:pt x="2271" y="816"/>
                </a:cubicBezTo>
                <a:cubicBezTo>
                  <a:pt x="2270" y="814"/>
                  <a:pt x="2270" y="812"/>
                  <a:pt x="2268" y="810"/>
                </a:cubicBezTo>
                <a:cubicBezTo>
                  <a:pt x="2268" y="811"/>
                  <a:pt x="2267" y="811"/>
                  <a:pt x="2267" y="812"/>
                </a:cubicBezTo>
                <a:cubicBezTo>
                  <a:pt x="2266" y="809"/>
                  <a:pt x="2265" y="807"/>
                  <a:pt x="2264" y="804"/>
                </a:cubicBezTo>
                <a:cubicBezTo>
                  <a:pt x="2262" y="801"/>
                  <a:pt x="2260" y="800"/>
                  <a:pt x="2258" y="797"/>
                </a:cubicBezTo>
                <a:cubicBezTo>
                  <a:pt x="2256" y="794"/>
                  <a:pt x="2255" y="792"/>
                  <a:pt x="2253" y="788"/>
                </a:cubicBezTo>
                <a:cubicBezTo>
                  <a:pt x="2249" y="785"/>
                  <a:pt x="2248" y="783"/>
                  <a:pt x="2245" y="780"/>
                </a:cubicBezTo>
                <a:cubicBezTo>
                  <a:pt x="2244" y="782"/>
                  <a:pt x="2244" y="782"/>
                  <a:pt x="2243" y="783"/>
                </a:cubicBezTo>
                <a:cubicBezTo>
                  <a:pt x="2241" y="784"/>
                  <a:pt x="2240" y="785"/>
                  <a:pt x="2238" y="786"/>
                </a:cubicBezTo>
                <a:cubicBezTo>
                  <a:pt x="2243" y="790"/>
                  <a:pt x="2245" y="792"/>
                  <a:pt x="2249" y="796"/>
                </a:cubicBezTo>
                <a:cubicBezTo>
                  <a:pt x="2251" y="798"/>
                  <a:pt x="2252" y="798"/>
                  <a:pt x="2254" y="800"/>
                </a:cubicBezTo>
                <a:cubicBezTo>
                  <a:pt x="2255" y="802"/>
                  <a:pt x="2256" y="803"/>
                  <a:pt x="2257" y="805"/>
                </a:cubicBezTo>
                <a:cubicBezTo>
                  <a:pt x="2253" y="802"/>
                  <a:pt x="2251" y="801"/>
                  <a:pt x="2248" y="798"/>
                </a:cubicBezTo>
                <a:cubicBezTo>
                  <a:pt x="2246" y="798"/>
                  <a:pt x="2245" y="797"/>
                  <a:pt x="2244" y="797"/>
                </a:cubicBezTo>
                <a:cubicBezTo>
                  <a:pt x="2245" y="799"/>
                  <a:pt x="2246" y="800"/>
                  <a:pt x="2248" y="803"/>
                </a:cubicBezTo>
                <a:cubicBezTo>
                  <a:pt x="2252" y="806"/>
                  <a:pt x="2254" y="808"/>
                  <a:pt x="2258" y="811"/>
                </a:cubicBezTo>
                <a:cubicBezTo>
                  <a:pt x="2258" y="812"/>
                  <a:pt x="2259" y="813"/>
                  <a:pt x="2259" y="815"/>
                </a:cubicBezTo>
                <a:cubicBezTo>
                  <a:pt x="2261" y="817"/>
                  <a:pt x="2262" y="818"/>
                  <a:pt x="2264" y="820"/>
                </a:cubicBezTo>
                <a:cubicBezTo>
                  <a:pt x="2261" y="819"/>
                  <a:pt x="2260" y="818"/>
                  <a:pt x="2257" y="816"/>
                </a:cubicBezTo>
                <a:cubicBezTo>
                  <a:pt x="2258" y="818"/>
                  <a:pt x="2258" y="819"/>
                  <a:pt x="2259" y="821"/>
                </a:cubicBezTo>
                <a:cubicBezTo>
                  <a:pt x="2261" y="824"/>
                  <a:pt x="2263" y="825"/>
                  <a:pt x="2266" y="827"/>
                </a:cubicBezTo>
                <a:cubicBezTo>
                  <a:pt x="2268" y="830"/>
                  <a:pt x="2270" y="831"/>
                  <a:pt x="2273" y="833"/>
                </a:cubicBezTo>
                <a:cubicBezTo>
                  <a:pt x="2275" y="836"/>
                  <a:pt x="2276" y="838"/>
                  <a:pt x="2278" y="841"/>
                </a:cubicBezTo>
                <a:cubicBezTo>
                  <a:pt x="2281" y="845"/>
                  <a:pt x="2283" y="847"/>
                  <a:pt x="2286" y="851"/>
                </a:cubicBezTo>
                <a:cubicBezTo>
                  <a:pt x="2287" y="852"/>
                  <a:pt x="2288" y="853"/>
                  <a:pt x="2289" y="853"/>
                </a:cubicBezTo>
                <a:cubicBezTo>
                  <a:pt x="2369" y="1063"/>
                  <a:pt x="2383" y="1299"/>
                  <a:pt x="2314" y="1530"/>
                </a:cubicBezTo>
                <a:cubicBezTo>
                  <a:pt x="2276" y="1655"/>
                  <a:pt x="2218" y="1769"/>
                  <a:pt x="2142" y="1868"/>
                </a:cubicBezTo>
                <a:cubicBezTo>
                  <a:pt x="1932" y="2145"/>
                  <a:pt x="1595" y="2310"/>
                  <a:pt x="1238" y="2304"/>
                </a:cubicBezTo>
                <a:close/>
                <a:moveTo>
                  <a:pt x="1596" y="737"/>
                </a:moveTo>
                <a:cubicBezTo>
                  <a:pt x="1601" y="740"/>
                  <a:pt x="1603" y="741"/>
                  <a:pt x="1607" y="744"/>
                </a:cubicBezTo>
                <a:cubicBezTo>
                  <a:pt x="1610" y="750"/>
                  <a:pt x="1610" y="754"/>
                  <a:pt x="1612" y="760"/>
                </a:cubicBezTo>
                <a:cubicBezTo>
                  <a:pt x="1609" y="762"/>
                  <a:pt x="1608" y="763"/>
                  <a:pt x="1605" y="765"/>
                </a:cubicBezTo>
                <a:cubicBezTo>
                  <a:pt x="1600" y="758"/>
                  <a:pt x="1598" y="755"/>
                  <a:pt x="1593" y="748"/>
                </a:cubicBezTo>
                <a:cubicBezTo>
                  <a:pt x="1593" y="752"/>
                  <a:pt x="1593" y="754"/>
                  <a:pt x="1594" y="758"/>
                </a:cubicBezTo>
                <a:cubicBezTo>
                  <a:pt x="1590" y="759"/>
                  <a:pt x="1588" y="760"/>
                  <a:pt x="1584" y="762"/>
                </a:cubicBezTo>
                <a:cubicBezTo>
                  <a:pt x="1583" y="768"/>
                  <a:pt x="1582" y="771"/>
                  <a:pt x="1581" y="777"/>
                </a:cubicBezTo>
                <a:cubicBezTo>
                  <a:pt x="1577" y="777"/>
                  <a:pt x="1575" y="778"/>
                  <a:pt x="1571" y="778"/>
                </a:cubicBezTo>
                <a:cubicBezTo>
                  <a:pt x="1571" y="778"/>
                  <a:pt x="1580" y="763"/>
                  <a:pt x="1568" y="760"/>
                </a:cubicBezTo>
                <a:cubicBezTo>
                  <a:pt x="1556" y="757"/>
                  <a:pt x="1566" y="748"/>
                  <a:pt x="1566" y="748"/>
                </a:cubicBezTo>
                <a:cubicBezTo>
                  <a:pt x="1566" y="748"/>
                  <a:pt x="1567" y="731"/>
                  <a:pt x="1559" y="727"/>
                </a:cubicBezTo>
                <a:cubicBezTo>
                  <a:pt x="1559" y="727"/>
                  <a:pt x="1571" y="725"/>
                  <a:pt x="1581" y="736"/>
                </a:cubicBezTo>
                <a:cubicBezTo>
                  <a:pt x="1591" y="747"/>
                  <a:pt x="1596" y="737"/>
                  <a:pt x="1596" y="737"/>
                </a:cubicBezTo>
                <a:close/>
                <a:moveTo>
                  <a:pt x="1615" y="797"/>
                </a:moveTo>
                <a:cubicBezTo>
                  <a:pt x="1607" y="798"/>
                  <a:pt x="1603" y="799"/>
                  <a:pt x="1595" y="800"/>
                </a:cubicBezTo>
                <a:cubicBezTo>
                  <a:pt x="1589" y="800"/>
                  <a:pt x="1586" y="800"/>
                  <a:pt x="1579" y="801"/>
                </a:cubicBezTo>
                <a:cubicBezTo>
                  <a:pt x="1577" y="803"/>
                  <a:pt x="1575" y="804"/>
                  <a:pt x="1573" y="807"/>
                </a:cubicBezTo>
                <a:cubicBezTo>
                  <a:pt x="1567" y="804"/>
                  <a:pt x="1564" y="803"/>
                  <a:pt x="1559" y="800"/>
                </a:cubicBezTo>
                <a:cubicBezTo>
                  <a:pt x="1559" y="800"/>
                  <a:pt x="1568" y="792"/>
                  <a:pt x="1574" y="794"/>
                </a:cubicBezTo>
                <a:cubicBezTo>
                  <a:pt x="1581" y="796"/>
                  <a:pt x="1581" y="788"/>
                  <a:pt x="1593" y="792"/>
                </a:cubicBezTo>
                <a:cubicBezTo>
                  <a:pt x="1605" y="796"/>
                  <a:pt x="1615" y="797"/>
                  <a:pt x="1615" y="797"/>
                </a:cubicBezTo>
                <a:close/>
                <a:moveTo>
                  <a:pt x="1609" y="783"/>
                </a:moveTo>
                <a:cubicBezTo>
                  <a:pt x="1609" y="783"/>
                  <a:pt x="1623" y="778"/>
                  <a:pt x="1629" y="782"/>
                </a:cubicBezTo>
                <a:cubicBezTo>
                  <a:pt x="1636" y="786"/>
                  <a:pt x="1647" y="793"/>
                  <a:pt x="1647" y="793"/>
                </a:cubicBezTo>
                <a:cubicBezTo>
                  <a:pt x="1650" y="791"/>
                  <a:pt x="1651" y="790"/>
                  <a:pt x="1654" y="789"/>
                </a:cubicBezTo>
                <a:cubicBezTo>
                  <a:pt x="1655" y="792"/>
                  <a:pt x="1655" y="794"/>
                  <a:pt x="1656" y="797"/>
                </a:cubicBezTo>
                <a:cubicBezTo>
                  <a:pt x="1655" y="798"/>
                  <a:pt x="1654" y="800"/>
                  <a:pt x="1653" y="801"/>
                </a:cubicBezTo>
                <a:cubicBezTo>
                  <a:pt x="1647" y="800"/>
                  <a:pt x="1644" y="799"/>
                  <a:pt x="1639" y="797"/>
                </a:cubicBezTo>
                <a:cubicBezTo>
                  <a:pt x="1635" y="795"/>
                  <a:pt x="1633" y="794"/>
                  <a:pt x="1629" y="791"/>
                </a:cubicBezTo>
                <a:cubicBezTo>
                  <a:pt x="1621" y="788"/>
                  <a:pt x="1617" y="786"/>
                  <a:pt x="1609" y="783"/>
                </a:cubicBezTo>
                <a:close/>
                <a:moveTo>
                  <a:pt x="1682" y="1244"/>
                </a:moveTo>
                <a:cubicBezTo>
                  <a:pt x="1669" y="1241"/>
                  <a:pt x="1671" y="1251"/>
                  <a:pt x="1671" y="1251"/>
                </a:cubicBezTo>
                <a:cubicBezTo>
                  <a:pt x="1681" y="1253"/>
                  <a:pt x="1686" y="1254"/>
                  <a:pt x="1696" y="1256"/>
                </a:cubicBezTo>
                <a:cubicBezTo>
                  <a:pt x="1696" y="1256"/>
                  <a:pt x="1695" y="1247"/>
                  <a:pt x="1682" y="1244"/>
                </a:cubicBezTo>
                <a:close/>
                <a:moveTo>
                  <a:pt x="1361" y="176"/>
                </a:moveTo>
                <a:cubicBezTo>
                  <a:pt x="1355" y="174"/>
                  <a:pt x="1352" y="173"/>
                  <a:pt x="1346" y="171"/>
                </a:cubicBezTo>
                <a:cubicBezTo>
                  <a:pt x="1343" y="171"/>
                  <a:pt x="1341" y="171"/>
                  <a:pt x="1338" y="170"/>
                </a:cubicBezTo>
                <a:cubicBezTo>
                  <a:pt x="1339" y="172"/>
                  <a:pt x="1340" y="173"/>
                  <a:pt x="1341" y="174"/>
                </a:cubicBezTo>
                <a:cubicBezTo>
                  <a:pt x="1340" y="177"/>
                  <a:pt x="1339" y="178"/>
                  <a:pt x="1338" y="180"/>
                </a:cubicBezTo>
                <a:cubicBezTo>
                  <a:pt x="1342" y="180"/>
                  <a:pt x="1344" y="180"/>
                  <a:pt x="1348" y="180"/>
                </a:cubicBezTo>
                <a:cubicBezTo>
                  <a:pt x="1351" y="182"/>
                  <a:pt x="1352" y="183"/>
                  <a:pt x="1355" y="184"/>
                </a:cubicBezTo>
                <a:cubicBezTo>
                  <a:pt x="1360" y="183"/>
                  <a:pt x="1363" y="183"/>
                  <a:pt x="1368" y="182"/>
                </a:cubicBezTo>
                <a:cubicBezTo>
                  <a:pt x="1368" y="182"/>
                  <a:pt x="1376" y="185"/>
                  <a:pt x="1381" y="181"/>
                </a:cubicBezTo>
                <a:cubicBezTo>
                  <a:pt x="1385" y="176"/>
                  <a:pt x="1393" y="170"/>
                  <a:pt x="1393" y="170"/>
                </a:cubicBezTo>
                <a:cubicBezTo>
                  <a:pt x="1391" y="169"/>
                  <a:pt x="1390" y="169"/>
                  <a:pt x="1388" y="169"/>
                </a:cubicBezTo>
                <a:cubicBezTo>
                  <a:pt x="1384" y="167"/>
                  <a:pt x="1382" y="166"/>
                  <a:pt x="1378" y="164"/>
                </a:cubicBezTo>
                <a:cubicBezTo>
                  <a:pt x="1374" y="164"/>
                  <a:pt x="1372" y="164"/>
                  <a:pt x="1368" y="164"/>
                </a:cubicBezTo>
                <a:cubicBezTo>
                  <a:pt x="1364" y="165"/>
                  <a:pt x="1361" y="165"/>
                  <a:pt x="1357" y="166"/>
                </a:cubicBezTo>
                <a:cubicBezTo>
                  <a:pt x="1353" y="165"/>
                  <a:pt x="1351" y="164"/>
                  <a:pt x="1347" y="164"/>
                </a:cubicBezTo>
                <a:cubicBezTo>
                  <a:pt x="1345" y="164"/>
                  <a:pt x="1343" y="164"/>
                  <a:pt x="1341" y="165"/>
                </a:cubicBezTo>
                <a:cubicBezTo>
                  <a:pt x="1343" y="166"/>
                  <a:pt x="1345" y="167"/>
                  <a:pt x="1347" y="168"/>
                </a:cubicBezTo>
                <a:cubicBezTo>
                  <a:pt x="1352" y="171"/>
                  <a:pt x="1355" y="173"/>
                  <a:pt x="1361" y="176"/>
                </a:cubicBezTo>
                <a:close/>
                <a:moveTo>
                  <a:pt x="1332" y="174"/>
                </a:moveTo>
                <a:cubicBezTo>
                  <a:pt x="1331" y="171"/>
                  <a:pt x="1331" y="170"/>
                  <a:pt x="1330" y="168"/>
                </a:cubicBezTo>
                <a:cubicBezTo>
                  <a:pt x="1326" y="168"/>
                  <a:pt x="1325" y="167"/>
                  <a:pt x="1321" y="167"/>
                </a:cubicBezTo>
                <a:cubicBezTo>
                  <a:pt x="1320" y="169"/>
                  <a:pt x="1319" y="169"/>
                  <a:pt x="1318" y="171"/>
                </a:cubicBezTo>
                <a:cubicBezTo>
                  <a:pt x="1320" y="173"/>
                  <a:pt x="1322" y="174"/>
                  <a:pt x="1324" y="176"/>
                </a:cubicBezTo>
                <a:cubicBezTo>
                  <a:pt x="1327" y="175"/>
                  <a:pt x="1329" y="174"/>
                  <a:pt x="1332" y="174"/>
                </a:cubicBezTo>
                <a:close/>
                <a:moveTo>
                  <a:pt x="1422" y="187"/>
                </a:moveTo>
                <a:cubicBezTo>
                  <a:pt x="1422" y="190"/>
                  <a:pt x="1423" y="191"/>
                  <a:pt x="1423" y="193"/>
                </a:cubicBezTo>
                <a:cubicBezTo>
                  <a:pt x="1431" y="195"/>
                  <a:pt x="1435" y="197"/>
                  <a:pt x="1443" y="199"/>
                </a:cubicBezTo>
                <a:cubicBezTo>
                  <a:pt x="1438" y="195"/>
                  <a:pt x="1436" y="194"/>
                  <a:pt x="1431" y="190"/>
                </a:cubicBezTo>
                <a:cubicBezTo>
                  <a:pt x="1428" y="189"/>
                  <a:pt x="1426" y="189"/>
                  <a:pt x="1422" y="187"/>
                </a:cubicBezTo>
                <a:close/>
                <a:moveTo>
                  <a:pt x="1364" y="193"/>
                </a:moveTo>
                <a:cubicBezTo>
                  <a:pt x="1362" y="195"/>
                  <a:pt x="1361" y="195"/>
                  <a:pt x="1358" y="197"/>
                </a:cubicBezTo>
                <a:cubicBezTo>
                  <a:pt x="1363" y="197"/>
                  <a:pt x="1365" y="197"/>
                  <a:pt x="1370" y="198"/>
                </a:cubicBezTo>
                <a:cubicBezTo>
                  <a:pt x="1371" y="200"/>
                  <a:pt x="1371" y="201"/>
                  <a:pt x="1372" y="203"/>
                </a:cubicBezTo>
                <a:cubicBezTo>
                  <a:pt x="1368" y="203"/>
                  <a:pt x="1367" y="203"/>
                  <a:pt x="1364" y="203"/>
                </a:cubicBezTo>
                <a:cubicBezTo>
                  <a:pt x="1368" y="205"/>
                  <a:pt x="1370" y="206"/>
                  <a:pt x="1374" y="209"/>
                </a:cubicBezTo>
                <a:cubicBezTo>
                  <a:pt x="1367" y="208"/>
                  <a:pt x="1364" y="207"/>
                  <a:pt x="1358" y="206"/>
                </a:cubicBezTo>
                <a:cubicBezTo>
                  <a:pt x="1355" y="204"/>
                  <a:pt x="1354" y="203"/>
                  <a:pt x="1351" y="201"/>
                </a:cubicBezTo>
                <a:cubicBezTo>
                  <a:pt x="1347" y="199"/>
                  <a:pt x="1345" y="198"/>
                  <a:pt x="1341" y="196"/>
                </a:cubicBezTo>
                <a:cubicBezTo>
                  <a:pt x="1338" y="194"/>
                  <a:pt x="1337" y="193"/>
                  <a:pt x="1335" y="191"/>
                </a:cubicBezTo>
                <a:cubicBezTo>
                  <a:pt x="1330" y="192"/>
                  <a:pt x="1328" y="192"/>
                  <a:pt x="1324" y="193"/>
                </a:cubicBezTo>
                <a:cubicBezTo>
                  <a:pt x="1324" y="192"/>
                  <a:pt x="1325" y="191"/>
                  <a:pt x="1325" y="189"/>
                </a:cubicBezTo>
                <a:cubicBezTo>
                  <a:pt x="1322" y="189"/>
                  <a:pt x="1321" y="188"/>
                  <a:pt x="1318" y="188"/>
                </a:cubicBezTo>
                <a:cubicBezTo>
                  <a:pt x="1324" y="187"/>
                  <a:pt x="1326" y="187"/>
                  <a:pt x="1332" y="187"/>
                </a:cubicBezTo>
                <a:cubicBezTo>
                  <a:pt x="1333" y="185"/>
                  <a:pt x="1334" y="184"/>
                  <a:pt x="1335" y="182"/>
                </a:cubicBezTo>
                <a:cubicBezTo>
                  <a:pt x="1333" y="181"/>
                  <a:pt x="1332" y="180"/>
                  <a:pt x="1330" y="179"/>
                </a:cubicBezTo>
                <a:cubicBezTo>
                  <a:pt x="1328" y="181"/>
                  <a:pt x="1327" y="182"/>
                  <a:pt x="1324" y="184"/>
                </a:cubicBezTo>
                <a:cubicBezTo>
                  <a:pt x="1324" y="184"/>
                  <a:pt x="1318" y="180"/>
                  <a:pt x="1314" y="186"/>
                </a:cubicBezTo>
                <a:cubicBezTo>
                  <a:pt x="1314" y="186"/>
                  <a:pt x="1304" y="183"/>
                  <a:pt x="1301" y="187"/>
                </a:cubicBezTo>
                <a:cubicBezTo>
                  <a:pt x="1297" y="187"/>
                  <a:pt x="1295" y="188"/>
                  <a:pt x="1292" y="188"/>
                </a:cubicBezTo>
                <a:cubicBezTo>
                  <a:pt x="1292" y="188"/>
                  <a:pt x="1291" y="195"/>
                  <a:pt x="1283" y="194"/>
                </a:cubicBezTo>
                <a:cubicBezTo>
                  <a:pt x="1276" y="193"/>
                  <a:pt x="1274" y="203"/>
                  <a:pt x="1274" y="203"/>
                </a:cubicBezTo>
                <a:cubicBezTo>
                  <a:pt x="1280" y="203"/>
                  <a:pt x="1282" y="204"/>
                  <a:pt x="1288" y="205"/>
                </a:cubicBezTo>
                <a:cubicBezTo>
                  <a:pt x="1288" y="205"/>
                  <a:pt x="1295" y="210"/>
                  <a:pt x="1299" y="204"/>
                </a:cubicBezTo>
                <a:cubicBezTo>
                  <a:pt x="1299" y="204"/>
                  <a:pt x="1298" y="211"/>
                  <a:pt x="1306" y="209"/>
                </a:cubicBezTo>
                <a:cubicBezTo>
                  <a:pt x="1314" y="207"/>
                  <a:pt x="1318" y="203"/>
                  <a:pt x="1318" y="203"/>
                </a:cubicBezTo>
                <a:cubicBezTo>
                  <a:pt x="1318" y="205"/>
                  <a:pt x="1319" y="206"/>
                  <a:pt x="1319" y="208"/>
                </a:cubicBezTo>
                <a:cubicBezTo>
                  <a:pt x="1316" y="209"/>
                  <a:pt x="1314" y="210"/>
                  <a:pt x="1311" y="211"/>
                </a:cubicBezTo>
                <a:cubicBezTo>
                  <a:pt x="1310" y="212"/>
                  <a:pt x="1310" y="213"/>
                  <a:pt x="1309" y="215"/>
                </a:cubicBezTo>
                <a:cubicBezTo>
                  <a:pt x="1313" y="215"/>
                  <a:pt x="1315" y="215"/>
                  <a:pt x="1319" y="215"/>
                </a:cubicBezTo>
                <a:cubicBezTo>
                  <a:pt x="1323" y="217"/>
                  <a:pt x="1326" y="218"/>
                  <a:pt x="1330" y="220"/>
                </a:cubicBezTo>
                <a:cubicBezTo>
                  <a:pt x="1335" y="220"/>
                  <a:pt x="1338" y="220"/>
                  <a:pt x="1343" y="220"/>
                </a:cubicBezTo>
                <a:cubicBezTo>
                  <a:pt x="1348" y="219"/>
                  <a:pt x="1350" y="219"/>
                  <a:pt x="1355" y="219"/>
                </a:cubicBezTo>
                <a:cubicBezTo>
                  <a:pt x="1360" y="218"/>
                  <a:pt x="1363" y="218"/>
                  <a:pt x="1368" y="218"/>
                </a:cubicBezTo>
                <a:cubicBezTo>
                  <a:pt x="1379" y="220"/>
                  <a:pt x="1384" y="221"/>
                  <a:pt x="1395" y="223"/>
                </a:cubicBezTo>
                <a:cubicBezTo>
                  <a:pt x="1400" y="223"/>
                  <a:pt x="1404" y="223"/>
                  <a:pt x="1409" y="222"/>
                </a:cubicBezTo>
                <a:cubicBezTo>
                  <a:pt x="1414" y="220"/>
                  <a:pt x="1417" y="218"/>
                  <a:pt x="1421" y="216"/>
                </a:cubicBezTo>
                <a:cubicBezTo>
                  <a:pt x="1419" y="212"/>
                  <a:pt x="1418" y="210"/>
                  <a:pt x="1416" y="207"/>
                </a:cubicBezTo>
                <a:cubicBezTo>
                  <a:pt x="1411" y="208"/>
                  <a:pt x="1408" y="208"/>
                  <a:pt x="1403" y="209"/>
                </a:cubicBezTo>
                <a:cubicBezTo>
                  <a:pt x="1400" y="208"/>
                  <a:pt x="1399" y="208"/>
                  <a:pt x="1396" y="207"/>
                </a:cubicBezTo>
                <a:cubicBezTo>
                  <a:pt x="1394" y="204"/>
                  <a:pt x="1393" y="203"/>
                  <a:pt x="1391" y="200"/>
                </a:cubicBezTo>
                <a:cubicBezTo>
                  <a:pt x="1391" y="197"/>
                  <a:pt x="1391" y="195"/>
                  <a:pt x="1391" y="192"/>
                </a:cubicBezTo>
                <a:cubicBezTo>
                  <a:pt x="1387" y="192"/>
                  <a:pt x="1385" y="191"/>
                  <a:pt x="1381" y="191"/>
                </a:cubicBezTo>
                <a:cubicBezTo>
                  <a:pt x="1379" y="192"/>
                  <a:pt x="1378" y="192"/>
                  <a:pt x="1375" y="193"/>
                </a:cubicBezTo>
                <a:cubicBezTo>
                  <a:pt x="1371" y="193"/>
                  <a:pt x="1369" y="193"/>
                  <a:pt x="1364" y="193"/>
                </a:cubicBezTo>
                <a:close/>
                <a:moveTo>
                  <a:pt x="497" y="453"/>
                </a:moveTo>
                <a:cubicBezTo>
                  <a:pt x="495" y="456"/>
                  <a:pt x="494" y="458"/>
                  <a:pt x="492" y="461"/>
                </a:cubicBezTo>
                <a:cubicBezTo>
                  <a:pt x="496" y="460"/>
                  <a:pt x="497" y="459"/>
                  <a:pt x="501" y="457"/>
                </a:cubicBezTo>
                <a:cubicBezTo>
                  <a:pt x="502" y="455"/>
                  <a:pt x="503" y="454"/>
                  <a:pt x="504" y="452"/>
                </a:cubicBezTo>
                <a:cubicBezTo>
                  <a:pt x="501" y="452"/>
                  <a:pt x="500" y="453"/>
                  <a:pt x="497" y="453"/>
                </a:cubicBezTo>
                <a:close/>
                <a:moveTo>
                  <a:pt x="1232" y="187"/>
                </a:moveTo>
                <a:cubicBezTo>
                  <a:pt x="1235" y="188"/>
                  <a:pt x="1236" y="188"/>
                  <a:pt x="1239" y="189"/>
                </a:cubicBezTo>
                <a:cubicBezTo>
                  <a:pt x="1241" y="189"/>
                  <a:pt x="1242" y="188"/>
                  <a:pt x="1244" y="188"/>
                </a:cubicBezTo>
                <a:cubicBezTo>
                  <a:pt x="1248" y="189"/>
                  <a:pt x="1250" y="189"/>
                  <a:pt x="1254" y="190"/>
                </a:cubicBezTo>
                <a:cubicBezTo>
                  <a:pt x="1257" y="189"/>
                  <a:pt x="1258" y="189"/>
                  <a:pt x="1262" y="188"/>
                </a:cubicBezTo>
                <a:cubicBezTo>
                  <a:pt x="1265" y="188"/>
                  <a:pt x="1267" y="188"/>
                  <a:pt x="1271" y="187"/>
                </a:cubicBezTo>
                <a:cubicBezTo>
                  <a:pt x="1273" y="185"/>
                  <a:pt x="1274" y="183"/>
                  <a:pt x="1276" y="181"/>
                </a:cubicBezTo>
                <a:cubicBezTo>
                  <a:pt x="1276" y="183"/>
                  <a:pt x="1276" y="184"/>
                  <a:pt x="1277" y="186"/>
                </a:cubicBezTo>
                <a:cubicBezTo>
                  <a:pt x="1279" y="186"/>
                  <a:pt x="1281" y="185"/>
                  <a:pt x="1284" y="185"/>
                </a:cubicBezTo>
                <a:cubicBezTo>
                  <a:pt x="1284" y="186"/>
                  <a:pt x="1284" y="187"/>
                  <a:pt x="1284" y="188"/>
                </a:cubicBezTo>
                <a:cubicBezTo>
                  <a:pt x="1287" y="186"/>
                  <a:pt x="1288" y="185"/>
                  <a:pt x="1291" y="184"/>
                </a:cubicBezTo>
                <a:cubicBezTo>
                  <a:pt x="1294" y="184"/>
                  <a:pt x="1296" y="184"/>
                  <a:pt x="1299" y="184"/>
                </a:cubicBezTo>
                <a:cubicBezTo>
                  <a:pt x="1303" y="183"/>
                  <a:pt x="1304" y="182"/>
                  <a:pt x="1307" y="181"/>
                </a:cubicBezTo>
                <a:cubicBezTo>
                  <a:pt x="1305" y="180"/>
                  <a:pt x="1304" y="179"/>
                  <a:pt x="1302" y="178"/>
                </a:cubicBezTo>
                <a:cubicBezTo>
                  <a:pt x="1306" y="177"/>
                  <a:pt x="1308" y="177"/>
                  <a:pt x="1312" y="177"/>
                </a:cubicBezTo>
                <a:cubicBezTo>
                  <a:pt x="1309" y="175"/>
                  <a:pt x="1308" y="174"/>
                  <a:pt x="1305" y="173"/>
                </a:cubicBezTo>
                <a:cubicBezTo>
                  <a:pt x="1303" y="171"/>
                  <a:pt x="1302" y="171"/>
                  <a:pt x="1299" y="169"/>
                </a:cubicBezTo>
                <a:cubicBezTo>
                  <a:pt x="1296" y="171"/>
                  <a:pt x="1295" y="171"/>
                  <a:pt x="1292" y="173"/>
                </a:cubicBezTo>
                <a:cubicBezTo>
                  <a:pt x="1289" y="172"/>
                  <a:pt x="1288" y="172"/>
                  <a:pt x="1286" y="171"/>
                </a:cubicBezTo>
                <a:cubicBezTo>
                  <a:pt x="1281" y="171"/>
                  <a:pt x="1279" y="171"/>
                  <a:pt x="1274" y="171"/>
                </a:cubicBezTo>
                <a:cubicBezTo>
                  <a:pt x="1272" y="170"/>
                  <a:pt x="1271" y="170"/>
                  <a:pt x="1269" y="170"/>
                </a:cubicBezTo>
                <a:cubicBezTo>
                  <a:pt x="1266" y="172"/>
                  <a:pt x="1265" y="172"/>
                  <a:pt x="1263" y="174"/>
                </a:cubicBezTo>
                <a:cubicBezTo>
                  <a:pt x="1259" y="174"/>
                  <a:pt x="1257" y="175"/>
                  <a:pt x="1253" y="175"/>
                </a:cubicBezTo>
                <a:cubicBezTo>
                  <a:pt x="1247" y="176"/>
                  <a:pt x="1244" y="177"/>
                  <a:pt x="1238" y="178"/>
                </a:cubicBezTo>
                <a:cubicBezTo>
                  <a:pt x="1232" y="179"/>
                  <a:pt x="1230" y="179"/>
                  <a:pt x="1224" y="179"/>
                </a:cubicBezTo>
                <a:cubicBezTo>
                  <a:pt x="1222" y="180"/>
                  <a:pt x="1221" y="181"/>
                  <a:pt x="1219" y="182"/>
                </a:cubicBezTo>
                <a:cubicBezTo>
                  <a:pt x="1220" y="184"/>
                  <a:pt x="1220" y="185"/>
                  <a:pt x="1221" y="188"/>
                </a:cubicBezTo>
                <a:cubicBezTo>
                  <a:pt x="1225" y="187"/>
                  <a:pt x="1227" y="187"/>
                  <a:pt x="1232" y="187"/>
                </a:cubicBezTo>
                <a:close/>
                <a:moveTo>
                  <a:pt x="549" y="440"/>
                </a:moveTo>
                <a:cubicBezTo>
                  <a:pt x="543" y="442"/>
                  <a:pt x="541" y="443"/>
                  <a:pt x="535" y="444"/>
                </a:cubicBezTo>
                <a:cubicBezTo>
                  <a:pt x="534" y="445"/>
                  <a:pt x="533" y="446"/>
                  <a:pt x="532" y="448"/>
                </a:cubicBezTo>
                <a:cubicBezTo>
                  <a:pt x="528" y="448"/>
                  <a:pt x="526" y="447"/>
                  <a:pt x="522" y="447"/>
                </a:cubicBezTo>
                <a:cubicBezTo>
                  <a:pt x="518" y="449"/>
                  <a:pt x="516" y="450"/>
                  <a:pt x="511" y="452"/>
                </a:cubicBezTo>
                <a:cubicBezTo>
                  <a:pt x="510" y="454"/>
                  <a:pt x="510" y="455"/>
                  <a:pt x="509" y="457"/>
                </a:cubicBezTo>
                <a:cubicBezTo>
                  <a:pt x="509" y="457"/>
                  <a:pt x="522" y="447"/>
                  <a:pt x="529" y="452"/>
                </a:cubicBezTo>
                <a:cubicBezTo>
                  <a:pt x="536" y="456"/>
                  <a:pt x="542" y="446"/>
                  <a:pt x="542" y="446"/>
                </a:cubicBezTo>
                <a:cubicBezTo>
                  <a:pt x="547" y="445"/>
                  <a:pt x="550" y="444"/>
                  <a:pt x="555" y="443"/>
                </a:cubicBezTo>
                <a:cubicBezTo>
                  <a:pt x="553" y="442"/>
                  <a:pt x="552" y="441"/>
                  <a:pt x="549" y="440"/>
                </a:cubicBezTo>
                <a:close/>
                <a:moveTo>
                  <a:pt x="1516" y="205"/>
                </a:moveTo>
                <a:cubicBezTo>
                  <a:pt x="1518" y="206"/>
                  <a:pt x="1519" y="207"/>
                  <a:pt x="1521" y="209"/>
                </a:cubicBezTo>
                <a:cubicBezTo>
                  <a:pt x="1524" y="211"/>
                  <a:pt x="1526" y="212"/>
                  <a:pt x="1528" y="214"/>
                </a:cubicBezTo>
                <a:cubicBezTo>
                  <a:pt x="1533" y="217"/>
                  <a:pt x="1535" y="219"/>
                  <a:pt x="1539" y="222"/>
                </a:cubicBezTo>
                <a:cubicBezTo>
                  <a:pt x="1542" y="222"/>
                  <a:pt x="1543" y="222"/>
                  <a:pt x="1546" y="222"/>
                </a:cubicBezTo>
                <a:cubicBezTo>
                  <a:pt x="1551" y="225"/>
                  <a:pt x="1554" y="225"/>
                  <a:pt x="1559" y="228"/>
                </a:cubicBezTo>
                <a:cubicBezTo>
                  <a:pt x="1561" y="227"/>
                  <a:pt x="1562" y="227"/>
                  <a:pt x="1564" y="226"/>
                </a:cubicBezTo>
                <a:cubicBezTo>
                  <a:pt x="1567" y="225"/>
                  <a:pt x="1569" y="225"/>
                  <a:pt x="1572" y="225"/>
                </a:cubicBezTo>
                <a:cubicBezTo>
                  <a:pt x="1569" y="223"/>
                  <a:pt x="1567" y="223"/>
                  <a:pt x="1564" y="222"/>
                </a:cubicBezTo>
                <a:cubicBezTo>
                  <a:pt x="1563" y="219"/>
                  <a:pt x="1562" y="218"/>
                  <a:pt x="1560" y="216"/>
                </a:cubicBezTo>
                <a:cubicBezTo>
                  <a:pt x="1560" y="214"/>
                  <a:pt x="1560" y="214"/>
                  <a:pt x="1560" y="212"/>
                </a:cubicBezTo>
                <a:cubicBezTo>
                  <a:pt x="1558" y="211"/>
                  <a:pt x="1557" y="211"/>
                  <a:pt x="1556" y="210"/>
                </a:cubicBezTo>
                <a:cubicBezTo>
                  <a:pt x="1554" y="208"/>
                  <a:pt x="1554" y="208"/>
                  <a:pt x="1553" y="206"/>
                </a:cubicBezTo>
                <a:cubicBezTo>
                  <a:pt x="1549" y="205"/>
                  <a:pt x="1547" y="205"/>
                  <a:pt x="1542" y="205"/>
                </a:cubicBezTo>
                <a:cubicBezTo>
                  <a:pt x="1539" y="203"/>
                  <a:pt x="1538" y="203"/>
                  <a:pt x="1534" y="201"/>
                </a:cubicBezTo>
                <a:cubicBezTo>
                  <a:pt x="1531" y="199"/>
                  <a:pt x="1530" y="198"/>
                  <a:pt x="1527" y="196"/>
                </a:cubicBezTo>
                <a:cubicBezTo>
                  <a:pt x="1525" y="194"/>
                  <a:pt x="1524" y="193"/>
                  <a:pt x="1521" y="191"/>
                </a:cubicBezTo>
                <a:cubicBezTo>
                  <a:pt x="1517" y="193"/>
                  <a:pt x="1515" y="194"/>
                  <a:pt x="1511" y="197"/>
                </a:cubicBezTo>
                <a:cubicBezTo>
                  <a:pt x="1511" y="198"/>
                  <a:pt x="1511" y="199"/>
                  <a:pt x="1510" y="201"/>
                </a:cubicBezTo>
                <a:cubicBezTo>
                  <a:pt x="1513" y="202"/>
                  <a:pt x="1514" y="203"/>
                  <a:pt x="1516" y="205"/>
                </a:cubicBezTo>
                <a:close/>
                <a:moveTo>
                  <a:pt x="593" y="379"/>
                </a:moveTo>
                <a:cubicBezTo>
                  <a:pt x="590" y="380"/>
                  <a:pt x="589" y="381"/>
                  <a:pt x="586" y="383"/>
                </a:cubicBezTo>
                <a:cubicBezTo>
                  <a:pt x="586" y="384"/>
                  <a:pt x="586" y="385"/>
                  <a:pt x="586" y="386"/>
                </a:cubicBezTo>
                <a:cubicBezTo>
                  <a:pt x="589" y="386"/>
                  <a:pt x="591" y="386"/>
                  <a:pt x="594" y="385"/>
                </a:cubicBezTo>
                <a:cubicBezTo>
                  <a:pt x="598" y="384"/>
                  <a:pt x="601" y="383"/>
                  <a:pt x="605" y="381"/>
                </a:cubicBezTo>
                <a:cubicBezTo>
                  <a:pt x="605" y="380"/>
                  <a:pt x="605" y="379"/>
                  <a:pt x="605" y="377"/>
                </a:cubicBezTo>
                <a:cubicBezTo>
                  <a:pt x="600" y="378"/>
                  <a:pt x="598" y="378"/>
                  <a:pt x="593" y="379"/>
                </a:cubicBezTo>
                <a:close/>
                <a:moveTo>
                  <a:pt x="741" y="389"/>
                </a:moveTo>
                <a:cubicBezTo>
                  <a:pt x="736" y="390"/>
                  <a:pt x="734" y="391"/>
                  <a:pt x="729" y="393"/>
                </a:cubicBezTo>
                <a:cubicBezTo>
                  <a:pt x="727" y="395"/>
                  <a:pt x="726" y="396"/>
                  <a:pt x="723" y="398"/>
                </a:cubicBezTo>
                <a:cubicBezTo>
                  <a:pt x="720" y="398"/>
                  <a:pt x="718" y="398"/>
                  <a:pt x="714" y="398"/>
                </a:cubicBezTo>
                <a:cubicBezTo>
                  <a:pt x="711" y="401"/>
                  <a:pt x="709" y="402"/>
                  <a:pt x="706" y="405"/>
                </a:cubicBezTo>
                <a:cubicBezTo>
                  <a:pt x="708" y="405"/>
                  <a:pt x="709" y="406"/>
                  <a:pt x="712" y="406"/>
                </a:cubicBezTo>
                <a:cubicBezTo>
                  <a:pt x="707" y="409"/>
                  <a:pt x="705" y="410"/>
                  <a:pt x="701" y="412"/>
                </a:cubicBezTo>
                <a:cubicBezTo>
                  <a:pt x="704" y="412"/>
                  <a:pt x="706" y="412"/>
                  <a:pt x="709" y="411"/>
                </a:cubicBezTo>
                <a:cubicBezTo>
                  <a:pt x="712" y="410"/>
                  <a:pt x="714" y="409"/>
                  <a:pt x="717" y="408"/>
                </a:cubicBezTo>
                <a:cubicBezTo>
                  <a:pt x="721" y="406"/>
                  <a:pt x="723" y="405"/>
                  <a:pt x="727" y="403"/>
                </a:cubicBezTo>
                <a:cubicBezTo>
                  <a:pt x="731" y="402"/>
                  <a:pt x="733" y="401"/>
                  <a:pt x="737" y="400"/>
                </a:cubicBezTo>
                <a:cubicBezTo>
                  <a:pt x="738" y="397"/>
                  <a:pt x="739" y="396"/>
                  <a:pt x="740" y="394"/>
                </a:cubicBezTo>
                <a:cubicBezTo>
                  <a:pt x="741" y="392"/>
                  <a:pt x="741" y="391"/>
                  <a:pt x="741" y="389"/>
                </a:cubicBezTo>
                <a:close/>
                <a:moveTo>
                  <a:pt x="1436" y="174"/>
                </a:moveTo>
                <a:cubicBezTo>
                  <a:pt x="1441" y="177"/>
                  <a:pt x="1444" y="178"/>
                  <a:pt x="1450" y="180"/>
                </a:cubicBezTo>
                <a:cubicBezTo>
                  <a:pt x="1444" y="179"/>
                  <a:pt x="1441" y="179"/>
                  <a:pt x="1435" y="178"/>
                </a:cubicBezTo>
                <a:cubicBezTo>
                  <a:pt x="1436" y="180"/>
                  <a:pt x="1436" y="181"/>
                  <a:pt x="1437" y="182"/>
                </a:cubicBezTo>
                <a:cubicBezTo>
                  <a:pt x="1439" y="184"/>
                  <a:pt x="1440" y="185"/>
                  <a:pt x="1442" y="187"/>
                </a:cubicBezTo>
                <a:cubicBezTo>
                  <a:pt x="1445" y="186"/>
                  <a:pt x="1447" y="186"/>
                  <a:pt x="1450" y="185"/>
                </a:cubicBezTo>
                <a:cubicBezTo>
                  <a:pt x="1453" y="187"/>
                  <a:pt x="1454" y="189"/>
                  <a:pt x="1456" y="191"/>
                </a:cubicBezTo>
                <a:cubicBezTo>
                  <a:pt x="1461" y="190"/>
                  <a:pt x="1463" y="190"/>
                  <a:pt x="1468" y="189"/>
                </a:cubicBezTo>
                <a:cubicBezTo>
                  <a:pt x="1470" y="192"/>
                  <a:pt x="1471" y="193"/>
                  <a:pt x="1473" y="195"/>
                </a:cubicBezTo>
                <a:cubicBezTo>
                  <a:pt x="1476" y="195"/>
                  <a:pt x="1478" y="195"/>
                  <a:pt x="1482" y="196"/>
                </a:cubicBezTo>
                <a:cubicBezTo>
                  <a:pt x="1485" y="198"/>
                  <a:pt x="1487" y="199"/>
                  <a:pt x="1490" y="202"/>
                </a:cubicBezTo>
                <a:cubicBezTo>
                  <a:pt x="1496" y="203"/>
                  <a:pt x="1498" y="204"/>
                  <a:pt x="1504" y="206"/>
                </a:cubicBezTo>
                <a:cubicBezTo>
                  <a:pt x="1505" y="205"/>
                  <a:pt x="1505" y="204"/>
                  <a:pt x="1506" y="203"/>
                </a:cubicBezTo>
                <a:cubicBezTo>
                  <a:pt x="1504" y="201"/>
                  <a:pt x="1504" y="201"/>
                  <a:pt x="1503" y="199"/>
                </a:cubicBezTo>
                <a:cubicBezTo>
                  <a:pt x="1502" y="197"/>
                  <a:pt x="1502" y="197"/>
                  <a:pt x="1501" y="195"/>
                </a:cubicBezTo>
                <a:cubicBezTo>
                  <a:pt x="1500" y="192"/>
                  <a:pt x="1499" y="191"/>
                  <a:pt x="1497" y="189"/>
                </a:cubicBezTo>
                <a:cubicBezTo>
                  <a:pt x="1495" y="188"/>
                  <a:pt x="1493" y="188"/>
                  <a:pt x="1490" y="187"/>
                </a:cubicBezTo>
                <a:cubicBezTo>
                  <a:pt x="1488" y="185"/>
                  <a:pt x="1487" y="185"/>
                  <a:pt x="1485" y="183"/>
                </a:cubicBezTo>
                <a:cubicBezTo>
                  <a:pt x="1482" y="182"/>
                  <a:pt x="1480" y="182"/>
                  <a:pt x="1477" y="181"/>
                </a:cubicBezTo>
                <a:cubicBezTo>
                  <a:pt x="1474" y="181"/>
                  <a:pt x="1473" y="180"/>
                  <a:pt x="1471" y="180"/>
                </a:cubicBezTo>
                <a:cubicBezTo>
                  <a:pt x="1469" y="177"/>
                  <a:pt x="1468" y="176"/>
                  <a:pt x="1466" y="173"/>
                </a:cubicBezTo>
                <a:cubicBezTo>
                  <a:pt x="1459" y="172"/>
                  <a:pt x="1455" y="171"/>
                  <a:pt x="1448" y="169"/>
                </a:cubicBezTo>
                <a:cubicBezTo>
                  <a:pt x="1444" y="169"/>
                  <a:pt x="1442" y="169"/>
                  <a:pt x="1437" y="169"/>
                </a:cubicBezTo>
                <a:cubicBezTo>
                  <a:pt x="1435" y="169"/>
                  <a:pt x="1434" y="169"/>
                  <a:pt x="1432" y="168"/>
                </a:cubicBezTo>
                <a:cubicBezTo>
                  <a:pt x="1432" y="170"/>
                  <a:pt x="1432" y="171"/>
                  <a:pt x="1431" y="173"/>
                </a:cubicBezTo>
                <a:cubicBezTo>
                  <a:pt x="1433" y="173"/>
                  <a:pt x="1434" y="174"/>
                  <a:pt x="1436" y="174"/>
                </a:cubicBezTo>
                <a:close/>
                <a:moveTo>
                  <a:pt x="1802" y="579"/>
                </a:moveTo>
                <a:cubicBezTo>
                  <a:pt x="1803" y="581"/>
                  <a:pt x="1804" y="582"/>
                  <a:pt x="1805" y="583"/>
                </a:cubicBezTo>
                <a:cubicBezTo>
                  <a:pt x="1808" y="583"/>
                  <a:pt x="1810" y="583"/>
                  <a:pt x="1813" y="583"/>
                </a:cubicBezTo>
                <a:cubicBezTo>
                  <a:pt x="1811" y="580"/>
                  <a:pt x="1811" y="579"/>
                  <a:pt x="1810" y="577"/>
                </a:cubicBezTo>
                <a:cubicBezTo>
                  <a:pt x="1807" y="578"/>
                  <a:pt x="1805" y="578"/>
                  <a:pt x="1802" y="579"/>
                </a:cubicBezTo>
                <a:close/>
                <a:moveTo>
                  <a:pt x="1840" y="577"/>
                </a:moveTo>
                <a:cubicBezTo>
                  <a:pt x="1841" y="580"/>
                  <a:pt x="1841" y="582"/>
                  <a:pt x="1842" y="585"/>
                </a:cubicBezTo>
                <a:cubicBezTo>
                  <a:pt x="1844" y="583"/>
                  <a:pt x="1846" y="583"/>
                  <a:pt x="1848" y="581"/>
                </a:cubicBezTo>
                <a:cubicBezTo>
                  <a:pt x="1846" y="577"/>
                  <a:pt x="1845" y="575"/>
                  <a:pt x="1843" y="571"/>
                </a:cubicBezTo>
                <a:cubicBezTo>
                  <a:pt x="1841" y="574"/>
                  <a:pt x="1841" y="575"/>
                  <a:pt x="1840" y="577"/>
                </a:cubicBezTo>
                <a:close/>
                <a:moveTo>
                  <a:pt x="1530" y="1200"/>
                </a:moveTo>
                <a:cubicBezTo>
                  <a:pt x="1513" y="1195"/>
                  <a:pt x="1513" y="1204"/>
                  <a:pt x="1527" y="1215"/>
                </a:cubicBezTo>
                <a:cubicBezTo>
                  <a:pt x="1541" y="1227"/>
                  <a:pt x="1546" y="1214"/>
                  <a:pt x="1546" y="1214"/>
                </a:cubicBezTo>
                <a:cubicBezTo>
                  <a:pt x="1546" y="1214"/>
                  <a:pt x="1548" y="1204"/>
                  <a:pt x="1530" y="1200"/>
                </a:cubicBezTo>
                <a:close/>
                <a:moveTo>
                  <a:pt x="1668" y="495"/>
                </a:moveTo>
                <a:cubicBezTo>
                  <a:pt x="1666" y="499"/>
                  <a:pt x="1671" y="505"/>
                  <a:pt x="1671" y="505"/>
                </a:cubicBezTo>
                <a:cubicBezTo>
                  <a:pt x="1671" y="505"/>
                  <a:pt x="1682" y="511"/>
                  <a:pt x="1681" y="499"/>
                </a:cubicBezTo>
                <a:cubicBezTo>
                  <a:pt x="1680" y="488"/>
                  <a:pt x="1670" y="491"/>
                  <a:pt x="1668" y="495"/>
                </a:cubicBezTo>
                <a:close/>
                <a:moveTo>
                  <a:pt x="1649" y="594"/>
                </a:moveTo>
                <a:cubicBezTo>
                  <a:pt x="1649" y="594"/>
                  <a:pt x="1661" y="592"/>
                  <a:pt x="1667" y="594"/>
                </a:cubicBezTo>
                <a:cubicBezTo>
                  <a:pt x="1673" y="596"/>
                  <a:pt x="1675" y="584"/>
                  <a:pt x="1665" y="581"/>
                </a:cubicBezTo>
                <a:cubicBezTo>
                  <a:pt x="1656" y="577"/>
                  <a:pt x="1652" y="585"/>
                  <a:pt x="1652" y="585"/>
                </a:cubicBezTo>
                <a:cubicBezTo>
                  <a:pt x="1651" y="589"/>
                  <a:pt x="1650" y="591"/>
                  <a:pt x="1649" y="594"/>
                </a:cubicBezTo>
                <a:close/>
                <a:moveTo>
                  <a:pt x="1959" y="852"/>
                </a:moveTo>
                <a:cubicBezTo>
                  <a:pt x="1957" y="846"/>
                  <a:pt x="1955" y="842"/>
                  <a:pt x="1953" y="836"/>
                </a:cubicBezTo>
                <a:cubicBezTo>
                  <a:pt x="1954" y="831"/>
                  <a:pt x="1954" y="828"/>
                  <a:pt x="1955" y="823"/>
                </a:cubicBezTo>
                <a:cubicBezTo>
                  <a:pt x="1950" y="822"/>
                  <a:pt x="1948" y="821"/>
                  <a:pt x="1943" y="820"/>
                </a:cubicBezTo>
                <a:cubicBezTo>
                  <a:pt x="1937" y="817"/>
                  <a:pt x="1935" y="816"/>
                  <a:pt x="1929" y="813"/>
                </a:cubicBezTo>
                <a:cubicBezTo>
                  <a:pt x="1930" y="807"/>
                  <a:pt x="1931" y="804"/>
                  <a:pt x="1932" y="798"/>
                </a:cubicBezTo>
                <a:cubicBezTo>
                  <a:pt x="1926" y="798"/>
                  <a:pt x="1923" y="799"/>
                  <a:pt x="1916" y="799"/>
                </a:cubicBezTo>
                <a:cubicBezTo>
                  <a:pt x="1925" y="794"/>
                  <a:pt x="1929" y="792"/>
                  <a:pt x="1936" y="788"/>
                </a:cubicBezTo>
                <a:cubicBezTo>
                  <a:pt x="1934" y="782"/>
                  <a:pt x="1932" y="778"/>
                  <a:pt x="1930" y="772"/>
                </a:cubicBezTo>
                <a:cubicBezTo>
                  <a:pt x="1920" y="777"/>
                  <a:pt x="1916" y="780"/>
                  <a:pt x="1906" y="785"/>
                </a:cubicBezTo>
                <a:cubicBezTo>
                  <a:pt x="1902" y="793"/>
                  <a:pt x="1899" y="797"/>
                  <a:pt x="1894" y="805"/>
                </a:cubicBezTo>
                <a:cubicBezTo>
                  <a:pt x="1888" y="805"/>
                  <a:pt x="1884" y="805"/>
                  <a:pt x="1878" y="804"/>
                </a:cubicBezTo>
                <a:cubicBezTo>
                  <a:pt x="1882" y="806"/>
                  <a:pt x="1885" y="808"/>
                  <a:pt x="1889" y="810"/>
                </a:cubicBezTo>
                <a:cubicBezTo>
                  <a:pt x="1885" y="816"/>
                  <a:pt x="1883" y="820"/>
                  <a:pt x="1879" y="826"/>
                </a:cubicBezTo>
                <a:cubicBezTo>
                  <a:pt x="1886" y="827"/>
                  <a:pt x="1890" y="827"/>
                  <a:pt x="1897" y="827"/>
                </a:cubicBezTo>
                <a:cubicBezTo>
                  <a:pt x="1903" y="831"/>
                  <a:pt x="1907" y="833"/>
                  <a:pt x="1913" y="837"/>
                </a:cubicBezTo>
                <a:cubicBezTo>
                  <a:pt x="1920" y="840"/>
                  <a:pt x="1923" y="841"/>
                  <a:pt x="1929" y="843"/>
                </a:cubicBezTo>
                <a:cubicBezTo>
                  <a:pt x="1921" y="844"/>
                  <a:pt x="1917" y="844"/>
                  <a:pt x="1909" y="845"/>
                </a:cubicBezTo>
                <a:cubicBezTo>
                  <a:pt x="1916" y="848"/>
                  <a:pt x="1920" y="850"/>
                  <a:pt x="1927" y="853"/>
                </a:cubicBezTo>
                <a:cubicBezTo>
                  <a:pt x="1933" y="853"/>
                  <a:pt x="1936" y="852"/>
                  <a:pt x="1942" y="852"/>
                </a:cubicBezTo>
                <a:cubicBezTo>
                  <a:pt x="1942" y="856"/>
                  <a:pt x="1942" y="857"/>
                  <a:pt x="1941" y="861"/>
                </a:cubicBezTo>
                <a:cubicBezTo>
                  <a:pt x="1946" y="863"/>
                  <a:pt x="1949" y="864"/>
                  <a:pt x="1954" y="867"/>
                </a:cubicBezTo>
                <a:cubicBezTo>
                  <a:pt x="1954" y="864"/>
                  <a:pt x="1954" y="862"/>
                  <a:pt x="1954" y="858"/>
                </a:cubicBezTo>
                <a:cubicBezTo>
                  <a:pt x="1956" y="856"/>
                  <a:pt x="1957" y="855"/>
                  <a:pt x="1959" y="852"/>
                </a:cubicBezTo>
                <a:close/>
                <a:moveTo>
                  <a:pt x="1648" y="1223"/>
                </a:moveTo>
                <a:cubicBezTo>
                  <a:pt x="1648" y="1223"/>
                  <a:pt x="1647" y="1213"/>
                  <a:pt x="1632" y="1207"/>
                </a:cubicBezTo>
                <a:cubicBezTo>
                  <a:pt x="1618" y="1201"/>
                  <a:pt x="1612" y="1207"/>
                  <a:pt x="1609" y="1198"/>
                </a:cubicBezTo>
                <a:cubicBezTo>
                  <a:pt x="1606" y="1189"/>
                  <a:pt x="1595" y="1199"/>
                  <a:pt x="1595" y="1199"/>
                </a:cubicBezTo>
                <a:cubicBezTo>
                  <a:pt x="1595" y="1199"/>
                  <a:pt x="1611" y="1205"/>
                  <a:pt x="1599" y="1209"/>
                </a:cubicBezTo>
                <a:cubicBezTo>
                  <a:pt x="1587" y="1214"/>
                  <a:pt x="1602" y="1219"/>
                  <a:pt x="1602" y="1219"/>
                </a:cubicBezTo>
                <a:cubicBezTo>
                  <a:pt x="1602" y="1219"/>
                  <a:pt x="1598" y="1225"/>
                  <a:pt x="1592" y="1218"/>
                </a:cubicBezTo>
                <a:cubicBezTo>
                  <a:pt x="1585" y="1211"/>
                  <a:pt x="1572" y="1207"/>
                  <a:pt x="1574" y="1216"/>
                </a:cubicBezTo>
                <a:cubicBezTo>
                  <a:pt x="1576" y="1224"/>
                  <a:pt x="1588" y="1224"/>
                  <a:pt x="1588" y="1224"/>
                </a:cubicBezTo>
                <a:cubicBezTo>
                  <a:pt x="1595" y="1225"/>
                  <a:pt x="1599" y="1226"/>
                  <a:pt x="1605" y="1228"/>
                </a:cubicBezTo>
                <a:cubicBezTo>
                  <a:pt x="1605" y="1228"/>
                  <a:pt x="1605" y="1239"/>
                  <a:pt x="1613" y="1241"/>
                </a:cubicBezTo>
                <a:cubicBezTo>
                  <a:pt x="1621" y="1244"/>
                  <a:pt x="1623" y="1232"/>
                  <a:pt x="1623" y="1232"/>
                </a:cubicBezTo>
                <a:cubicBezTo>
                  <a:pt x="1628" y="1239"/>
                  <a:pt x="1637" y="1235"/>
                  <a:pt x="1637" y="1235"/>
                </a:cubicBezTo>
                <a:cubicBezTo>
                  <a:pt x="1637" y="1235"/>
                  <a:pt x="1658" y="1247"/>
                  <a:pt x="1660" y="1237"/>
                </a:cubicBezTo>
                <a:cubicBezTo>
                  <a:pt x="1663" y="1227"/>
                  <a:pt x="1648" y="1223"/>
                  <a:pt x="1648" y="1223"/>
                </a:cubicBezTo>
                <a:close/>
                <a:moveTo>
                  <a:pt x="1583" y="1180"/>
                </a:moveTo>
                <a:cubicBezTo>
                  <a:pt x="1584" y="1174"/>
                  <a:pt x="1571" y="1169"/>
                  <a:pt x="1571" y="1169"/>
                </a:cubicBezTo>
                <a:cubicBezTo>
                  <a:pt x="1564" y="1163"/>
                  <a:pt x="1561" y="1160"/>
                  <a:pt x="1554" y="1155"/>
                </a:cubicBezTo>
                <a:cubicBezTo>
                  <a:pt x="1550" y="1146"/>
                  <a:pt x="1548" y="1142"/>
                  <a:pt x="1544" y="1134"/>
                </a:cubicBezTo>
                <a:cubicBezTo>
                  <a:pt x="1538" y="1132"/>
                  <a:pt x="1535" y="1131"/>
                  <a:pt x="1529" y="1129"/>
                </a:cubicBezTo>
                <a:cubicBezTo>
                  <a:pt x="1529" y="1129"/>
                  <a:pt x="1528" y="1118"/>
                  <a:pt x="1504" y="1107"/>
                </a:cubicBezTo>
                <a:cubicBezTo>
                  <a:pt x="1480" y="1096"/>
                  <a:pt x="1449" y="1105"/>
                  <a:pt x="1449" y="1105"/>
                </a:cubicBezTo>
                <a:cubicBezTo>
                  <a:pt x="1449" y="1105"/>
                  <a:pt x="1446" y="1113"/>
                  <a:pt x="1454" y="1116"/>
                </a:cubicBezTo>
                <a:cubicBezTo>
                  <a:pt x="1463" y="1118"/>
                  <a:pt x="1473" y="1111"/>
                  <a:pt x="1481" y="1113"/>
                </a:cubicBezTo>
                <a:cubicBezTo>
                  <a:pt x="1490" y="1116"/>
                  <a:pt x="1490" y="1127"/>
                  <a:pt x="1490" y="1127"/>
                </a:cubicBezTo>
                <a:cubicBezTo>
                  <a:pt x="1490" y="1127"/>
                  <a:pt x="1502" y="1127"/>
                  <a:pt x="1506" y="1135"/>
                </a:cubicBezTo>
                <a:cubicBezTo>
                  <a:pt x="1511" y="1143"/>
                  <a:pt x="1525" y="1145"/>
                  <a:pt x="1525" y="1145"/>
                </a:cubicBezTo>
                <a:cubicBezTo>
                  <a:pt x="1525" y="1145"/>
                  <a:pt x="1529" y="1160"/>
                  <a:pt x="1536" y="1162"/>
                </a:cubicBezTo>
                <a:cubicBezTo>
                  <a:pt x="1542" y="1164"/>
                  <a:pt x="1542" y="1171"/>
                  <a:pt x="1542" y="1171"/>
                </a:cubicBezTo>
                <a:cubicBezTo>
                  <a:pt x="1540" y="1171"/>
                  <a:pt x="1539" y="1171"/>
                  <a:pt x="1538" y="1171"/>
                </a:cubicBezTo>
                <a:cubicBezTo>
                  <a:pt x="1536" y="1173"/>
                  <a:pt x="1535" y="1174"/>
                  <a:pt x="1533" y="1177"/>
                </a:cubicBezTo>
                <a:cubicBezTo>
                  <a:pt x="1543" y="1180"/>
                  <a:pt x="1548" y="1182"/>
                  <a:pt x="1559" y="1186"/>
                </a:cubicBezTo>
                <a:cubicBezTo>
                  <a:pt x="1559" y="1186"/>
                  <a:pt x="1584" y="1193"/>
                  <a:pt x="1586" y="1189"/>
                </a:cubicBezTo>
                <a:cubicBezTo>
                  <a:pt x="1588" y="1185"/>
                  <a:pt x="1583" y="1186"/>
                  <a:pt x="1583" y="1180"/>
                </a:cubicBezTo>
                <a:close/>
                <a:moveTo>
                  <a:pt x="1548" y="246"/>
                </a:moveTo>
                <a:cubicBezTo>
                  <a:pt x="1548" y="246"/>
                  <a:pt x="1542" y="249"/>
                  <a:pt x="1536" y="245"/>
                </a:cubicBezTo>
                <a:cubicBezTo>
                  <a:pt x="1530" y="241"/>
                  <a:pt x="1528" y="246"/>
                  <a:pt x="1528" y="246"/>
                </a:cubicBezTo>
                <a:cubicBezTo>
                  <a:pt x="1526" y="243"/>
                  <a:pt x="1526" y="241"/>
                  <a:pt x="1524" y="238"/>
                </a:cubicBezTo>
                <a:cubicBezTo>
                  <a:pt x="1520" y="238"/>
                  <a:pt x="1519" y="238"/>
                  <a:pt x="1516" y="239"/>
                </a:cubicBezTo>
                <a:cubicBezTo>
                  <a:pt x="1514" y="237"/>
                  <a:pt x="1513" y="236"/>
                  <a:pt x="1512" y="234"/>
                </a:cubicBezTo>
                <a:cubicBezTo>
                  <a:pt x="1512" y="232"/>
                  <a:pt x="1513" y="230"/>
                  <a:pt x="1514" y="228"/>
                </a:cubicBezTo>
                <a:cubicBezTo>
                  <a:pt x="1511" y="225"/>
                  <a:pt x="1510" y="224"/>
                  <a:pt x="1507" y="221"/>
                </a:cubicBezTo>
                <a:cubicBezTo>
                  <a:pt x="1504" y="220"/>
                  <a:pt x="1503" y="220"/>
                  <a:pt x="1499" y="219"/>
                </a:cubicBezTo>
                <a:cubicBezTo>
                  <a:pt x="1499" y="220"/>
                  <a:pt x="1498" y="220"/>
                  <a:pt x="1497" y="221"/>
                </a:cubicBezTo>
                <a:cubicBezTo>
                  <a:pt x="1496" y="220"/>
                  <a:pt x="1495" y="219"/>
                  <a:pt x="1494" y="218"/>
                </a:cubicBezTo>
                <a:cubicBezTo>
                  <a:pt x="1489" y="217"/>
                  <a:pt x="1486" y="216"/>
                  <a:pt x="1482" y="215"/>
                </a:cubicBezTo>
                <a:cubicBezTo>
                  <a:pt x="1478" y="214"/>
                  <a:pt x="1476" y="213"/>
                  <a:pt x="1473" y="213"/>
                </a:cubicBezTo>
                <a:cubicBezTo>
                  <a:pt x="1473" y="213"/>
                  <a:pt x="1482" y="222"/>
                  <a:pt x="1481" y="225"/>
                </a:cubicBezTo>
                <a:cubicBezTo>
                  <a:pt x="1478" y="222"/>
                  <a:pt x="1476" y="220"/>
                  <a:pt x="1473" y="217"/>
                </a:cubicBezTo>
                <a:cubicBezTo>
                  <a:pt x="1470" y="215"/>
                  <a:pt x="1469" y="214"/>
                  <a:pt x="1466" y="211"/>
                </a:cubicBezTo>
                <a:cubicBezTo>
                  <a:pt x="1464" y="213"/>
                  <a:pt x="1463" y="214"/>
                  <a:pt x="1461" y="215"/>
                </a:cubicBezTo>
                <a:cubicBezTo>
                  <a:pt x="1461" y="217"/>
                  <a:pt x="1461" y="217"/>
                  <a:pt x="1460" y="219"/>
                </a:cubicBezTo>
                <a:cubicBezTo>
                  <a:pt x="1458" y="217"/>
                  <a:pt x="1457" y="217"/>
                  <a:pt x="1456" y="215"/>
                </a:cubicBezTo>
                <a:cubicBezTo>
                  <a:pt x="1454" y="213"/>
                  <a:pt x="1453" y="212"/>
                  <a:pt x="1451" y="209"/>
                </a:cubicBezTo>
                <a:cubicBezTo>
                  <a:pt x="1449" y="209"/>
                  <a:pt x="1448" y="209"/>
                  <a:pt x="1445" y="208"/>
                </a:cubicBezTo>
                <a:cubicBezTo>
                  <a:pt x="1443" y="207"/>
                  <a:pt x="1441" y="206"/>
                  <a:pt x="1439" y="205"/>
                </a:cubicBezTo>
                <a:cubicBezTo>
                  <a:pt x="1437" y="204"/>
                  <a:pt x="1436" y="204"/>
                  <a:pt x="1434" y="204"/>
                </a:cubicBezTo>
                <a:cubicBezTo>
                  <a:pt x="1432" y="205"/>
                  <a:pt x="1431" y="206"/>
                  <a:pt x="1430" y="207"/>
                </a:cubicBezTo>
                <a:cubicBezTo>
                  <a:pt x="1432" y="208"/>
                  <a:pt x="1433" y="209"/>
                  <a:pt x="1435" y="210"/>
                </a:cubicBezTo>
                <a:cubicBezTo>
                  <a:pt x="1435" y="212"/>
                  <a:pt x="1434" y="213"/>
                  <a:pt x="1434" y="216"/>
                </a:cubicBezTo>
                <a:cubicBezTo>
                  <a:pt x="1436" y="216"/>
                  <a:pt x="1437" y="217"/>
                  <a:pt x="1439" y="218"/>
                </a:cubicBezTo>
                <a:cubicBezTo>
                  <a:pt x="1440" y="219"/>
                  <a:pt x="1441" y="220"/>
                  <a:pt x="1442" y="222"/>
                </a:cubicBezTo>
                <a:cubicBezTo>
                  <a:pt x="1445" y="223"/>
                  <a:pt x="1447" y="224"/>
                  <a:pt x="1450" y="226"/>
                </a:cubicBezTo>
                <a:cubicBezTo>
                  <a:pt x="1454" y="226"/>
                  <a:pt x="1455" y="226"/>
                  <a:pt x="1459" y="226"/>
                </a:cubicBezTo>
                <a:cubicBezTo>
                  <a:pt x="1464" y="229"/>
                  <a:pt x="1466" y="230"/>
                  <a:pt x="1471" y="232"/>
                </a:cubicBezTo>
                <a:cubicBezTo>
                  <a:pt x="1473" y="234"/>
                  <a:pt x="1473" y="235"/>
                  <a:pt x="1475" y="238"/>
                </a:cubicBezTo>
                <a:cubicBezTo>
                  <a:pt x="1476" y="239"/>
                  <a:pt x="1477" y="240"/>
                  <a:pt x="1479" y="241"/>
                </a:cubicBezTo>
                <a:cubicBezTo>
                  <a:pt x="1485" y="242"/>
                  <a:pt x="1489" y="243"/>
                  <a:pt x="1495" y="245"/>
                </a:cubicBezTo>
                <a:cubicBezTo>
                  <a:pt x="1498" y="246"/>
                  <a:pt x="1500" y="246"/>
                  <a:pt x="1503" y="247"/>
                </a:cubicBezTo>
                <a:cubicBezTo>
                  <a:pt x="1506" y="246"/>
                  <a:pt x="1507" y="246"/>
                  <a:pt x="1510" y="245"/>
                </a:cubicBezTo>
                <a:cubicBezTo>
                  <a:pt x="1511" y="244"/>
                  <a:pt x="1511" y="243"/>
                  <a:pt x="1512" y="242"/>
                </a:cubicBezTo>
                <a:cubicBezTo>
                  <a:pt x="1514" y="242"/>
                  <a:pt x="1514" y="242"/>
                  <a:pt x="1516" y="241"/>
                </a:cubicBezTo>
                <a:cubicBezTo>
                  <a:pt x="1517" y="243"/>
                  <a:pt x="1518" y="244"/>
                  <a:pt x="1518" y="246"/>
                </a:cubicBezTo>
                <a:cubicBezTo>
                  <a:pt x="1520" y="246"/>
                  <a:pt x="1520" y="246"/>
                  <a:pt x="1521" y="247"/>
                </a:cubicBezTo>
                <a:cubicBezTo>
                  <a:pt x="1521" y="249"/>
                  <a:pt x="1520" y="251"/>
                  <a:pt x="1519" y="253"/>
                </a:cubicBezTo>
                <a:cubicBezTo>
                  <a:pt x="1522" y="255"/>
                  <a:pt x="1523" y="256"/>
                  <a:pt x="1525" y="258"/>
                </a:cubicBezTo>
                <a:cubicBezTo>
                  <a:pt x="1527" y="259"/>
                  <a:pt x="1529" y="259"/>
                  <a:pt x="1531" y="260"/>
                </a:cubicBezTo>
                <a:cubicBezTo>
                  <a:pt x="1533" y="261"/>
                  <a:pt x="1534" y="261"/>
                  <a:pt x="1537" y="262"/>
                </a:cubicBezTo>
                <a:cubicBezTo>
                  <a:pt x="1543" y="263"/>
                  <a:pt x="1546" y="263"/>
                  <a:pt x="1552" y="264"/>
                </a:cubicBezTo>
                <a:cubicBezTo>
                  <a:pt x="1552" y="264"/>
                  <a:pt x="1557" y="263"/>
                  <a:pt x="1556" y="255"/>
                </a:cubicBezTo>
                <a:cubicBezTo>
                  <a:pt x="1555" y="248"/>
                  <a:pt x="1548" y="246"/>
                  <a:pt x="1548" y="246"/>
                </a:cubicBezTo>
                <a:close/>
                <a:moveTo>
                  <a:pt x="1729" y="444"/>
                </a:moveTo>
                <a:cubicBezTo>
                  <a:pt x="1735" y="444"/>
                  <a:pt x="1737" y="445"/>
                  <a:pt x="1743" y="446"/>
                </a:cubicBezTo>
                <a:cubicBezTo>
                  <a:pt x="1744" y="441"/>
                  <a:pt x="1744" y="439"/>
                  <a:pt x="1745" y="434"/>
                </a:cubicBezTo>
                <a:cubicBezTo>
                  <a:pt x="1740" y="431"/>
                  <a:pt x="1737" y="429"/>
                  <a:pt x="1732" y="426"/>
                </a:cubicBezTo>
                <a:cubicBezTo>
                  <a:pt x="1727" y="425"/>
                  <a:pt x="1724" y="424"/>
                  <a:pt x="1719" y="423"/>
                </a:cubicBezTo>
                <a:cubicBezTo>
                  <a:pt x="1718" y="427"/>
                  <a:pt x="1718" y="429"/>
                  <a:pt x="1717" y="434"/>
                </a:cubicBezTo>
                <a:cubicBezTo>
                  <a:pt x="1721" y="438"/>
                  <a:pt x="1724" y="440"/>
                  <a:pt x="1729" y="444"/>
                </a:cubicBezTo>
                <a:close/>
                <a:moveTo>
                  <a:pt x="1454" y="301"/>
                </a:moveTo>
                <a:cubicBezTo>
                  <a:pt x="1456" y="300"/>
                  <a:pt x="1457" y="300"/>
                  <a:pt x="1459" y="299"/>
                </a:cubicBezTo>
                <a:cubicBezTo>
                  <a:pt x="1458" y="298"/>
                  <a:pt x="1457" y="297"/>
                  <a:pt x="1457" y="295"/>
                </a:cubicBezTo>
                <a:cubicBezTo>
                  <a:pt x="1454" y="294"/>
                  <a:pt x="1453" y="293"/>
                  <a:pt x="1451" y="292"/>
                </a:cubicBezTo>
                <a:cubicBezTo>
                  <a:pt x="1450" y="294"/>
                  <a:pt x="1450" y="295"/>
                  <a:pt x="1449" y="297"/>
                </a:cubicBezTo>
                <a:cubicBezTo>
                  <a:pt x="1451" y="298"/>
                  <a:pt x="1452" y="299"/>
                  <a:pt x="1454" y="301"/>
                </a:cubicBezTo>
                <a:close/>
                <a:moveTo>
                  <a:pt x="1439" y="227"/>
                </a:moveTo>
                <a:cubicBezTo>
                  <a:pt x="1443" y="219"/>
                  <a:pt x="1429" y="221"/>
                  <a:pt x="1429" y="221"/>
                </a:cubicBezTo>
                <a:cubicBezTo>
                  <a:pt x="1426" y="221"/>
                  <a:pt x="1425" y="221"/>
                  <a:pt x="1422" y="222"/>
                </a:cubicBezTo>
                <a:cubicBezTo>
                  <a:pt x="1423" y="224"/>
                  <a:pt x="1423" y="226"/>
                  <a:pt x="1424" y="228"/>
                </a:cubicBezTo>
                <a:cubicBezTo>
                  <a:pt x="1424" y="228"/>
                  <a:pt x="1436" y="235"/>
                  <a:pt x="1439" y="227"/>
                </a:cubicBezTo>
                <a:close/>
                <a:moveTo>
                  <a:pt x="1412" y="267"/>
                </a:moveTo>
                <a:cubicBezTo>
                  <a:pt x="1410" y="265"/>
                  <a:pt x="1410" y="265"/>
                  <a:pt x="1408" y="263"/>
                </a:cubicBezTo>
                <a:cubicBezTo>
                  <a:pt x="1409" y="259"/>
                  <a:pt x="1409" y="257"/>
                  <a:pt x="1410" y="253"/>
                </a:cubicBezTo>
                <a:cubicBezTo>
                  <a:pt x="1414" y="253"/>
                  <a:pt x="1416" y="252"/>
                  <a:pt x="1419" y="252"/>
                </a:cubicBezTo>
                <a:cubicBezTo>
                  <a:pt x="1418" y="247"/>
                  <a:pt x="1418" y="245"/>
                  <a:pt x="1417" y="241"/>
                </a:cubicBezTo>
                <a:cubicBezTo>
                  <a:pt x="1413" y="241"/>
                  <a:pt x="1411" y="241"/>
                  <a:pt x="1407" y="241"/>
                </a:cubicBezTo>
                <a:cubicBezTo>
                  <a:pt x="1402" y="239"/>
                  <a:pt x="1399" y="239"/>
                  <a:pt x="1394" y="238"/>
                </a:cubicBezTo>
                <a:cubicBezTo>
                  <a:pt x="1393" y="240"/>
                  <a:pt x="1392" y="241"/>
                  <a:pt x="1390" y="243"/>
                </a:cubicBezTo>
                <a:cubicBezTo>
                  <a:pt x="1387" y="243"/>
                  <a:pt x="1385" y="243"/>
                  <a:pt x="1381" y="243"/>
                </a:cubicBezTo>
                <a:cubicBezTo>
                  <a:pt x="1381" y="243"/>
                  <a:pt x="1377" y="235"/>
                  <a:pt x="1374" y="242"/>
                </a:cubicBezTo>
                <a:cubicBezTo>
                  <a:pt x="1371" y="249"/>
                  <a:pt x="1374" y="263"/>
                  <a:pt x="1374" y="263"/>
                </a:cubicBezTo>
                <a:cubicBezTo>
                  <a:pt x="1372" y="262"/>
                  <a:pt x="1371" y="262"/>
                  <a:pt x="1368" y="261"/>
                </a:cubicBezTo>
                <a:cubicBezTo>
                  <a:pt x="1369" y="260"/>
                  <a:pt x="1369" y="260"/>
                  <a:pt x="1370" y="259"/>
                </a:cubicBezTo>
                <a:cubicBezTo>
                  <a:pt x="1368" y="258"/>
                  <a:pt x="1368" y="257"/>
                  <a:pt x="1366" y="256"/>
                </a:cubicBezTo>
                <a:cubicBezTo>
                  <a:pt x="1365" y="254"/>
                  <a:pt x="1365" y="254"/>
                  <a:pt x="1364" y="252"/>
                </a:cubicBezTo>
                <a:cubicBezTo>
                  <a:pt x="1366" y="252"/>
                  <a:pt x="1367" y="252"/>
                  <a:pt x="1369" y="251"/>
                </a:cubicBezTo>
                <a:cubicBezTo>
                  <a:pt x="1367" y="250"/>
                  <a:pt x="1367" y="249"/>
                  <a:pt x="1365" y="248"/>
                </a:cubicBezTo>
                <a:cubicBezTo>
                  <a:pt x="1363" y="247"/>
                  <a:pt x="1361" y="247"/>
                  <a:pt x="1359" y="246"/>
                </a:cubicBezTo>
                <a:cubicBezTo>
                  <a:pt x="1358" y="245"/>
                  <a:pt x="1358" y="244"/>
                  <a:pt x="1357" y="242"/>
                </a:cubicBezTo>
                <a:cubicBezTo>
                  <a:pt x="1355" y="241"/>
                  <a:pt x="1354" y="240"/>
                  <a:pt x="1352" y="239"/>
                </a:cubicBezTo>
                <a:cubicBezTo>
                  <a:pt x="1348" y="239"/>
                  <a:pt x="1346" y="239"/>
                  <a:pt x="1341" y="239"/>
                </a:cubicBezTo>
                <a:cubicBezTo>
                  <a:pt x="1342" y="241"/>
                  <a:pt x="1343" y="242"/>
                  <a:pt x="1344" y="244"/>
                </a:cubicBezTo>
                <a:cubicBezTo>
                  <a:pt x="1342" y="244"/>
                  <a:pt x="1341" y="245"/>
                  <a:pt x="1340" y="245"/>
                </a:cubicBezTo>
                <a:cubicBezTo>
                  <a:pt x="1336" y="242"/>
                  <a:pt x="1334" y="241"/>
                  <a:pt x="1331" y="237"/>
                </a:cubicBezTo>
                <a:cubicBezTo>
                  <a:pt x="1327" y="237"/>
                  <a:pt x="1325" y="238"/>
                  <a:pt x="1321" y="238"/>
                </a:cubicBezTo>
                <a:cubicBezTo>
                  <a:pt x="1317" y="236"/>
                  <a:pt x="1315" y="235"/>
                  <a:pt x="1311" y="234"/>
                </a:cubicBezTo>
                <a:cubicBezTo>
                  <a:pt x="1309" y="235"/>
                  <a:pt x="1307" y="236"/>
                  <a:pt x="1305" y="238"/>
                </a:cubicBezTo>
                <a:cubicBezTo>
                  <a:pt x="1306" y="234"/>
                  <a:pt x="1306" y="232"/>
                  <a:pt x="1307" y="229"/>
                </a:cubicBezTo>
                <a:cubicBezTo>
                  <a:pt x="1304" y="228"/>
                  <a:pt x="1302" y="227"/>
                  <a:pt x="1299" y="226"/>
                </a:cubicBezTo>
                <a:cubicBezTo>
                  <a:pt x="1296" y="227"/>
                  <a:pt x="1295" y="227"/>
                  <a:pt x="1292" y="228"/>
                </a:cubicBezTo>
                <a:cubicBezTo>
                  <a:pt x="1290" y="225"/>
                  <a:pt x="1289" y="224"/>
                  <a:pt x="1288" y="221"/>
                </a:cubicBezTo>
                <a:cubicBezTo>
                  <a:pt x="1286" y="218"/>
                  <a:pt x="1284" y="217"/>
                  <a:pt x="1282" y="215"/>
                </a:cubicBezTo>
                <a:cubicBezTo>
                  <a:pt x="1276" y="214"/>
                  <a:pt x="1273" y="213"/>
                  <a:pt x="1267" y="213"/>
                </a:cubicBezTo>
                <a:cubicBezTo>
                  <a:pt x="1261" y="211"/>
                  <a:pt x="1258" y="210"/>
                  <a:pt x="1252" y="209"/>
                </a:cubicBezTo>
                <a:cubicBezTo>
                  <a:pt x="1243" y="207"/>
                  <a:pt x="1239" y="207"/>
                  <a:pt x="1230" y="205"/>
                </a:cubicBezTo>
                <a:cubicBezTo>
                  <a:pt x="1220" y="205"/>
                  <a:pt x="1215" y="205"/>
                  <a:pt x="1205" y="204"/>
                </a:cubicBezTo>
                <a:cubicBezTo>
                  <a:pt x="1197" y="203"/>
                  <a:pt x="1194" y="203"/>
                  <a:pt x="1187" y="203"/>
                </a:cubicBezTo>
                <a:cubicBezTo>
                  <a:pt x="1187" y="205"/>
                  <a:pt x="1187" y="206"/>
                  <a:pt x="1187" y="209"/>
                </a:cubicBezTo>
                <a:cubicBezTo>
                  <a:pt x="1189" y="211"/>
                  <a:pt x="1190" y="212"/>
                  <a:pt x="1192" y="214"/>
                </a:cubicBezTo>
                <a:cubicBezTo>
                  <a:pt x="1189" y="214"/>
                  <a:pt x="1187" y="214"/>
                  <a:pt x="1184" y="214"/>
                </a:cubicBezTo>
                <a:cubicBezTo>
                  <a:pt x="1182" y="216"/>
                  <a:pt x="1181" y="217"/>
                  <a:pt x="1179" y="218"/>
                </a:cubicBezTo>
                <a:cubicBezTo>
                  <a:pt x="1176" y="220"/>
                  <a:pt x="1174" y="221"/>
                  <a:pt x="1171" y="224"/>
                </a:cubicBezTo>
                <a:cubicBezTo>
                  <a:pt x="1166" y="227"/>
                  <a:pt x="1163" y="228"/>
                  <a:pt x="1158" y="231"/>
                </a:cubicBezTo>
                <a:cubicBezTo>
                  <a:pt x="1165" y="233"/>
                  <a:pt x="1168" y="234"/>
                  <a:pt x="1174" y="236"/>
                </a:cubicBezTo>
                <a:cubicBezTo>
                  <a:pt x="1177" y="238"/>
                  <a:pt x="1178" y="239"/>
                  <a:pt x="1180" y="240"/>
                </a:cubicBezTo>
                <a:cubicBezTo>
                  <a:pt x="1181" y="242"/>
                  <a:pt x="1181" y="243"/>
                  <a:pt x="1182" y="245"/>
                </a:cubicBezTo>
                <a:cubicBezTo>
                  <a:pt x="1185" y="246"/>
                  <a:pt x="1186" y="247"/>
                  <a:pt x="1189" y="248"/>
                </a:cubicBezTo>
                <a:cubicBezTo>
                  <a:pt x="1194" y="246"/>
                  <a:pt x="1196" y="245"/>
                  <a:pt x="1201" y="243"/>
                </a:cubicBezTo>
                <a:cubicBezTo>
                  <a:pt x="1205" y="243"/>
                  <a:pt x="1207" y="243"/>
                  <a:pt x="1212" y="244"/>
                </a:cubicBezTo>
                <a:cubicBezTo>
                  <a:pt x="1214" y="244"/>
                  <a:pt x="1215" y="244"/>
                  <a:pt x="1218" y="245"/>
                </a:cubicBezTo>
                <a:cubicBezTo>
                  <a:pt x="1221" y="242"/>
                  <a:pt x="1223" y="240"/>
                  <a:pt x="1226" y="237"/>
                </a:cubicBezTo>
                <a:cubicBezTo>
                  <a:pt x="1230" y="236"/>
                  <a:pt x="1232" y="236"/>
                  <a:pt x="1235" y="234"/>
                </a:cubicBezTo>
                <a:cubicBezTo>
                  <a:pt x="1241" y="232"/>
                  <a:pt x="1244" y="230"/>
                  <a:pt x="1250" y="228"/>
                </a:cubicBezTo>
                <a:cubicBezTo>
                  <a:pt x="1259" y="228"/>
                  <a:pt x="1264" y="228"/>
                  <a:pt x="1273" y="228"/>
                </a:cubicBezTo>
                <a:cubicBezTo>
                  <a:pt x="1265" y="230"/>
                  <a:pt x="1261" y="230"/>
                  <a:pt x="1253" y="232"/>
                </a:cubicBezTo>
                <a:cubicBezTo>
                  <a:pt x="1249" y="234"/>
                  <a:pt x="1247" y="235"/>
                  <a:pt x="1242" y="237"/>
                </a:cubicBezTo>
                <a:cubicBezTo>
                  <a:pt x="1239" y="239"/>
                  <a:pt x="1238" y="241"/>
                  <a:pt x="1235" y="243"/>
                </a:cubicBezTo>
                <a:cubicBezTo>
                  <a:pt x="1238" y="245"/>
                  <a:pt x="1240" y="246"/>
                  <a:pt x="1243" y="248"/>
                </a:cubicBezTo>
                <a:cubicBezTo>
                  <a:pt x="1247" y="249"/>
                  <a:pt x="1249" y="250"/>
                  <a:pt x="1254" y="251"/>
                </a:cubicBezTo>
                <a:cubicBezTo>
                  <a:pt x="1248" y="252"/>
                  <a:pt x="1246" y="252"/>
                  <a:pt x="1241" y="253"/>
                </a:cubicBezTo>
                <a:cubicBezTo>
                  <a:pt x="1245" y="255"/>
                  <a:pt x="1248" y="256"/>
                  <a:pt x="1253" y="258"/>
                </a:cubicBezTo>
                <a:cubicBezTo>
                  <a:pt x="1276" y="263"/>
                  <a:pt x="1288" y="265"/>
                  <a:pt x="1311" y="271"/>
                </a:cubicBezTo>
                <a:cubicBezTo>
                  <a:pt x="1289" y="268"/>
                  <a:pt x="1278" y="267"/>
                  <a:pt x="1256" y="265"/>
                </a:cubicBezTo>
                <a:cubicBezTo>
                  <a:pt x="1251" y="266"/>
                  <a:pt x="1249" y="267"/>
                  <a:pt x="1243" y="268"/>
                </a:cubicBezTo>
                <a:cubicBezTo>
                  <a:pt x="1243" y="268"/>
                  <a:pt x="1249" y="271"/>
                  <a:pt x="1251" y="275"/>
                </a:cubicBezTo>
                <a:cubicBezTo>
                  <a:pt x="1253" y="280"/>
                  <a:pt x="1263" y="278"/>
                  <a:pt x="1263" y="278"/>
                </a:cubicBezTo>
                <a:cubicBezTo>
                  <a:pt x="1263" y="278"/>
                  <a:pt x="1284" y="281"/>
                  <a:pt x="1283" y="285"/>
                </a:cubicBezTo>
                <a:cubicBezTo>
                  <a:pt x="1283" y="289"/>
                  <a:pt x="1291" y="294"/>
                  <a:pt x="1291" y="294"/>
                </a:cubicBezTo>
                <a:cubicBezTo>
                  <a:pt x="1302" y="296"/>
                  <a:pt x="1307" y="297"/>
                  <a:pt x="1318" y="300"/>
                </a:cubicBezTo>
                <a:cubicBezTo>
                  <a:pt x="1326" y="300"/>
                  <a:pt x="1330" y="301"/>
                  <a:pt x="1337" y="301"/>
                </a:cubicBezTo>
                <a:cubicBezTo>
                  <a:pt x="1340" y="300"/>
                  <a:pt x="1342" y="300"/>
                  <a:pt x="1345" y="299"/>
                </a:cubicBezTo>
                <a:cubicBezTo>
                  <a:pt x="1351" y="300"/>
                  <a:pt x="1353" y="300"/>
                  <a:pt x="1359" y="300"/>
                </a:cubicBezTo>
                <a:cubicBezTo>
                  <a:pt x="1365" y="299"/>
                  <a:pt x="1368" y="298"/>
                  <a:pt x="1373" y="297"/>
                </a:cubicBezTo>
                <a:cubicBezTo>
                  <a:pt x="1378" y="299"/>
                  <a:pt x="1381" y="301"/>
                  <a:pt x="1386" y="304"/>
                </a:cubicBezTo>
                <a:cubicBezTo>
                  <a:pt x="1390" y="306"/>
                  <a:pt x="1393" y="307"/>
                  <a:pt x="1397" y="309"/>
                </a:cubicBezTo>
                <a:cubicBezTo>
                  <a:pt x="1400" y="311"/>
                  <a:pt x="1401" y="312"/>
                  <a:pt x="1404" y="314"/>
                </a:cubicBezTo>
                <a:cubicBezTo>
                  <a:pt x="1411" y="314"/>
                  <a:pt x="1414" y="315"/>
                  <a:pt x="1421" y="316"/>
                </a:cubicBezTo>
                <a:cubicBezTo>
                  <a:pt x="1425" y="319"/>
                  <a:pt x="1426" y="321"/>
                  <a:pt x="1429" y="324"/>
                </a:cubicBezTo>
                <a:cubicBezTo>
                  <a:pt x="1433" y="320"/>
                  <a:pt x="1435" y="318"/>
                  <a:pt x="1438" y="314"/>
                </a:cubicBezTo>
                <a:cubicBezTo>
                  <a:pt x="1441" y="313"/>
                  <a:pt x="1443" y="313"/>
                  <a:pt x="1446" y="312"/>
                </a:cubicBezTo>
                <a:cubicBezTo>
                  <a:pt x="1445" y="308"/>
                  <a:pt x="1445" y="305"/>
                  <a:pt x="1445" y="301"/>
                </a:cubicBezTo>
                <a:cubicBezTo>
                  <a:pt x="1440" y="299"/>
                  <a:pt x="1437" y="299"/>
                  <a:pt x="1433" y="297"/>
                </a:cubicBezTo>
                <a:cubicBezTo>
                  <a:pt x="1431" y="294"/>
                  <a:pt x="1430" y="292"/>
                  <a:pt x="1428" y="288"/>
                </a:cubicBezTo>
                <a:cubicBezTo>
                  <a:pt x="1424" y="287"/>
                  <a:pt x="1422" y="286"/>
                  <a:pt x="1419" y="285"/>
                </a:cubicBezTo>
                <a:cubicBezTo>
                  <a:pt x="1416" y="284"/>
                  <a:pt x="1414" y="283"/>
                  <a:pt x="1411" y="281"/>
                </a:cubicBezTo>
                <a:cubicBezTo>
                  <a:pt x="1412" y="276"/>
                  <a:pt x="1412" y="273"/>
                  <a:pt x="1412" y="267"/>
                </a:cubicBezTo>
                <a:close/>
                <a:moveTo>
                  <a:pt x="1633" y="470"/>
                </a:moveTo>
                <a:cubicBezTo>
                  <a:pt x="1625" y="469"/>
                  <a:pt x="1624" y="478"/>
                  <a:pt x="1624" y="478"/>
                </a:cubicBezTo>
                <a:cubicBezTo>
                  <a:pt x="1628" y="491"/>
                  <a:pt x="1639" y="485"/>
                  <a:pt x="1639" y="485"/>
                </a:cubicBezTo>
                <a:cubicBezTo>
                  <a:pt x="1643" y="484"/>
                  <a:pt x="1646" y="483"/>
                  <a:pt x="1650" y="482"/>
                </a:cubicBezTo>
                <a:cubicBezTo>
                  <a:pt x="1650" y="482"/>
                  <a:pt x="1641" y="471"/>
                  <a:pt x="1633" y="470"/>
                </a:cubicBezTo>
                <a:close/>
                <a:moveTo>
                  <a:pt x="1697" y="401"/>
                </a:moveTo>
                <a:cubicBezTo>
                  <a:pt x="1697" y="404"/>
                  <a:pt x="1697" y="406"/>
                  <a:pt x="1697" y="410"/>
                </a:cubicBezTo>
                <a:cubicBezTo>
                  <a:pt x="1699" y="412"/>
                  <a:pt x="1700" y="414"/>
                  <a:pt x="1702" y="416"/>
                </a:cubicBezTo>
                <a:cubicBezTo>
                  <a:pt x="1704" y="411"/>
                  <a:pt x="1705" y="409"/>
                  <a:pt x="1707" y="403"/>
                </a:cubicBezTo>
                <a:cubicBezTo>
                  <a:pt x="1712" y="401"/>
                  <a:pt x="1714" y="400"/>
                  <a:pt x="1719" y="398"/>
                </a:cubicBezTo>
                <a:cubicBezTo>
                  <a:pt x="1714" y="397"/>
                  <a:pt x="1712" y="396"/>
                  <a:pt x="1706" y="394"/>
                </a:cubicBezTo>
                <a:cubicBezTo>
                  <a:pt x="1702" y="397"/>
                  <a:pt x="1701" y="398"/>
                  <a:pt x="1697" y="401"/>
                </a:cubicBezTo>
                <a:close/>
                <a:moveTo>
                  <a:pt x="1440" y="320"/>
                </a:moveTo>
                <a:cubicBezTo>
                  <a:pt x="1439" y="322"/>
                  <a:pt x="1439" y="324"/>
                  <a:pt x="1438" y="326"/>
                </a:cubicBezTo>
                <a:cubicBezTo>
                  <a:pt x="1439" y="327"/>
                  <a:pt x="1440" y="327"/>
                  <a:pt x="1441" y="327"/>
                </a:cubicBezTo>
                <a:cubicBezTo>
                  <a:pt x="1444" y="326"/>
                  <a:pt x="1445" y="326"/>
                  <a:pt x="1448" y="325"/>
                </a:cubicBezTo>
                <a:cubicBezTo>
                  <a:pt x="1451" y="324"/>
                  <a:pt x="1452" y="324"/>
                  <a:pt x="1455" y="323"/>
                </a:cubicBezTo>
                <a:cubicBezTo>
                  <a:pt x="1455" y="323"/>
                  <a:pt x="1459" y="313"/>
                  <a:pt x="1450" y="315"/>
                </a:cubicBezTo>
                <a:cubicBezTo>
                  <a:pt x="1440" y="317"/>
                  <a:pt x="1440" y="320"/>
                  <a:pt x="1440" y="320"/>
                </a:cubicBezTo>
                <a:close/>
              </a:path>
            </a:pathLst>
          </a:custGeom>
          <a:solidFill>
            <a:schemeClr val="bg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/>
            <a:endParaRPr lang="zh-CN" altLang="en-US" strike="noStrike" noProof="1">
              <a:solidFill>
                <a:schemeClr val="bg1"/>
              </a:solidFill>
              <a:latin typeface="+mn-ea"/>
              <a:cs typeface="+mn-ea"/>
            </a:endParaRPr>
          </a:p>
        </p:txBody>
      </p:sp>
      <p:pic>
        <p:nvPicPr>
          <p:cNvPr id="119" name="图片 118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406" y="2444353"/>
            <a:ext cx="2484407" cy="2251493"/>
          </a:xfrm>
          <a:prstGeom prst="ellipse">
            <a:avLst/>
          </a:prstGeom>
          <a:ln w="63500" cap="rnd">
            <a:solidFill>
              <a:schemeClr val="accent5">
                <a:lumMod val="75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6634" name="矩形 119"/>
          <p:cNvSpPr/>
          <p:nvPr>
            <p:custDataLst>
              <p:tags r:id="rId11"/>
            </p:custDataLst>
          </p:nvPr>
        </p:nvSpPr>
        <p:spPr>
          <a:xfrm>
            <a:off x="1784350" y="276225"/>
            <a:ext cx="4123055" cy="73723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defTabSz="914400">
              <a:lnSpc>
                <a:spcPct val="150000"/>
              </a:lnSpc>
              <a:spcBef>
                <a:spcPct val="20000"/>
              </a:spcBef>
              <a:buClrTx/>
              <a:buSzTx/>
            </a:pP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关于我们</a:t>
            </a:r>
            <a:r>
              <a:rPr lang="en-US" altLang="zh-CN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—</a:t>
            </a:r>
            <a:r>
              <a:rPr lang="zh-CN" altLang="en-US" sz="28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瑞恒项目概况</a:t>
            </a:r>
          </a:p>
        </p:txBody>
      </p:sp>
      <p:sp>
        <p:nvSpPr>
          <p:cNvPr id="121" name="箭头: 五边形 26"/>
          <p:cNvSpPr/>
          <p:nvPr>
            <p:custDataLst>
              <p:tags r:id="rId12"/>
            </p:custDataLst>
          </p:nvPr>
        </p:nvSpPr>
        <p:spPr>
          <a:xfrm rot="10800000" flipH="1" flipV="1">
            <a:off x="847725" y="350838"/>
            <a:ext cx="684213" cy="576263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122" name="箭头: 五边形 26"/>
          <p:cNvSpPr/>
          <p:nvPr>
            <p:custDataLst>
              <p:tags r:id="rId13"/>
            </p:custDataLst>
          </p:nvPr>
        </p:nvSpPr>
        <p:spPr>
          <a:xfrm rot="10800000" flipH="1" flipV="1">
            <a:off x="596900" y="442913"/>
            <a:ext cx="446088" cy="360363"/>
          </a:xfrm>
          <a:prstGeom prst="diamond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pic>
        <p:nvPicPr>
          <p:cNvPr id="123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6248400" y="1034189"/>
            <a:ext cx="2721498" cy="1689162"/>
          </a:xfrm>
          <a:prstGeom prst="ellipse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图片 15" descr="一期项目开工仪式20171028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3698414" y="4663724"/>
            <a:ext cx="2686483" cy="181763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bldLvl="0" animBg="1"/>
      <p:bldP spid="17" grpId="0" bldLvl="0" animBg="1"/>
      <p:bldP spid="18" grpId="0" bldLvl="0" animBg="1"/>
      <p:bldP spid="19" grpId="0" bldLvl="0" animBg="1"/>
      <p:bldP spid="20" grpId="0" bldLvl="0" animBg="1"/>
      <p:bldP spid="23" grpId="0" bldLvl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BEAUTIFY_FLAG" val="#wm#"/>
  <p:tag name="KSO_WM_TEMPLATE_CATEGORY" val="custom"/>
  <p:tag name="KSO_WM_TEMPLATE_INDEX" val="201817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VALUE" val="1904*2115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3021_1*d*1"/>
  <p:tag name="KSO_WM_TEMPLATE_CATEGORY" val="diagram"/>
  <p:tag name="KSO_WM_TEMPLATE_INDEX" val="20213021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4f6bc9bb88ee4c0296c8ebc6055feb7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ec1522ccc7404711a3381e20b3823e87"/>
  <p:tag name="KSO_WM_UNIT_PLACING_PICTURE" val="ec1522ccc7404711a3381e20b3823e87"/>
  <p:tag name="KSO_WM_TEMPLATE_ASSEMBLE_XID" val="5fd0cf581fa9d42129dd7ad2"/>
  <p:tag name="KSO_WM_TEMPLATE_ASSEMBLE_GROUPID" val="5fd0cf581fa9d42129dd7ad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3021_1*a*1"/>
  <p:tag name="KSO_WM_TEMPLATE_CATEGORY" val="diagram"/>
  <p:tag name="KSO_WM_TEMPLATE_INDEX" val="20213021"/>
  <p:tag name="KSO_WM_UNIT_LAYERLEVEL" val="1"/>
  <p:tag name="KSO_WM_TAG_VERSION" val="1.0"/>
  <p:tag name="KSO_WM_BEAUTIFY_FLAG" val="#wm#"/>
  <p:tag name="KSO_WM_UNIT_PRESET_TEXT" val="添加标题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ec086120dc084c41a16b8cb8391299bf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b6aa9dc9a435403e84f9836a2f538a2e"/>
  <p:tag name="KSO_WM_UNIT_TEXT_FILL_FORE_SCHEMECOLOR_INDEX_BRIGHTNESS" val="0"/>
  <p:tag name="KSO_WM_UNIT_TEXT_FILL_FORE_SCHEMECOLOR_INDEX" val="13"/>
  <p:tag name="KSO_WM_UNIT_TEXT_FILL_TYPE" val="1"/>
  <p:tag name="KSO_WM_TEMPLATE_ASSEMBLE_XID" val="5fd0cf581fa9d42129dd7ad2"/>
  <p:tag name="KSO_WM_TEMPLATE_ASSEMBLE_GROUPID" val="5fd0cf581fa9d42129dd7ad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3021_1*f*1"/>
  <p:tag name="KSO_WM_TEMPLATE_CATEGORY" val="diagram"/>
  <p:tag name="KSO_WM_TEMPLATE_INDEX" val="202130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56"/>
  <p:tag name="KSO_WM_UNIT_SHOW_EDIT_AREA_INDICATION" val="1"/>
  <p:tag name="KSO_WM_CHIP_GROUPID" val="5e6b05596848fb12bee65ac8"/>
  <p:tag name="KSO_WM_CHIP_XID" val="5e6b05596848fb12bee65aca"/>
  <p:tag name="KSO_WM_UNIT_DEC_AREA_ID" val="1807d212860d41eb9a559061ccae055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a9d5a3f58959439f9108f2edcfbf7b77"/>
  <p:tag name="KSO_WM_UNIT_TEXT_FILL_FORE_SCHEMECOLOR_INDEX_BRIGHTNESS" val="0.25"/>
  <p:tag name="KSO_WM_UNIT_TEXT_FILL_FORE_SCHEMECOLOR_INDEX" val="13"/>
  <p:tag name="KSO_WM_UNIT_TEXT_FILL_TYPE" val="1"/>
  <p:tag name="KSO_WM_TEMPLATE_ASSEMBLE_XID" val="5fd0cf581fa9d42129dd7ad2"/>
  <p:tag name="KSO_WM_TEMPLATE_ASSEMBLE_GROUPID" val="5fd0cf581fa9d42129dd7ad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0"/>
  <p:tag name="KSO_WM_SLIDE_ID" val="diagram20218107_5"/>
  <p:tag name="KSO_WM_TEMPLATE_SUBCATEGORY" val="0"/>
  <p:tag name="KSO_WM_TEMPLATE_MASTER_TYPE" val="0"/>
  <p:tag name="KSO_WM_TEMPLATE_COLOR_TYPE" val="1"/>
  <p:tag name="KSO_WM_SLIDE_TYPE" val="contents"/>
  <p:tag name="KSO_WM_SLIDE_SUBTYPE" val="diag"/>
  <p:tag name="KSO_WM_SLIDE_ITEM_CNT" val="6"/>
  <p:tag name="KSO_WM_SLIDE_INDEX" val="5"/>
  <p:tag name="KSO_WM_TAG_VERSION" val="1.0"/>
  <p:tag name="KSO_WM_BEAUTIFY_FLAG" val="#wm#"/>
  <p:tag name="KSO_WM_TEMPLATE_CATEGORY" val="diagram"/>
  <p:tag name="KSO_WM_TEMPLATE_INDEX" val="20218107"/>
  <p:tag name="KSO_WM_DIAGRAM_GROUP_CODE" val="l1-1"/>
  <p:tag name="KSO_WM_SLIDE_DIAGTYPE" val="l"/>
  <p:tag name="KSO_WM_SLIDE_LAYOUT" val="a_l"/>
  <p:tag name="KSO_WM_SLIDE_LAYOUT_CNT" val="1_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218107_5*l_h_i*1_1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218107_5*l_h_f*1_1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218107_5*l_h_i*1_1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218107_5*l_h_f*1_2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218107_5*l_h_i*1_2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218107_5*l_h_i*1_2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218107_5*l_h_f*1_3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218107_5*l_h_i*1_3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218107_5*l_h_i*1_3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4_1"/>
  <p:tag name="KSO_WM_UNIT_ID" val="diagram20218107_5*l_h_f*1_4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1"/>
  <p:tag name="KSO_WM_UNIT_ID" val="diagram20218107_5*l_h_i*1_4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2"/>
  <p:tag name="KSO_WM_UNIT_ID" val="diagram20218107_5*l_h_i*1_4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5_1"/>
  <p:tag name="KSO_WM_UNIT_ID" val="diagram20218107_5*l_h_f*1_5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5_1"/>
  <p:tag name="KSO_WM_UNIT_ID" val="diagram20218107_5*l_h_i*1_5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5_2"/>
  <p:tag name="KSO_WM_UNIT_ID" val="diagram20218107_5*l_h_i*1_5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RESET_TEXT" val="输入文字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6_1"/>
  <p:tag name="KSO_WM_UNIT_ID" val="diagram20218107_5*l_h_f*1_6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VALUE" val="8"/>
  <p:tag name="KSO_WM_UNIT_SUBTYPE" val="a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6_1"/>
  <p:tag name="KSO_WM_UNIT_ID" val="diagram20218107_5*l_h_i*1_6_1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6_2"/>
  <p:tag name="KSO_WM_UNIT_ID" val="diagram20218107_5*l_h_i*1_6_2"/>
  <p:tag name="KSO_WM_TEMPLATE_CATEGORY" val="diagram"/>
  <p:tag name="KSO_WM_TEMPLATE_INDEX" val="20218107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8107_5*a*1"/>
  <p:tag name="KSO_WM_TEMPLATE_CATEGORY" val="diagram"/>
  <p:tag name="KSO_WM_TEMPLATE_INDEX" val="20218107"/>
  <p:tag name="KSO_WM_UNIT_LAYERLEVEL" val="1"/>
  <p:tag name="KSO_WM_TAG_VERSION" val="1.0"/>
  <p:tag name="KSO_WM_BEAUTIFY_FLAG" val="#wm#"/>
  <p:tag name="KSO_WM_UNIT_ISCONTENTSTITLE" val="1"/>
  <p:tag name="KSO_WM_UNIT_NOCLEAR" val="0"/>
  <p:tag name="KSO_WM_UNIT_VALUE" val="2"/>
  <p:tag name="KSO_WM_DIAGRAM_GROUP_CODE" val="l1-1"/>
  <p:tag name="KSO_WM_UNIT_TYPE" val="a"/>
  <p:tag name="KSO_WM_UNIT_INDEX" val="1"/>
  <p:tag name="KSO_WM_UNIT_PRESET_TEXT" val="目录"/>
  <p:tag name="KSO_WM_UNIT_ISNUMDGMTITLE" val="0"/>
  <p:tag name="KSO_WM_UNIT_TEXT_FILL_FORE_SCHEMECOLOR_INDEX_BRIGHTNESS" val="0"/>
  <p:tag name="KSO_WM_UNIT_TEXT_FILL_FORE_SCHEMECOLOR_INDEX" val="5"/>
  <p:tag name="KSO_WM_UNIT_TEXT_FILL_TYPE" val="1"/>
  <p:tag name="KSO_WM_UNIT_USESOURCEFORMAT_APPLY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8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8.7VJlrUiHifYO4gD8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6N98g_hUCLYPO3qiOvH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1"/>
  <p:tag name="KSO_WM_UNIT_PLACING_PICTURE_USER_VIEWPORT" val="{&quot;height&quot;:1272.330186830719,&quot;width&quot;:2582.1016496286888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4"/>
  <p:tag name="KSO_WM_UNIT_PLACING_PICTURE_USER_VIEWPORT" val="{&quot;height&quot;:1278.1074539111942,&quot;width&quot;:2582.1000748374991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58"/>
  <p:tag name="KSO_WM_UNIT_PLACING_PICTURE_USER_VIEWPORT" val="{&quot;height&quot;:1269.2944768172401,&quot;width&quot;:2582.1000748374991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3"/>
  <p:tag name="KSO_WM_UNIT_PLACING_PICTURE_USER_VIEWPORT" val="{&quot;height&quot;:1314.9023751115408,&quot;width&quot;:2584.67485843247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9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6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7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9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6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19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6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29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BEAUTIFY_FLAG" val="#wm#"/>
  <p:tag name="KSO_WM_TEMPLATE_CATEGORY" val="custom"/>
  <p:tag name="KSO_WM_TEMPLATE_INDEX" val="2018173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39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4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8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9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2"/>
  <p:tag name="KSO_WM_SLIDE_ID" val="diagram20213713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64*384"/>
  <p:tag name="KSO_WM_SLIDE_POSITION" val="48*48"/>
  <p:tag name="KSO_WM_TAG_VERSION" val="1.0"/>
  <p:tag name="KSO_WM_BEAUTIFY_FLAG" val="#wm#"/>
  <p:tag name="KSO_WM_TEMPLATE_CATEGORY" val="diagram"/>
  <p:tag name="KSO_WM_TEMPLATE_INDEX" val="20213713"/>
  <p:tag name="KSO_WM_SLIDE_LAYOUT" val="a_d_f"/>
  <p:tag name="KSO_WM_SLIDE_LAYOUT_CNT" val="1_1_1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id&quot;:&quot;2020-12-09T19:57:51&quot;,&quot;maxSize&quot;:{&quot;size1&quot;:26.699999999999999},&quot;minSize&quot;:{&quot;size1&quot;:15.6},&quot;normalSize&quot;:{&quot;size1&quot;:23.988888888888891},&quot;subLayout&quot;:[{&quot;id&quot;:&quot;2020-12-09T19:57:51&quot;,&quot;margin&quot;:{&quot;bottom&quot;:0.026000002399086952,&quot;left&quot;:1.6929999589920044,&quot;right&quot;:1.6929999589920044,&quot;top&quot;:1.6929999589920044},&quot;type&quot;:0},{&quot;direction&quot;:1,&quot;id&quot;:&quot;2020-12-09T19:57:51&quot;,&quot;maxSize&quot;:{&quot;size1&quot;:64.999639193216964},&quot;minSize&quot;:{&quot;size1&quot;:37.499639193216957},&quot;normalSize&quot;:{&quot;size1&quot;:38.07463919321696},&quot;subLayout&quot;:[{&quot;id&quot;:&quot;2020-12-09T19:57:51&quot;,&quot;margin&quot;:{&quot;bottom&quot;:1.6929999589920044,&quot;left&quot;:1.6929999589920044,&quot;right&quot;:0.81999999284744263,&quot;top&quot;:1.6670000553131104},&quot;type&quot;:0},{&quot;id&quot;:&quot;2020-12-09T19:57:51&quot;,&quot;margin&quot;:{&quot;bottom&quot;:1.6929999589920044,&quot;left&quot;:0.026000002399086952,&quot;right&quot;:1.6929999589920044,&quot;top&quot;:1.6670000553131104},&quot;type&quot;:0}],&quot;type&quot;:0}],&quot;type&quot;:0}"/>
  <p:tag name="KSO_WM_SLIDE_CAN_ADD_NAVIGATION" val="1"/>
  <p:tag name="KSO_WM_SLIDE_BACKGROUND" val="[&quot;general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96414553136823a5e614a"/>
  <p:tag name="KSO_WM_CHIP_FILLPROP" val="[[{&quot;text_align&quot;:&quot;lb&quot;,&quot;text_direction&quot;:&quot;horizontal&quot;,&quot;support_big_font&quot;:false,&quot;picture_toward&quot;:0,&quot;picture_dockside&quot;:[],&quot;fill_id&quot;:&quot;fbc1d1c81b9c4bca8f09873cfc4ac6db&quot;,&quot;fill_align&quot;:&quot;lb&quot;,&quot;chip_types&quot;:[&quot;header&quot;]},{&quot;text_align&quot;:&quot;lm&quot;,&quot;text_direction&quot;:&quot;horizontal&quot;,&quot;support_features&quot;:[&quot;collage&quot;,&quot;carousel&quot;],&quot;support_big_font&quot;:false,&quot;picture_toward&quot;:0,&quot;picture_dockside&quot;:[],&quot;fill_id&quot;:&quot;d54432bd1b4847ebb88cfc3a13dc3d7e&quot;,&quot;fill_align&quot;:&quot;lm&quot;,&quot;chip_types&quot;:[&quot;pictext&quot;,&quot;text&quot;,&quot;picture&quot;,&quot;chart&quot;,&quot;table&quot;]},{&quot;text_align&quot;:&quot;lm&quot;,&quot;text_direction&quot;:&quot;horizontal&quot;,&quot;support_features&quot;:[&quot;collage&quot;,&quot;carousel&quot;],&quot;support_big_font&quot;:false,&quot;picture_toward&quot;:0,&quot;picture_dockside&quot;:[],&quot;fill_id&quot;:&quot;84872d1deea942cc88eb8f9a4bbdba10&quot;,&quot;fill_align&quot;:&quot;lm&quot;,&quot;chip_types&quot;:[&quot;pictext&quot;,&quot;text&quot;,&quot;picture&quot;,&quot;chart&quot;,&quot;table&quot;]}]]"/>
  <p:tag name="KSO_WM_CHIP_DECFILLPROP" val="[]"/>
  <p:tag name="KSO_WM_CHIP_GROUPID" val="5f5ee1ca4d6848d78f644aec"/>
  <p:tag name="KSO_WM_SLIDE_BK_DARK_LIGHT" val="2"/>
  <p:tag name="KSO_WM_SLIDE_BACKGROUND_TYPE" val="general"/>
  <p:tag name="KSO_WM_SLIDE_SUPPORT_FEATURE_TYPE" val="3"/>
  <p:tag name="KSO_WM_TEMPLATE_ASSEMBLE_XID" val="5fd0bbbd1fa9d42129dd553b"/>
  <p:tag name="KSO_WM_TEMPLATE_ASSEMBLE_GROUPID" val="5fd0bbbd1fa9d42129dd553b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3713_1*a*1"/>
  <p:tag name="KSO_WM_TEMPLATE_CATEGORY" val="diagram"/>
  <p:tag name="KSO_WM_TEMPLATE_INDEX" val="20213713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a35594361856430686e2775d9b96436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b&quot;,&quot;fill_mode&quot;:&quot;full&quot;,&quot;sacle_strategy&quot;:&quot;smart&quot;}"/>
  <p:tag name="KSO_WM_ASSEMBLE_CHIP_INDEX" val="a1a475eece064e128d4763b70c0009d8"/>
  <p:tag name="KSO_WM_UNIT_TEXT_FILL_FORE_SCHEMECOLOR_INDEX_BRIGHTNESS" val="0"/>
  <p:tag name="KSO_WM_UNIT_TEXT_FILL_FORE_SCHEMECOLOR_INDEX" val="13"/>
  <p:tag name="KSO_WM_UNIT_TEXT_FILL_TYPE" val="1"/>
  <p:tag name="KSO_WM_TEMPLATE_ASSEMBLE_XID" val="5fd0bbbd1fa9d42129dd553b"/>
  <p:tag name="KSO_WM_TEMPLATE_ASSEMBLE_GROUPID" val="5fd0bbbd1fa9d42129dd553b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，需要用更多的文字来表述；但请您尽可能提炼思想的精髓，否则容易造成观者的阅读压力，适得其反。正如我们都希望改变世界，希望给别人带去光明，但更多时候我们只需要播下一颗种子，自然有微风吹拂，雨露滋养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3713_1*f*1"/>
  <p:tag name="KSO_WM_TEMPLATE_CATEGORY" val="diagram"/>
  <p:tag name="KSO_WM_TEMPLATE_INDEX" val="20213713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189"/>
  <p:tag name="KSO_WM_UNIT_SHOW_EDIT_AREA_INDICATION" val="1"/>
  <p:tag name="KSO_WM_CHIP_GROUPID" val="5e6b05596848fb12bee65ac8"/>
  <p:tag name="KSO_WM_CHIP_XID" val="5e6b05596848fb12bee65aca"/>
  <p:tag name="KSO_WM_UNIT_DEC_AREA_ID" val="2d33e3bdcdde4e66915e174b4f432a3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2d2f82df34bd4b1381cdddd89b6597a0"/>
  <p:tag name="KSO_WM_UNIT_SUPPORT_UNIT_TYPE" val="[&quot;d&quot;,&quot;α&quot;,&quot;β&quot;]"/>
  <p:tag name="KSO_WM_UNIT_TEXT_FILL_FORE_SCHEMECOLOR_INDEX_BRIGHTNESS" val="0.25"/>
  <p:tag name="KSO_WM_UNIT_TEXT_FILL_FORE_SCHEMECOLOR_INDEX" val="13"/>
  <p:tag name="KSO_WM_UNIT_TEXT_FILL_TYPE" val="1"/>
  <p:tag name="KSO_WM_TEMPLATE_ASSEMBLE_XID" val="5fd0bbbd1fa9d42129dd553b"/>
  <p:tag name="KSO_WM_TEMPLATE_ASSEMBLE_GROUPID" val="5fd0bbbd1fa9d42129dd553b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4"/>
  <p:tag name="KSO_WM_UNIT_PLACING_PICTURE_USER_VIEWPORT" val="{&quot;height&quot;:2918,&quot;width&quot;:5554}"/>
  <p:tag name="KSO_WM_UNIT_VALUE" val="973*1481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3713_1*d*1"/>
  <p:tag name="KSO_WM_TEMPLATE_CATEGORY" val="diagram"/>
  <p:tag name="KSO_WM_TEMPLATE_INDEX" val="20213713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0a15f7542dde4f84806a1531e381d18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02bccf466a2b4bd1bf450874100cff5d"/>
  <p:tag name="KSO_WM_UNIT_PLACING_PICTURE" val="02bccf466a2b4bd1bf450874100cff5d"/>
  <p:tag name="KSO_WM_UNIT_SUPPORT_UNIT_TYPE" val="[&quot;d&quot;,&quot;α&quot;,&quot;β&quot;]"/>
  <p:tag name="KSO_WM_TEMPLATE_ASSEMBLE_XID" val="5fd0bbbd1fa9d42129dd553b"/>
  <p:tag name="KSO_WM_TEMPLATE_ASSEMBLE_GROUPID" val="5fd0bbbd1fa9d42129dd553b"/>
  <p:tag name="KSO_WM_UNIT_PLACING_PICTURE_INFO" val="{&quot;code&quot;:&quot;aB&quot;,&quot;full_picture&quot;:true,&quot;last_full_picture&quot;:&quot;aB&quot;,&quot;margin&quot;:{&quot;bottom&quot;:9.6112548350879763,&quot;top&quot;:8.1903462553753741},&quot;scheme&quot;:&quot;3-0&quot;,&quot;spacing&quot;:5}"/>
  <p:tag name="KSO_WM_UNIT_PLACING_PICTURE_USER_VIEWPORT_SMARTMENU" val="{&quot;height&quot;:5948.2685153001075,&quot;width&quot;:7096.0356092833126}"/>
  <p:tag name="KSO_WM_UNIT_PLACING_PICTURE_USER_RELATIVERECTANGLE_SMARTMENU" val="{&quot;bottom&quot;:0,&quot;left&quot;:0,&quot;right&quot;:0,&quot;top&quot;:0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5"/>
  <p:tag name="KSO_WM_UNIT_PLACING_PICTURE_USER_VIEWPORT" val="{&quot;height&quot;:2835,&quot;width&quot;:5321}"/>
  <p:tag name="KSO_WM_UNIT_VALUE" val="973*1481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3713_1*d*1"/>
  <p:tag name="KSO_WM_TEMPLATE_CATEGORY" val="diagram"/>
  <p:tag name="KSO_WM_TEMPLATE_INDEX" val="20213713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0a15f7542dde4f84806a1531e381d18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02bccf466a2b4bd1bf450874100cff5d"/>
  <p:tag name="KSO_WM_UNIT_PLACING_PICTURE" val="02bccf466a2b4bd1bf450874100cff5d"/>
  <p:tag name="KSO_WM_UNIT_SUPPORT_UNIT_TYPE" val="[&quot;d&quot;,&quot;α&quot;,&quot;β&quot;]"/>
  <p:tag name="KSO_WM_TEMPLATE_ASSEMBLE_XID" val="5fd0bbbd1fa9d42129dd553b"/>
  <p:tag name="KSO_WM_TEMPLATE_ASSEMBLE_GROUPID" val="5fd0bbbd1fa9d42129dd553b"/>
  <p:tag name="KSO_WM_UNIT_PLACING_PICTURE_INFO" val="{&quot;code&quot;:&quot;aB&quot;,&quot;full_picture&quot;:true,&quot;last_full_picture&quot;:&quot;aB&quot;,&quot;margin&quot;:{&quot;bottom&quot;:9.6112548350879763,&quot;top&quot;:8.1903462553753741},&quot;scheme&quot;:&quot;3-0&quot;,&quot;spacing&quot;:5}"/>
  <p:tag name="KSO_WM_UNIT_PLACING_PICTURE_USER_VIEWPORT_SMARTMENU" val="{&quot;height&quot;:2746.4712433969389,&quot;width&quot;:3674.0242051698133}"/>
  <p:tag name="KSO_WM_UNIT_PLACING_PICTURE_USER_RELATIVERECTANGLE_SMARTMENU" val="{&quot;bottom&quot;:0,&quot;left&quot;:0,&quot;right&quot;:0,&quot;top&quot;:0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663"/>
  <p:tag name="KSO_WM_UNIT_PLACING_PICTURE_USER_VIEWPORT" val="{&quot;height&quot;:1314.9023751115408,&quot;width&quot;:2584.67485843247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7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8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19"/>
  <p:tag name="KSO_WM_UNIT_PLACING_PICTURE_USER_VIEWPORT" val="{&quot;height&quot;:3545.6582677165352,&quot;width&quot;:3912.4519685039368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663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3"/>
  <p:tag name="KSO_WM_UNIT_PLACING_PICTURE_USER_VIEWPORT" val="{&quot;height&quot;:2660.0976377952757,&quot;width&quot;:4285.8236220472436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6"/>
  <p:tag name="KSO_WM_UNIT_PLACING_PICTURE_USER_VIEWPORT" val="{&quot;height&quot;:2862.4110236220472,&quot;width&quot;:4230.6818897637795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4"/>
  <p:tag name="KSO_WM_SLIDE_ID" val="diagram20211829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59*430"/>
  <p:tag name="KSO_WM_SLIDE_POSITION" val="53*26"/>
  <p:tag name="KSO_WM_TAG_VERSION" val="1.0"/>
  <p:tag name="KSO_WM_BEAUTIFY_FLAG" val="#wm#"/>
  <p:tag name="KSO_WM_TEMPLATE_CATEGORY" val="diagram"/>
  <p:tag name="KSO_WM_TEMPLATE_INDEX" val="20211829"/>
  <p:tag name="KSO_WM_SLIDE_LAYOUT" val="a_d"/>
  <p:tag name="KSO_WM_SLIDE_LAYOUT_CNT" val="1_2"/>
  <p:tag name="KSO_WM_SLIDE_CAN_ADD_NAVIGATION" val="1"/>
  <p:tag name="KSO_WM_SLIDE_BACKGROUND" val="[&quot;general&quot;]"/>
  <p:tag name="KSO_WM_SLIDE_RATIO" val="1.777778"/>
  <p:tag name="KSO_WM_CHIP_INFOS" val="{&quot;layout_type&quot;:&quot;topbottom&quot;,&quot;layout_feature&quot;:1,&quot;tags&quot;:{&quot;style&quot;:[&quot;商务&quot;,&quot;简约&quot;,&quot;文艺清新&quot;,&quot;中国风&quot;,&quot;卡通&quot;,&quot;欧美风&quot;,&quot;黑板风&quot;,&quot;渐变风&quot;,&quot;党政风&quot;]},&quot;slide_type&quot;:[&quot;text&quot;],&quot;aspect_ratio&quot;:&quot;16:9&quot;,&quot;diagram&quot;:{&quot;type&quot;:[],&quot;direction&quot;:0,&quot;isSupportDecBetweenItems&quot;:false}}"/>
  <p:tag name="KSO_WM_CHIP_XID" val="5f6328e30e9bcbd1695b1d57"/>
  <p:tag name="KSO_WM_CHIP_FILLPROP" val="[[{&quot;fill_id&quot;:&quot;f766a77f275943d5a5774ec061144443&quot;,&quot;fill_align&quot;:&quot;lm&quot;,&quot;text_align&quot;:&quot;lm&quot;,&quot;text_direction&quot;:&quot;horizontal&quot;,&quot;chip_types&quot;:[&quot;header&quot;]},{&quot;fill_id&quot;:&quot;7823c14e3d2042c786ab7deab3f90d84&quot;,&quot;fill_align&quot;:&quot;cm&quot;,&quot;text_align&quot;:&quot;lm&quot;,&quot;text_direction&quot;:&quot;horizontal&quot;,&quot;chip_types&quot;:[&quot;diagram&quot;,&quot;text&quot;,&quot;picture&quot;,&quot;chart&quot;,&quot;table&quot;,&quot;video&quot;],&quot;support_features&quot;:[&quot;collage&quot;]},{&quot;fill_id&quot;:&quot;7135783295194e8a93f1a95cf3344326&quot;,&quot;fill_align&quot;:&quot;cm&quot;,&quot;text_align&quot;:&quot;cm&quot;,&quot;text_direction&quot;:&quot;horizontal&quot;,&quot;chip_types&quot;:[&quot;picture&quot;]}]]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id&quot;:&quot;2020-12-09T21:29:28&quot;,&quot;maxSize&quot;:{&quot;size1&quot;:41.5},&quot;minSize&quot;:{&quot;size1&quot;:41.5},&quot;normalSize&quot;:{&quot;size1&quot;:41.5},&quot;subLayout&quot;:[{&quot;direction&quot;:1,&quot;id&quot;:&quot;2020-12-09T21:29:28&quot;,&quot;maxSize&quot;:{&quot;size1&quot;:26.600000000000001},&quot;minSize&quot;:{&quot;size1&quot;:26.600000000000001},&quot;normalSize&quot;:{&quot;size1&quot;:26.600000000000001},&quot;subLayout&quot;:[{&quot;id&quot;:&quot;2020-12-09T21:29:28&quot;,&quot;margin&quot;:{&quot;bottom&quot;:0.37900000810623169,&quot;left&quot;:2.2430000305175781,&quot;right&quot;:0.44900000095367432,&quot;top&quot;:1.2999999523162842},&quot;type&quot;:0},{&quot;id&quot;:&quot;2020-12-09T21:29:28&quot;,&quot;margin&quot;:{&quot;bottom&quot;:1.9630000591278076,&quot;left&quot;:0.74699997901916504,&quot;right&quot;:2.1159999370574951,&quot;top&quot;:2.5750000476837158},&quot;type&quot;:0}],&quot;type&quot;:0},{&quot;id&quot;:&quot;2020-12-09T21:29:28&quot;,&quot;margin&quot;:{&quot;bottom&quot;:1.304999828338623,&quot;left&quot;:2.1170001029968262,&quot;right&quot;:1.6929999589920044,&quot;top&quot;:0.98299998044967651},&quot;type&quot;:0}],&quot;type&quot;:0}"/>
  <p:tag name="KSO_WM_CHIP_GROUPID" val="5f0d14ec8050c250ba656b60"/>
  <p:tag name="KSO_WM_SLIDE_BK_DARK_LIGHT" val="2"/>
  <p:tag name="KSO_WM_SLIDE_BACKGROUND_TYPE" val="general"/>
  <p:tag name="KSO_WM_SLIDE_SUPPORT_FEATURE_TYPE" val="0"/>
  <p:tag name="KSO_WM_TEMPLATE_ASSEMBLE_XID" val="5fd0d1371fa9d42129dd7d46"/>
  <p:tag name="KSO_WM_TEMPLATE_ASSEMBLE_GROUPID" val="5fd0d1371fa9d42129dd7d46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11829_1*i*1"/>
  <p:tag name="KSO_WM_TEMPLATE_CATEGORY" val="diagram"/>
  <p:tag name="KSO_WM_TEMPLATE_INDEX" val="20211829"/>
  <p:tag name="KSO_WM_UNIT_LAYERLEVEL" val="1"/>
  <p:tag name="KSO_WM_TAG_VERSION" val="1.0"/>
  <p:tag name="KSO_WM_BEAUTIFY_FLAG" val="#wm#"/>
  <p:tag name="KSO_WM_UNIT_BLOCK" val="0"/>
  <p:tag name="KSO_WM_UNIT_SM_LIMIT_TYPE" val="1"/>
  <p:tag name="KSO_WM_UNIT_DEC_AREA_ID" val="8ca6110995d742909efe949d07fab13b"/>
  <p:tag name="KSO_WM_UNIT_DECORATE_INFO" val="{&quot;ReferentInfo&quot;:{&quot;Id&quot;:&quot;slide&quot;,&quot;X&quot;:{&quot;Pos&quot;:0},&quot;Y&quot;:{&quot;Pos&quot;:0}},&quot;DecorateInfoX&quot;:{&quot;Pos&quot;:0,&quot;IsAbs&quot;:true},&quot;DecorateInfoY&quot;:{&quot;Pos&quot;:0,&quot;IsAbs&quot;:true},&quot;DecorateInfoW&quot;:{&quot;IsAbs&quot;:true},&quot;DecorateInfoH&quot;:{&quot;IsAbs&quot;:true},&quot;whChangeMode&quot;:0}"/>
  <p:tag name="KSO_WM_CHIP_GROUPID" val="5f0d14ec8050c250ba656b60"/>
  <p:tag name="KSO_WM_CHIP_XID" val="5f6328e30e9bcbd1695b1d57"/>
  <p:tag name="KSO_WM_UNIT_FILL_FORE_SCHEMECOLOR_INDEX_BRIGHTNESS" val="0"/>
  <p:tag name="KSO_WM_UNIT_FILL_FORE_SCHEMECOLOR_INDEX" val="14"/>
  <p:tag name="KSO_WM_UNIT_FILL_TYPE" val="1"/>
  <p:tag name="KSO_WM_UNIT_LINE_FORE_SCHEMECOLOR_INDEX_BRIGHTNESS" val="0"/>
  <p:tag name="KSO_WM_UNIT_LINE_FORE_SCHEMECOLOR_INDEX" val="5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UNIT_VALUE" val="99"/>
  <p:tag name="KSO_WM_TEMPLATE_ASSEMBLE_XID" val="5fd0d1371fa9d42129dd7d46"/>
  <p:tag name="KSO_WM_TEMPLATE_ASSEMBLE_GROUPID" val="5fd0d1371fa9d42129dd7d46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1829_1*i*2"/>
  <p:tag name="KSO_WM_TEMPLATE_CATEGORY" val="diagram"/>
  <p:tag name="KSO_WM_TEMPLATE_INDEX" val="20211829"/>
  <p:tag name="KSO_WM_UNIT_LAYERLEVEL" val="1"/>
  <p:tag name="KSO_WM_TAG_VERSION" val="1.0"/>
  <p:tag name="KSO_WM_BEAUTIFY_FLAG" val="#wm#"/>
  <p:tag name="KSO_WM_UNIT_BLOCK" val="0"/>
  <p:tag name="KSO_WM_UNIT_SM_LIMIT_TYPE" val="0"/>
  <p:tag name="KSO_WM_UNIT_DEC_AREA_ID" val="f70cc5d25c4949c0b71ac04c576d8dd2"/>
  <p:tag name="KSO_WM_UNIT_DECORATE_INFO" val="{&quot;DecorateInfoH&quot;:{&quot;IsAbs&quot;:true},&quot;DecorateInfoW&quot;:{&quot;IsAbs&quot;:true},&quot;DecorateInfoX&quot;:{&quot;IsAbs&quot;:true,&quot;Pos&quot;:1},&quot;DecorateInfoY&quot;:{&quot;IsAbs&quot;:true,&quot;Pos&quot;:0},&quot;ReferentInfo&quot;:{&quot;Id&quot;:&quot;9a269f4e870745628df7deffa3ae0301&quot;,&quot;X&quot;:{&quot;Pos&quot;:1},&quot;Y&quot;:{&quot;Pos&quot;:2}},&quot;whChangeMode&quot;:0}"/>
  <p:tag name="KSO_WM_CHIP_GROUPID" val="5f0d14ec8050c250ba656b60"/>
  <p:tag name="KSO_WM_CHIP_XID" val="5f6328e30e9bcbd1695b1d57"/>
  <p:tag name="KSO_WM_UNIT_LINE_FORE_SCHEMECOLOR_INDEX_BRIGHTNESS" val="0"/>
  <p:tag name="KSO_WM_UNIT_LINE_FORE_SCHEMECOLOR_INDEX" val="5"/>
  <p:tag name="KSO_WM_UNIT_LINE_FILL_TYPE" val="2"/>
  <p:tag name="KSO_WM_TEMPLATE_ASSEMBLE_XID" val="5fd0d1371fa9d42129dd7d46"/>
  <p:tag name="KSO_WM_TEMPLATE_ASSEMBLE_GROUPID" val="5fd0d1371fa9d42129dd7d4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15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1829_1*a*1"/>
  <p:tag name="KSO_WM_TEMPLATE_CATEGORY" val="diagram"/>
  <p:tag name="KSO_WM_TEMPLATE_INDEX" val="20211829"/>
  <p:tag name="KSO_WM_UNIT_LAYERLEVEL" val="1"/>
  <p:tag name="KSO_WM_TAG_VERSION" val="1.0"/>
  <p:tag name="KSO_WM_BEAUTIFY_FLAG" val="#wm#"/>
  <p:tag name="KSO_WM_UNIT_PRESET_TEXT" val="单击添加大标题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9a269f4e870745628df7deffa3ae0301"/>
  <p:tag name="KSO_WM_UNIT_DECORATE_INFO" val="{&quot;ReferentInfo&quot;:{&quot;Id&quot;:&quot;slide&quot;,&quot;X&quot;:{&quot;Pos&quot;:1},&quot;Y&quot;:{&quot;Pos&quot;:0}},&quot;DecorateInfoX&quot;:{&quot;Pos&quot;:1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ba18e77923814a1fa94920de41ee7d64"/>
  <p:tag name="KSO_WM_UNIT_TEXT_FILL_FORE_SCHEMECOLOR_INDEX_BRIGHTNESS" val="0"/>
  <p:tag name="KSO_WM_UNIT_TEXT_FILL_FORE_SCHEMECOLOR_INDEX" val="13"/>
  <p:tag name="KSO_WM_UNIT_TEXT_FILL_TYPE" val="1"/>
  <p:tag name="KSO_WM_TEMPLATE_ASSEMBLE_XID" val="5fd0d1371fa9d42129dd7d46"/>
  <p:tag name="KSO_WM_TEMPLATE_ASSEMBLE_GROUPID" val="5fd0d1371fa9d42129dd7d46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1_1"/>
  <p:tag name="KSO_WM_UNIT_ID" val="diagram20210802_3*q_h_i*1_1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LINE_FORE_SCHEMECOLOR_INDEX_BRIGHTNESS" val="-0.25"/>
  <p:tag name="KSO_WM_UNIT_LINE_FORE_SCHEMECOLOR_INDEX" val="14"/>
  <p:tag name="KSO_WM_UNIT_LINE_FILL_TYPE" val="2"/>
  <p:tag name="KSO_WM_UNIT_USESOURCEFORMAT_APPLY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1_2"/>
  <p:tag name="KSO_WM_UNIT_ID" val="diagram20210802_3*q_h_i*1_1_2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SUBTYPE" val="a"/>
  <p:tag name="KSO_WM_UNIT_PRESET_TEXT" val="单击此处添加文本具体内容，简明扼要的阐述您的观点。"/>
  <p:tag name="KSO_WM_UNIT_NOCLEAR" val="0"/>
  <p:tag name="KSO_WM_UNIT_VALUE" val="39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1_1"/>
  <p:tag name="KSO_WM_UNIT_ID" val="diagram20210802_3*q_h_f*1_1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1_3"/>
  <p:tag name="KSO_WM_UNIT_ID" val="diagram20210802_3*q_h_i*1_1_3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2_1"/>
  <p:tag name="KSO_WM_UNIT_ID" val="diagram20210802_3*q_h_i*1_2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2_2"/>
  <p:tag name="KSO_WM_UNIT_ID" val="diagram20210802_3*q_h_i*1_2_2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LINE_FORE_SCHEMECOLOR_INDEX_BRIGHTNESS" val="-0.25"/>
  <p:tag name="KSO_WM_UNIT_LINE_FORE_SCHEMECOLOR_INDEX" val="14"/>
  <p:tag name="KSO_WM_UNIT_LINE_FILL_TYPE" val="2"/>
  <p:tag name="KSO_WM_UNIT_USESOURCEFORMAT_APPLY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2_3"/>
  <p:tag name="KSO_WM_UNIT_ID" val="diagram20210802_3*q_h_i*1_2_3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SUBTYPE" val="a"/>
  <p:tag name="KSO_WM_UNIT_PRESET_TEXT" val="单击此处添加文本具体内容，简明扼要的阐述您的观点。"/>
  <p:tag name="KSO_WM_UNIT_NOCLEAR" val="0"/>
  <p:tag name="KSO_WM_UNIT_VALUE" val="39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2_1"/>
  <p:tag name="KSO_WM_UNIT_ID" val="diagram20210802_3*q_h_f*1_2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4_1"/>
  <p:tag name="KSO_WM_UNIT_ID" val="diagram20210802_3*q_h_i*1_4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4_2"/>
  <p:tag name="KSO_WM_UNIT_ID" val="diagram20210802_3*q_h_i*1_4_2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LINE_FORE_SCHEMECOLOR_INDEX_BRIGHTNESS" val="-0.25"/>
  <p:tag name="KSO_WM_UNIT_LINE_FORE_SCHEMECOLOR_INDEX" val="14"/>
  <p:tag name="KSO_WM_UNIT_LINE_FILL_TYPE" val="2"/>
  <p:tag name="KSO_WM_UNIT_USESOURCEFORMAT_APPLY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4_3"/>
  <p:tag name="KSO_WM_UNIT_ID" val="diagram20210802_3*q_h_i*1_4_3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SUBTYPE" val="a"/>
  <p:tag name="KSO_WM_UNIT_PRESET_TEXT" val="单击此处添加文本具体内容，简明扼要的阐述您的观点。"/>
  <p:tag name="KSO_WM_UNIT_NOCLEAR" val="0"/>
  <p:tag name="KSO_WM_UNIT_VALUE" val="39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4_1"/>
  <p:tag name="KSO_WM_UNIT_ID" val="diagram20210802_3*q_h_f*1_4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3_1"/>
  <p:tag name="KSO_WM_UNIT_ID" val="diagram20210802_3*q_h_i*1_3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3_2"/>
  <p:tag name="KSO_WM_UNIT_ID" val="diagram20210802_3*q_h_i*1_3_2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LINE_FORE_SCHEMECOLOR_INDEX_BRIGHTNESS" val="-0.25"/>
  <p:tag name="KSO_WM_UNIT_LINE_FORE_SCHEMECOLOR_INDEX" val="14"/>
  <p:tag name="KSO_WM_UNIT_LINE_FILL_TYPE" val="2"/>
  <p:tag name="KSO_WM_UNIT_USESOURCEFORMAT_APPLY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3_3"/>
  <p:tag name="KSO_WM_UNIT_ID" val="diagram20210802_3*q_h_i*1_3_3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SUBTYPE" val="a"/>
  <p:tag name="KSO_WM_UNIT_PRESET_TEXT" val="单击此处添加文本具体内容，简明扼要的阐述您的观点。"/>
  <p:tag name="KSO_WM_UNIT_NOCLEAR" val="0"/>
  <p:tag name="KSO_WM_UNIT_VALUE" val="39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3_1"/>
  <p:tag name="KSO_WM_UNIT_ID" val="diagram20210802_3*q_h_f*1_3_1"/>
  <p:tag name="KSO_WM_TEMPLATE_CATEGORY" val="diagram"/>
  <p:tag name="KSO_WM_TEMPLATE_INDEX" val="20210802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3"/>
  <p:tag name="KSO_WM_UNIT_TEXT_FILL_TYPE" val="1"/>
  <p:tag name="KSO_WM_UNIT_USESOURCEFORMAT_APPLY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VALUE" val="635*635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2"/>
  <p:tag name="KSO_WM_UNIT_ID" val="diagram20211829_1*d*2"/>
  <p:tag name="KSO_WM_TEMPLATE_CATEGORY" val="diagram"/>
  <p:tag name="KSO_WM_TEMPLATE_INDEX" val="2021182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24d9f46fcb3d4564bc0d1ade3bb89469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6142a7422ec94d74b660ba884b11ddbc"/>
  <p:tag name="KSO_WM_UNIT_PLACING_PICTURE" val="6142a7422ec94d74b660ba884b11ddbc"/>
  <p:tag name="KSO_WM_TEMPLATE_ASSEMBLE_XID" val="5fd0d1371fa9d42129dd7d46"/>
  <p:tag name="KSO_WM_TEMPLATE_ASSEMBLE_GROUPID" val="5fd0d1371fa9d42129dd7d46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5"/>
  <p:tag name="KSO_WM_BEAUTIFY_FLAG" val="#wm#"/>
  <p:tag name="KSO_WM_TEMPLATE_CATEGORY" val="diagram"/>
  <p:tag name="KSO_WM_TEMPLATE_INDEX" val="20211382"/>
  <p:tag name="KSO_WM_SPECIAL_SOURCE" val="bdnull"/>
  <p:tag name="KSO_WM_SLIDE_ID" val="diagram20211382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87*540"/>
  <p:tag name="KSO_WM_SLIDE_POSITION" val="72*0"/>
  <p:tag name="KSO_WM_TAG_VERSION" val="1.0"/>
  <p:tag name="KSO_WM_SLIDE_LAYOUT" val="a_d_f"/>
  <p:tag name="KSO_WM_SLIDE_LAYOUT_CNT" val="1_1_1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direction&quot;:1,&quot;id&quot;:&quot;2020-12-09T20:47:19&quot;,&quot;maxSize&quot;:{&quot;size1&quot;:57.399999999999999},&quot;minSize&quot;:{&quot;size1&quot;:42.5},&quot;normalSize&quot;:{&quot;size1&quot;:48.399999999999999},&quot;subLayout&quot;:[{&quot;id&quot;:&quot;2020-12-09T20:47:19&quot;,&quot;maxSize&quot;:{&quot;size1&quot;:48.990740740602767},&quot;minSize&quot;:{&quot;size1&quot;:33.490740740602767},&quot;normalSize&quot;:{&quot;size1&quot;:47.723888888750906},&quot;subLayout&quot;:[{&quot;id&quot;:&quot;2020-12-09T20:47:19&quot;,&quot;margin&quot;:{&quot;bottom&quot;:0.026000002399086952,&quot;left&quot;:2.5399999618530273,&quot;right&quot;:2.5260000228881836,&quot;top&quot;:4.2329998016357422},&quot;type&quot;:0},{&quot;id&quot;:&quot;2020-12-09T20:47:19&quot;,&quot;margin&quot;:{&quot;bottom&quot;:4.2329998016357422,&quot;left&quot;:2.5399999618530273,&quot;right&quot;:2.5260000228881836,&quot;top&quot;:0.3970000147819519},&quot;type&quot;:0}],&quot;type&quot;:0},{&quot;id&quot;:&quot;2020-12-09T20:47:19&quot;,&quot;type&quot;:0}],&quot;type&quot;:0}"/>
  <p:tag name="KSO_WM_SLIDE_BACKGROUND" val="[&quot;general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dafb59c98c299aacce4d6"/>
  <p:tag name="KSO_WM_CHIP_FILLPROP" val="[[{&quot;text_align&quot;:&quot;cm&quot;,&quot;text_direction&quot;:&quot;horizontal&quot;,&quot;support_features&quot;:[&quot;collage&quot;,&quot;carousel&quot;],&quot;support_big_font&quot;:false,&quot;fill_id&quot;:&quot;7325af2ead7d4ad383c44bee22843bee&quot;,&quot;fill_align&quot;:&quot;cm&quot;,&quot;chip_types&quot;:[&quot;picture&quot;]},{&quot;text_align&quot;:&quot;lb&quot;,&quot;text_direction&quot;:&quot;horizontal&quot;,&quot;support_big_font&quot;:true,&quot;fill_id&quot;:&quot;319ec10203914616ac9484f3c80aec95&quot;,&quot;fill_align&quot;:&quot;lb&quot;,&quot;chip_types&quot;:[&quot;header&quot;]},{&quot;text_align&quot;:&quot;lt&quot;,&quot;text_direction&quot;:&quot;horizontal&quot;,&quot;support_big_font&quot;:true,&quot;fill_id&quot;:&quot;e865351ab2c849e3b2d22f89a61e1e38&quot;,&quot;fill_align&quot;:&quot;lt&quot;,&quot;chip_types&quot;:[&quot;text&quot;]}]]"/>
  <p:tag name="KSO_WM_CHIP_DECFILLPROP" val="[]"/>
  <p:tag name="KSO_WM_SLIDE_CAN_ADD_NAVIGATION" val="1"/>
  <p:tag name="KSO_WM_CHIP_GROUPID" val="5f6dafb59c98c299aacce4d5"/>
  <p:tag name="KSO_WM_SLIDE_BK_DARK_LIGHT" val="2"/>
  <p:tag name="KSO_WM_SLIDE_BACKGROUND_TYPE" val="general"/>
  <p:tag name="KSO_WM_SLIDE_SUPPORT_FEATURE_TYPE" val="3"/>
  <p:tag name="KSO_WM_TEMPLATE_ASSEMBLE_XID" val="5fd0c7571fa9d42129dd717d"/>
  <p:tag name="KSO_WM_TEMPLATE_ASSEMBLE_GROUPID" val="5fd0c7571fa9d42129dd717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"/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1382_1*d*1"/>
  <p:tag name="KSO_WM_TEMPLATE_CATEGORY" val="diagram"/>
  <p:tag name="KSO_WM_TEMPLATE_INDEX" val="20211382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64ecfd093fb14451881591c58dacb42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372b431fd4462eada758fe1e625a23"/>
  <p:tag name="KSO_WM_UNIT_PLACING_PICTURE" val="96372b431fd4462eada758fe1e625a23"/>
  <p:tag name="KSO_WM_TEMPLATE_ASSEMBLE_XID" val="5fd0c7571fa9d42129dd717d"/>
  <p:tag name="KSO_WM_TEMPLATE_ASSEMBLE_GROUPID" val="5fd0c7571fa9d42129dd717d"/>
  <p:tag name="KSO_WM_UNIT_PLACING_PICTURE_USER_VIEWPORT" val="{&quot;height&quot;:3332.0519685039371,&quot;width&quot;:7051.5905511811025}"/>
  <p:tag name="KSO_WM_UNIT_PLACING_PICTURE_INFO" val="{&quot;code&quot;:&quot;ACb&quot;,&quot;full_picture&quot;:true,&quot;last_full_picture&quot;:&quot;ACb&quot;,&quot;margin&quot;:{&quot;right&quot;:1.7269676388959614},&quot;scheme&quot;:&quot;4-0&quot;,&quot;spacing&quot;:5}"/>
  <p:tag name="KSO_WM_UNIT_PLACING_PICTURE_USER_VIEWPORT_SMARTMENU" val="{&quot;height&quot;:4564.0786453227465,&quot;width&quot;:9845.4737700512269}"/>
  <p:tag name="KSO_WM_UNIT_PLACING_PICTURE_USER_RELATIVERECTANGLE_SMARTMENU" val="{&quot;bottom&quot;:0,&quot;left&quot;:0,&quot;right&quot;:0,&quot;top&quot;:0}"/>
  <p:tag name="KSO_WM_UNIT_PLACING_PICTURE_COLLAGE_VIEWPORT" val="{&quot;height&quot;:4439.8416439642733,&quot;width&quot;:9577.4740157480319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9702"/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1382_1*d*1"/>
  <p:tag name="KSO_WM_TEMPLATE_CATEGORY" val="diagram"/>
  <p:tag name="KSO_WM_TEMPLATE_INDEX" val="20211382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64ecfd093fb14451881591c58dacb42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372b431fd4462eada758fe1e625a23"/>
  <p:tag name="KSO_WM_UNIT_PLACING_PICTURE" val="96372b431fd4462eada758fe1e625a23"/>
  <p:tag name="KSO_WM_TEMPLATE_ASSEMBLE_XID" val="5fd0c7571fa9d42129dd717d"/>
  <p:tag name="KSO_WM_TEMPLATE_ASSEMBLE_GROUPID" val="5fd0c7571fa9d42129dd717d"/>
  <p:tag name="KSO_WM_UNIT_PLACING_PICTURE_USER_VIEWPORT" val="{&quot;height&quot;:8660,&quot;width&quot;:8092.4992125984254}"/>
  <p:tag name="KSO_WM_UNIT_PLACING_PICTURE_INFO" val="{&quot;code&quot;:&quot;ACb&quot;,&quot;full_picture&quot;:true,&quot;last_full_picture&quot;:&quot;ACb&quot;,&quot;margin&quot;:{&quot;right&quot;:1.7269676388959614},&quot;scheme&quot;:&quot;4-0&quot;,&quot;spacing&quot;:5}"/>
  <p:tag name="KSO_WM_UNIT_PLACING_PICTURE_USER_VIEWPORT_SMARTMENU" val="{&quot;height&quot;:6085.9213546772535,&quot;width&quot;:5682.8960903857478}"/>
  <p:tag name="KSO_WM_UNIT_PLACING_PICTURE_USER_RELATIVERECTANGLE_SMARTMENU" val="{&quot;bottom&quot;:0,&quot;left&quot;:0,&quot;right&quot;:0,&quot;top&quot;:0}"/>
  <p:tag name="KSO_WM_UNIT_PLACING_PICTURE_COLLAGE_VIEWPORT" val="{&quot;height&quot;:5920.25865233079,&quot;width&quot;:5528.2040550252368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1"/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1382_1*d*1"/>
  <p:tag name="KSO_WM_TEMPLATE_CATEGORY" val="diagram"/>
  <p:tag name="KSO_WM_TEMPLATE_INDEX" val="20211382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64ecfd093fb14451881591c58dacb42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372b431fd4462eada758fe1e625a23"/>
  <p:tag name="KSO_WM_UNIT_PLACING_PICTURE" val="96372b431fd4462eada758fe1e625a23"/>
  <p:tag name="KSO_WM_TEMPLATE_ASSEMBLE_XID" val="5fd0c7571fa9d42129dd717d"/>
  <p:tag name="KSO_WM_TEMPLATE_ASSEMBLE_GROUPID" val="5fd0c7571fa9d42129dd717d"/>
  <p:tag name="KSO_WM_UNIT_PLACING_PICTURE_USER_VIEWPORT" val="{&quot;height&quot;:3345.8629921259844,&quot;width&quot;:5855.3370078740154}"/>
  <p:tag name="KSO_WM_UNIT_PLACING_PICTURE_INFO" val="{&quot;code&quot;:&quot;ACb&quot;,&quot;full_picture&quot;:true,&quot;last_full_picture&quot;:&quot;ACb&quot;,&quot;margin&quot;:{&quot;right&quot;:1.7269676388959614},&quot;scheme&quot;:&quot;4-0&quot;,&quot;spacing&quot;:5}"/>
  <p:tag name="KSO_WM_UNIT_PLACING_PICTURE_USER_VIEWPORT_SMARTMENU" val="{&quot;height&quot;:2967.9606773386267,&quot;width&quot;:4012.5776796654782}"/>
  <p:tag name="KSO_WM_UNIT_PLACING_PICTURE_USER_RELATIVERECTANGLE_SMARTMENU" val="{&quot;bottom&quot;:0,&quot;left&quot;:0,&quot;right&quot;:0,&quot;top&quot;:0}"/>
  <p:tag name="KSO_WM_UNIT_PLACING_PICTURE_COLLAGE_VIEWPORT" val="{&quot;height&quot;:2887.1708733745845,&quot;width&quot;:3903.3530551411732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"/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1382_1*d*1"/>
  <p:tag name="KSO_WM_TEMPLATE_CATEGORY" val="diagram"/>
  <p:tag name="KSO_WM_TEMPLATE_INDEX" val="20211382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64ecfd093fb14451881591c58dacb42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372b431fd4462eada758fe1e625a23"/>
  <p:tag name="KSO_WM_UNIT_PLACING_PICTURE" val="96372b431fd4462eada758fe1e625a23"/>
  <p:tag name="KSO_WM_TEMPLATE_ASSEMBLE_XID" val="5fd0c7571fa9d42129dd717d"/>
  <p:tag name="KSO_WM_TEMPLATE_ASSEMBLE_GROUPID" val="5fd0c7571fa9d42129dd717d"/>
  <p:tag name="KSO_WM_UNIT_PLACING_PICTURE_USER_VIEWPORT" val="{&quot;height&quot;:2700.1637795275592,&quot;width&quot;:4408.9275590551179}"/>
  <p:tag name="KSO_WM_UNIT_PLACING_PICTURE_INFO" val="{&quot;code&quot;:&quot;ACb&quot;,&quot;full_picture&quot;:true,&quot;last_full_picture&quot;:&quot;ACb&quot;,&quot;margin&quot;:{&quot;right&quot;:1.7269676388959614},&quot;scheme&quot;:&quot;4-0&quot;,&quot;spacing&quot;:5}"/>
  <p:tag name="KSO_WM_UNIT_PLACING_PICTURE_USER_VIEWPORT_SMARTMENU" val="{&quot;height&quot;:2967.9606773386267,&quot;width&quot;:4012.5776796654782}"/>
  <p:tag name="KSO_WM_UNIT_PLACING_PICTURE_USER_RELATIVERECTANGLE_SMARTMENU" val="{&quot;bottom&quot;:0,&quot;left&quot;:0,&quot;right&quot;:0,&quot;top&quot;:0}"/>
  <p:tag name="KSO_WM_UNIT_PLACING_PICTURE_COLLAGE_VIEWPORT" val="{&quot;height&quot;:2887.1708733745845,&quot;width&quot;:3903.3530551411732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174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1154"/>
  <p:tag name="MH_LIBRARY" val="GRAPHIC"/>
  <p:tag name="MH_ORDER" val="文本框 25"/>
  <p:tag name="KSO_WM_FULL_TEXT_BEAUTIFY_COPY_ID" val="7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6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1154"/>
  <p:tag name="MH_LIBRARY" val="GRAPHIC"/>
  <p:tag name="MH_ORDER" val="文本框 25"/>
  <p:tag name="KSO_WM_FULL_TEXT_BEAUTIFY_COPY_ID" val="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1748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6524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7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1154"/>
  <p:tag name="MH_LIBRARY" val="GRAPHIC"/>
  <p:tag name="MH_ORDER" val="文本框 25"/>
  <p:tag name="KSO_WM_FULL_TEXT_BEAUTIFY_COPY_ID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1154"/>
  <p:tag name="MH_LIBRARY" val="GRAPHIC"/>
  <p:tag name="MH_ORDER" val="文本框 25"/>
  <p:tag name="KSO_WM_FULL_TEXT_BEAUTIFY_COPY_ID" val="7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7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8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76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7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79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8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78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2114"/>
  <p:tag name="MH_LIBRARY" val="GRAPHIC"/>
  <p:tag name="MH_ORDER" val="Rectangle 165"/>
  <p:tag name="KSO_WM_FULL_TEXT_BEAUTIFY_COPY_ID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0222114"/>
  <p:tag name="MH_LIBRARY" val="GRAPHIC"/>
  <p:tag name="MH_ORDER" val="Straight Connector 186"/>
  <p:tag name="KSO_WM_FULL_TEXT_BEAUTIFY_COPY_ID" val="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7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3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6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380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19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6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7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7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75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9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7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6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8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7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8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4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85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8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90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90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906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89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8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7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39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6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7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68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7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5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6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7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8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49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5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5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95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8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9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2"/>
  <p:tag name="KSO_WM_BEAUTIFY_FLAG" val="#wm#"/>
  <p:tag name="KSO_WM_TEMPLATE_CATEGORY" val="diagram"/>
  <p:tag name="KSO_WM_TEMPLATE_INDEX" val="20212925"/>
  <p:tag name="KSO_WM_SPECIAL_SOURCE" val="bdnull"/>
  <p:tag name="KSO_WM_SLIDE_ID" val="diagram20212925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87*540"/>
  <p:tag name="KSO_WM_SLIDE_POSITION" val="72*0"/>
  <p:tag name="KSO_WM_TAG_VERSION" val="1.0"/>
  <p:tag name="KSO_WM_SLIDE_LAYOUT" val="a_b_d_f"/>
  <p:tag name="KSO_WM_SLIDE_LAYOUT_CNT" val="1_1_1_1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direction&quot;:1,&quot;id&quot;:&quot;2020-12-09T20:47:35&quot;,&quot;maxSize&quot;:{&quot;size1&quot;:57.399999999999999},&quot;minSize&quot;:{&quot;size1&quot;:42.5},&quot;normalSize&quot;:{&quot;size1&quot;:45.400104166666665},&quot;subLayout&quot;:[{&quot;id&quot;:&quot;2020-12-09T20:47:35&quot;,&quot;maxSize&quot;:{&quot;size1&quot;:48.990740740602767},&quot;minSize&quot;:{&quot;size1&quot;:33.490740740602767},&quot;normalSize&quot;:{&quot;size1&quot;:48.990555555417579},&quot;subLayout&quot;:[{&quot;id&quot;:&quot;2020-12-09T20:47:36&quot;,&quot;margin&quot;:{&quot;bottom&quot;:0.026000002399086952,&quot;left&quot;:2.5399999618530273,&quot;right&quot;:2.5260000228881836,&quot;top&quot;:4.2329998016357422},&quot;type&quot;:0},{&quot;id&quot;:&quot;2020-12-09T20:47:36&quot;,&quot;margin&quot;:{&quot;bottom&quot;:4.2329998016357422,&quot;left&quot;:2.5399999618530273,&quot;right&quot;:2.5260000228881836,&quot;top&quot;:0.3970000147819519},&quot;type&quot;:0}],&quot;type&quot;:0},{&quot;id&quot;:&quot;2020-12-09T20:47:35&quot;,&quot;type&quot;:0}],&quot;type&quot;:0}"/>
  <p:tag name="KSO_WM_SLIDE_BACKGROUND" val="[&quot;general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dafb59c98c299aacce4d6"/>
  <p:tag name="KSO_WM_CHIP_FILLPROP" val="[[{&quot;text_align&quot;:&quot;cm&quot;,&quot;text_direction&quot;:&quot;horizontal&quot;,&quot;support_features&quot;:[&quot;collage&quot;,&quot;carousel&quot;],&quot;support_big_font&quot;:false,&quot;fill_id&quot;:&quot;7325af2ead7d4ad383c44bee22843bee&quot;,&quot;fill_align&quot;:&quot;cm&quot;,&quot;chip_types&quot;:[&quot;picture&quot;]},{&quot;text_align&quot;:&quot;lb&quot;,&quot;text_direction&quot;:&quot;horizontal&quot;,&quot;support_big_font&quot;:true,&quot;fill_id&quot;:&quot;319ec10203914616ac9484f3c80aec95&quot;,&quot;fill_align&quot;:&quot;lb&quot;,&quot;chip_types&quot;:[&quot;header&quot;]},{&quot;text_align&quot;:&quot;lt&quot;,&quot;text_direction&quot;:&quot;horizontal&quot;,&quot;support_big_font&quot;:true,&quot;fill_id&quot;:&quot;e865351ab2c849e3b2d22f89a61e1e38&quot;,&quot;fill_align&quot;:&quot;lt&quot;,&quot;chip_types&quot;:[&quot;text&quot;]}]]"/>
  <p:tag name="KSO_WM_CHIP_DECFILLPROP" val="[]"/>
  <p:tag name="KSO_WM_SLIDE_CAN_ADD_NAVIGATION" val="1"/>
  <p:tag name="KSO_WM_CHIP_GROUPID" val="5f6dafb59c98c299aacce4d5"/>
  <p:tag name="KSO_WM_SLIDE_BK_DARK_LIGHT" val="2"/>
  <p:tag name="KSO_WM_SLIDE_BACKGROUND_TYPE" val="general"/>
  <p:tag name="KSO_WM_SLIDE_SUPPORT_FEATURE_TYPE" val="3"/>
  <p:tag name="KSO_WM_TEMPLATE_ASSEMBLE_XID" val="5fd0c7671fa9d42129dd7189"/>
  <p:tag name="KSO_WM_TEMPLATE_ASSEMBLE_GROUPID" val="5fd0c7671fa9d42129dd7189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2925_1*d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f595023436b94bb383bed3c498830f4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7e9f5d3a50b84ccb8b9ca0370a531664"/>
  <p:tag name="KSO_WM_UNIT_PLACING_PICTURE" val="7e9f5d3a50b84ccb8b9ca0370a531664"/>
  <p:tag name="KSO_WM_TEMPLATE_ASSEMBLE_XID" val="5fd0c7671fa9d42129dd7189"/>
  <p:tag name="KSO_WM_TEMPLATE_ASSEMBLE_GROUPID" val="5fd0c7671fa9d42129dd7189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PRESET_TEXT" val="添加标题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2925_1*a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SHOW_EDIT_AREA_INDICATION" val="1"/>
  <p:tag name="KSO_WM_UNIT_DEFAULT_FONT" val="24;44;4"/>
  <p:tag name="KSO_WM_UNIT_BLOCK" val="0"/>
  <p:tag name="KSO_WM_UNIT_DEC_AREA_ID" val="2d384100858c45a285042251cfb917d2"/>
  <p:tag name="KSO_WM_CHIP_GROUPID" val="5f0681562c9c209bb8bb14eb"/>
  <p:tag name="KSO_WM_CHIP_XID" val="5f0681562c9c209bb8bb14ec"/>
  <p:tag name="KSO_WM_CHIP_FILLAREA_FILL_RULE" val="{&quot;fill_align&quot;:&quot;lb&quot;,&quot;fill_mode&quot;:&quot;full&quot;,&quot;sacle_strategy&quot;:&quot;smart&quot;}"/>
  <p:tag name="KSO_WM_ASSEMBLE_CHIP_INDEX" val="eddb7ac123394f2fb7a38cd2bf9c4959"/>
  <p:tag name="KSO_WM_UNIT_SUPPORT_BIG_FONT" val="1"/>
  <p:tag name="KSO_WM_UNIT_TEXT_FILL_FORE_SCHEMECOLOR_INDEX_BRIGHTNESS" val="0"/>
  <p:tag name="KSO_WM_UNIT_TEXT_FILL_FORE_SCHEMECOLOR_INDEX" val="13"/>
  <p:tag name="KSO_WM_UNIT_TEXT_FILL_TYPE" val="1"/>
  <p:tag name="KSO_WM_TEMPLATE_ASSEMBLE_XID" val="5fd0c7671fa9d42129dd7189"/>
  <p:tag name="KSO_WM_TEMPLATE_ASSEMBLE_GROUPID" val="5fd0c7671fa9d42129dd7189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PRESET_TEXT" val="单击此处可添加副标题"/>
  <p:tag name="KSO_WM_UNIT_NOCLEAR" val="0"/>
  <p:tag name="KSO_WM_UNIT_SHOW_EDIT_AREA_INDICATION" val="1"/>
  <p:tag name="KSO_WM_UNIT_VALUE" val="20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diagram20212925_1*b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DEFAULT_FONT" val="18;24;2"/>
  <p:tag name="KSO_WM_UNIT_BLOCK" val="0"/>
  <p:tag name="KSO_WM_UNIT_DEC_AREA_ID" val="d4c280a380c44d6da183d3c871ca160c"/>
  <p:tag name="KSO_WM_CHIP_GROUPID" val="5f0681562c9c209bb8bb14eb"/>
  <p:tag name="KSO_WM_CHIP_XID" val="5f0681562c9c209bb8bb14ec"/>
  <p:tag name="KSO_WM_CHIP_FILLAREA_FILL_RULE" val="{&quot;fill_align&quot;:&quot;lb&quot;,&quot;fill_mode&quot;:&quot;full&quot;,&quot;sacle_strategy&quot;:&quot;smart&quot;}"/>
  <p:tag name="KSO_WM_ASSEMBLE_CHIP_INDEX" val="eddb7ac123394f2fb7a38cd2bf9c4959"/>
  <p:tag name="KSO_WM_UNIT_SUPPORT_BIG_FONT" val="1"/>
  <p:tag name="KSO_WM_UNIT_TEXT_FILL_FORE_SCHEMECOLOR_INDEX_BRIGHTNESS" val="-0.25"/>
  <p:tag name="KSO_WM_UNIT_TEXT_FILL_FORE_SCHEMECOLOR_INDEX" val="14"/>
  <p:tag name="KSO_WM_UNIT_TEXT_FILL_TYPE" val="1"/>
  <p:tag name="KSO_WM_TEMPLATE_ASSEMBLE_XID" val="5fd0c7671fa9d42129dd7189"/>
  <p:tag name="KSO_WM_TEMPLATE_ASSEMBLE_GROUPID" val="5fd0c7671fa9d42129dd71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2925_1*f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60"/>
  <p:tag name="KSO_WM_UNIT_SHOW_EDIT_AREA_INDICATION" val="1"/>
  <p:tag name="KSO_WM_CHIP_GROUPID" val="5e6b05596848fb12bee65ac8"/>
  <p:tag name="KSO_WM_CHIP_XID" val="5e6b05596848fb12bee65aca"/>
  <p:tag name="KSO_WM_UNIT_DEC_AREA_ID" val="55bb22be49f4483bbc642afbbe59029d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t&quot;,&quot;fill_mode&quot;:&quot;full&quot;,&quot;sacle_strategy&quot;:&quot;smart&quot;}"/>
  <p:tag name="KSO_WM_ASSEMBLE_CHIP_INDEX" val="d906b81fe885471987a2d7908634d0f4"/>
  <p:tag name="KSO_WM_UNIT_SUPPORT_BIG_FONT" val="1"/>
  <p:tag name="KSO_WM_UNIT_TEXT_FILL_FORE_SCHEMECOLOR_INDEX_BRIGHTNESS" val="0.25"/>
  <p:tag name="KSO_WM_UNIT_TEXT_FILL_FORE_SCHEMECOLOR_INDEX" val="13"/>
  <p:tag name="KSO_WM_UNIT_TEXT_FILL_TYPE" val="1"/>
  <p:tag name="KSO_WM_TEMPLATE_ASSEMBLE_XID" val="5fd0c7671fa9d42129dd7189"/>
  <p:tag name="KSO_WM_TEMPLATE_ASSEMBLE_GROUPID" val="5fd0c7671fa9d42129dd7189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39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5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3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33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4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6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7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8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17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1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301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4"/>
  <p:tag name="KSO_WM_SLIDE_ID" val="diagram20213714_1"/>
  <p:tag name="KSO_WM_TEMPLATE_SUBCATEGORY" val="21"/>
  <p:tag name="KSO_WM_TEMPLATE_MASTER_TYPE" val="0"/>
  <p:tag name="KSO_WM_TEMPLATE_COLOR_TYPE" val="1"/>
  <p:tag name="KSO_WM_SLIDE_TYPE" val="text"/>
  <p:tag name="KSO_WM_SLIDE_SUBTYPE" val="pureTxt"/>
  <p:tag name="KSO_WM_SLIDE_ITEM_CNT" val="0"/>
  <p:tag name="KSO_WM_SLIDE_INDEX" val="1"/>
  <p:tag name="KSO_WM_SLIDE_SIZE" val="864*384"/>
  <p:tag name="KSO_WM_SLIDE_POSITION" val="48*48"/>
  <p:tag name="KSO_WM_TAG_VERSION" val="1.0"/>
  <p:tag name="KSO_WM_BEAUTIFY_FLAG" val="#wm#"/>
  <p:tag name="KSO_WM_TEMPLATE_CATEGORY" val="diagram"/>
  <p:tag name="KSO_WM_TEMPLATE_INDEX" val="20213714"/>
  <p:tag name="KSO_WM_SLIDE_LAYOUT" val="a_f"/>
  <p:tag name="KSO_WM_SLIDE_LAYOUT_CNT" val="1_2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id&quot;:&quot;2020-12-09T19:57:51&quot;,&quot;maxSize&quot;:{&quot;size1&quot;:26.699999999999999},&quot;minSize&quot;:{&quot;size1&quot;:15.6},&quot;normalSize&quot;:{&quot;size1&quot;:23.988888888888891},&quot;subLayout&quot;:[{&quot;id&quot;:&quot;2020-12-09T19:57:51&quot;,&quot;margin&quot;:{&quot;bottom&quot;:0.026000002399086952,&quot;left&quot;:1.6929999589920044,&quot;right&quot;:1.6929999589920044,&quot;top&quot;:1.6929999589920044},&quot;type&quot;:0},{&quot;direction&quot;:1,&quot;id&quot;:&quot;2020-12-09T19:57:51&quot;,&quot;maxSize&quot;:{&quot;size1&quot;:64.999639193216964},&quot;minSize&quot;:{&quot;size1&quot;:37.499639193216957},&quot;normalSize&quot;:{&quot;size1&quot;:64.999639193216964},&quot;subLayout&quot;:[{&quot;id&quot;:&quot;2020-12-09T19:57:51&quot;,&quot;margin&quot;:{&quot;bottom&quot;:1.6929999589920044,&quot;left&quot;:1.6929999589920044,&quot;right&quot;:0.81999999284744263,&quot;top&quot;:1.6670000553131104},&quot;type&quot;:0},{&quot;id&quot;:&quot;2020-12-09T19:57:51&quot;,&quot;margin&quot;:{&quot;bottom&quot;:1.6929999589920044,&quot;left&quot;:0.026000002399086952,&quot;right&quot;:1.6929999589920044,&quot;top&quot;:1.6670000553131104},&quot;type&quot;:0}],&quot;type&quot;:0}],&quot;type&quot;:0}"/>
  <p:tag name="KSO_WM_SLIDE_CAN_ADD_NAVIGATION" val="1"/>
  <p:tag name="KSO_WM_SLIDE_BACKGROUND" val="[&quot;general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96414553136823a5e614a"/>
  <p:tag name="KSO_WM_CHIP_FILLPROP" val="[[{&quot;text_align&quot;:&quot;lb&quot;,&quot;text_direction&quot;:&quot;horizontal&quot;,&quot;support_big_font&quot;:false,&quot;picture_toward&quot;:0,&quot;picture_dockside&quot;:[],&quot;fill_id&quot;:&quot;fbc1d1c81b9c4bca8f09873cfc4ac6db&quot;,&quot;fill_align&quot;:&quot;lb&quot;,&quot;chip_types&quot;:[&quot;header&quot;]},{&quot;text_align&quot;:&quot;lm&quot;,&quot;text_direction&quot;:&quot;horizontal&quot;,&quot;support_features&quot;:[&quot;collage&quot;,&quot;carousel&quot;],&quot;support_big_font&quot;:false,&quot;picture_toward&quot;:0,&quot;picture_dockside&quot;:[],&quot;fill_id&quot;:&quot;d54432bd1b4847ebb88cfc3a13dc3d7e&quot;,&quot;fill_align&quot;:&quot;lm&quot;,&quot;chip_types&quot;:[&quot;pictext&quot;,&quot;text&quot;,&quot;picture&quot;,&quot;chart&quot;,&quot;table&quot;]},{&quot;text_align&quot;:&quot;lm&quot;,&quot;text_direction&quot;:&quot;horizontal&quot;,&quot;support_features&quot;:[&quot;collage&quot;,&quot;carousel&quot;],&quot;support_big_font&quot;:false,&quot;picture_toward&quot;:0,&quot;picture_dockside&quot;:[],&quot;fill_id&quot;:&quot;84872d1deea942cc88eb8f9a4bbdba10&quot;,&quot;fill_align&quot;:&quot;lm&quot;,&quot;chip_types&quot;:[&quot;pictext&quot;,&quot;text&quot;,&quot;picture&quot;,&quot;chart&quot;,&quot;table&quot;]}]]"/>
  <p:tag name="KSO_WM_CHIP_DECFILLPROP" val="[]"/>
  <p:tag name="KSO_WM_CHIP_GROUPID" val="5f5ee1ca4d6848d78f644aec"/>
  <p:tag name="KSO_WM_SLIDE_BK_DARK_LIGHT" val="2"/>
  <p:tag name="KSO_WM_SLIDE_BACKGROUND_TYPE" val="general"/>
  <p:tag name="KSO_WM_SLIDE_SUPPORT_FEATURE_TYPE" val="0"/>
  <p:tag name="KSO_WM_TEMPLATE_ASSEMBLE_XID" val="5fd0bbbe1fa9d42129dd5547"/>
  <p:tag name="KSO_WM_TEMPLATE_ASSEMBLE_GROUPID" val="5fd0bbbe1fa9d42129dd5547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3714_1*a*1"/>
  <p:tag name="KSO_WM_TEMPLATE_CATEGORY" val="diagram"/>
  <p:tag name="KSO_WM_TEMPLATE_INDEX" val="20213714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6343803cdab74fb0ad1d69edd9006f4d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b&quot;,&quot;fill_mode&quot;:&quot;full&quot;,&quot;sacle_strategy&quot;:&quot;smart&quot;}"/>
  <p:tag name="KSO_WM_ASSEMBLE_CHIP_INDEX" val="6f3ee8de345f45b89ac2de0739484d33"/>
  <p:tag name="KSO_WM_UNIT_TEXT_FILL_FORE_SCHEMECOLOR_INDEX_BRIGHTNESS" val="0"/>
  <p:tag name="KSO_WM_UNIT_TEXT_FILL_FORE_SCHEMECOLOR_INDEX" val="13"/>
  <p:tag name="KSO_WM_UNIT_TEXT_FILL_TYPE" val="1"/>
  <p:tag name="KSO_WM_TEMPLATE_ASSEMBLE_XID" val="5fd0bbbe1fa9d42129dd5547"/>
  <p:tag name="KSO_WM_TEMPLATE_ASSEMBLE_GROUPID" val="5fd0bbbe1fa9d42129dd5547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6"/>
  <p:tag name="KSO_WM_BEAUTIFY_FLAG" val="#wm#"/>
  <p:tag name="KSO_WM_TEMPLATE_CATEGORY" val="diagram"/>
  <p:tag name="KSO_WM_TEMPLATE_INDEX" val="20212925"/>
  <p:tag name="KSO_WM_SPECIAL_SOURCE" val="bdnull"/>
  <p:tag name="KSO_WM_SLIDE_ID" val="diagram20212925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87*540"/>
  <p:tag name="KSO_WM_SLIDE_POSITION" val="72*0"/>
  <p:tag name="KSO_WM_TAG_VERSION" val="1.0"/>
  <p:tag name="KSO_WM_SLIDE_LAYOUT" val="a_b_d_f"/>
  <p:tag name="KSO_WM_SLIDE_LAYOUT_CNT" val="1_1_1_1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direction&quot;:1,&quot;id&quot;:&quot;2020-12-09T20:47:35&quot;,&quot;maxSize&quot;:{&quot;size1&quot;:57.399999999999999},&quot;minSize&quot;:{&quot;size1&quot;:42.5},&quot;normalSize&quot;:{&quot;size1&quot;:57.399999999999999},&quot;subLayout&quot;:[{&quot;id&quot;:&quot;2020-12-09T20:47:35&quot;,&quot;maxSize&quot;:{&quot;size1&quot;:48.990740740602767},&quot;minSize&quot;:{&quot;size1&quot;:33.490740740602767},&quot;normalSize&quot;:{&quot;size1&quot;:42.390740740602766},&quot;subLayout&quot;:[{&quot;id&quot;:&quot;2020-12-09T20:47:36&quot;,&quot;margin&quot;:{&quot;bottom&quot;:0.026000002399086952,&quot;left&quot;:2.5399999618530273,&quot;right&quot;:2.5260000228881836,&quot;top&quot;:4.2329998016357422},&quot;type&quot;:0},{&quot;id&quot;:&quot;2020-12-09T20:47:36&quot;,&quot;margin&quot;:{&quot;bottom&quot;:4.2329998016357422,&quot;left&quot;:2.5399999618530273,&quot;right&quot;:2.5260000228881836,&quot;top&quot;:0.3970000147819519},&quot;type&quot;:0}],&quot;type&quot;:0},{&quot;id&quot;:&quot;2020-12-09T20:47:35&quot;,&quot;type&quot;:0}],&quot;type&quot;:0}"/>
  <p:tag name="KSO_WM_SLIDE_BACKGROUND" val="[&quot;general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dafb59c98c299aacce4d6"/>
  <p:tag name="KSO_WM_CHIP_FILLPROP" val="[[{&quot;text_align&quot;:&quot;cm&quot;,&quot;text_direction&quot;:&quot;horizontal&quot;,&quot;support_features&quot;:[&quot;collage&quot;,&quot;carousel&quot;],&quot;support_big_font&quot;:false,&quot;fill_id&quot;:&quot;7325af2ead7d4ad383c44bee22843bee&quot;,&quot;fill_align&quot;:&quot;cm&quot;,&quot;chip_types&quot;:[&quot;picture&quot;]},{&quot;text_align&quot;:&quot;lb&quot;,&quot;text_direction&quot;:&quot;horizontal&quot;,&quot;support_big_font&quot;:true,&quot;fill_id&quot;:&quot;319ec10203914616ac9484f3c80aec95&quot;,&quot;fill_align&quot;:&quot;lb&quot;,&quot;chip_types&quot;:[&quot;header&quot;]},{&quot;text_align&quot;:&quot;lt&quot;,&quot;text_direction&quot;:&quot;horizontal&quot;,&quot;support_big_font&quot;:true,&quot;fill_id&quot;:&quot;e865351ab2c849e3b2d22f89a61e1e38&quot;,&quot;fill_align&quot;:&quot;lt&quot;,&quot;chip_types&quot;:[&quot;text&quot;]}]]"/>
  <p:tag name="KSO_WM_CHIP_DECFILLPROP" val="[]"/>
  <p:tag name="KSO_WM_SLIDE_CAN_ADD_NAVIGATION" val="1"/>
  <p:tag name="KSO_WM_CHIP_GROUPID" val="5f6dafb59c98c299aacce4d5"/>
  <p:tag name="KSO_WM_SLIDE_BK_DARK_LIGHT" val="2"/>
  <p:tag name="KSO_WM_SLIDE_BACKGROUND_TYPE" val="general"/>
  <p:tag name="KSO_WM_SLIDE_SUPPORT_FEATURE_TYPE" val="3"/>
  <p:tag name="KSO_WM_TEMPLATE_ASSEMBLE_XID" val="5fd0c7671fa9d42129dd7189"/>
  <p:tag name="KSO_WM_TEMPLATE_ASSEMBLE_GROUPID" val="5fd0c7671fa9d42129dd71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VALUE" val="1904*1437"/>
  <p:tag name="KSO_WM_UNIT_HIGHLIGHT" val="0"/>
  <p:tag name="KSO_WM_UNIT_COMPATIBLE" val="1"/>
  <p:tag name="KSO_WM_UNIT_DIAGRAM_ISNUMVISUAL" val="0"/>
  <p:tag name="KSO_WM_UNIT_DIAGRAM_ISREFERUNIT" val="0"/>
  <p:tag name="KSO_WM_UNIT_TYPE" val="d"/>
  <p:tag name="KSO_WM_UNIT_INDEX" val="1"/>
  <p:tag name="KSO_WM_UNIT_ID" val="diagram20212925_1*d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f595023436b94bb383bed3c498830f4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7e9f5d3a50b84ccb8b9ca0370a531664"/>
  <p:tag name="KSO_WM_UNIT_PLACING_PICTURE" val="7e9f5d3a50b84ccb8b9ca0370a531664"/>
  <p:tag name="KSO_WM_TEMPLATE_ASSEMBLE_XID" val="5fd0c7671fa9d42129dd7189"/>
  <p:tag name="KSO_WM_TEMPLATE_ASSEMBLE_GROUPID" val="5fd0c7671fa9d42129dd7189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PRESET_TEXT" val="添加标题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2925_1*a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SHOW_EDIT_AREA_INDICATION" val="1"/>
  <p:tag name="KSO_WM_UNIT_DEFAULT_FONT" val="24;44;4"/>
  <p:tag name="KSO_WM_UNIT_BLOCK" val="0"/>
  <p:tag name="KSO_WM_UNIT_DEC_AREA_ID" val="2d384100858c45a285042251cfb917d2"/>
  <p:tag name="KSO_WM_CHIP_GROUPID" val="5f0681562c9c209bb8bb14eb"/>
  <p:tag name="KSO_WM_CHIP_XID" val="5f0681562c9c209bb8bb14ec"/>
  <p:tag name="KSO_WM_CHIP_FILLAREA_FILL_RULE" val="{&quot;fill_align&quot;:&quot;lb&quot;,&quot;fill_mode&quot;:&quot;full&quot;,&quot;sacle_strategy&quot;:&quot;smart&quot;}"/>
  <p:tag name="KSO_WM_ASSEMBLE_CHIP_INDEX" val="eddb7ac123394f2fb7a38cd2bf9c4959"/>
  <p:tag name="KSO_WM_UNIT_SUPPORT_BIG_FONT" val="1"/>
  <p:tag name="KSO_WM_UNIT_TEXT_FILL_FORE_SCHEMECOLOR_INDEX_BRIGHTNESS" val="0"/>
  <p:tag name="KSO_WM_UNIT_TEXT_FILL_FORE_SCHEMECOLOR_INDEX" val="13"/>
  <p:tag name="KSO_WM_UNIT_TEXT_FILL_TYPE" val="1"/>
  <p:tag name="KSO_WM_TEMPLATE_ASSEMBLE_XID" val="5fd0c7671fa9d42129dd7189"/>
  <p:tag name="KSO_WM_TEMPLATE_ASSEMBLE_GROUPID" val="5fd0c7671fa9d42129dd7189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PRESET_TEXT" val="单击此处可添加副标题"/>
  <p:tag name="KSO_WM_UNIT_NOCLEAR" val="0"/>
  <p:tag name="KSO_WM_UNIT_SHOW_EDIT_AREA_INDICATION" val="1"/>
  <p:tag name="KSO_WM_UNIT_VALUE" val="20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diagram20212925_1*b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DEFAULT_FONT" val="18;24;2"/>
  <p:tag name="KSO_WM_UNIT_BLOCK" val="0"/>
  <p:tag name="KSO_WM_UNIT_DEC_AREA_ID" val="d4c280a380c44d6da183d3c871ca160c"/>
  <p:tag name="KSO_WM_CHIP_GROUPID" val="5f0681562c9c209bb8bb14eb"/>
  <p:tag name="KSO_WM_CHIP_XID" val="5f0681562c9c209bb8bb14ec"/>
  <p:tag name="KSO_WM_CHIP_FILLAREA_FILL_RULE" val="{&quot;fill_align&quot;:&quot;lb&quot;,&quot;fill_mode&quot;:&quot;full&quot;,&quot;sacle_strategy&quot;:&quot;smart&quot;}"/>
  <p:tag name="KSO_WM_ASSEMBLE_CHIP_INDEX" val="eddb7ac123394f2fb7a38cd2bf9c4959"/>
  <p:tag name="KSO_WM_UNIT_SUPPORT_BIG_FONT" val="1"/>
  <p:tag name="KSO_WM_UNIT_TEXT_FILL_FORE_SCHEMECOLOR_INDEX_BRIGHTNESS" val="-0.25"/>
  <p:tag name="KSO_WM_UNIT_TEXT_FILL_FORE_SCHEMECOLOR_INDEX" val="14"/>
  <p:tag name="KSO_WM_UNIT_TEXT_FILL_TYPE" val="1"/>
  <p:tag name="KSO_WM_TEMPLATE_ASSEMBLE_XID" val="5fd0c7671fa9d42129dd7189"/>
  <p:tag name="KSO_WM_TEMPLATE_ASSEMBLE_GROUPID" val="5fd0c7671fa9d42129dd7189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2925_1*f*1"/>
  <p:tag name="KSO_WM_TEMPLATE_CATEGORY" val="diagram"/>
  <p:tag name="KSO_WM_TEMPLATE_INDEX" val="20212925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60"/>
  <p:tag name="KSO_WM_UNIT_SHOW_EDIT_AREA_INDICATION" val="1"/>
  <p:tag name="KSO_WM_CHIP_GROUPID" val="5e6b05596848fb12bee65ac8"/>
  <p:tag name="KSO_WM_CHIP_XID" val="5e6b05596848fb12bee65aca"/>
  <p:tag name="KSO_WM_UNIT_DEC_AREA_ID" val="55bb22be49f4483bbc642afbbe59029d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t&quot;,&quot;fill_mode&quot;:&quot;full&quot;,&quot;sacle_strategy&quot;:&quot;smart&quot;}"/>
  <p:tag name="KSO_WM_ASSEMBLE_CHIP_INDEX" val="d906b81fe885471987a2d7908634d0f4"/>
  <p:tag name="KSO_WM_UNIT_SUPPORT_BIG_FONT" val="1"/>
  <p:tag name="KSO_WM_UNIT_TEXT_FILL_FORE_SCHEMECOLOR_INDEX_BRIGHTNESS" val="0.25"/>
  <p:tag name="KSO_WM_UNIT_TEXT_FILL_FORE_SCHEMECOLOR_INDEX" val="13"/>
  <p:tag name="KSO_WM_UNIT_TEXT_FILL_TYPE" val="1"/>
  <p:tag name="KSO_WM_TEMPLATE_ASSEMBLE_XID" val="5fd0c7671fa9d42129dd7189"/>
  <p:tag name="KSO_WM_TEMPLATE_ASSEMBLE_GROUPID" val="5fd0c7671fa9d42129dd7189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7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8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6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7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8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6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7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8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8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4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7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8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9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9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6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7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73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7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2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68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66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67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63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6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58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9156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8"/>
  <p:tag name="KSO_WM_SLIDE_ID" val="diagram20213293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3293"/>
  <p:tag name="KSO_WM_SLIDE_LAYOUT" val="a_d_f"/>
  <p:tag name="KSO_WM_SLIDE_LAYOUT_CNT" val="1_1_1"/>
  <p:tag name="KSO_WM_TEMPLATE_THUMBS_INDEX" val="1、4、7、12、13、14、15、16、17、18、20、24、25、28、33、36、40、43、44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id&quot;:&quot;2020-12-09T20:17:58&quot;,&quot;maxSize&quot;:{&quot;size1&quot;:31.099686201378979},&quot;minSize&quot;:{&quot;size1&quot;:22.199686201378977},&quot;normalSize&quot;:{&quot;size1&quot;:22.199686201378977},&quot;subLayout&quot;:[{&quot;id&quot;:&quot;2020-12-09T20:17:58&quot;,&quot;margin&quot;:{&quot;bottom&quot;:0.21199998259544373,&quot;left&quot;:1.6929999589920044,&quot;right&quot;:1.6929999589920044,&quot;top&quot;:1.6929999589920044},&quot;type&quot;:0},{&quot;id&quot;:&quot;2020-12-09T20:17:58&quot;,&quot;maxSize&quot;:{&quot;size1&quot;:65.699596661496983},&quot;minSize&quot;:{&quot;size1&quot;:48.599596661496982},&quot;normalSize&quot;:{&quot;size1&quot;:65.699491929515645},&quot;subLayout&quot;:[{&quot;id&quot;:&quot;2020-12-09T20:17:58&quot;,&quot;margin&quot;:{&quot;bottom&quot;:0.026000002399086952,&quot;left&quot;:1.6929999589920044,&quot;right&quot;:1.6929999589920044,&quot;top&quot;:0.42300000786781311},&quot;type&quot;:0},{&quot;id&quot;:&quot;2020-12-09T20:17:58&quot;,&quot;margin&quot;:{&quot;bottom&quot;:1.6929999589920044,&quot;left&quot;:1.6929999589920044,&quot;right&quot;:1.6929999589920044,&quot;top&quot;:0.81999999284744263},&quot;type&quot;:0}],&quot;type&quot;:0}],&quot;type&quot;:0}"/>
  <p:tag name="KSO_WM_SLIDE_BACKGROUND" val="[&quot;general&quot;]"/>
  <p:tag name="KSO_WM_SLIDE_RATIO" val="1.777778"/>
  <p:tag name="KSO_WM_CHIP_INFOS" val="{&quot;type&quot;:0,&quot;layout_type&quot;:&quot;topbottom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69675c553136823a5e61e7"/>
  <p:tag name="KSO_WM_CHIP_FILLPROP" val="[[{&quot;text_align&quot;:&quot;ct&quot;,&quot;text_direction&quot;:&quot;horizontal&quot;,&quot;support_big_font&quot;:false,&quot;fill_id&quot;:&quot;42bdfa4a24a64d988a6191cecd716896&quot;,&quot;fill_align&quot;:&quot;ct&quot;,&quot;chip_types&quot;:[&quot;header&quot;]},{&quot;text_align&quot;:&quot;lm&quot;,&quot;text_direction&quot;:&quot;horizontal&quot;,&quot;support_features&quot;:[&quot;collage&quot;,&quot;carousel&quot;],&quot;support_big_font&quot;:false,&quot;fill_id&quot;:&quot;c7f405b535bb49fd9c504e13d5a436be&quot;,&quot;fill_align&quot;:&quot;cm&quot;,&quot;chip_types&quot;:[&quot;diagram&quot;,&quot;pictext&quot;,&quot;picture&quot;,&quot;chart&quot;,&quot;table&quot;,&quot;video&quot;]},{&quot;text_align&quot;:&quot;cm&quot;,&quot;text_direction&quot;:&quot;horizontal&quot;,&quot;support_big_font&quot;:false,&quot;fill_id&quot;:&quot;af7019ab30b54b018c2fc8ea2401cac8&quot;,&quot;fill_align&quot;:&quot;cm&quot;,&quot;chip_types&quot;:[&quot;text&quot;]}],[{&quot;text_align&quot;:&quot;ct&quot;,&quot;text_direction&quot;:&quot;horizontal&quot;,&quot;support_big_font&quot;:false,&quot;fill_id&quot;:&quot;42bdfa4a24a64d988a6191cecd716896&quot;,&quot;fill_align&quot;:&quot;ct&quot;,&quot;chip_types&quot;:[&quot;header&quot;]},{&quot;text_align&quot;:&quot;lm&quot;,&quot;text_direction&quot;:&quot;horizontal&quot;,&quot;support_big_font&quot;:false,&quot;fill_id&quot;:&quot;c7f405b535bb49fd9c504e13d5a436be&quot;,&quot;fill_align&quot;:&quot;cm&quot;,&quot;chip_types&quot;:[&quot;picture&quot;]},{&quot;text_align&quot;:&quot;cm&quot;,&quot;text_direction&quot;:&quot;horizontal&quot;,&quot;support_big_font&quot;:false,&quot;fill_id&quot;:&quot;af7019ab30b54b018c2fc8ea2401cac8&quot;,&quot;fill_align&quot;:&quot;cm&quot;,&quot;chip_types&quot;:[&quot;picture&quot;]}]]"/>
  <p:tag name="KSO_WM_SLIDE_SIZE" val="865*444"/>
  <p:tag name="KSO_WM_SLIDE_POSITION" val="47*48"/>
  <p:tag name="FIXED_XID_TMP" val="5f5ee1ca4d6848d78f644aed"/>
  <p:tag name="KSO_WM_CHIP_DECFILLPROP" val="[]"/>
  <p:tag name="KSO_WM_CHIP_GROUPID" val="5f5ee1ca4d6848d78f644aed"/>
  <p:tag name="KSO_WM_SLIDE_BK_DARK_LIGHT" val="2"/>
  <p:tag name="KSO_WM_SLIDE_BACKGROUND_TYPE" val="general"/>
  <p:tag name="KSO_WM_SLIDE_SUPPORT_FEATURE_TYPE" val="3"/>
  <p:tag name="KSO_WM_TEMPLATE_ASSEMBLE_XID" val="5fd0c0751fa9d42129dd60e4"/>
  <p:tag name="KSO_WM_TEMPLATE_ASSEMBLE_GROUPID" val="5fd0c0751fa9d42129dd60e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7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3293_1*a*1"/>
  <p:tag name="KSO_WM_TEMPLATE_CATEGORY" val="diagram"/>
  <p:tag name="KSO_WM_TEMPLATE_INDEX" val="20213293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8b81be0c57b5462aba2d1d6bf4868fd9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t&quot;,&quot;fill_mode&quot;:&quot;full&quot;,&quot;sacle_strategy&quot;:&quot;smart&quot;}"/>
  <p:tag name="KSO_WM_ASSEMBLE_CHIP_INDEX" val="e330840dbffc42d6ba2c324418315076"/>
  <p:tag name="KSO_WM_UNIT_TEXT_FILL_FORE_SCHEMECOLOR_INDEX_BRIGHTNESS" val="0"/>
  <p:tag name="KSO_WM_UNIT_TEXT_FILL_FORE_SCHEMECOLOR_INDEX" val="13"/>
  <p:tag name="KSO_WM_UNIT_TEXT_FILL_TYPE" val="1"/>
  <p:tag name="KSO_WM_TEMPLATE_ASSEMBLE_XID" val="5fd0c0751fa9d42129dd60e4"/>
  <p:tag name="KSO_WM_TEMPLATE_ASSEMBLE_GROUPID" val="5fd0c0751fa9d42129dd60e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2"/>
  <p:tag name="KSO_WM_UNIT_ID" val="diagram20213978_2*m_i*1_2"/>
  <p:tag name="KSO_WM_TEMPLATE_CATEGORY" val="diagram"/>
  <p:tag name="KSO_WM_TEMPLATE_INDEX" val="20213978"/>
  <p:tag name="KSO_WM_UNIT_LAYERLEVEL" val="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e"/>
  <p:tag name="KSO_WM_UNIT_TYPE" val="m_h_i"/>
  <p:tag name="KSO_WM_UNIT_INDEX" val="1_1_1"/>
  <p:tag name="KSO_WM_UNIT_ID" val="diagram20213978_2*m_h_i*1_1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1_1"/>
  <p:tag name="KSO_WM_UNIT_ID" val="diagram20213978_2*m_h_f*1_1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点击此处添加正文，文字是您思想的提炼，为了演示发布的良好效果，请言简意赅的阐述您的观点。"/>
  <p:tag name="KSO_WM_UNIT_VALUE" val="64"/>
  <p:tag name="KSO_WM_UNIT_SUBTYPE" val="a"/>
  <p:tag name="KSO_WM_UNIT_TEXT_FILL_FORE_SCHEMECOLOR_INDEX_BRIGHTNESS" val="0.5"/>
  <p:tag name="KSO_WM_UNIT_TEXT_FILL_FORE_SCHEMECOLOR_INDEX" val="13"/>
  <p:tag name="KSO_WM_UNIT_TEXT_FILL_TYPE" val="1"/>
  <p:tag name="KSO_WM_UNIT_USESOURCEFORMAT_APPLY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1_1"/>
  <p:tag name="KSO_WM_UNIT_ID" val="diagram20213978_2*m_h_a*1_1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第一章"/>
  <p:tag name="KSO_WM_UNIT_VALUE" val="12"/>
  <p:tag name="KSO_WM_UNIT_ISNUMDGMTITLE" val="0"/>
  <p:tag name="KSO_WM_UNIT_TEXT_FILL_FORE_SCHEMECOLOR_INDEX_BRIGHTNESS" val="0.25"/>
  <p:tag name="KSO_WM_UNIT_TEXT_FILL_FORE_SCHEMECOLOR_INDEX" val="13"/>
  <p:tag name="KSO_WM_UNIT_TEXT_FILL_TYPE" val="1"/>
  <p:tag name="KSO_WM_UNIT_USESOURCEFORMAT_APPLY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2_1"/>
  <p:tag name="KSO_WM_UNIT_ID" val="diagram20213978_2*m_h_f*1_2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点击此处添加正文，文字是您思想的提炼，为了演示发布的良好效果，请言简意赅的阐述您的观点。"/>
  <p:tag name="KSO_WM_UNIT_VALUE" val="64"/>
  <p:tag name="KSO_WM_UNIT_SUBTYPE" val="a"/>
  <p:tag name="KSO_WM_UNIT_TEXT_FILL_FORE_SCHEMECOLOR_INDEX_BRIGHTNESS" val="0.5"/>
  <p:tag name="KSO_WM_UNIT_TEXT_FILL_FORE_SCHEMECOLOR_INDEX" val="13"/>
  <p:tag name="KSO_WM_UNIT_TEXT_FILL_TYPE" val="1"/>
  <p:tag name="KSO_WM_UNIT_USESOURCEFORMAT_APPLY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2_1"/>
  <p:tag name="KSO_WM_UNIT_ID" val="diagram20213978_2*m_h_a*1_2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第二章"/>
  <p:tag name="KSO_WM_UNIT_VALUE" val="12"/>
  <p:tag name="KSO_WM_UNIT_ISNUMDGMTITLE" val="0"/>
  <p:tag name="KSO_WM_UNIT_TEXT_FILL_FORE_SCHEMECOLOR_INDEX_BRIGHTNESS" val="0.25"/>
  <p:tag name="KSO_WM_UNIT_TEXT_FILL_FORE_SCHEMECOLOR_INDEX" val="13"/>
  <p:tag name="KSO_WM_UNIT_TEXT_FILL_TYPE" val="1"/>
  <p:tag name="KSO_WM_UNIT_USESOURCEFORMAT_APPLY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3_1"/>
  <p:tag name="KSO_WM_UNIT_ID" val="diagram20213978_2*m_h_f*1_3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点击此处添加正文，文字是您思想的提炼，为了演示发布的良好效果，请言简意赅的阐述您的观点。"/>
  <p:tag name="KSO_WM_UNIT_VALUE" val="64"/>
  <p:tag name="KSO_WM_UNIT_SUBTYPE" val="a"/>
  <p:tag name="KSO_WM_UNIT_TEXT_FILL_FORE_SCHEMECOLOR_INDEX_BRIGHTNESS" val="0.5"/>
  <p:tag name="KSO_WM_UNIT_TEXT_FILL_FORE_SCHEMECOLOR_INDEX" val="13"/>
  <p:tag name="KSO_WM_UNIT_TEXT_FILL_TYPE" val="1"/>
  <p:tag name="KSO_WM_UNIT_USESOURCEFORMAT_APPLY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3_1"/>
  <p:tag name="KSO_WM_UNIT_ID" val="diagram20213978_2*m_h_a*1_3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PRESET_TEXT" val="第三章"/>
  <p:tag name="KSO_WM_UNIT_VALUE" val="12"/>
  <p:tag name="KSO_WM_UNIT_ISNUMDGMTITLE" val="0"/>
  <p:tag name="KSO_WM_UNIT_TEXT_FILL_FORE_SCHEMECOLOR_INDEX_BRIGHTNESS" val="0.25"/>
  <p:tag name="KSO_WM_UNIT_TEXT_FILL_FORE_SCHEMECOLOR_INDEX" val="13"/>
  <p:tag name="KSO_WM_UNIT_TEXT_FILL_TYPE" val="1"/>
  <p:tag name="KSO_WM_UNIT_USESOURCEFORMAT_APPLY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4"/>
  <p:tag name="KSO_WM_UNIT_ID" val="diagram20213978_2*m_h_i*1_1_4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2"/>
  <p:tag name="KSO_WM_UNIT_ID" val="diagram20213978_2*m_h_i*1_1_2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d"/>
  <p:tag name="KSO_WM_UNIT_TYPE" val="m_h_i"/>
  <p:tag name="KSO_WM_UNIT_INDEX" val="1_1_3"/>
  <p:tag name="KSO_WM_UNIT_ID" val="diagram20213978_2*m_h_i*1_1_3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e"/>
  <p:tag name="KSO_WM_UNIT_TYPE" val="m_h_i"/>
  <p:tag name="KSO_WM_UNIT_INDEX" val="1_2_1"/>
  <p:tag name="KSO_WM_UNIT_ID" val="diagram20213978_2*m_h_i*1_2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e"/>
  <p:tag name="KSO_WM_UNIT_TYPE" val="m_h_i"/>
  <p:tag name="KSO_WM_UNIT_INDEX" val="1_3_1"/>
  <p:tag name="KSO_WM_UNIT_ID" val="diagram20213978_2*m_h_i*1_3_1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4"/>
  <p:tag name="KSO_WM_UNIT_ID" val="diagram20213978_2*m_h_i*1_2_4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2"/>
  <p:tag name="KSO_WM_UNIT_ID" val="diagram20213978_2*m_h_i*1_2_2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d"/>
  <p:tag name="KSO_WM_UNIT_TYPE" val="m_h_i"/>
  <p:tag name="KSO_WM_UNIT_INDEX" val="1_2_3"/>
  <p:tag name="KSO_WM_UNIT_ID" val="diagram20213978_2*m_h_i*1_2_3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4"/>
  <p:tag name="KSO_WM_UNIT_ID" val="diagram20213978_2*m_h_i*1_3_4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LINE_FORE_SCHEMECOLOR_INDEX_BRIGHTNESS" val="0"/>
  <p:tag name="KSO_WM_UNIT_LINE_FORE_SCHEMECOLOR_INDEX" val="5"/>
  <p:tag name="KSO_WM_UNIT_LINE_FILL_TYPE" val="2"/>
  <p:tag name="KSO_WM_UNIT_USESOURCEFORMAT_APPLY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213978_2*m_h_i*1_3_2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USESOURCEFORMAT_APPLY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SUBTYPE" val="d"/>
  <p:tag name="KSO_WM_UNIT_TYPE" val="m_h_i"/>
  <p:tag name="KSO_WM_UNIT_INDEX" val="1_3_3"/>
  <p:tag name="KSO_WM_UNIT_ID" val="diagram20213978_2*m_h_i*1_3_3"/>
  <p:tag name="KSO_WM_TEMPLATE_CATEGORY" val="diagram"/>
  <p:tag name="KSO_WM_TEMPLATE_INDEX" val="20213978"/>
  <p:tag name="KSO_WM_UNIT_LAYERLEVEL" val="1_1_1"/>
  <p:tag name="KSO_WM_TAG_VERSION" val="1.0"/>
  <p:tag name="KSO_WM_BEAUTIFY_FLAG" val="#wm#"/>
  <p:tag name="KSO_WM_UNIT_TEXT_FILL_FORE_SCHEMECOLOR_INDEX_BRIGHTNESS" val="0"/>
  <p:tag name="KSO_WM_UNIT_TEXT_FILL_FORE_SCHEMECOLOR_INDEX" val="14"/>
  <p:tag name="KSO_WM_UNIT_TEXT_FILL_TYPE" val="1"/>
  <p:tag name="KSO_WM_UNIT_USESOURCEFORMAT_APPLY" val="1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，需要用更多的文字来表述；但请您尽可能提炼思想的精髓，否则容易造成观者的阅读压力，适得其反。正如我们都希望改变世界，希望给别人带去光明，但更多时候我们只需要播下一颗种子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3293_1*f*1"/>
  <p:tag name="KSO_WM_TEMPLATE_CATEGORY" val="diagram"/>
  <p:tag name="KSO_WM_TEMPLATE_INDEX" val="20213293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172"/>
  <p:tag name="KSO_WM_UNIT_SHOW_EDIT_AREA_INDICATION" val="1"/>
  <p:tag name="KSO_WM_CHIP_GROUPID" val="5e6b05596848fb12bee65ac8"/>
  <p:tag name="KSO_WM_CHIP_XID" val="5e6b05596848fb12bee65aca"/>
  <p:tag name="KSO_WM_UNIT_DEC_AREA_ID" val="e53e34bbda7d47068da7e4ca446fc73d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3fc06c6051194aa2afdb99b62853ea60"/>
  <p:tag name="KSO_WM_UNIT_TEXT_FILL_FORE_SCHEMECOLOR_INDEX_BRIGHTNESS" val="0.25"/>
  <p:tag name="KSO_WM_UNIT_TEXT_FILL_FORE_SCHEMECOLOR_INDEX" val="13"/>
  <p:tag name="KSO_WM_UNIT_TEXT_FILL_TYPE" val="1"/>
  <p:tag name="KSO_WM_TEMPLATE_ASSEMBLE_XID" val="5fd0c0751fa9d42129dd60e4"/>
  <p:tag name="KSO_WM_TEMPLATE_ASSEMBLE_GROUPID" val="5fd0c0751fa9d42129dd60e4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29"/>
  <p:tag name="KSO_WM_BEAUTIFY_FLAG" val="#wm#"/>
  <p:tag name="KSO_WM_TEMPLATE_CATEGORY" val="diagram"/>
  <p:tag name="KSO_WM_TEMPLATE_INDEX" val="20214439"/>
  <p:tag name="KSO_WM_SLIDE_LAYOUT_INFO" val="{&quot;backgroundInfo&quot;:[{&quot;bottom&quot;:0.37777778499999998,&quot;bottomAbs&quot;:false,&quot;left&quot;:0,&quot;leftAbs&quot;:false,&quot;right&quot;:0,&quot;rightAbs&quot;:false,&quot;top&quot;:0,&quot;topAbs&quot;:false,&quot;type&quot;:&quot;topBottom&quot;}],&quot;id&quot;:&quot;2020-12-09T23:04:28&quot;,&quot;maxSize&quot;:{&quot;size1&quot;:28.899642403002964},&quot;minSize&quot;:{&quot;size1&quot;:19.999642403002966},&quot;normalSize&quot;:{&quot;size1&quot;:28.89945721781778},&quot;subLayout&quot;:[{&quot;id&quot;:&quot;2020-12-09T23:04:28&quot;,&quot;margin&quot;:{&quot;bottom&quot;:0,&quot;left&quot;:3.3870000839233398,&quot;right&quot;:3.3870000839233398,&quot;top&quot;:1.6929999589920044},&quot;type&quot;:0},{&quot;backgroundInfo&quot;:[{&quot;bottom&quot;:0.16650290000000001,&quot;bottomAbs&quot;:false,&quot;left&quot;:0,&quot;leftAbs&quot;:false,&quot;right&quot;:0,&quot;rightAbs&quot;:false,&quot;top&quot;:0,&quot;topAbs&quot;:false,&quot;type&quot;:&quot;topBottom&quot;}],&quot;id&quot;:&quot;2020-12-09T23:04:28&quot;,&quot;maxSize&quot;:{&quot;size1&quot;:69.399497054476612},&quot;minSize&quot;:{&quot;size1&quot;:58.299497054476603},&quot;normalSize&quot;:{&quot;size1&quot;:66.556940188008269},&quot;subLayout&quot;:[{&quot;id&quot;:&quot;2020-12-09T23:04:28&quot;,&quot;margin&quot;:{&quot;bottom&quot;:0,&quot;left&quot;:3.3870000839233398,&quot;right&quot;:3.3870000839233398,&quot;top&quot;:0.84700000286102295},&quot;type&quot;:0},{&quot;id&quot;:&quot;2020-12-09T23:04:28&quot;,&quot;margin&quot;:{&quot;bottom&quot;:1.6929999589920044,&quot;left&quot;:3.3870000839233398,&quot;right&quot;:3.3870000839233398,&quot;top&quot;:0.84700000286102295},&quot;type&quot;:0}],&quot;type&quot;:0}],&quot;type&quot;:0}"/>
  <p:tag name="KSO_WM_SLIDE_BACKGROUND" val="[&quot;topBottom&quot;]"/>
  <p:tag name="KSO_WM_SLIDE_RATIO" val="1.777778"/>
  <p:tag name="KSO_WM_SLIDE_ID" val="diagram20214439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960*492"/>
  <p:tag name="KSO_WM_SLIDE_POSITION" val="0*0"/>
  <p:tag name="KSO_WM_TAG_VERSION" val="1.0"/>
  <p:tag name="KSO_WM_SLIDE_LAYOUT" val="a_d_f"/>
  <p:tag name="KSO_WM_SLIDE_LAYOUT_CNT" val="1_1_1"/>
  <p:tag name="KSO_WM_CHIP_INFOS" val="{&quot;type&quot;:0,&quot;layout_type&quot;:&quot;topbottom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FILLPROP" val="[[{&quot;text_align&quot;:&quot;cb&quot;,&quot;text_direction&quot;:&quot;horizontal&quot;,&quot;support_big_font&quot;:false,&quot;fill_id&quot;:&quot;fecc264627ec49c6af1d2c74152e2fa5&quot;,&quot;fill_align&quot;:&quot;cb&quot;,&quot;chip_types&quot;:[&quot;header&quot;]},{&quot;text_align&quot;:&quot;cm&quot;,&quot;text_direction&quot;:&quot;horizontal&quot;,&quot;support_features&quot;:[&quot;collage&quot;],&quot;support_big_font&quot;:false,&quot;fill_id&quot;:&quot;e25cdeaadcd84579b4c378893133125b&quot;,&quot;fill_align&quot;:&quot;cm&quot;,&quot;chip_types&quot;:[&quot;picture&quot;,&quot;video&quot;]},{&quot;text_align&quot;:&quot;ct&quot;,&quot;text_direction&quot;:&quot;horizontal&quot;,&quot;support_big_font&quot;:false,&quot;fill_id&quot;:&quot;eb5c6d9d0a234a6fa8356d3bdb50d58a&quot;,&quot;fill_align&quot;:&quot;ct&quot;,&quot;chip_types&quot;:[&quot;text&quot;]}],[{&quot;text_align&quot;:&quot;cb&quot;,&quot;text_direction&quot;:&quot;horizontal&quot;,&quot;support_big_font&quot;:false,&quot;fill_id&quot;:&quot;fecc264627ec49c6af1d2c74152e2fa5&quot;,&quot;fill_align&quot;:&quot;cb&quot;,&quot;chip_types&quot;:[&quot;header&quot;]},{&quot;text_align&quot;:&quot;cm&quot;,&quot;text_direction&quot;:&quot;horizontal&quot;,&quot;support_features&quot;:[&quot;collage&quot;],&quot;support_big_font&quot;:false,&quot;fill_id&quot;:&quot;e25cdeaadcd84579b4c378893133125b&quot;,&quot;fill_align&quot;:&quot;cm&quot;,&quot;chip_types&quot;:[&quot;picture&quot;,&quot;video&quot;]},{&quot;text_align&quot;:&quot;lt&quot;,&quot;text_direction&quot;:&quot;horizontal&quot;,&quot;support_big_font&quot;:false,&quot;fill_id&quot;:&quot;eb5c6d9d0a234a6fa8356d3bdb50d58a&quot;,&quot;fill_align&quot;:&quot;lt&quot;,&quot;chip_types&quot;:[&quot;text&quot;]}]]"/>
  <p:tag name="KSO_WM_CHIP_XID" val="5ef20fb8a491bb0086638b32"/>
  <p:tag name="KSO_WM_CHIP_DECFILLPROP" val="[]"/>
  <p:tag name="KSO_WM_CHIP_GROUPID" val="5ef20fb8a491bb0086638b31"/>
  <p:tag name="KSO_WM_SLIDE_BK_DARK_LIGHT" val="2"/>
  <p:tag name="KSO_WM_SLIDE_BACKGROUND_TYPE" val="topBottom"/>
  <p:tag name="KSO_WM_SLIDE_SUPPORT_FEATURE_TYPE" val="1"/>
  <p:tag name="KSO_WM_TEMPLATE_ASSEMBLE_XID" val="5fd0e77b1fa9d42129ddacf8"/>
  <p:tag name="KSO_WM_TEMPLATE_ASSEMBLE_GROUPID" val="5fd0e77b1fa9d42129ddacf8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3076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4439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topBottom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4439"/>
  <p:tag name="KSO_WM_UNIT_VALUE" val="795"/>
  <p:tag name="KSO_WM_TEMPLATE_ASSEMBLE_XID" val="5fd0e77b1fa9d42129ddacf8"/>
  <p:tag name="KSO_WM_TEMPLATE_ASSEMBLE_GROUPID" val="5fd0e77b1fa9d42129ddacf8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4439_1*a*1"/>
  <p:tag name="KSO_WM_TEMPLATE_CATEGORY" val="diagram"/>
  <p:tag name="KSO_WM_TEMPLATE_INDEX" val="20214439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0d6d673fdbbb4861b54b9190e143b51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b&quot;,&quot;fill_mode&quot;:&quot;full&quot;,&quot;sacle_strategy&quot;:&quot;smart&quot;}"/>
  <p:tag name="KSO_WM_ASSEMBLE_CHIP_INDEX" val="1796ab6b695d4d5997177670d39b76de"/>
  <p:tag name="KSO_WM_UNIT_TEXT_FILL_FORE_SCHEMECOLOR_INDEX_BRIGHTNESS" val="0"/>
  <p:tag name="KSO_WM_UNIT_TEXT_FILL_FORE_SCHEMECOLOR_INDEX" val="13"/>
  <p:tag name="KSO_WM_UNIT_TEXT_FILL_TYPE" val="1"/>
  <p:tag name="KSO_WM_TEMPLATE_ASSEMBLE_XID" val="5fd0e77b1fa9d42129ddacf8"/>
  <p:tag name="KSO_WM_TEMPLATE_ASSEMBLE_GROUPID" val="5fd0e77b1fa9d42129ddacf8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6"/>
  <p:tag name="KSO_WM_UNIT_VALUE" val="973*1988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4439_1*d*1"/>
  <p:tag name="KSO_WM_TEMPLATE_CATEGORY" val="diagram"/>
  <p:tag name="KSO_WM_TEMPLATE_INDEX" val="2021443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4f3145c097247d18d8c967f634cec0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3cd3defce599400294595b0f4312de35"/>
  <p:tag name="KSO_WM_UNIT_PLACING_PICTURE" val="3cd3defce599400294595b0f4312de35"/>
  <p:tag name="KSO_WM_UNIT_SUPPORT_UNIT_TYPE" val="[&quot;d&quot;,&quot;θ&quot;]"/>
  <p:tag name="KSO_WM_TEMPLATE_ASSEMBLE_XID" val="5fd0e77b1fa9d42129ddacf8"/>
  <p:tag name="KSO_WM_TEMPLATE_ASSEMBLE_GROUPID" val="5fd0e77b1fa9d42129ddacf8"/>
  <p:tag name="KSO_WM_UNIT_PLACING_PICTURE_USER_VIEWPORT" val="{&quot;height&quot;:3290,&quot;width&quot;:2597.4992125984249}"/>
  <p:tag name="KSO_WM_UNIT_PLACING_PICTURE_INFO" val="{&quot;code&quot;:&quot;aB&quot;,&quot;full_picture&quot;:true,&quot;last_full_picture&quot;:&quot;aB&quot;,&quot;margin&quot;:{&quot;bottom&quot;:23.264103386343095,&quot;top&quot;:21.679654833807547},&quot;scheme&quot;:&quot;3-0&quot;,&quot;spacing&quot;:5}"/>
  <p:tag name="KSO_WM_UNIT_PLACING_PICTURE_USER_VIEWPORT_SMARTMENU" val="{&quot;height&quot;:1792.9151704840399,&quot;width&quot;:1359.1075832968622}"/>
  <p:tag name="KSO_WM_UNIT_PLACING_PICTURE_USER_RELATIVERECTANGLE_SMARTMENU" val="{&quot;bottom&quot;:0,&quot;left&quot;:0,&quot;right&quot;:0,&quot;top&quot;:0}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3"/>
  <p:tag name="KSO_WM_UNIT_VALUE" val="973*1988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4439_1*d*1"/>
  <p:tag name="KSO_WM_TEMPLATE_CATEGORY" val="diagram"/>
  <p:tag name="KSO_WM_TEMPLATE_INDEX" val="2021443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4f3145c097247d18d8c967f634cec0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3cd3defce599400294595b0f4312de35"/>
  <p:tag name="KSO_WM_UNIT_PLACING_PICTURE" val="3cd3defce599400294595b0f4312de35"/>
  <p:tag name="KSO_WM_UNIT_SUPPORT_UNIT_TYPE" val="[&quot;d&quot;,&quot;θ&quot;]"/>
  <p:tag name="KSO_WM_TEMPLATE_ASSEMBLE_XID" val="5fd0e77b1fa9d42129ddacf8"/>
  <p:tag name="KSO_WM_TEMPLATE_ASSEMBLE_GROUPID" val="5fd0e77b1fa9d42129ddacf8"/>
  <p:tag name="KSO_WM_UNIT_PLACING_PICTURE_USER_VIEWPORT" val="{&quot;height&quot;:4017.4992125984249,&quot;width&quot;:3172.5007874015746}"/>
  <p:tag name="KSO_WM_UNIT_PLACING_PICTURE_INFO" val="{&quot;code&quot;:&quot;aB&quot;,&quot;full_picture&quot;:true,&quot;last_full_picture&quot;:&quot;aB&quot;,&quot;margin&quot;:{&quot;bottom&quot;:23.264103386343095,&quot;top&quot;:21.679654833807547},&quot;scheme&quot;:&quot;3-0&quot;,&quot;spacing&quot;:5}"/>
  <p:tag name="KSO_WM_UNIT_PLACING_PICTURE_USER_VIEWPORT_SMARTMENU" val="{&quot;height&quot;:1792.9151704840399,&quot;width&quot;:1359.1075832968622}"/>
  <p:tag name="KSO_WM_UNIT_PLACING_PICTURE_USER_RELATIVERECTANGLE_SMARTMENU" val="{&quot;bottom&quot;:0,&quot;left&quot;:0,&quot;right&quot;:0,&quot;top&quot;:0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2"/>
  <p:tag name="KSO_WM_UNIT_VALUE" val="973*1988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4439_1*d*1"/>
  <p:tag name="KSO_WM_TEMPLATE_CATEGORY" val="diagram"/>
  <p:tag name="KSO_WM_TEMPLATE_INDEX" val="2021443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4f3145c097247d18d8c967f634cec0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3cd3defce599400294595b0f4312de35"/>
  <p:tag name="KSO_WM_UNIT_PLACING_PICTURE" val="3cd3defce599400294595b0f4312de35"/>
  <p:tag name="KSO_WM_UNIT_SUPPORT_UNIT_TYPE" val="[&quot;d&quot;,&quot;θ&quot;]"/>
  <p:tag name="KSO_WM_TEMPLATE_ASSEMBLE_XID" val="5fd0e77b1fa9d42129ddacf8"/>
  <p:tag name="KSO_WM_TEMPLATE_ASSEMBLE_GROUPID" val="5fd0e77b1fa9d42129ddacf8"/>
  <p:tag name="KSO_WM_UNIT_PLACING_PICTURE_USER_VIEWPORT" val="{&quot;height&quot;:2547.4992125984249,&quot;width&quot;:6635}"/>
  <p:tag name="KSO_WM_UNIT_PLACING_PICTURE_INFO" val="{&quot;code&quot;:&quot;aB&quot;,&quot;full_picture&quot;:true,&quot;last_full_picture&quot;:&quot;aB&quot;,&quot;margin&quot;:{&quot;bottom&quot;:23.264103386343095,&quot;top&quot;:21.679654833807547},&quot;scheme&quot;:&quot;3-0&quot;,&quot;spacing&quot;:5}"/>
  <p:tag name="KSO_WM_UNIT_PLACING_PICTURE_USER_VIEWPORT_SMARTMENU" val="{&quot;height&quot;:3735.8303409680798,&quot;width&quot;:9770.9729831093882}"/>
  <p:tag name="KSO_WM_UNIT_PLACING_PICTURE_USER_RELATIVERECTANGLE_SMARTMENU" val="{&quot;bottom&quot;:0,&quot;left&quot;:0,&quot;right&quot;:0,&quot;top&quot;:0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4439_1*f*1"/>
  <p:tag name="KSO_WM_TEMPLATE_CATEGORY" val="diagram"/>
  <p:tag name="KSO_WM_TEMPLATE_INDEX" val="20214439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76"/>
  <p:tag name="KSO_WM_UNIT_SHOW_EDIT_AREA_INDICATION" val="1"/>
  <p:tag name="KSO_WM_CHIP_GROUPID" val="5e6b05596848fb12bee65ac8"/>
  <p:tag name="KSO_WM_CHIP_XID" val="5e6b05596848fb12bee65aca"/>
  <p:tag name="KSO_WM_UNIT_DEC_AREA_ID" val="90954344650442d9b4dd8382e01dfdd3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t&quot;,&quot;fill_mode&quot;:&quot;full&quot;,&quot;sacle_strategy&quot;:&quot;smart&quot;}"/>
  <p:tag name="KSO_WM_ASSEMBLE_CHIP_INDEX" val="62d2ae82b46443b0b23bcb2c329fb912"/>
  <p:tag name="KSO_WM_UNIT_TEXT_FILL_FORE_SCHEMECOLOR_INDEX_BRIGHTNESS" val="0.25"/>
  <p:tag name="KSO_WM_UNIT_TEXT_FILL_FORE_SCHEMECOLOR_INDEX" val="13"/>
  <p:tag name="KSO_WM_UNIT_TEXT_FILL_TYPE" val="1"/>
  <p:tag name="KSO_WM_TEMPLATE_ASSEMBLE_XID" val="5fd0e77b1fa9d42129ddacf8"/>
  <p:tag name="KSO_WM_TEMPLATE_ASSEMBLE_GROUPID" val="5fd0e77b1fa9d42129ddacf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COMBINE_RELATE_SLIDE_ID" val="background20181005_1"/>
  <p:tag name="KSO_WM_TEMPLATE_CATEGORY" val="custom"/>
  <p:tag name="KSO_WM_TEMPLATE_INDEX" val="20181733"/>
  <p:tag name="KSO_WM_TEMPLATE_SUBCATEGORY" val="0"/>
  <p:tag name="KSO_WM_TEMPLATE_THUMBS_INDEX" val="1、4、5、11、12、15、21、27、31、32"/>
  <p:tag name="KSO_WM_TEMPLATE_MASTER_TYPE" val="0"/>
  <p:tag name="KSO_WM_TEMPLATE_COLOR_TYPE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2018321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2018321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COMBINE_RELATE_SLIDE_ID" val="background20181048_1"/>
  <p:tag name="KSO_WM_TEMPLATE_CATEGORY" val="custom"/>
  <p:tag name="KSO_WM_TEMPLATE_INDEX" val="20183213"/>
  <p:tag name="KSO_WM_TEMPLATE_SUBCATEGORY" val="combine"/>
  <p:tag name="KSO_WM_TEMPLATE_THUMBS_INDEX" val="1、6、12、13、19、22、27、28、29、30、3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NDEX" val="2"/>
  <p:tag name="KSO_WM_TEMPLATE_CATEGORY" val="custom"/>
  <p:tag name="KSO_WM_TEMPLATE_INDEX" val="20183213"/>
  <p:tag name="KSO_WM_UNIT_ID" val="custom20183213_2*i*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NDEX" val="3"/>
  <p:tag name="KSO_WM_TEMPLATE_CATEGORY" val="custom"/>
  <p:tag name="KSO_WM_TEMPLATE_INDEX" val="20183213"/>
  <p:tag name="KSO_WM_UNIT_ID" val="custom20183213_3*i*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NDEX" val="0"/>
  <p:tag name="KSO_WM_TEMPLATE_CATEGORY" val="custom"/>
  <p:tag name="KSO_WM_TEMPLATE_INDEX" val="20183213"/>
  <p:tag name="KSO_WM_UNIT_ID" val="custom20183213_33*i*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NDEX" val="2"/>
  <p:tag name="KSO_WM_TEMPLATE_CATEGORY" val="custom"/>
  <p:tag name="KSO_WM_TEMPLATE_INDEX" val="20183213"/>
  <p:tag name="KSO_WM_UNIT_ID" val="custom20183213_4*i*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07"/>
  <p:tag name="KSO_WM_BEAUTIFY_FLAG" val="#wm#"/>
  <p:tag name="KSO_WM_TEMPLATE_CATEGORY" val="diagram"/>
  <p:tag name="KSO_WM_TEMPLATE_INDEX" val="20217044"/>
  <p:tag name="KSO_WM_SLIDE_LAYOUT_INFO" val="{&quot;id&quot;:&quot;2020-12-10T01:08:32&quot;,&quot;maxSize&quot;:{&quot;size1&quot;:68.799999999999997},&quot;minSize&quot;:{&quot;size1&quot;:68.799999999999997},&quot;normalSize&quot;:{&quot;size1&quot;:68.799999999999997},&quot;subLayout&quot;:[{&quot;id&quot;:&quot;2020-12-10T01:08:32&quot;,&quot;type&quot;:0},{&quot;id&quot;:&quot;2020-12-10T01:08:32&quot;,&quot;margin&quot;:{&quot;bottom&quot;:1.6929999589920044,&quot;left&quot;:3.3870000839233398,&quot;right&quot;:3.3859999179840088,&quot;top&quot;:0.026000002399086952},&quot;type&quot;:0}],&quot;type&quot;:0}"/>
  <p:tag name="KSO_WM_SLIDE_RATIO" val="1.777778"/>
  <p:tag name="KSO_WM_CHIP_INFOS" val="{&quot;type&quot;:0,&quot;layout_type&quot;:&quot;topbottom&quot;,&quot;layout_feature&quot;:1,&quot;aspect_ratio&quot;:&quot;16:9&quot;,&quot;same_font_size&quot;:false,&quot;diagram&quot;:{&quot;type&quot;:[],&quot;direction&quot;:0,&quot;isSupportDecBetweenItems&quot;:false},&quot;slide_type&quot;:[&quot;text&quot;]}"/>
  <p:tag name="KSO_WM_CHIP_XID" val="5fae0259998712faa657ac21"/>
  <p:tag name="KSO_WM_CHIP_FILLPROP" val="[[{&quot;text_align&quot;:&quot;cm&quot;,&quot;text_direction&quot;:&quot;horizontal&quot;,&quot;support_features&quot;:[&quot;creativepic&quot;],&quot;support_big_font&quot;:false,&quot;picture_toward&quot;:1,&quot;picture_dockside&quot;:[&quot;ct&quot;,&quot;lm&quot;,&quot;rm&quot;],&quot;fill_id&quot;:&quot;18fc10e60a1c4b19ae595e42ebee4e3b&quot;,&quot;fill_align&quot;:&quot;cm&quot;,&quot;chip_types&quot;:[&quot;picture&quot;]},{&quot;text_align&quot;:&quot;cm&quot;,&quot;text_direction&quot;:&quot;horizontal&quot;,&quot;support_big_font&quot;:false,&quot;picture_toward&quot;:0,&quot;picture_dockside&quot;:[],&quot;fill_id&quot;:&quot;75f75f63351441a8b6c7dd1a9fad9591&quot;,&quot;fill_align&quot;:&quot;cm&quot;,&quot;chip_types&quot;:[&quot;text&quot;,&quot;header&quot;]}]]"/>
  <p:tag name="KSO_WM_CHIP_DECFILLPROP" val="[]"/>
  <p:tag name="KSO_WM_SLIDE_ID" val="diagram20217044_1"/>
  <p:tag name="KSO_WM_TEMPLATE_SUBCATEGORY" val="21"/>
  <p:tag name="KSO_WM_TEMPLATE_MASTER_TYPE" val="0"/>
  <p:tag name="KSO_WM_TEMPLATE_COLOR_TYPE" val="1"/>
  <p:tag name="KSO_WM_SLIDE_ITEM_CNT" val="0"/>
  <p:tag name="KSO_WM_SLIDE_INDEX" val="1"/>
  <p:tag name="KSO_WM_TAG_VERSION" val="1.0"/>
  <p:tag name="KSO_WM_SLIDE_LAYOUT" val="a_d"/>
  <p:tag name="KSO_WM_SLIDE_LAYOUT_CNT" val="1_1"/>
  <p:tag name="KSO_WM_SLIDE_TYPE" val="text"/>
  <p:tag name="KSO_WM_SLIDE_SIZE" val="960*444"/>
  <p:tag name="KSO_WM_SLIDE_POSITION" val="0*0"/>
  <p:tag name="KSO_WM_CHIP_GROUPID" val="5fae0259998712faa657ac20"/>
  <p:tag name="KSO_WM_SLIDE_BK_DARK_LIGHT" val="2"/>
  <p:tag name="KSO_WM_SLIDE_BACKGROUND_TYPE" val="general"/>
  <p:tag name="KSO_WM_SLIDE_SUPPORT_FEATURE_TYPE" val="8"/>
  <p:tag name="KSO_WM_SLIDE_SUBTYPE" val="picTxt"/>
  <p:tag name="KSO_WM_TEMPLATE_ASSEMBLE_XID" val="5fd104901fa9d42129ddd6fd"/>
  <p:tag name="KSO_WM_TEMPLATE_ASSEMBLE_GROUPID" val="5fd104901fa9d42129ddd6f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ICTURE_TOWARD" val="1"/>
  <p:tag name="KSO_WM_UNIT_PICTURE_DOCKSIDE" val="rm,lm,ct"/>
  <p:tag name="KSO_WM_UNIT_VALUE" val="1142*3384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1_1"/>
  <p:tag name="KSO_WM_UNIT_ID" val="diagram20215732_1*ζ_h_d*1_1_1"/>
  <p:tag name="KSO_WM_TEMPLATE_CATEGORY" val="diagram"/>
  <p:tag name="KSO_WM_TEMPLATE_INDEX" val="20215732"/>
  <p:tag name="KSO_WM_UNIT_LAYERLEVEL" val="1_1_1"/>
  <p:tag name="KSO_WM_TAG_VERSION" val="1.0"/>
  <p:tag name="KSO_WM_BEAUTIFY_FLAG" val="#wm#"/>
  <p:tag name="KSO_WM_UNIT_DIAGRAM_MODELTYPE" val="creativePicture"/>
  <p:tag name="KSO_WM_UNIT_USESOURCEFORMAT_APPLY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ICTURE_TOWARD" val="1"/>
  <p:tag name="KSO_WM_UNIT_PICTURE_DOCKSIDE" val="rm,lm,ct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1_1"/>
  <p:tag name="KSO_WM_UNIT_ID" val="diagram20215732_1*ζ_h_i*1_1_1"/>
  <p:tag name="KSO_WM_TEMPLATE_CATEGORY" val="diagram"/>
  <p:tag name="KSO_WM_TEMPLATE_INDEX" val="20215732"/>
  <p:tag name="KSO_WM_UNIT_LAYERLEVEL" val="1_1_1"/>
  <p:tag name="KSO_WM_TAG_VERSION" val="1.0"/>
  <p:tag name="KSO_WM_BEAUTIFY_FLAG" val="#wm#"/>
  <p:tag name="KSO_WM_UNIT_DIAGRAM_MODELTYPE" val="creativePicture"/>
  <p:tag name="KSO_WM_UNIT_USESOURCEFORMAT_APPLY" val="1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19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7044_1*a*1"/>
  <p:tag name="KSO_WM_TEMPLATE_CATEGORY" val="diagram"/>
  <p:tag name="KSO_WM_TEMPLATE_INDEX" val="20217044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8223f82912624ca18558684815bac2e5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6855ea8b0b524fafa63f2ee192c83021"/>
  <p:tag name="KSO_WM_UNIT_TEXT_FILL_FORE_SCHEMECOLOR_INDEX_BRIGHTNESS" val="0"/>
  <p:tag name="KSO_WM_UNIT_TEXT_FILL_FORE_SCHEMECOLOR_INDEX" val="13"/>
  <p:tag name="KSO_WM_UNIT_TEXT_FILL_TYPE" val="1"/>
  <p:tag name="KSO_WM_TEMPLATE_ASSEMBLE_XID" val="5fd104901fa9d42129ddd6fd"/>
  <p:tag name="KSO_WM_TEMPLATE_ASSEMBLE_GROUPID" val="5fd104901fa9d42129ddd6f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08"/>
  <p:tag name="KSO_WM_BEAUTIFY_FLAG" val="#wm#"/>
  <p:tag name="KSO_WM_TEMPLATE_CATEGORY" val="diagram"/>
  <p:tag name="KSO_WM_TEMPLATE_INDEX" val="20216155"/>
  <p:tag name="KSO_WM_SLIDE_ID" val="diagram20216155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887*540"/>
  <p:tag name="KSO_WM_SLIDE_POSITION" val="0*0"/>
  <p:tag name="KSO_WM_TAG_VERSION" val="1.0"/>
  <p:tag name="KSO_WM_SLIDE_LAYOUT" val="a_d"/>
  <p:tag name="KSO_WM_SLIDE_LAYOUT_CNT" val="1_1"/>
  <p:tag name="KSO_WM_SLIDE_LAYOUT_INFO" val="{&quot;direction&quot;:1,&quot;id&quot;:&quot;2021-03-18T13:58:49&quot;,&quot;maxSize&quot;:{&quot;size1&quot;:33.799999999999997},&quot;minSize&quot;:{&quot;size1&quot;:33.799999999999997},&quot;normalSize&quot;:{&quot;size1&quot;:33.799999999999997},&quot;subLayout&quot;:[{&quot;backgroundInfo&quot;:[{&quot;bottom&quot;:0,&quot;bottomAbs&quot;:false,&quot;left&quot;:0,&quot;leftAbs&quot;:false,&quot;right&quot;:0,&quot;rightAbs&quot;:false,&quot;top&quot;:0,&quot;topAbs&quot;:false,&quot;type&quot;:&quot;leftRight&quot;}],&quot;id&quot;:&quot;2021-03-18T13:58:49&quot;,&quot;margin&quot;:{&quot;bottom&quot;:1.7109999656677246,&quot;left&quot;:1.6929999589920044,&quot;right&quot;:1.7200000286102295,&quot;top&quot;:1.6929999589920044},&quot;type&quot;:0},{&quot;id&quot;:&quot;2021-03-18T13:58:49&quot;,&quot;margin&quot;:{&quot;bottom&quot;:1.6940000057220459,&quot;left&quot;:1.7089999914169312,&quot;right&quot;:1.7209999561309814,&quot;top&quot;:1.6940000057220459},&quot;type&quot;:0}],&quot;type&quot;:0}"/>
  <p:tag name="KSO_WM_SLIDE_BACKGROUND" val="[&quot;leftRight&quot;]"/>
  <p:tag name="KSO_WM_SLIDE_RATIO" val="1.777778"/>
  <p:tag name="KSO_WM_CHIP_INFOS" val="{&quot;type&quot;:0,&quot;layout_type&quot;:&quot;leftright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acaf2e998712faa657a53d"/>
  <p:tag name="KSO_WM_CHIP_FILLPROP" val="[[{&quot;text_align&quot;:&quot;lt&quot;,&quot;text_direction&quot;:&quot;horizontal&quot;,&quot;support_big_font&quot;:false,&quot;picture_toward&quot;:0,&quot;picture_dockside&quot;:[],&quot;fill_id&quot;:&quot;a437010b62d44816bad6476e00523df5&quot;,&quot;fill_align&quot;:&quot;lt&quot;,&quot;chip_types&quot;:[&quot;text&quot;,&quot;header&quot;]},{&quot;text_align&quot;:&quot;lm&quot;,&quot;text_direction&quot;:&quot;horizontal&quot;,&quot;support_features&quot;:[&quot;collage&quot;],&quot;support_big_font&quot;:false,&quot;picture_toward&quot;:0,&quot;picture_dockside&quot;:[],&quot;fill_id&quot;:&quot;85f99bb7ef944d40aee755d1d8fef78b&quot;,&quot;fill_align&quot;:&quot;cm&quot;,&quot;chip_types&quot;:[&quot;diagram&quot;,&quot;pictext&quot;,&quot;text&quot;,&quot;picture&quot;,&quot;chart&quot;,&quot;table&quot;,&quot;video&quot;]}]]"/>
  <p:tag name="KSO_WM_CHIP_DECFILLPROP" val="[]"/>
  <p:tag name="FIXED_XID_TMP" val="5fab54f0341d2fac3cfce989"/>
  <p:tag name="KSO_WM_CHIP_GROUPID" val="5fab54f0341d2fac3cfce989"/>
  <p:tag name="KSO_WM_SLIDE_BK_DARK_LIGHT" val="2"/>
  <p:tag name="KSO_WM_SLIDE_BACKGROUND_TYPE" val="leftRight"/>
  <p:tag name="KSO_WM_SLIDE_SUPPORT_FEATURE_TYPE" val="1"/>
  <p:tag name="KSO_WM_TEMPLATE_ASSEMBLE_XID" val="5fd2e01a6ba173179970b3be"/>
  <p:tag name="KSO_WM_TEMPLATE_ASSEMBLE_GROUPID" val="5fd2e01a6ba173179970b3b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6155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leftRight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6155"/>
  <p:tag name="KSO_WM_UNIT_VALUE" val="450"/>
  <p:tag name="KSO_WM_TEMPLATE_ASSEMBLE_XID" val="5fd2e01a6ba173179970b3be"/>
  <p:tag name="KSO_WM_TEMPLATE_ASSEMBLE_GROUPID" val="5fd2e01a6ba173179970b3b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6155_1*i*2"/>
  <p:tag name="KSO_WM_TEMPLATE_CATEGORY" val="diagram"/>
  <p:tag name="KSO_WM_TEMPLATE_INDEX" val="20216155"/>
  <p:tag name="KSO_WM_UNIT_LAYERLEVEL" val="1"/>
  <p:tag name="KSO_WM_TAG_VERSION" val="1.0"/>
  <p:tag name="KSO_WM_BEAUTIFY_FLAG" val="#wm#"/>
  <p:tag name="KSO_WM_UNIT_BLOCK" val="0"/>
  <p:tag name="KSO_WM_UNIT_SM_LIMIT_TYPE" val="2"/>
  <p:tag name="KSO_WM_UNIT_DEC_AREA_ID" val="cbe10b26c669448380ef2555bb6140b5"/>
  <p:tag name="KSO_WM_UNIT_DECORATE_INFO" val="{&quot;ReferentInfo&quot;:{&quot;Id&quot;:&quot;slide&quot;,&quot;X&quot;:{&quot;Pos&quot;:1},&quot;Y&quot;:{&quot;Pos&quot;:1}},&quot;DecorateInfoX&quot;:{&quot;Pos&quot;:1,&quot;IsAbs&quot;:false},&quot;DecorateInfoY&quot;:{&quot;Pos&quot;:1,&quot;IsAbs&quot;:false},&quot;DecorateInfoW&quot;:{&quot;IsAbs&quot;:false},&quot;DecorateInfoH&quot;:{&quot;IsAbs&quot;:false},&quot;whChangeMode&quot;:0}"/>
  <p:tag name="KSO_WM_CHIP_GROUPID" val="5fab54f0341d2fac3cfce989"/>
  <p:tag name="KSO_WM_CHIP_XID" val="5facaf2e998712faa657a53d"/>
  <p:tag name="KSO_WM_UNIT_LINE_FORE_SCHEMECOLOR_INDEX_BRIGHTNESS" val="0"/>
  <p:tag name="KSO_WM_UNIT_LINE_FORE_SCHEMECOLOR_INDEX" val="5"/>
  <p:tag name="KSO_WM_UNIT_LINE_FILL_TYPE" val="2"/>
  <p:tag name="KSO_WM_TEMPLATE_ASSEMBLE_XID" val="5fd2e01a6ba173179970b3be"/>
  <p:tag name="KSO_WM_TEMPLATE_ASSEMBLE_GROUPID" val="5fd2e01a6ba173179970b3b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6155_1*a*1"/>
  <p:tag name="KSO_WM_TEMPLATE_CATEGORY" val="diagram"/>
  <p:tag name="KSO_WM_TEMPLATE_INDEX" val="20216155"/>
  <p:tag name="KSO_WM_UNIT_LAYERLEVEL" val="1"/>
  <p:tag name="KSO_WM_TAG_VERSION" val="1.0"/>
  <p:tag name="KSO_WM_BEAUTIFY_FLAG" val="#wm#"/>
  <p:tag name="KSO_WM_UNIT_ISCONTENTSTITLE" val="0"/>
  <p:tag name="KSO_WM_UNIT_ISNUMDGMTITLE" val="0"/>
  <p:tag name="KSO_WM_UNIT_NOCLEAR" val="0"/>
  <p:tag name="KSO_WM_UNIT_VALUE" val="12"/>
  <p:tag name="KSO_WM_UNIT_TYPE" val="a"/>
  <p:tag name="KSO_WM_UNIT_INDEX" val="1"/>
  <p:tag name="KSO_WM_UNIT_PRESET_TEXT" val="单击添加大标题"/>
  <p:tag name="KSO_WM_CHIP_GROUPID" val="5fb3a290bfe68cd3a08997ef"/>
  <p:tag name="KSO_WM_CHIP_XID" val="5fb3a290bfe68cd3a08997f0"/>
  <p:tag name="KSO_WM_UNIT_DEC_AREA_ID" val="d1dcf723f3c8477fabf3b0c21765815f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t&quot;,&quot;fill_mode&quot;:&quot;adaptive&quot;,&quot;sacle_strategy&quot;:&quot;smart&quot;}"/>
  <p:tag name="KSO_WM_ASSEMBLE_CHIP_INDEX" val="a44f269f35614a01b1559f26162c4cf1"/>
  <p:tag name="KSO_WM_UNIT_TEXT_FILL_FORE_SCHEMECOLOR_INDEX_BRIGHTNESS" val="0.15"/>
  <p:tag name="KSO_WM_UNIT_TEXT_FILL_FORE_SCHEMECOLOR_INDEX" val="13"/>
  <p:tag name="KSO_WM_UNIT_TEXT_FILL_TYPE" val="1"/>
  <p:tag name="KSO_WM_TEMPLATE_ASSEMBLE_XID" val="5fd2e01a6ba173179970b3be"/>
  <p:tag name="KSO_WM_TEMPLATE_ASSEMBLE_GROUPID" val="5fd2e01a6ba173179970b3b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4"/>
  <p:tag name="KSO_WM_UNIT_VALUE" val="973*1727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6155_1*d*1"/>
  <p:tag name="KSO_WM_TEMPLATE_CATEGORY" val="diagram"/>
  <p:tag name="KSO_WM_TEMPLATE_INDEX" val="20216155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51c8f3d10c97430da71a720e069f9e7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16b0fc4fcddd4e28bdaf772f1b9a0df4"/>
  <p:tag name="KSO_WM_UNIT_PLACING_PICTURE" val="16b0fc4fcddd4e28bdaf772f1b9a0df4"/>
  <p:tag name="KSO_WM_UNIT_SUPPORT_UNIT_TYPE" val="[&quot;l&quot;,&quot;m&quot;,&quot;n&quot;,&quot;o&quot;,&quot;p&quot;,&quot;q&quot;,&quot;r&quot;,&quot;δ&quot;,&quot;ε&quot;,&quot;ζ&quot;,&quot;η&quot;,&quot;d&quot;,&quot;α&quot;,&quot;β&quot;,&quot;θ&quot;]"/>
  <p:tag name="KSO_WM_TEMPLATE_ASSEMBLE_XID" val="5fd2e01a6ba173179970b3be"/>
  <p:tag name="KSO_WM_TEMPLATE_ASSEMBLE_GROUPID" val="5fd2e01a6ba173179970b3be"/>
  <p:tag name="KSO_WM_UNIT_PLACING_PICTURE_USER_VIEWPORT" val="{&quot;height&quot;:2701,&quot;width&quot;:3358}"/>
  <p:tag name="KSO_WM_UNIT_PLACING_PICTURE_INFO" val="{&quot;code&quot;:&quot;&quot;,&quot;full_picture&quot;:false,&quot;scheme&quot;:&quot;4-0&quot;,&quot;spacing&quot;:5}"/>
  <p:tag name="KSO_WM_UNIT_PLACING_PICTURE_USER_VIEWPORT_SMARTMENU" val="{&quot;height&quot;:5730.0264485677108,&quot;width&quot;:10765.8203125}"/>
  <p:tag name="KSO_WM_UNIT_PLACING_PICTURE_USER_RELATIVERECTANGLE_SMARTMENU" val="{&quot;bottom&quot;:0.05489459843613536,&quot;left&quot;:0,&quot;right&quot;:0,&quot;top&quot;:0.05489459843613536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7"/>
  <p:tag name="KSO_WM_UNIT_VALUE" val="973*1727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6155_1*d*1"/>
  <p:tag name="KSO_WM_TEMPLATE_CATEGORY" val="diagram"/>
  <p:tag name="KSO_WM_TEMPLATE_INDEX" val="20216155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51c8f3d10c97430da71a720e069f9e7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16b0fc4fcddd4e28bdaf772f1b9a0df4"/>
  <p:tag name="KSO_WM_UNIT_PLACING_PICTURE" val="16b0fc4fcddd4e28bdaf772f1b9a0df4"/>
  <p:tag name="KSO_WM_UNIT_SUPPORT_UNIT_TYPE" val="[&quot;l&quot;,&quot;m&quot;,&quot;n&quot;,&quot;o&quot;,&quot;p&quot;,&quot;q&quot;,&quot;r&quot;,&quot;δ&quot;,&quot;ε&quot;,&quot;ζ&quot;,&quot;η&quot;,&quot;d&quot;,&quot;α&quot;,&quot;β&quot;,&quot;θ&quot;]"/>
  <p:tag name="KSO_WM_TEMPLATE_ASSEMBLE_XID" val="5fd2e01a6ba173179970b3be"/>
  <p:tag name="KSO_WM_TEMPLATE_ASSEMBLE_GROUPID" val="5fd2e01a6ba173179970b3be"/>
  <p:tag name="KSO_WM_UNIT_PLACING_PICTURE_USER_VIEWPORT" val="{&quot;height&quot;:2701,&quot;width&quot;:3358}"/>
  <p:tag name="KSO_WM_UNIT_PLACING_PICTURE_INFO" val="{&quot;code&quot;:&quot;&quot;,&quot;full_picture&quot;:false,&quot;scheme&quot;:&quot;4-0&quot;,&quot;spacing&quot;:5}"/>
  <p:tag name="KSO_WM_UNIT_PLACING_PICTURE_USER_VIEWPORT_SMARTMENU" val="{&quot;height&quot;:2790.0132242838545,&quot;width&quot;:3488.6067708333339}"/>
  <p:tag name="KSO_WM_UNIT_PLACING_PICTURE_USER_RELATIVERECTANGLE_SMARTMENU" val="{&quot;bottom&quot;:0,&quot;left&quot;:0.12620593522772713,&quot;right&quot;:0.12620593522772713,&quot;top&quot;:0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9"/>
  <p:tag name="KSO_WM_UNIT_VALUE" val="973*1727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diagram20216155_1*d*1"/>
  <p:tag name="KSO_WM_TEMPLATE_CATEGORY" val="diagram"/>
  <p:tag name="KSO_WM_TEMPLATE_INDEX" val="20216155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51c8f3d10c97430da71a720e069f9e70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16b0fc4fcddd4e28bdaf772f1b9a0df4"/>
  <p:tag name="KSO_WM_UNIT_PLACING_PICTURE" val="16b0fc4fcddd4e28bdaf772f1b9a0df4"/>
  <p:tag name="KSO_WM_UNIT_SUPPORT_UNIT_TYPE" val="[&quot;l&quot;,&quot;m&quot;,&quot;n&quot;,&quot;o&quot;,&quot;p&quot;,&quot;q&quot;,&quot;r&quot;,&quot;δ&quot;,&quot;ε&quot;,&quot;ζ&quot;,&quot;η&quot;,&quot;d&quot;,&quot;α&quot;,&quot;β&quot;,&quot;θ&quot;]"/>
  <p:tag name="KSO_WM_TEMPLATE_ASSEMBLE_XID" val="5fd2e01a6ba173179970b3be"/>
  <p:tag name="KSO_WM_TEMPLATE_ASSEMBLE_GROUPID" val="5fd2e01a6ba173179970b3be"/>
  <p:tag name="KSO_WM_UNIT_PLACING_PICTURE_USER_VIEWPORT" val="{&quot;height&quot;:2701,&quot;width&quot;:3358}"/>
  <p:tag name="KSO_WM_UNIT_PLACING_PICTURE_INFO" val="{&quot;code&quot;:&quot;&quot;,&quot;full_picture&quot;:false,&quot;scheme&quot;:&quot;4-0&quot;,&quot;spacing&quot;:5}"/>
  <p:tag name="KSO_WM_UNIT_PLACING_PICTURE_USER_VIEWPORT_SMARTMENU" val="{&quot;height&quot;:2790.0132242838545,&quot;width&quot;:3488.6067708333339}"/>
  <p:tag name="KSO_WM_UNIT_PLACING_PICTURE_USER_RELATIVERECTANGLE_SMARTMENU" val="{&quot;bottom&quot;:0,&quot;left&quot;:0.12620593522772713,&quot;right&quot;:0.12620593522772713,&quot;top&quot;:0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150995209"/>
  <p:tag name="KSO_WM_SLIDE_ID" val="diagram202130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SLIDE_SIZE" val="924*540"/>
  <p:tag name="KSO_WM_SLIDE_POSITION" val="0*0"/>
  <p:tag name="KSO_WM_TAG_VERSION" val="1.0"/>
  <p:tag name="KSO_WM_BEAUTIFY_FLAG" val="#wm#"/>
  <p:tag name="KSO_WM_TEMPLATE_CATEGORY" val="diagram"/>
  <p:tag name="KSO_WM_TEMPLATE_INDEX" val="20213021"/>
  <p:tag name="KSO_WM_SLIDE_LAYOUT" val="a_d_f"/>
  <p:tag name="KSO_WM_SLIDE_LAYOUT_CNT" val="1_1_1"/>
  <p:tag name="KSO_WM_SLIDE_BACKGROUND" val="[&quot;general&quot;]"/>
  <p:tag name="KSO_WM_SLIDE_RATIO" val="1.777778"/>
  <p:tag name="KSO_WM_CHIP_INFOS" val="{&quot;type&quot;:0,&quot;layout_type&quot;:&quot;leftright&quot;,&quot;layout_feature&quot;:2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e9e7aac73d2384101fd9d40"/>
  <p:tag name="KSO_WM_CHIP_FILLPROP" val="[[{&quot;text_align&quot;:&quot;cm&quot;,&quot;text_direction&quot;:&quot;horizontal&quot;,&quot;support_big_font&quot;:false,&quot;fill_id&quot;:&quot;e0e9636b9ecd4fab9a1e16183f834eea&quot;,&quot;fill_align&quot;:&quot;cm&quot;,&quot;chip_types&quot;:[&quot;picture&quot;]},{&quot;text_align&quot;:&quot;lm&quot;,&quot;text_direction&quot;:&quot;horizontal&quot;,&quot;support_big_font&quot;:false,&quot;fill_id&quot;:&quot;ae15e3594cbd47f0ae72f438a934e8f5&quot;,&quot;fill_align&quot;:&quot;lm&quot;,&quot;chip_types&quot;:[&quot;text&quot;,&quot;header&quot;]},{&quot;text_align&quot;:&quot;lm&quot;,&quot;text_direction&quot;:&quot;horizontal&quot;,&quot;support_big_font&quot;:false,&quot;fill_id&quot;:&quot;dd08956302834ded839cd91aa833c849&quot;,&quot;fill_align&quot;:&quot;lm&quot;,&quot;chip_types&quot;:[&quot;text&quot;]}]]"/>
  <p:tag name="KSO_WM_CHIP_DECFILLPROP" val="[]"/>
  <p:tag name="KSO_WM_CHIP_GROUPID" val="5e9e7aac73d2384101fd9d3f"/>
  <p:tag name="KSO_WM_SLIDE_BK_DARK_LIGHT" val="2"/>
  <p:tag name="KSO_WM_SLIDE_BACKGROUND_TYPE" val="general"/>
  <p:tag name="KSO_WM_SLIDE_SUPPORT_FEATURE_TYPE" val="0"/>
  <p:tag name="KSO_WM_TEMPLATE_ASSEMBLE_XID" val="5fd0cf581fa9d42129dd7ad2"/>
  <p:tag name="KSO_WM_TEMPLATE_ASSEMBLE_GROUPID" val="5fd0cf581fa9d42129dd7ad2"/>
  <p:tag name="KSO_WM_SLIDE_LAYOUT_INFO" val="{&quot;backgroundInfo&quot;:[{&quot;bottom&quot;:0,&quot;bottomAbs&quot;:false,&quot;left&quot;:0,&quot;leftAbs&quot;:false,&quot;right&quot;:0,&quot;rightAbs&quot;:false,&quot;top&quot;:0,&quot;topAbs&quot;:false,&quot;type&quot;:&quot;general&quot;}],&quot;id&quot;:&quot;2020-12-09T21:21:28&quot;,&quot;maxSize&quot;:{&quot;size1&quot;:66.700000000000003},&quot;minSize&quot;:{&quot;size1&quot;:50.600000000000001},&quot;normalSize&quot;:{&quot;size1&quot;:60},&quot;subLayout&quot;:[{&quot;id&quot;:&quot;2020-12-09T21:21:28&quot;,&quot;margin&quot;:{&quot;bottom&quot;:0,&quot;left&quot;:22.437000274658203,&quot;right&quot;:1.2699999809265137,&quot;top&quot;:8.0430002212524414},&quot;type&quot;:0},{&quot;id&quot;:&quot;2020-12-09T21:21:28&quot;,&quot;margin&quot;:{&quot;bottom&quot;:2.5399999618530273,&quot;left&quot;:22.437000274658203,&quot;right&quot;:1.2699999809265137,&quot;top&quot;:0.42300000786781311},&quot;type&quot;:0}],&quot;type&quot;:0}"/>
  <p:tag name="KSO_WM_SLIDE_CAN_ADD_NAVIGATION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13021_1*i*1"/>
  <p:tag name="KSO_WM_TEMPLATE_CATEGORY" val="diagram"/>
  <p:tag name="KSO_WM_TEMPLATE_INDEX" val="20213021"/>
  <p:tag name="KSO_WM_UNIT_LAYERLEVEL" val="1"/>
  <p:tag name="KSO_WM_TAG_VERSION" val="1.0"/>
  <p:tag name="KSO_WM_BEAUTIFY_FLAG" val="#wm#"/>
  <p:tag name="KSO_WM_UNIT_BLOCK" val="0"/>
  <p:tag name="KSO_WM_UNIT_SM_LIMIT_TYPE" val="2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DEC_AREA_ID" val="73ec21fb1b3d4ed7aa276b661c1721c0"/>
  <p:tag name="KSO_WM_CHIP_GROUPID" val="5e9e7aac73d2384101fd9d3f"/>
  <p:tag name="KSO_WM_CHIP_XID" val="5e9e7aac73d2384101fd9d40"/>
  <p:tag name="KSO_WM_UNIT_FILL_FORE_SCHEMECOLOR_INDEX_BRIGHTNESS" val="-0.1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VALUE" val="850"/>
  <p:tag name="KSO_WM_TEMPLATE_ASSEMBLE_XID" val="5fd0cf581fa9d42129dd7ad2"/>
  <p:tag name="KSO_WM_TEMPLATE_ASSEMBLE_GROUPID" val="5fd0cf581fa9d42129dd7ad2"/>
</p:tagLst>
</file>

<file path=ppt/theme/theme1.xml><?xml version="1.0" encoding="utf-8"?>
<a:theme xmlns:a="http://schemas.openxmlformats.org/drawingml/2006/main" name="1_Office 主题​​">
  <a:themeElements>
    <a:clrScheme name="10300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E3B72"/>
      </a:accent1>
      <a:accent2>
        <a:srgbClr val="1E3B72"/>
      </a:accent2>
      <a:accent3>
        <a:srgbClr val="1E3B72"/>
      </a:accent3>
      <a:accent4>
        <a:srgbClr val="1E3B72"/>
      </a:accent4>
      <a:accent5>
        <a:srgbClr val="38526E"/>
      </a:accent5>
      <a:accent6>
        <a:srgbClr val="FFFFFF"/>
      </a:accent6>
      <a:hlink>
        <a:srgbClr val="093759"/>
      </a:hlink>
      <a:folHlink>
        <a:srgbClr val="09375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自定义 61">
      <a:dk1>
        <a:srgbClr val="000000"/>
      </a:dk1>
      <a:lt1>
        <a:srgbClr val="FFFFFF"/>
      </a:lt1>
      <a:dk2>
        <a:srgbClr val="BD0A0D"/>
      </a:dk2>
      <a:lt2>
        <a:srgbClr val="E7E6E6"/>
      </a:lt2>
      <a:accent1>
        <a:srgbClr val="BD0A0D"/>
      </a:accent1>
      <a:accent2>
        <a:srgbClr val="ED7D31"/>
      </a:accent2>
      <a:accent3>
        <a:srgbClr val="FFFFFF"/>
      </a:accent3>
      <a:accent4>
        <a:srgbClr val="FFC000"/>
      </a:accent4>
      <a:accent5>
        <a:srgbClr val="4472C4"/>
      </a:accent5>
      <a:accent6>
        <a:srgbClr val="70AD47"/>
      </a:accent6>
      <a:hlink>
        <a:srgbClr val="BD0A0D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7</TotalTime>
  <Words>1720</Words>
  <Application>Microsoft Office PowerPoint</Application>
  <PresentationFormat>自定义</PresentationFormat>
  <Paragraphs>255</Paragraphs>
  <Slides>24</Slides>
  <Notes>12</Notes>
  <HiddenSlides>0</HiddenSlides>
  <MMClips>0</MMClips>
  <ScaleCrop>false</ScaleCrop>
  <HeadingPairs>
    <vt:vector size="4" baseType="variant">
      <vt:variant>
        <vt:lpstr>主题</vt:lpstr>
      </vt:variant>
      <vt:variant>
        <vt:i4>2</vt:i4>
      </vt:variant>
      <vt:variant>
        <vt:lpstr>幻灯片标题</vt:lpstr>
      </vt:variant>
      <vt:variant>
        <vt:i4>24</vt:i4>
      </vt:variant>
    </vt:vector>
  </HeadingPairs>
  <TitlesOfParts>
    <vt:vector size="26" baseType="lpstr">
      <vt:lpstr>1_Office 主题​​</vt:lpstr>
      <vt:lpstr>1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02026_卢爱萍_质监部</cp:lastModifiedBy>
  <cp:revision>13</cp:revision>
  <dcterms:created xsi:type="dcterms:W3CDTF">2021-03-18T05:58:00Z</dcterms:created>
  <dcterms:modified xsi:type="dcterms:W3CDTF">2021-04-13T14:1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3.0.9221</vt:lpwstr>
  </property>
</Properties>
</file>